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omments/modernComment_100_0.xml" ContentType="application/vnd.ms-powerpoint.comment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omments/modernComment_160_0.xml" ContentType="application/vnd.ms-powerpoint.comment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omments/modernComment_161_DFAE945.xml" ContentType="application/vnd.ms-powerpoint.comments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comments/modernComment_162_67B1D44A.xml" ContentType="application/vnd.ms-powerpoint.comments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ppt/tags/tag18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9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20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21.xml" ContentType="application/vnd.openxmlformats-officedocument.presentationml.tags+xml"/>
  <Override PartName="/ppt/notesSlides/notesSlide23.xml" ContentType="application/vnd.openxmlformats-officedocument.presentationml.notesSlide+xml"/>
  <Override PartName="/ppt/comments/modernComment_140_E2FAD14E.xml" ContentType="application/vnd.ms-powerpoint.comments+xml"/>
  <Override PartName="/ppt/tags/tag22.xml" ContentType="application/vnd.openxmlformats-officedocument.presentationml.tags+xml"/>
  <Override PartName="/ppt/notesSlides/notesSlide24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5.xml" ContentType="application/vnd.openxmlformats-officedocument.presentationml.notesSlide+xml"/>
  <Override PartName="/ppt/tags/tag25.xml" ContentType="application/vnd.openxmlformats-officedocument.presentationml.tags+xml"/>
  <Override PartName="/ppt/notesSlides/notesSlide26.xml" ContentType="application/vnd.openxmlformats-officedocument.presentationml.notesSlide+xml"/>
  <Override PartName="/ppt/tags/tag26.xml" ContentType="application/vnd.openxmlformats-officedocument.presentationml.tags+xml"/>
  <Override PartName="/ppt/notesSlides/notesSlide27.xml" ContentType="application/vnd.openxmlformats-officedocument.presentationml.notesSlide+xml"/>
  <Override PartName="/ppt/tags/tag27.xml" ContentType="application/vnd.openxmlformats-officedocument.presentationml.tags+xml"/>
  <Override PartName="/ppt/notesSlides/notesSlide28.xml" ContentType="application/vnd.openxmlformats-officedocument.presentationml.notesSlide+xml"/>
  <Override PartName="/ppt/tags/tag28.xml" ContentType="application/vnd.openxmlformats-officedocument.presentationml.tags+xml"/>
  <Override PartName="/ppt/notesSlides/notesSlide29.xml" ContentType="application/vnd.openxmlformats-officedocument.presentationml.notesSlide+xml"/>
  <Override PartName="/ppt/tags/tag29.xml" ContentType="application/vnd.openxmlformats-officedocument.presentationml.tag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30.xml" ContentType="application/vnd.openxmlformats-officedocument.presentationml.tags+xml"/>
  <Override PartName="/ppt/notesSlides/notesSlide33.xml" ContentType="application/vnd.openxmlformats-officedocument.presentationml.notesSlide+xml"/>
  <Override PartName="/ppt/tags/tag31.xml" ContentType="application/vnd.openxmlformats-officedocument.presentationml.tag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tags/tag32.xml" ContentType="application/vnd.openxmlformats-officedocument.presentationml.tags+xml"/>
  <Override PartName="/ppt/notesSlides/notesSlide36.xml" ContentType="application/vnd.openxmlformats-officedocument.presentationml.notesSlide+xml"/>
  <Override PartName="/ppt/tags/tag33.xml" ContentType="application/vnd.openxmlformats-officedocument.presentationml.tags+xml"/>
  <Override PartName="/ppt/notesSlides/notesSlide37.xml" ContentType="application/vnd.openxmlformats-officedocument.presentationml.notesSlide+xml"/>
  <Override PartName="/ppt/tags/tag34.xml" ContentType="application/vnd.openxmlformats-officedocument.presentationml.tags+xml"/>
  <Override PartName="/ppt/notesSlides/notesSlide38.xml" ContentType="application/vnd.openxmlformats-officedocument.presentationml.notesSlide+xml"/>
  <Override PartName="/ppt/tags/tag35.xml" ContentType="application/vnd.openxmlformats-officedocument.presentationml.tags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2" r:id="rId1"/>
  </p:sldMasterIdLst>
  <p:notesMasterIdLst>
    <p:notesMasterId r:id="rId43"/>
  </p:notesMasterIdLst>
  <p:sldIdLst>
    <p:sldId id="256" r:id="rId2"/>
    <p:sldId id="352" r:id="rId3"/>
    <p:sldId id="353" r:id="rId4"/>
    <p:sldId id="312" r:id="rId5"/>
    <p:sldId id="354" r:id="rId6"/>
    <p:sldId id="355" r:id="rId7"/>
    <p:sldId id="356" r:id="rId8"/>
    <p:sldId id="275" r:id="rId9"/>
    <p:sldId id="344" r:id="rId10"/>
    <p:sldId id="348" r:id="rId11"/>
    <p:sldId id="346" r:id="rId12"/>
    <p:sldId id="318" r:id="rId13"/>
    <p:sldId id="347" r:id="rId14"/>
    <p:sldId id="327" r:id="rId15"/>
    <p:sldId id="328" r:id="rId16"/>
    <p:sldId id="329" r:id="rId17"/>
    <p:sldId id="316" r:id="rId18"/>
    <p:sldId id="272" r:id="rId19"/>
    <p:sldId id="333" r:id="rId20"/>
    <p:sldId id="319" r:id="rId21"/>
    <p:sldId id="334" r:id="rId22"/>
    <p:sldId id="335" r:id="rId23"/>
    <p:sldId id="320" r:id="rId24"/>
    <p:sldId id="321" r:id="rId25"/>
    <p:sldId id="274" r:id="rId26"/>
    <p:sldId id="343" r:id="rId27"/>
    <p:sldId id="337" r:id="rId28"/>
    <p:sldId id="349" r:id="rId29"/>
    <p:sldId id="345" r:id="rId30"/>
    <p:sldId id="341" r:id="rId31"/>
    <p:sldId id="271" r:id="rId32"/>
    <p:sldId id="331" r:id="rId33"/>
    <p:sldId id="338" r:id="rId34"/>
    <p:sldId id="339" r:id="rId35"/>
    <p:sldId id="351" r:id="rId36"/>
    <p:sldId id="336" r:id="rId37"/>
    <p:sldId id="350" r:id="rId38"/>
    <p:sldId id="326" r:id="rId39"/>
    <p:sldId id="357" r:id="rId40"/>
    <p:sldId id="293" r:id="rId41"/>
    <p:sldId id="267" r:id="rId42"/>
  </p:sldIdLst>
  <p:sldSz cx="9144000" cy="5143500" type="screen16x9"/>
  <p:notesSz cx="6858000" cy="9144000"/>
  <p:embeddedFontLst>
    <p:embeddedFont>
      <p:font typeface="Bebas Neue" panose="020B0606020202050201" pitchFamily="34" charset="0"/>
      <p:regular r:id="rId44"/>
    </p:embeddedFont>
    <p:embeddedFont>
      <p:font typeface="Kumbh Sans" panose="020B0604020202020204" charset="0"/>
      <p:regular r:id="rId45"/>
      <p:bold r:id="rId46"/>
    </p:embeddedFont>
    <p:embeddedFont>
      <p:font typeface="Nunito Light" pitchFamily="2" charset="0"/>
      <p:regular r:id="rId47"/>
      <p:italic r:id="rId48"/>
    </p:embeddedFont>
    <p:embeddedFont>
      <p:font typeface="Paytone One" panose="020B0604020202020204" charset="0"/>
      <p:regular r:id="rId49"/>
    </p:embeddedFont>
    <p:embeddedFont>
      <p:font typeface="PT Sans" panose="020B0503020203020204" pitchFamily="34" charset="0"/>
      <p:regular r:id="rId50"/>
      <p:bold r:id="rId51"/>
      <p:italic r:id="rId52"/>
      <p:boldItalic r:id="rId53"/>
    </p:embeddedFont>
    <p:embeddedFont>
      <p:font typeface="Roboto" panose="02000000000000000000" pitchFamily="2" charset="0"/>
      <p:regular r:id="rId54"/>
      <p:bold r:id="rId55"/>
      <p:italic r:id="rId56"/>
      <p:boldItalic r:id="rId57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DA6A33C-092E-19B4-97E0-735B3261BF5F}" name="Vishal Singh" initials="VS" userId="S::vishals24@iitk.ac.in::11f849b5-5d12-4d1a-ae5d-bd1f731a70c2" providerId="AD"/>
  <p188:author id="{22265A76-A954-86E4-C7D4-FE29C35C25EE}" name="Guest User" initials="GU" userId="S::urn:spo:tenantanon#9ebcd82b-3a71-49bf-891e-86d819a0911c::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1E1FD"/>
    <a:srgbClr val="FFFFFF"/>
    <a:srgbClr val="AAACB1"/>
    <a:srgbClr val="3D4C5B"/>
    <a:srgbClr val="FFD65D"/>
    <a:srgbClr val="8AC93D"/>
    <a:srgbClr val="00B449"/>
    <a:srgbClr val="646464"/>
    <a:srgbClr val="9E5248"/>
    <a:srgbClr val="B376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13A8249-DDFF-4816-AF3B-C2F568472807}" v="2506" dt="2025-09-09T06:54:14.324"/>
    <p1510:client id="{8B9F0D41-653C-1C86-23ED-65E376431576}" v="5" dt="2025-09-08T11:14:40.009"/>
  </p1510:revLst>
</p1510:revInfo>
</file>

<file path=ppt/tableStyles.xml><?xml version="1.0" encoding="utf-8"?>
<a:tblStyleLst xmlns:a="http://schemas.openxmlformats.org/drawingml/2006/main" def="{BAD46EC6-BB3B-4393-880E-9E249C94CAD9}">
  <a:tblStyle styleId="{BAD46EC6-BB3B-4393-880E-9E249C94CAD9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C06E6E55-79F0-4982-8BFD-0C56C1C1AA14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47" autoAdjust="0"/>
    <p:restoredTop sz="94061" autoAdjust="0"/>
  </p:normalViewPr>
  <p:slideViewPr>
    <p:cSldViewPr snapToGrid="0">
      <p:cViewPr varScale="1">
        <p:scale>
          <a:sx n="92" d="100"/>
          <a:sy n="92" d="100"/>
        </p:scale>
        <p:origin x="774" y="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font" Target="fonts/font4.fntdata"/><Relationship Id="rId50" Type="http://schemas.openxmlformats.org/officeDocument/2006/relationships/font" Target="fonts/font7.fntdata"/><Relationship Id="rId55" Type="http://schemas.openxmlformats.org/officeDocument/2006/relationships/font" Target="fonts/font12.fntdata"/><Relationship Id="rId63" Type="http://schemas.microsoft.com/office/2018/10/relationships/authors" Target="author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font" Target="fonts/font2.fntdata"/><Relationship Id="rId53" Type="http://schemas.openxmlformats.org/officeDocument/2006/relationships/font" Target="fonts/font10.fntdata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font" Target="fonts/font5.fntdata"/><Relationship Id="rId56" Type="http://schemas.openxmlformats.org/officeDocument/2006/relationships/font" Target="fonts/font13.fntdata"/><Relationship Id="rId8" Type="http://schemas.openxmlformats.org/officeDocument/2006/relationships/slide" Target="slides/slide7.xml"/><Relationship Id="rId51" Type="http://schemas.openxmlformats.org/officeDocument/2006/relationships/font" Target="fonts/font8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font" Target="fonts/font3.fntdata"/><Relationship Id="rId59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font" Target="fonts/font11.fntdata"/><Relationship Id="rId62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font" Target="fonts/font6.fntdata"/><Relationship Id="rId57" Type="http://schemas.openxmlformats.org/officeDocument/2006/relationships/font" Target="fonts/font14.fntdata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font" Target="fonts/font1.fntdata"/><Relationship Id="rId52" Type="http://schemas.openxmlformats.org/officeDocument/2006/relationships/font" Target="fonts/font9.fntdata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omments/modernComment_100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E8A58CE-76C9-4B57-A2F5-F74DFCD4D0E0}" authorId="{22265A76-A954-86E4-C7D4-FE29C35C25EE}" created="2025-09-08T11:08:02.036">
    <pc:sldMkLst xmlns:pc="http://schemas.microsoft.com/office/powerpoint/2013/main/command">
      <pc:docMk/>
      <pc:sldMk cId="0" sldId="256"/>
    </pc:sldMkLst>
    <p188:txBody>
      <a:bodyPr/>
      <a:lstStyle/>
      <a:p>
        <a:r>
          <a:rPr lang="en-US"/>
          <a:t>need to add explaining intro mentioning benefits too before example</a:t>
        </a:r>
      </a:p>
    </p188:txBody>
  </p188:cm>
  <p188:cm id="{F7AC026B-FDA8-4983-88B7-A4BEB87AEDB4}" authorId="{22265A76-A954-86E4-C7D4-FE29C35C25EE}" created="2025-09-08T11:10:24.071">
    <pc:sldMkLst xmlns:pc="http://schemas.microsoft.com/office/powerpoint/2013/main/command">
      <pc:docMk/>
      <pc:sldMk cId="0" sldId="256"/>
    </pc:sldMkLst>
    <p188:txBody>
      <a:bodyPr/>
      <a:lstStyle/>
      <a:p>
        <a:r>
          <a:rPr lang="en-US"/>
          <a:t>also in explaining add what factors are considered before putting it down to 51 $</a:t>
        </a:r>
      </a:p>
    </p188:txBody>
  </p188:cm>
</p188:cmLst>
</file>

<file path=ppt/comments/modernComment_140_E2FAD14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BF2B317-9DEE-4E08-BAFA-4E84F9095AD9}" authorId="{3DA6A33C-092E-19B4-97E0-735B3261BF5F}" created="2025-09-08T18:29:25.974">
    <pc:sldMkLst xmlns:pc="http://schemas.microsoft.com/office/powerpoint/2013/main/command">
      <pc:docMk/>
      <pc:sldMk cId="3808088398" sldId="320"/>
    </pc:sldMkLst>
    <p188:txBody>
      <a:bodyPr/>
      <a:lstStyle/>
      <a:p>
        <a:r>
          <a:rPr lang="en-IN"/>
          <a:t>RFF-Berkeley Greenhouse Gas Impact Value Estimator (GIVE) model, </a:t>
        </a:r>
      </a:p>
    </p188:txBody>
  </p188:cm>
</p188:cmLst>
</file>

<file path=ppt/comments/modernComment_160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6CF079C-0E71-4420-AF6D-DE8E2520E2DD}" authorId="{22265A76-A954-86E4-C7D4-FE29C35C25EE}" created="2025-09-08T11:14:40.009">
    <pc:sldMkLst xmlns:pc="http://schemas.microsoft.com/office/powerpoint/2013/main/command">
      <pc:docMk/>
      <pc:sldMk cId="0" sldId="261"/>
    </pc:sldMkLst>
    <p188:txBody>
      <a:bodyPr/>
      <a:lstStyle/>
      <a:p>
        <a:r>
          <a:rPr lang="en-US"/>
          <a:t>add 
Governments and organizations use the SCC to:
Evaluate climate policies (e.g., carbon taxes, regulations).
Compare costs and benefits of projects that affect emissions.
Guide investment decisions in clean energy vs. fossil fuels.</a:t>
        </a:r>
      </a:p>
    </p188:txBody>
  </p188:cm>
</p188:cmLst>
</file>

<file path=ppt/comments/modernComment_161_DFAE94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6CF079C-0E71-4420-AF6D-DE8E2520E2DD}" authorId="{22265A76-A954-86E4-C7D4-FE29C35C25EE}" created="2025-09-08T11:14:40.009">
    <pc:sldMkLst xmlns:pc="http://schemas.microsoft.com/office/powerpoint/2013/main/command">
      <pc:docMk/>
      <pc:sldMk cId="0" sldId="261"/>
    </pc:sldMkLst>
    <p188:txBody>
      <a:bodyPr/>
      <a:lstStyle/>
      <a:p>
        <a:r>
          <a:rPr lang="en-US"/>
          <a:t>add 
Governments and organizations use the SCC to:
Evaluate climate policies (e.g., carbon taxes, regulations).
Compare costs and benefits of projects that affect emissions.
Guide investment decisions in clean energy vs. fossil fuels.</a:t>
        </a:r>
      </a:p>
    </p188:txBody>
  </p188:cm>
</p188:cmLst>
</file>

<file path=ppt/comments/modernComment_162_67B1D44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6CF079C-0E71-4420-AF6D-DE8E2520E2DD}" authorId="{22265A76-A954-86E4-C7D4-FE29C35C25EE}" created="2025-09-08T11:14:40.009">
    <pc:sldMkLst xmlns:pc="http://schemas.microsoft.com/office/powerpoint/2013/main/command">
      <pc:docMk/>
      <pc:sldMk cId="0" sldId="261"/>
    </pc:sldMkLst>
    <p188:txBody>
      <a:bodyPr/>
      <a:lstStyle/>
      <a:p>
        <a:r>
          <a:rPr lang="en-US"/>
          <a:t>add 
Governments and organizations use the SCC to:
Evaluate climate policies (e.g., carbon taxes, regulations).
Compare costs and benefits of projects that affect emissions.
Guide investment decisions in clean energy vs. fossil fuels.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gle.com/search?rlz=1C1VDKB_enIN1119IN1119&amp;cs=0&amp;sca_esv=c2dc18171226bd7b&amp;sxsrf=AE3TifPUgVsP57KaD8Q_-EESYucqCK1FTw:1757356127475&amp;q=RFF-Berkeley+Greenhouse+Gas+Impact+Value+Estimator+(GIVE)+model&amp;sa=X&amp;ved=2ahUKEwiijbzd5cmPAxXITmwGHWcKCA0QxccNegQIAhAB" TargetMode="External"/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ussex.ac.uk/profiles/289812" TargetMode="External"/><Relationship Id="rId3" Type="http://schemas.openxmlformats.org/officeDocument/2006/relationships/hyperlink" Target="https://www.indiabudget.gov.in/economicsurvey/" TargetMode="External"/><Relationship Id="rId7" Type="http://schemas.openxmlformats.org/officeDocument/2006/relationships/hyperlink" Target="http://www.fund-model.org/home" TargetMode="External"/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www.econ.yale.edu/~nordhaus/homepage/" TargetMode="External"/><Relationship Id="rId11" Type="http://schemas.openxmlformats.org/officeDocument/2006/relationships/hyperlink" Target="https://www.jbs.cam.ac.uk/faculty-research/faculty-a-z/chris-hope/" TargetMode="External"/><Relationship Id="rId5" Type="http://schemas.openxmlformats.org/officeDocument/2006/relationships/hyperlink" Target="https://yosemite.epa.gov/ee/epa/eerm.nsf/vwan/ee-0564-114.pdf/$file/ee-0564-114.pdf" TargetMode="External"/><Relationship Id="rId10" Type="http://schemas.openxmlformats.org/officeDocument/2006/relationships/hyperlink" Target="https://www.jbs.cam.ac.uk/fileadmin/user_upload/research/workingpapers/wp1104.pdf" TargetMode="External"/><Relationship Id="rId4" Type="http://schemas.openxmlformats.org/officeDocument/2006/relationships/hyperlink" Target="https://www.carbonbrief.org/qa-how-integrated-assessment-models-are-used-to-study-climate-change" TargetMode="External"/><Relationship Id="rId9" Type="http://schemas.openxmlformats.org/officeDocument/2006/relationships/hyperlink" Target="http://www.david-anthoff.com/" TargetMode="Externa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9" name="Google Shape;2489;g4dfce81f19_0_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0" name="Google Shape;2490;g4dfce81f19_0_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92">
          <a:extLst>
            <a:ext uri="{FF2B5EF4-FFF2-40B4-BE49-F238E27FC236}">
              <a16:creationId xmlns:a16="http://schemas.microsoft.com/office/drawing/2014/main" id="{BE703646-6B9C-0812-4C62-DC29B54C8F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3" name="Google Shape;5493;g54dda1946d_4_2720:notes">
            <a:extLst>
              <a:ext uri="{FF2B5EF4-FFF2-40B4-BE49-F238E27FC236}">
                <a16:creationId xmlns:a16="http://schemas.microsoft.com/office/drawing/2014/main" id="{8D0DC507-FB7D-992B-14F6-1C444DD7410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494" name="Google Shape;5494;g54dda1946d_4_2720:notes">
            <a:extLst>
              <a:ext uri="{FF2B5EF4-FFF2-40B4-BE49-F238E27FC236}">
                <a16:creationId xmlns:a16="http://schemas.microsoft.com/office/drawing/2014/main" id="{E398E917-5083-B455-5CCE-8E797902D25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957728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92">
          <a:extLst>
            <a:ext uri="{FF2B5EF4-FFF2-40B4-BE49-F238E27FC236}">
              <a16:creationId xmlns:a16="http://schemas.microsoft.com/office/drawing/2014/main" id="{0DF339F9-D4C5-E3A3-B7AA-DA36E7E1D7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3" name="Google Shape;5493;g54dda1946d_4_2720:notes">
            <a:extLst>
              <a:ext uri="{FF2B5EF4-FFF2-40B4-BE49-F238E27FC236}">
                <a16:creationId xmlns:a16="http://schemas.microsoft.com/office/drawing/2014/main" id="{9C7B7A4E-F2E7-84A0-C292-829A124A489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494" name="Google Shape;5494;g54dda1946d_4_2720:notes">
            <a:extLst>
              <a:ext uri="{FF2B5EF4-FFF2-40B4-BE49-F238E27FC236}">
                <a16:creationId xmlns:a16="http://schemas.microsoft.com/office/drawing/2014/main" id="{336B267D-73F0-4220-65DC-18E584D54E1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831783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92">
          <a:extLst>
            <a:ext uri="{FF2B5EF4-FFF2-40B4-BE49-F238E27FC236}">
              <a16:creationId xmlns:a16="http://schemas.microsoft.com/office/drawing/2014/main" id="{0A79BF84-E6E4-EAB1-B65A-D162AF6787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3" name="Google Shape;5493;g54dda1946d_4_2720:notes">
            <a:extLst>
              <a:ext uri="{FF2B5EF4-FFF2-40B4-BE49-F238E27FC236}">
                <a16:creationId xmlns:a16="http://schemas.microsoft.com/office/drawing/2014/main" id="{133B87A6-D90C-2D6C-454C-8C734151A3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494" name="Google Shape;5494;g54dda1946d_4_2720:notes">
            <a:extLst>
              <a:ext uri="{FF2B5EF4-FFF2-40B4-BE49-F238E27FC236}">
                <a16:creationId xmlns:a16="http://schemas.microsoft.com/office/drawing/2014/main" id="{35ACD4C9-61AE-2A39-C5DB-18060C1CAE5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374769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92">
          <a:extLst>
            <a:ext uri="{FF2B5EF4-FFF2-40B4-BE49-F238E27FC236}">
              <a16:creationId xmlns:a16="http://schemas.microsoft.com/office/drawing/2014/main" id="{C49EDE5D-7AE2-66A6-30E9-ECAEA90D30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3" name="Google Shape;5493;g54dda1946d_4_2720:notes">
            <a:extLst>
              <a:ext uri="{FF2B5EF4-FFF2-40B4-BE49-F238E27FC236}">
                <a16:creationId xmlns:a16="http://schemas.microsoft.com/office/drawing/2014/main" id="{07FF3A7F-22B4-09FA-C73A-87C82BB78EC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494" name="Google Shape;5494;g54dda1946d_4_2720:notes">
            <a:extLst>
              <a:ext uri="{FF2B5EF4-FFF2-40B4-BE49-F238E27FC236}">
                <a16:creationId xmlns:a16="http://schemas.microsoft.com/office/drawing/2014/main" id="{7AD264B8-4222-9073-E261-558ACE2E1CF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010637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92">
          <a:extLst>
            <a:ext uri="{FF2B5EF4-FFF2-40B4-BE49-F238E27FC236}">
              <a16:creationId xmlns:a16="http://schemas.microsoft.com/office/drawing/2014/main" id="{417DB58D-89BF-A503-F2F7-03C9C57F9E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3" name="Google Shape;5493;g54dda1946d_4_2720:notes">
            <a:extLst>
              <a:ext uri="{FF2B5EF4-FFF2-40B4-BE49-F238E27FC236}">
                <a16:creationId xmlns:a16="http://schemas.microsoft.com/office/drawing/2014/main" id="{C94C6342-8ABE-AA7B-2BBF-CBD8122571D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494" name="Google Shape;5494;g54dda1946d_4_2720:notes">
            <a:extLst>
              <a:ext uri="{FF2B5EF4-FFF2-40B4-BE49-F238E27FC236}">
                <a16:creationId xmlns:a16="http://schemas.microsoft.com/office/drawing/2014/main" id="{F88A5FD1-53C4-B37C-804B-38A34ABD9B2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5719698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92">
          <a:extLst>
            <a:ext uri="{FF2B5EF4-FFF2-40B4-BE49-F238E27FC236}">
              <a16:creationId xmlns:a16="http://schemas.microsoft.com/office/drawing/2014/main" id="{16EEED12-1C5C-D7E3-F956-7DEFB804B1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3" name="Google Shape;5493;g54dda1946d_4_2720:notes">
            <a:extLst>
              <a:ext uri="{FF2B5EF4-FFF2-40B4-BE49-F238E27FC236}">
                <a16:creationId xmlns:a16="http://schemas.microsoft.com/office/drawing/2014/main" id="{1250A5CC-A7A2-D766-3759-DC86E7A97E1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494" name="Google Shape;5494;g54dda1946d_4_2720:notes">
            <a:extLst>
              <a:ext uri="{FF2B5EF4-FFF2-40B4-BE49-F238E27FC236}">
                <a16:creationId xmlns:a16="http://schemas.microsoft.com/office/drawing/2014/main" id="{2B14C2B8-3833-1BB9-F4D6-8C3176BC516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6776140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92">
          <a:extLst>
            <a:ext uri="{FF2B5EF4-FFF2-40B4-BE49-F238E27FC236}">
              <a16:creationId xmlns:a16="http://schemas.microsoft.com/office/drawing/2014/main" id="{F13E6331-A3D3-31BF-EBE0-D67BAD03B4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3" name="Google Shape;5493;g54dda1946d_4_2720:notes">
            <a:extLst>
              <a:ext uri="{FF2B5EF4-FFF2-40B4-BE49-F238E27FC236}">
                <a16:creationId xmlns:a16="http://schemas.microsoft.com/office/drawing/2014/main" id="{3B20FEC8-E12A-87D4-A1CF-C89564D77ED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494" name="Google Shape;5494;g54dda1946d_4_2720:notes">
            <a:extLst>
              <a:ext uri="{FF2B5EF4-FFF2-40B4-BE49-F238E27FC236}">
                <a16:creationId xmlns:a16="http://schemas.microsoft.com/office/drawing/2014/main" id="{ACAD2BE9-64A5-7BFE-8488-52114CB8B80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9970240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29">
          <a:extLst>
            <a:ext uri="{FF2B5EF4-FFF2-40B4-BE49-F238E27FC236}">
              <a16:creationId xmlns:a16="http://schemas.microsoft.com/office/drawing/2014/main" id="{A1B59983-3857-D2B7-4B11-9096CDB42C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0" name="Google Shape;5130;g54dda1946d_4_2730:notes">
            <a:extLst>
              <a:ext uri="{FF2B5EF4-FFF2-40B4-BE49-F238E27FC236}">
                <a16:creationId xmlns:a16="http://schemas.microsoft.com/office/drawing/2014/main" id="{BBC182F9-9062-EF03-197A-2ADC278D712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31" name="Google Shape;5131;g54dda1946d_4_2730:notes">
            <a:extLst>
              <a:ext uri="{FF2B5EF4-FFF2-40B4-BE49-F238E27FC236}">
                <a16:creationId xmlns:a16="http://schemas.microsoft.com/office/drawing/2014/main" id="{259E1EB0-7EAA-96F1-3C12-45039607839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1054657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0" name="Google Shape;5130;g54dda1946d_4_27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31" name="Google Shape;5131;g54dda1946d_4_27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29">
          <a:extLst>
            <a:ext uri="{FF2B5EF4-FFF2-40B4-BE49-F238E27FC236}">
              <a16:creationId xmlns:a16="http://schemas.microsoft.com/office/drawing/2014/main" id="{04656291-98F7-4E43-8955-4C55D2DC19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0" name="Google Shape;5130;g54dda1946d_4_2730:notes">
            <a:extLst>
              <a:ext uri="{FF2B5EF4-FFF2-40B4-BE49-F238E27FC236}">
                <a16:creationId xmlns:a16="http://schemas.microsoft.com/office/drawing/2014/main" id="{B5543A4D-9D97-6761-CE42-1E98EA299C9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31" name="Google Shape;5131;g54dda1946d_4_2730:notes">
            <a:extLst>
              <a:ext uri="{FF2B5EF4-FFF2-40B4-BE49-F238E27FC236}">
                <a16:creationId xmlns:a16="http://schemas.microsoft.com/office/drawing/2014/main" id="{B28B1950-F174-A801-9E73-8613B026853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22177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5" name="Google Shape;3305;g54dda1946d_6_3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06" name="Google Shape;3306;g54dda1946d_6_33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US" dirty="0"/>
              <a:t>Introduced by: </a:t>
            </a:r>
            <a:r>
              <a:rPr lang="en-US" sz="1100" dirty="0"/>
              <a:t>Obama administration (2010)</a:t>
            </a:r>
            <a:br>
              <a:rPr lang="en-US" dirty="0"/>
            </a:br>
            <a:br>
              <a:rPr lang="en-US" dirty="0"/>
            </a:br>
            <a:r>
              <a:rPr lang="en-US" b="1" dirty="0"/>
              <a:t>Developed by:</a:t>
            </a:r>
            <a:r>
              <a:rPr lang="en-US" dirty="0"/>
              <a:t> Interagency Working Group (IWG), a team of economists and scientists from multiple federal agenci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US" sz="1100" dirty="0"/>
              <a:t>It reflects the present value of future costs linked to climate chang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endParaRPr lang="en-US" sz="11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US" sz="1100" dirty="0"/>
              <a:t>By translating these damages into a dollar figure, the SCC provides us with a tool to evaluate the benefits of reducing emiss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endParaRPr lang="en-US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492966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29">
          <a:extLst>
            <a:ext uri="{FF2B5EF4-FFF2-40B4-BE49-F238E27FC236}">
              <a16:creationId xmlns:a16="http://schemas.microsoft.com/office/drawing/2014/main" id="{B87CC24F-659B-2D8D-1058-3B84E1BBAB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0" name="Google Shape;5130;g54dda1946d_4_2730:notes">
            <a:extLst>
              <a:ext uri="{FF2B5EF4-FFF2-40B4-BE49-F238E27FC236}">
                <a16:creationId xmlns:a16="http://schemas.microsoft.com/office/drawing/2014/main" id="{14DCA313-E271-46BF-6E1F-86130FE6A04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31" name="Google Shape;5131;g54dda1946d_4_2730:notes">
            <a:extLst>
              <a:ext uri="{FF2B5EF4-FFF2-40B4-BE49-F238E27FC236}">
                <a16:creationId xmlns:a16="http://schemas.microsoft.com/office/drawing/2014/main" id="{E9044709-6004-2BCB-6860-B3FAB806E74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0714570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29">
          <a:extLst>
            <a:ext uri="{FF2B5EF4-FFF2-40B4-BE49-F238E27FC236}">
              <a16:creationId xmlns:a16="http://schemas.microsoft.com/office/drawing/2014/main" id="{AE1C4BEE-A7A9-FAE4-7475-FF712E2183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0" name="Google Shape;5130;g54dda1946d_4_2730:notes">
            <a:extLst>
              <a:ext uri="{FF2B5EF4-FFF2-40B4-BE49-F238E27FC236}">
                <a16:creationId xmlns:a16="http://schemas.microsoft.com/office/drawing/2014/main" id="{02F245E2-18C4-1E6C-01E2-3350451AC19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31" name="Google Shape;5131;g54dda1946d_4_2730:notes">
            <a:extLst>
              <a:ext uri="{FF2B5EF4-FFF2-40B4-BE49-F238E27FC236}">
                <a16:creationId xmlns:a16="http://schemas.microsoft.com/office/drawing/2014/main" id="{89215740-0E6C-590A-C4C8-72398ACBD74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4222686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29">
          <a:extLst>
            <a:ext uri="{FF2B5EF4-FFF2-40B4-BE49-F238E27FC236}">
              <a16:creationId xmlns:a16="http://schemas.microsoft.com/office/drawing/2014/main" id="{034BF516-890B-8D89-34F4-7A93A4993D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0" name="Google Shape;5130;g54dda1946d_4_2730:notes">
            <a:extLst>
              <a:ext uri="{FF2B5EF4-FFF2-40B4-BE49-F238E27FC236}">
                <a16:creationId xmlns:a16="http://schemas.microsoft.com/office/drawing/2014/main" id="{CBBD61F0-1BC5-1D2B-D46C-3289EB828F0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31" name="Google Shape;5131;g54dda1946d_4_2730:notes">
            <a:extLst>
              <a:ext uri="{FF2B5EF4-FFF2-40B4-BE49-F238E27FC236}">
                <a16:creationId xmlns:a16="http://schemas.microsoft.com/office/drawing/2014/main" id="{A25F03A8-8477-FF26-EB6D-E8621FF7223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4193274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29">
          <a:extLst>
            <a:ext uri="{FF2B5EF4-FFF2-40B4-BE49-F238E27FC236}">
              <a16:creationId xmlns:a16="http://schemas.microsoft.com/office/drawing/2014/main" id="{8648B4A9-F2AA-1446-A1DC-04394AF2F1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0" name="Google Shape;5130;g54dda1946d_4_2730:notes">
            <a:extLst>
              <a:ext uri="{FF2B5EF4-FFF2-40B4-BE49-F238E27FC236}">
                <a16:creationId xmlns:a16="http://schemas.microsoft.com/office/drawing/2014/main" id="{1AE185BF-0D43-BB2D-867C-BC6CA475845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31" name="Google Shape;5131;g54dda1946d_4_2730:notes">
            <a:extLst>
              <a:ext uri="{FF2B5EF4-FFF2-40B4-BE49-F238E27FC236}">
                <a16:creationId xmlns:a16="http://schemas.microsoft.com/office/drawing/2014/main" id="{DD6DD4EE-8486-2D3E-F3D6-14354A67DBC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  <a:hlinkClick r:id="rId3"/>
              </a:rPr>
              <a:t>RFF-Berkeley Greenhouse Gas Impact Value Estimator (GIVE) mod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3511934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29">
          <a:extLst>
            <a:ext uri="{FF2B5EF4-FFF2-40B4-BE49-F238E27FC236}">
              <a16:creationId xmlns:a16="http://schemas.microsoft.com/office/drawing/2014/main" id="{A5807C8D-0907-D22E-FF92-D1B1A93E98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0" name="Google Shape;5130;g54dda1946d_4_2730:notes">
            <a:extLst>
              <a:ext uri="{FF2B5EF4-FFF2-40B4-BE49-F238E27FC236}">
                <a16:creationId xmlns:a16="http://schemas.microsoft.com/office/drawing/2014/main" id="{8641D0E3-98CF-7361-5F5A-5498CA7B2E4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31" name="Google Shape;5131;g54dda1946d_4_2730:notes">
            <a:extLst>
              <a:ext uri="{FF2B5EF4-FFF2-40B4-BE49-F238E27FC236}">
                <a16:creationId xmlns:a16="http://schemas.microsoft.com/office/drawing/2014/main" id="{D798B7AC-F706-27B7-4836-25468303BB1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6715688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79" name="Google Shape;5379;g54dda1946d_0_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380" name="Google Shape;5380;g54dda1946d_0_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41">
          <a:extLst>
            <a:ext uri="{FF2B5EF4-FFF2-40B4-BE49-F238E27FC236}">
              <a16:creationId xmlns:a16="http://schemas.microsoft.com/office/drawing/2014/main" id="{1BD492DE-F777-643C-6704-F685AB6439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2" name="Google Shape;3342;g14072739ea5_12_0:notes">
            <a:extLst>
              <a:ext uri="{FF2B5EF4-FFF2-40B4-BE49-F238E27FC236}">
                <a16:creationId xmlns:a16="http://schemas.microsoft.com/office/drawing/2014/main" id="{4396CE7E-BD3C-2AB8-074D-7F01B8CC66C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43" name="Google Shape;3343;g14072739ea5_12_0:notes">
            <a:extLst>
              <a:ext uri="{FF2B5EF4-FFF2-40B4-BE49-F238E27FC236}">
                <a16:creationId xmlns:a16="http://schemas.microsoft.com/office/drawing/2014/main" id="{AC80EA96-D703-6304-CE84-70D580D317F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393819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41">
          <a:extLst>
            <a:ext uri="{FF2B5EF4-FFF2-40B4-BE49-F238E27FC236}">
              <a16:creationId xmlns:a16="http://schemas.microsoft.com/office/drawing/2014/main" id="{9BD7CC76-B835-B698-C991-9A130180C8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2" name="Google Shape;3342;g14072739ea5_12_0:notes">
            <a:extLst>
              <a:ext uri="{FF2B5EF4-FFF2-40B4-BE49-F238E27FC236}">
                <a16:creationId xmlns:a16="http://schemas.microsoft.com/office/drawing/2014/main" id="{6B55E308-DBBC-CA61-03ED-49E0FFAD184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43" name="Google Shape;3343;g14072739ea5_12_0:notes">
            <a:extLst>
              <a:ext uri="{FF2B5EF4-FFF2-40B4-BE49-F238E27FC236}">
                <a16:creationId xmlns:a16="http://schemas.microsoft.com/office/drawing/2014/main" id="{B25FAC67-6EF8-6340-5667-B894FD95B8D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6446530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41">
          <a:extLst>
            <a:ext uri="{FF2B5EF4-FFF2-40B4-BE49-F238E27FC236}">
              <a16:creationId xmlns:a16="http://schemas.microsoft.com/office/drawing/2014/main" id="{24120612-9C5C-5282-1A42-C0BE6219B5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2" name="Google Shape;3342;g14072739ea5_12_0:notes">
            <a:extLst>
              <a:ext uri="{FF2B5EF4-FFF2-40B4-BE49-F238E27FC236}">
                <a16:creationId xmlns:a16="http://schemas.microsoft.com/office/drawing/2014/main" id="{8A1B3EC5-D288-CCBA-EC14-4CE2AE3DB2D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43" name="Google Shape;3343;g14072739ea5_12_0:notes">
            <a:extLst>
              <a:ext uri="{FF2B5EF4-FFF2-40B4-BE49-F238E27FC236}">
                <a16:creationId xmlns:a16="http://schemas.microsoft.com/office/drawing/2014/main" id="{F1F6DAF2-9EFF-67C6-CF4C-BBCF6A0E62C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655918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41">
          <a:extLst>
            <a:ext uri="{FF2B5EF4-FFF2-40B4-BE49-F238E27FC236}">
              <a16:creationId xmlns:a16="http://schemas.microsoft.com/office/drawing/2014/main" id="{8EA5278D-1DA5-CCAB-3866-80726C332B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2" name="Google Shape;3342;g14072739ea5_12_0:notes">
            <a:extLst>
              <a:ext uri="{FF2B5EF4-FFF2-40B4-BE49-F238E27FC236}">
                <a16:creationId xmlns:a16="http://schemas.microsoft.com/office/drawing/2014/main" id="{C467510E-5ED7-7BB5-131E-DDB7E597104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43" name="Google Shape;3343;g14072739ea5_12_0:notes">
            <a:extLst>
              <a:ext uri="{FF2B5EF4-FFF2-40B4-BE49-F238E27FC236}">
                <a16:creationId xmlns:a16="http://schemas.microsoft.com/office/drawing/2014/main" id="{907F200B-0852-92EE-199F-EE8C012DDE8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498108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5" name="Google Shape;3305;g54dda1946d_6_3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06" name="Google Shape;3306;g54dda1946d_6_33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/>
            <a:r>
              <a:rPr lang="en-US" sz="1100" dirty="0"/>
              <a:t>Step 1: Project future emissions based on population, economic growth, and other factors.</a:t>
            </a:r>
          </a:p>
          <a:p>
            <a:pPr marL="0" lvl="0" indent="0" algn="l"/>
            <a:r>
              <a:rPr lang="en-US" sz="1100" dirty="0"/>
              <a:t>Step 2: Model future climate responses, such as temperature increase and sea level rise.</a:t>
            </a:r>
          </a:p>
          <a:p>
            <a:pPr marL="0" lvl="0" indent="0" algn="l"/>
            <a:r>
              <a:rPr lang="en-US" sz="1100" dirty="0"/>
              <a:t>Step 3: Assess the impacts that these climatic changes will have on economic and social outcomes like agriculture, human health, energy use, and damage to coastal infrastructure.</a:t>
            </a:r>
          </a:p>
          <a:p>
            <a:pPr marL="0" lvl="0" indent="0" algn="l"/>
            <a:r>
              <a:rPr lang="en-US" sz="1100" dirty="0"/>
              <a:t>Step 4: Convert future damages into their present-day values and add them up to determine total damages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604288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41">
          <a:extLst>
            <a:ext uri="{FF2B5EF4-FFF2-40B4-BE49-F238E27FC236}">
              <a16:creationId xmlns:a16="http://schemas.microsoft.com/office/drawing/2014/main" id="{0EC1D629-7E20-AFD3-B4DD-D3FA35BBEB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2" name="Google Shape;3342;g14072739ea5_12_0:notes">
            <a:extLst>
              <a:ext uri="{FF2B5EF4-FFF2-40B4-BE49-F238E27FC236}">
                <a16:creationId xmlns:a16="http://schemas.microsoft.com/office/drawing/2014/main" id="{E481C09E-06D8-D20B-EB11-62F220344E1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43" name="Google Shape;3343;g14072739ea5_12_0:notes">
            <a:extLst>
              <a:ext uri="{FF2B5EF4-FFF2-40B4-BE49-F238E27FC236}">
                <a16:creationId xmlns:a16="http://schemas.microsoft.com/office/drawing/2014/main" id="{27BDDCB9-933A-18F5-CCFF-AB09CF3B945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9325166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43" name="Google Shape;4743;g54dda1946d_4_27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744" name="Google Shape;4744;g54dda1946d_4_27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742">
          <a:extLst>
            <a:ext uri="{FF2B5EF4-FFF2-40B4-BE49-F238E27FC236}">
              <a16:creationId xmlns:a16="http://schemas.microsoft.com/office/drawing/2014/main" id="{26CF6C9D-0EFE-7D1F-D88E-3F4D145246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43" name="Google Shape;4743;g54dda1946d_4_2726:notes">
            <a:extLst>
              <a:ext uri="{FF2B5EF4-FFF2-40B4-BE49-F238E27FC236}">
                <a16:creationId xmlns:a16="http://schemas.microsoft.com/office/drawing/2014/main" id="{9664B28C-BFDA-5FB4-F346-8E2632691DE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744" name="Google Shape;4744;g54dda1946d_4_2726:notes">
            <a:extLst>
              <a:ext uri="{FF2B5EF4-FFF2-40B4-BE49-F238E27FC236}">
                <a16:creationId xmlns:a16="http://schemas.microsoft.com/office/drawing/2014/main" id="{2CCEC213-0690-A1B4-C396-3A321B209C0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The document begins by citing Nobel Laurette William Nordhaus who estimated India’s SCC at about </a:t>
            </a:r>
            <a:r>
              <a:rPr lang="en-US" sz="1100" b="0" i="0" u="none" strike="noStrike" cap="none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  <a:hlinkClick r:id="rId3"/>
              </a:rPr>
              <a:t>US$2.9/tCO2 in 2015</a:t>
            </a:r>
            <a:r>
              <a:rPr lang="en-US" sz="1100" b="0" i="0" u="none" strike="noStrike" cap="none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 and then proceeds to compare the social cost of coal with the social cost of renewables (RE).</a:t>
            </a:r>
          </a:p>
          <a:p>
            <a:r>
              <a:rPr lang="en-US" sz="1100" b="0" i="0" u="none" strike="noStrike" cap="none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To calculate SCC, the Interagency Working Group (IWG) pools the outputs from three different </a:t>
            </a:r>
            <a:r>
              <a:rPr lang="en-US" sz="1100" b="0" i="0" u="none" strike="noStrike" cap="none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  <a:hlinkClick r:id="rId4"/>
              </a:rPr>
              <a:t>Integrated Assessment Models</a:t>
            </a:r>
            <a:r>
              <a:rPr lang="en-US" sz="1100" b="0" i="0" u="none" strike="noStrike" cap="none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 (IAMs).</a:t>
            </a:r>
          </a:p>
          <a:p>
            <a:r>
              <a:rPr lang="en-US" sz="1100" b="0" i="0" u="none" strike="noStrike" cap="none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  <a:hlinkClick r:id="rId5"/>
              </a:rPr>
              <a:t>DICE</a:t>
            </a:r>
            <a:r>
              <a:rPr lang="en-US" sz="1100" b="0" i="0" u="none" strike="noStrike" cap="none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 (Dynamic Integrated Climate-Economy model) is developed by </a:t>
            </a:r>
            <a:r>
              <a:rPr lang="en-US" sz="1100" b="0" i="0" u="none" strike="noStrike" cap="none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  <a:hlinkClick r:id="rId6"/>
              </a:rPr>
              <a:t>William Nordhaus</a:t>
            </a:r>
            <a:r>
              <a:rPr lang="en-US" sz="1100" b="0" i="0" u="none" strike="noStrike" cap="none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, a professor of economics at Yale University. </a:t>
            </a:r>
            <a:r>
              <a:rPr lang="en-US" sz="1100" b="0" i="0" u="none" strike="noStrike" cap="none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  <a:hlinkClick r:id="rId7"/>
              </a:rPr>
              <a:t>FUND</a:t>
            </a:r>
            <a:r>
              <a:rPr lang="en-US" sz="1100" b="0" i="0" u="none" strike="noStrike" cap="none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 (Framework for Uncertainty, Negotiation and Distribution model) was originally developed by </a:t>
            </a:r>
            <a:r>
              <a:rPr lang="en-US" sz="1100" b="0" i="0" u="none" strike="noStrike" cap="none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  <a:hlinkClick r:id="rId8"/>
              </a:rPr>
              <a:t>Richard Tol</a:t>
            </a:r>
            <a:r>
              <a:rPr lang="en-US" sz="1100" b="0" i="0" u="none" strike="noStrike" cap="none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, a professor at the University of Sussex, but is now co-developed by Tol and </a:t>
            </a:r>
            <a:r>
              <a:rPr lang="en-US" sz="1100" b="0" i="0" u="none" strike="noStrike" cap="none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  <a:hlinkClick r:id="rId9"/>
              </a:rPr>
              <a:t>David Anthoff</a:t>
            </a:r>
            <a:r>
              <a:rPr lang="en-US" sz="1100" b="0" i="0" u="none" strike="noStrike" cap="none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, assistant professor at the University of California. </a:t>
            </a:r>
            <a:r>
              <a:rPr lang="en-US" sz="1100" b="0" i="0" u="none" strike="noStrike" cap="none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  <a:hlinkClick r:id="rId10"/>
              </a:rPr>
              <a:t>PAGE</a:t>
            </a:r>
            <a:r>
              <a:rPr lang="en-US" sz="1100" b="0" i="0" u="none" strike="noStrike" cap="none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 (Policy Analysis of the Greenhouse Effect model) is developed by </a:t>
            </a:r>
            <a:r>
              <a:rPr lang="en-US" sz="1100" b="0" i="0" u="none" strike="noStrike" cap="none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  <a:hlinkClick r:id="rId11"/>
              </a:rPr>
              <a:t>Chris Hope</a:t>
            </a:r>
            <a:r>
              <a:rPr lang="en-US" sz="1100" b="0" i="0" u="none" strike="noStrike" cap="none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 from the University of Cambridge, UK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100" b="0" i="0" u="none" strike="noStrike" cap="none" dirty="0">
              <a:solidFill>
                <a:srgbClr val="000000"/>
              </a:solidFill>
              <a:effectLst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402761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41">
          <a:extLst>
            <a:ext uri="{FF2B5EF4-FFF2-40B4-BE49-F238E27FC236}">
              <a16:creationId xmlns:a16="http://schemas.microsoft.com/office/drawing/2014/main" id="{9BD7CC76-B835-B698-C991-9A130180C8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2" name="Google Shape;3342;g14072739ea5_12_0:notes">
            <a:extLst>
              <a:ext uri="{FF2B5EF4-FFF2-40B4-BE49-F238E27FC236}">
                <a16:creationId xmlns:a16="http://schemas.microsoft.com/office/drawing/2014/main" id="{6B55E308-DBBC-CA61-03ED-49E0FFAD184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43" name="Google Shape;3343;g14072739ea5_12_0:notes">
            <a:extLst>
              <a:ext uri="{FF2B5EF4-FFF2-40B4-BE49-F238E27FC236}">
                <a16:creationId xmlns:a16="http://schemas.microsoft.com/office/drawing/2014/main" id="{B25FAC67-6EF8-6340-5667-B894FD95B8D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6735164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41">
          <a:extLst>
            <a:ext uri="{FF2B5EF4-FFF2-40B4-BE49-F238E27FC236}">
              <a16:creationId xmlns:a16="http://schemas.microsoft.com/office/drawing/2014/main" id="{9BD7CC76-B835-B698-C991-9A130180C8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2" name="Google Shape;3342;g14072739ea5_12_0:notes">
            <a:extLst>
              <a:ext uri="{FF2B5EF4-FFF2-40B4-BE49-F238E27FC236}">
                <a16:creationId xmlns:a16="http://schemas.microsoft.com/office/drawing/2014/main" id="{6B55E308-DBBC-CA61-03ED-49E0FFAD184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43" name="Google Shape;3343;g14072739ea5_12_0:notes">
            <a:extLst>
              <a:ext uri="{FF2B5EF4-FFF2-40B4-BE49-F238E27FC236}">
                <a16:creationId xmlns:a16="http://schemas.microsoft.com/office/drawing/2014/main" id="{B25FAC67-6EF8-6340-5667-B894FD95B8D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6162366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742">
          <a:extLst>
            <a:ext uri="{FF2B5EF4-FFF2-40B4-BE49-F238E27FC236}">
              <a16:creationId xmlns:a16="http://schemas.microsoft.com/office/drawing/2014/main" id="{F4EACFBD-4995-660A-D827-369A457A87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43" name="Google Shape;4743;g54dda1946d_4_2726:notes">
            <a:extLst>
              <a:ext uri="{FF2B5EF4-FFF2-40B4-BE49-F238E27FC236}">
                <a16:creationId xmlns:a16="http://schemas.microsoft.com/office/drawing/2014/main" id="{15BFB156-9788-2C51-124C-640318DD46C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744" name="Google Shape;4744;g54dda1946d_4_2726:notes">
            <a:extLst>
              <a:ext uri="{FF2B5EF4-FFF2-40B4-BE49-F238E27FC236}">
                <a16:creationId xmlns:a16="http://schemas.microsoft.com/office/drawing/2014/main" id="{5EC29D7A-1DA5-FD93-A2A2-D567A3D91F6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7476583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41">
          <a:extLst>
            <a:ext uri="{FF2B5EF4-FFF2-40B4-BE49-F238E27FC236}">
              <a16:creationId xmlns:a16="http://schemas.microsoft.com/office/drawing/2014/main" id="{B7BC1421-26E3-D9C8-0D69-16C232B060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2" name="Google Shape;3342;g14072739ea5_12_0:notes">
            <a:extLst>
              <a:ext uri="{FF2B5EF4-FFF2-40B4-BE49-F238E27FC236}">
                <a16:creationId xmlns:a16="http://schemas.microsoft.com/office/drawing/2014/main" id="{22001C55-4253-3735-0D5A-68DBCCBE670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43" name="Google Shape;3343;g14072739ea5_12_0:notes">
            <a:extLst>
              <a:ext uri="{FF2B5EF4-FFF2-40B4-BE49-F238E27FC236}">
                <a16:creationId xmlns:a16="http://schemas.microsoft.com/office/drawing/2014/main" id="{08866E0C-E925-D224-DC9C-403A6316F9C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020242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41">
          <a:extLst>
            <a:ext uri="{FF2B5EF4-FFF2-40B4-BE49-F238E27FC236}">
              <a16:creationId xmlns:a16="http://schemas.microsoft.com/office/drawing/2014/main" id="{6F0E7488-6AB8-14C6-70B2-022DF8D6C3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2" name="Google Shape;3342;g14072739ea5_12_0:notes">
            <a:extLst>
              <a:ext uri="{FF2B5EF4-FFF2-40B4-BE49-F238E27FC236}">
                <a16:creationId xmlns:a16="http://schemas.microsoft.com/office/drawing/2014/main" id="{594DBBF5-C17D-A221-07B7-815F4A4DD91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43" name="Google Shape;3343;g14072739ea5_12_0:notes">
            <a:extLst>
              <a:ext uri="{FF2B5EF4-FFF2-40B4-BE49-F238E27FC236}">
                <a16:creationId xmlns:a16="http://schemas.microsoft.com/office/drawing/2014/main" id="{A2FF3FD3-FF07-31C6-8812-B732D7DCE12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210846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41">
          <a:extLst>
            <a:ext uri="{FF2B5EF4-FFF2-40B4-BE49-F238E27FC236}">
              <a16:creationId xmlns:a16="http://schemas.microsoft.com/office/drawing/2014/main" id="{31F49C62-982D-23F3-AE87-5AA09C6443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2" name="Google Shape;3342;g14072739ea5_12_0:notes">
            <a:extLst>
              <a:ext uri="{FF2B5EF4-FFF2-40B4-BE49-F238E27FC236}">
                <a16:creationId xmlns:a16="http://schemas.microsoft.com/office/drawing/2014/main" id="{5DABE86B-52B2-E476-DA94-45193BDB9C6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43" name="Google Shape;3343;g14072739ea5_12_0:notes">
            <a:extLst>
              <a:ext uri="{FF2B5EF4-FFF2-40B4-BE49-F238E27FC236}">
                <a16:creationId xmlns:a16="http://schemas.microsoft.com/office/drawing/2014/main" id="{4ACEE4AE-EDCA-B0D6-7B89-E4829265638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2404341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41">
          <a:extLst>
            <a:ext uri="{FF2B5EF4-FFF2-40B4-BE49-F238E27FC236}">
              <a16:creationId xmlns:a16="http://schemas.microsoft.com/office/drawing/2014/main" id="{DDBE3964-0105-515E-A063-201A992C6E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2" name="Google Shape;3342;g14072739ea5_12_0:notes">
            <a:extLst>
              <a:ext uri="{FF2B5EF4-FFF2-40B4-BE49-F238E27FC236}">
                <a16:creationId xmlns:a16="http://schemas.microsoft.com/office/drawing/2014/main" id="{41DEAC4F-B077-027B-99B2-8A412A025A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43" name="Google Shape;3343;g14072739ea5_12_0:notes">
            <a:extLst>
              <a:ext uri="{FF2B5EF4-FFF2-40B4-BE49-F238E27FC236}">
                <a16:creationId xmlns:a16="http://schemas.microsoft.com/office/drawing/2014/main" id="{AA0BF36E-8958-FC57-A2C5-2FFF8C66026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54608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04">
          <a:extLst>
            <a:ext uri="{FF2B5EF4-FFF2-40B4-BE49-F238E27FC236}">
              <a16:creationId xmlns:a16="http://schemas.microsoft.com/office/drawing/2014/main" id="{B9480D51-9A75-EEB2-B812-D323A43F67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5" name="Google Shape;3305;g54dda1946d_6_332:notes">
            <a:extLst>
              <a:ext uri="{FF2B5EF4-FFF2-40B4-BE49-F238E27FC236}">
                <a16:creationId xmlns:a16="http://schemas.microsoft.com/office/drawing/2014/main" id="{FFAD3466-5E74-6368-EA65-C9B65DBCB75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06" name="Google Shape;3306;g54dda1946d_6_332:notes">
            <a:extLst>
              <a:ext uri="{FF2B5EF4-FFF2-40B4-BE49-F238E27FC236}">
                <a16:creationId xmlns:a16="http://schemas.microsoft.com/office/drawing/2014/main" id="{1D1D25D6-5C3A-27E7-5499-21E4FF327DC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9683780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86" name="Google Shape;8686;g51b1a71d38_3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87" name="Google Shape;8687;g51b1a71d38_3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36" name="Google Shape;4336;g54dda1946d_6_3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337" name="Google Shape;4337;g54dda1946d_6_3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5" name="Google Shape;3305;g54dda1946d_6_3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06" name="Google Shape;3306;g54dda1946d_6_33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/>
            <a:r>
              <a:rPr lang="en-US" dirty="0"/>
              <a:t>The SCC in the U.S. is a </a:t>
            </a:r>
            <a:r>
              <a:rPr lang="en-US" b="1" dirty="0"/>
              <a:t>decision-making tool</a:t>
            </a:r>
            <a:r>
              <a:rPr lang="en-US" dirty="0"/>
              <a:t> for the government. It translates tons of CO₂ into dollar damages so policymakers can weigh </a:t>
            </a:r>
            <a:r>
              <a:rPr lang="en-US" b="1" dirty="0"/>
              <a:t>climate costs vs. economic costs</a:t>
            </a:r>
            <a:r>
              <a:rPr lang="en-US" dirty="0"/>
              <a:t> of regulations and projects.</a:t>
            </a:r>
          </a:p>
          <a:p>
            <a:pPr marL="0" lvl="0" indent="0" algn="l"/>
            <a:endParaRPr lang="en-US" dirty="0"/>
          </a:p>
          <a:p>
            <a:r>
              <a:rPr lang="en-US" b="1" dirty="0"/>
              <a:t>1. Regulatory Impact Analysis</a:t>
            </a:r>
          </a:p>
          <a:p>
            <a:r>
              <a:rPr lang="en-US" dirty="0"/>
              <a:t>Federal agencies (like the EPA, Department of Energy, Department of Transportation) must evaluate the costs and benefits of new rules.</a:t>
            </a:r>
          </a:p>
          <a:p>
            <a:pPr marL="0" lvl="0" indent="0" algn="l"/>
            <a:endParaRPr lang="en-US" dirty="0"/>
          </a:p>
          <a:p>
            <a:r>
              <a:rPr lang="en-US" b="1" dirty="0"/>
              <a:t>📌 2. Infrastructure and Federal </a:t>
            </a:r>
            <a:r>
              <a:rPr lang="en-US" b="1" dirty="0" err="1"/>
              <a:t>Projects:</a:t>
            </a:r>
            <a:r>
              <a:rPr lang="en-US" dirty="0" err="1"/>
              <a:t>This</a:t>
            </a:r>
            <a:r>
              <a:rPr lang="en-US" dirty="0"/>
              <a:t> helps compare projects fairly — e.g., a renewable energy project shows avoided SCC damages compared to fossil fuel projects.</a:t>
            </a:r>
          </a:p>
          <a:p>
            <a:r>
              <a:rPr lang="en-US" b="1" dirty="0"/>
              <a:t>3. Legal and Court Cases</a:t>
            </a:r>
          </a:p>
          <a:p>
            <a:r>
              <a:rPr lang="en-US" dirty="0"/>
              <a:t>U.S. courts have required agencies to consider climate damages in environmental reviews (under the National Environmental Policy Act, NEPA).</a:t>
            </a:r>
          </a:p>
          <a:p>
            <a:r>
              <a:rPr lang="en-US" dirty="0"/>
              <a:t>Agencies often use SCC to quantify these damages, since ignoring them can lead to lawsuits.</a:t>
            </a:r>
          </a:p>
          <a:p>
            <a:r>
              <a:rPr lang="en-US" b="1" dirty="0"/>
              <a:t>📌 4. Policy Design &amp; Justification</a:t>
            </a:r>
          </a:p>
          <a:p>
            <a:r>
              <a:rPr lang="en-US" dirty="0"/>
              <a:t>SCC helps justify </a:t>
            </a:r>
            <a:r>
              <a:rPr lang="en-US" b="1" dirty="0"/>
              <a:t>climate policies</a:t>
            </a:r>
            <a:r>
              <a:rPr lang="en-US" dirty="0"/>
              <a:t> Without SCC, benefits of emission cuts would look “too small” compared to compliance costs. SCC ensures climate benefits are properly valued.</a:t>
            </a:r>
          </a:p>
          <a:p>
            <a:r>
              <a:rPr lang="en-US" b="1" dirty="0"/>
              <a:t>📌 5. Current Value in the U.S.</a:t>
            </a:r>
          </a:p>
          <a:p>
            <a:r>
              <a:rPr lang="en-US" dirty="0"/>
              <a:t>Interim federal estimate: </a:t>
            </a:r>
            <a:r>
              <a:rPr lang="en-US" b="1" dirty="0"/>
              <a:t>$51 per ton of CO₂</a:t>
            </a:r>
            <a:r>
              <a:rPr lang="en-US" dirty="0"/>
              <a:t> (at a 3% discount rate, 2021 update).</a:t>
            </a:r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en-US" dirty="0"/>
              <a:t>Discount</a:t>
            </a:r>
            <a:r>
              <a:rPr lang="en-US" baseline="0" dirty="0"/>
              <a:t> rate: present value of future money</a:t>
            </a:r>
            <a:endParaRPr lang="en-US" dirty="0"/>
          </a:p>
          <a:p>
            <a:endParaRPr lang="en-US" dirty="0"/>
          </a:p>
          <a:p>
            <a:r>
              <a:rPr lang="en-US" dirty="0"/>
              <a:t>The Biden administration has asked agencies to update SCC using newer science → estimates may rise to </a:t>
            </a:r>
            <a:r>
              <a:rPr lang="en-US" b="1" dirty="0"/>
              <a:t>$100+ per ton</a:t>
            </a:r>
            <a:r>
              <a:rPr lang="en-US" dirty="0"/>
              <a:t>.</a:t>
            </a:r>
          </a:p>
          <a:p>
            <a:pPr marL="0" lvl="0" indent="0" algn="l">
              <a:buNone/>
            </a:pPr>
            <a:endParaRPr lang="en-US" dirty="0"/>
          </a:p>
          <a:p>
            <a:pPr marL="0" lvl="0" indent="0" algn="l"/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817766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04">
          <a:extLst>
            <a:ext uri="{FF2B5EF4-FFF2-40B4-BE49-F238E27FC236}">
              <a16:creationId xmlns:a16="http://schemas.microsoft.com/office/drawing/2014/main" id="{FD4EA3C0-4EF9-D867-55C7-EC56B8C2B3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5" name="Google Shape;3305;g54dda1946d_6_332:notes">
            <a:extLst>
              <a:ext uri="{FF2B5EF4-FFF2-40B4-BE49-F238E27FC236}">
                <a16:creationId xmlns:a16="http://schemas.microsoft.com/office/drawing/2014/main" id="{708E8E54-E29D-7366-FBE2-396AA8ABF9D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06" name="Google Shape;3306;g54dda1946d_6_332:notes">
            <a:extLst>
              <a:ext uri="{FF2B5EF4-FFF2-40B4-BE49-F238E27FC236}">
                <a16:creationId xmlns:a16="http://schemas.microsoft.com/office/drawing/2014/main" id="{72364120-1526-D37E-43E1-F3FCD1025E1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/>
            <a:r>
              <a:rPr lang="en-US" dirty="0"/>
              <a:t>The SCC in the U.S. is a </a:t>
            </a:r>
            <a:r>
              <a:rPr lang="en-US" b="1" dirty="0"/>
              <a:t>decision-making tool</a:t>
            </a:r>
            <a:r>
              <a:rPr lang="en-US" dirty="0"/>
              <a:t> for the government. It translates tons of CO₂ into dollar damages so policymakers can weigh </a:t>
            </a:r>
            <a:r>
              <a:rPr lang="en-US" b="1" dirty="0"/>
              <a:t>climate costs vs. economic costs</a:t>
            </a:r>
            <a:r>
              <a:rPr lang="en-US" dirty="0"/>
              <a:t> of regulations and projects.</a:t>
            </a:r>
          </a:p>
          <a:p>
            <a:pPr marL="0" lvl="0" indent="0" algn="l"/>
            <a:endParaRPr lang="en-US" dirty="0"/>
          </a:p>
          <a:p>
            <a:r>
              <a:rPr lang="en-US" b="1" dirty="0"/>
              <a:t>1. Regulatory Impact Analysis</a:t>
            </a:r>
          </a:p>
          <a:p>
            <a:r>
              <a:rPr lang="en-US" dirty="0"/>
              <a:t>Federal agencies (like the EPA, Department of Energy, Department of Transportation) must evaluate the costs and benefits of new rules.</a:t>
            </a:r>
          </a:p>
          <a:p>
            <a:pPr marL="0" lvl="0" indent="0" algn="l"/>
            <a:endParaRPr lang="en-US" dirty="0"/>
          </a:p>
          <a:p>
            <a:r>
              <a:rPr lang="en-US" b="1" dirty="0"/>
              <a:t>📌 2. Infrastructure and Federal </a:t>
            </a:r>
            <a:r>
              <a:rPr lang="en-US" b="1" dirty="0" err="1"/>
              <a:t>Projects:</a:t>
            </a:r>
            <a:r>
              <a:rPr lang="en-US" dirty="0" err="1"/>
              <a:t>This</a:t>
            </a:r>
            <a:r>
              <a:rPr lang="en-US" dirty="0"/>
              <a:t> helps compare projects fairly — e.g., a renewable energy project shows avoided SCC damages compared to fossil fuel projects.</a:t>
            </a:r>
          </a:p>
          <a:p>
            <a:r>
              <a:rPr lang="en-US" b="1" dirty="0"/>
              <a:t>3. Legal and Court Cases</a:t>
            </a:r>
          </a:p>
          <a:p>
            <a:r>
              <a:rPr lang="en-US" dirty="0"/>
              <a:t>U.S. courts have required agencies to consider climate damages in environmental reviews (under the National Environmental Policy Act, NEPA).</a:t>
            </a:r>
          </a:p>
          <a:p>
            <a:r>
              <a:rPr lang="en-US" dirty="0"/>
              <a:t>Agencies often use SCC to quantify these damages, since ignoring them can lead to lawsuits.</a:t>
            </a:r>
          </a:p>
          <a:p>
            <a:r>
              <a:rPr lang="en-US" b="1" dirty="0"/>
              <a:t>📌 4. Policy Design &amp; Justification</a:t>
            </a:r>
          </a:p>
          <a:p>
            <a:r>
              <a:rPr lang="en-US" dirty="0"/>
              <a:t>SCC helps justify </a:t>
            </a:r>
            <a:r>
              <a:rPr lang="en-US" b="1" dirty="0"/>
              <a:t>climate policies</a:t>
            </a:r>
            <a:r>
              <a:rPr lang="en-US" dirty="0"/>
              <a:t> Without SCC, benefits of emission cuts would look “too small” compared to compliance costs. SCC ensures climate benefits are properly valued.</a:t>
            </a:r>
          </a:p>
          <a:p>
            <a:r>
              <a:rPr lang="en-US" b="1" dirty="0"/>
              <a:t>📌 5. Current Value in the U.S.</a:t>
            </a:r>
          </a:p>
          <a:p>
            <a:r>
              <a:rPr lang="en-US" dirty="0"/>
              <a:t>Interim federal estimate: </a:t>
            </a:r>
            <a:r>
              <a:rPr lang="en-US" b="1" dirty="0"/>
              <a:t>$51 per ton of CO₂</a:t>
            </a:r>
            <a:r>
              <a:rPr lang="en-US" dirty="0"/>
              <a:t> (at a 3% discount rate, 2021 update).</a:t>
            </a:r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en-US" dirty="0"/>
              <a:t>Discount</a:t>
            </a:r>
            <a:r>
              <a:rPr lang="en-US" baseline="0" dirty="0"/>
              <a:t> rate: present value of future money</a:t>
            </a:r>
            <a:endParaRPr lang="en-US" dirty="0"/>
          </a:p>
          <a:p>
            <a:endParaRPr lang="en-US" dirty="0"/>
          </a:p>
          <a:p>
            <a:r>
              <a:rPr lang="en-US" dirty="0"/>
              <a:t>The Biden administration has asked agencies to update SCC using newer science → estimates may rise to </a:t>
            </a:r>
            <a:r>
              <a:rPr lang="en-US" b="1" dirty="0"/>
              <a:t>$100+ per ton</a:t>
            </a:r>
            <a:r>
              <a:rPr lang="en-US" dirty="0"/>
              <a:t>.</a:t>
            </a:r>
          </a:p>
          <a:p>
            <a:pPr marL="0" lvl="0" indent="0" algn="l">
              <a:buNone/>
            </a:pPr>
            <a:endParaRPr lang="en-US" dirty="0"/>
          </a:p>
          <a:p>
            <a:pPr marL="0" lvl="0" indent="0" algn="l"/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375279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04">
          <a:extLst>
            <a:ext uri="{FF2B5EF4-FFF2-40B4-BE49-F238E27FC236}">
              <a16:creationId xmlns:a16="http://schemas.microsoft.com/office/drawing/2014/main" id="{23E4F81F-B6EE-5F06-E6B1-9EC3B78FCC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5" name="Google Shape;3305;g54dda1946d_6_332:notes">
            <a:extLst>
              <a:ext uri="{FF2B5EF4-FFF2-40B4-BE49-F238E27FC236}">
                <a16:creationId xmlns:a16="http://schemas.microsoft.com/office/drawing/2014/main" id="{9153EB97-82C0-7ED0-2DA9-55693A8399C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06" name="Google Shape;3306;g54dda1946d_6_332:notes">
            <a:extLst>
              <a:ext uri="{FF2B5EF4-FFF2-40B4-BE49-F238E27FC236}">
                <a16:creationId xmlns:a16="http://schemas.microsoft.com/office/drawing/2014/main" id="{D59A8090-5659-2135-158B-9A689F58E1B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/>
            <a:r>
              <a:rPr lang="en-US" dirty="0"/>
              <a:t>The SCC in the U.S. is a </a:t>
            </a:r>
            <a:r>
              <a:rPr lang="en-US" b="1" dirty="0"/>
              <a:t>decision-making tool</a:t>
            </a:r>
            <a:r>
              <a:rPr lang="en-US" dirty="0"/>
              <a:t> for the government. It translates tons of CO₂ into dollar damages so policymakers can weigh </a:t>
            </a:r>
            <a:r>
              <a:rPr lang="en-US" b="1" dirty="0"/>
              <a:t>climate costs vs. economic costs</a:t>
            </a:r>
            <a:r>
              <a:rPr lang="en-US" dirty="0"/>
              <a:t> of regulations and projects.</a:t>
            </a:r>
          </a:p>
          <a:p>
            <a:pPr marL="0" lvl="0" indent="0" algn="l"/>
            <a:endParaRPr lang="en-US" dirty="0"/>
          </a:p>
          <a:p>
            <a:r>
              <a:rPr lang="en-US" b="1" dirty="0"/>
              <a:t>1. Regulatory Impact Analysis</a:t>
            </a:r>
          </a:p>
          <a:p>
            <a:r>
              <a:rPr lang="en-US" dirty="0"/>
              <a:t>Federal agencies (like the EPA, Department of Energy, Department of Transportation) must evaluate the costs and benefits of new rules.</a:t>
            </a:r>
          </a:p>
          <a:p>
            <a:pPr marL="0" lvl="0" indent="0" algn="l"/>
            <a:endParaRPr lang="en-US" dirty="0"/>
          </a:p>
          <a:p>
            <a:r>
              <a:rPr lang="en-US" b="1" dirty="0"/>
              <a:t>📌 2. Infrastructure and Federal </a:t>
            </a:r>
            <a:r>
              <a:rPr lang="en-US" b="1" dirty="0" err="1"/>
              <a:t>Projects:</a:t>
            </a:r>
            <a:r>
              <a:rPr lang="en-US" dirty="0" err="1"/>
              <a:t>This</a:t>
            </a:r>
            <a:r>
              <a:rPr lang="en-US" dirty="0"/>
              <a:t> helps compare projects fairly — e.g., a renewable energy project shows avoided SCC damages compared to fossil fuel projects.</a:t>
            </a:r>
          </a:p>
          <a:p>
            <a:r>
              <a:rPr lang="en-US" b="1" dirty="0"/>
              <a:t>3. Legal and Court Cases</a:t>
            </a:r>
          </a:p>
          <a:p>
            <a:r>
              <a:rPr lang="en-US" dirty="0"/>
              <a:t>U.S. courts have required agencies to consider climate damages in environmental reviews (under the National Environmental Policy Act, NEPA).</a:t>
            </a:r>
          </a:p>
          <a:p>
            <a:r>
              <a:rPr lang="en-US" dirty="0"/>
              <a:t>Agencies often use SCC to quantify these damages, since ignoring them can lead to lawsuits.</a:t>
            </a:r>
          </a:p>
          <a:p>
            <a:r>
              <a:rPr lang="en-US" b="1" dirty="0"/>
              <a:t>📌 4. Policy Design &amp; Justification</a:t>
            </a:r>
          </a:p>
          <a:p>
            <a:r>
              <a:rPr lang="en-US" dirty="0"/>
              <a:t>SCC helps justify </a:t>
            </a:r>
            <a:r>
              <a:rPr lang="en-US" b="1" dirty="0"/>
              <a:t>climate policies</a:t>
            </a:r>
            <a:r>
              <a:rPr lang="en-US" dirty="0"/>
              <a:t> Without SCC, benefits of emission cuts would look “too small” compared to compliance costs. SCC ensures climate benefits are properly valued.</a:t>
            </a:r>
          </a:p>
          <a:p>
            <a:r>
              <a:rPr lang="en-US" b="1" dirty="0"/>
              <a:t>📌 5. Current Value in the U.S.</a:t>
            </a:r>
          </a:p>
          <a:p>
            <a:r>
              <a:rPr lang="en-US" dirty="0"/>
              <a:t>Interim federal estimate: </a:t>
            </a:r>
            <a:r>
              <a:rPr lang="en-US" b="1" dirty="0"/>
              <a:t>$51 per ton of CO₂</a:t>
            </a:r>
            <a:r>
              <a:rPr lang="en-US" dirty="0"/>
              <a:t> (at a 3% discount rate, 2021 update).</a:t>
            </a:r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en-US" dirty="0"/>
              <a:t>Discount</a:t>
            </a:r>
            <a:r>
              <a:rPr lang="en-US" baseline="0" dirty="0"/>
              <a:t> rate: present value of future money</a:t>
            </a:r>
            <a:endParaRPr lang="en-US" dirty="0"/>
          </a:p>
          <a:p>
            <a:endParaRPr lang="en-US" dirty="0"/>
          </a:p>
          <a:p>
            <a:r>
              <a:rPr lang="en-US" dirty="0"/>
              <a:t>The Biden administration has asked agencies to update SCC using newer science → estimates may rise to </a:t>
            </a:r>
            <a:r>
              <a:rPr lang="en-US" b="1" dirty="0"/>
              <a:t>$100+ per ton</a:t>
            </a:r>
            <a:r>
              <a:rPr lang="en-US" dirty="0"/>
              <a:t>.</a:t>
            </a:r>
          </a:p>
          <a:p>
            <a:pPr marL="0" lvl="0" indent="0" algn="l">
              <a:buNone/>
            </a:pPr>
            <a:endParaRPr lang="en-US" dirty="0"/>
          </a:p>
          <a:p>
            <a:pPr marL="0" lvl="0" indent="0" algn="l"/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843840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91" name="Google Shape;5391;g54dda1946d_4_27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392" name="Google Shape;5392;g54dda1946d_4_27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92">
          <a:extLst>
            <a:ext uri="{FF2B5EF4-FFF2-40B4-BE49-F238E27FC236}">
              <a16:creationId xmlns:a16="http://schemas.microsoft.com/office/drawing/2014/main" id="{7A01F4A0-04D6-DB00-5908-45E2C884FE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3" name="Google Shape;5493;g54dda1946d_4_2720:notes">
            <a:extLst>
              <a:ext uri="{FF2B5EF4-FFF2-40B4-BE49-F238E27FC236}">
                <a16:creationId xmlns:a16="http://schemas.microsoft.com/office/drawing/2014/main" id="{693CE72B-0883-DE17-703F-C5AC21F4C6B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494" name="Google Shape;5494;g54dda1946d_4_2720:notes">
            <a:extLst>
              <a:ext uri="{FF2B5EF4-FFF2-40B4-BE49-F238E27FC236}">
                <a16:creationId xmlns:a16="http://schemas.microsoft.com/office/drawing/2014/main" id="{BC58CEA2-5FAC-71B5-C704-E841B398836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371276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713225" y="539500"/>
            <a:ext cx="5120400" cy="175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4500">
                <a:latin typeface="Paytone One"/>
                <a:ea typeface="Paytone One"/>
                <a:cs typeface="Paytone One"/>
                <a:sym typeface="Paytone One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713225" y="2291775"/>
            <a:ext cx="2489400" cy="69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dk1"/>
                </a:solidFill>
                <a:latin typeface="Kumbh Sans"/>
                <a:ea typeface="Kumbh Sans"/>
                <a:cs typeface="Kumbh Sans"/>
                <a:sym typeface="Kumbh Sans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mbers and text">
  <p:cSld name="CUSTOM_8">
    <p:spTree>
      <p:nvGrpSpPr>
        <p:cNvPr id="1" name="Shape 1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2" name="Google Shape;1712;p25"/>
          <p:cNvSpPr txBox="1">
            <a:spLocks noGrp="1"/>
          </p:cNvSpPr>
          <p:nvPr>
            <p:ph type="title" hasCustomPrompt="1"/>
          </p:nvPr>
        </p:nvSpPr>
        <p:spPr>
          <a:xfrm>
            <a:off x="791563" y="692375"/>
            <a:ext cx="3657600" cy="7689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4800">
                <a:solidFill>
                  <a:schemeClr val="dk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713" name="Google Shape;1713;p25"/>
          <p:cNvSpPr txBox="1">
            <a:spLocks noGrp="1"/>
          </p:cNvSpPr>
          <p:nvPr>
            <p:ph type="subTitle" idx="1"/>
          </p:nvPr>
        </p:nvSpPr>
        <p:spPr>
          <a:xfrm>
            <a:off x="791563" y="1297976"/>
            <a:ext cx="3657600" cy="36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PT Sans"/>
              <a:buNone/>
              <a:defRPr sz="1600">
                <a:solidFill>
                  <a:schemeClr val="dk1"/>
                </a:solidFill>
                <a:latin typeface="Kumbh Sans"/>
                <a:ea typeface="Kumbh Sans"/>
                <a:cs typeface="Kumbh Sans"/>
                <a:sym typeface="Kumbh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9pPr>
          </a:lstStyle>
          <a:p>
            <a:endParaRPr/>
          </a:p>
        </p:txBody>
      </p:sp>
      <p:sp>
        <p:nvSpPr>
          <p:cNvPr id="1714" name="Google Shape;1714;p25"/>
          <p:cNvSpPr txBox="1">
            <a:spLocks noGrp="1"/>
          </p:cNvSpPr>
          <p:nvPr>
            <p:ph type="title" idx="2" hasCustomPrompt="1"/>
          </p:nvPr>
        </p:nvSpPr>
        <p:spPr>
          <a:xfrm>
            <a:off x="4694838" y="692375"/>
            <a:ext cx="3657600" cy="7689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4800">
                <a:solidFill>
                  <a:schemeClr val="dk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715" name="Google Shape;1715;p25"/>
          <p:cNvSpPr txBox="1">
            <a:spLocks noGrp="1"/>
          </p:cNvSpPr>
          <p:nvPr>
            <p:ph type="subTitle" idx="3"/>
          </p:nvPr>
        </p:nvSpPr>
        <p:spPr>
          <a:xfrm>
            <a:off x="4694838" y="1310696"/>
            <a:ext cx="3657600" cy="36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PT Sans"/>
              <a:buNone/>
              <a:defRPr sz="1600">
                <a:solidFill>
                  <a:schemeClr val="dk1"/>
                </a:solidFill>
                <a:latin typeface="Kumbh Sans"/>
                <a:ea typeface="Kumbh Sans"/>
                <a:cs typeface="Kumbh Sans"/>
                <a:sym typeface="Kumbh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9pPr>
          </a:lstStyle>
          <a:p>
            <a:endParaRPr/>
          </a:p>
        </p:txBody>
      </p:sp>
      <p:sp>
        <p:nvSpPr>
          <p:cNvPr id="1716" name="Google Shape;1716;p25"/>
          <p:cNvSpPr txBox="1">
            <a:spLocks noGrp="1"/>
          </p:cNvSpPr>
          <p:nvPr>
            <p:ph type="title" idx="4" hasCustomPrompt="1"/>
          </p:nvPr>
        </p:nvSpPr>
        <p:spPr>
          <a:xfrm>
            <a:off x="2286000" y="2491375"/>
            <a:ext cx="4572000" cy="7689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4800">
                <a:solidFill>
                  <a:schemeClr val="dk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None/>
              <a:defRPr sz="6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717" name="Google Shape;1717;p25"/>
          <p:cNvSpPr txBox="1">
            <a:spLocks noGrp="1"/>
          </p:cNvSpPr>
          <p:nvPr>
            <p:ph type="subTitle" idx="5"/>
          </p:nvPr>
        </p:nvSpPr>
        <p:spPr>
          <a:xfrm>
            <a:off x="2286000" y="3122401"/>
            <a:ext cx="4572000" cy="36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PT Sans"/>
              <a:buNone/>
              <a:defRPr sz="1600">
                <a:solidFill>
                  <a:schemeClr val="dk1"/>
                </a:solidFill>
                <a:latin typeface="Kumbh Sans"/>
                <a:ea typeface="Kumbh Sans"/>
                <a:cs typeface="Kumbh Sans"/>
                <a:sym typeface="Kumbh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9pPr>
          </a:lstStyle>
          <a:p>
            <a:endParaRPr/>
          </a:p>
        </p:txBody>
      </p:sp>
      <p:grpSp>
        <p:nvGrpSpPr>
          <p:cNvPr id="1718" name="Google Shape;1718;p25"/>
          <p:cNvGrpSpPr/>
          <p:nvPr/>
        </p:nvGrpSpPr>
        <p:grpSpPr>
          <a:xfrm>
            <a:off x="7189524" y="4692063"/>
            <a:ext cx="2749703" cy="122913"/>
            <a:chOff x="5024149" y="4918613"/>
            <a:chExt cx="2749703" cy="122913"/>
          </a:xfrm>
        </p:grpSpPr>
        <p:sp>
          <p:nvSpPr>
            <p:cNvPr id="1719" name="Google Shape;1719;p25"/>
            <p:cNvSpPr/>
            <p:nvPr/>
          </p:nvSpPr>
          <p:spPr>
            <a:xfrm>
              <a:off x="5121294" y="4919510"/>
              <a:ext cx="27619" cy="26802"/>
            </a:xfrm>
            <a:custGeom>
              <a:avLst/>
              <a:gdLst/>
              <a:ahLst/>
              <a:cxnLst/>
              <a:rect l="l" t="t" r="r" b="b"/>
              <a:pathLst>
                <a:path w="1324" h="1285" extrusionOk="0">
                  <a:moveTo>
                    <a:pt x="690" y="1"/>
                  </a:moveTo>
                  <a:cubicBezTo>
                    <a:pt x="379" y="1"/>
                    <a:pt x="134" y="175"/>
                    <a:pt x="0" y="460"/>
                  </a:cubicBezTo>
                  <a:cubicBezTo>
                    <a:pt x="0" y="643"/>
                    <a:pt x="183" y="1031"/>
                    <a:pt x="297" y="1213"/>
                  </a:cubicBezTo>
                  <a:cubicBezTo>
                    <a:pt x="418" y="1262"/>
                    <a:pt x="528" y="1284"/>
                    <a:pt x="629" y="1284"/>
                  </a:cubicBezTo>
                  <a:cubicBezTo>
                    <a:pt x="909" y="1284"/>
                    <a:pt x="1123" y="1110"/>
                    <a:pt x="1324" y="825"/>
                  </a:cubicBezTo>
                  <a:cubicBezTo>
                    <a:pt x="1233" y="551"/>
                    <a:pt x="1141" y="163"/>
                    <a:pt x="1050" y="72"/>
                  </a:cubicBezTo>
                  <a:cubicBezTo>
                    <a:pt x="923" y="24"/>
                    <a:pt x="802" y="1"/>
                    <a:pt x="69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0" name="Google Shape;1720;p25"/>
            <p:cNvSpPr/>
            <p:nvPr/>
          </p:nvSpPr>
          <p:spPr>
            <a:xfrm>
              <a:off x="5307928" y="4919510"/>
              <a:ext cx="27639" cy="26802"/>
            </a:xfrm>
            <a:custGeom>
              <a:avLst/>
              <a:gdLst/>
              <a:ahLst/>
              <a:cxnLst/>
              <a:rect l="l" t="t" r="r" b="b"/>
              <a:pathLst>
                <a:path w="1325" h="1285" extrusionOk="0">
                  <a:moveTo>
                    <a:pt x="731" y="1"/>
                  </a:moveTo>
                  <a:cubicBezTo>
                    <a:pt x="435" y="1"/>
                    <a:pt x="159" y="175"/>
                    <a:pt x="92" y="460"/>
                  </a:cubicBezTo>
                  <a:cubicBezTo>
                    <a:pt x="1" y="643"/>
                    <a:pt x="183" y="1031"/>
                    <a:pt x="366" y="1213"/>
                  </a:cubicBezTo>
                  <a:cubicBezTo>
                    <a:pt x="469" y="1262"/>
                    <a:pt x="572" y="1284"/>
                    <a:pt x="671" y="1284"/>
                  </a:cubicBezTo>
                  <a:cubicBezTo>
                    <a:pt x="945" y="1284"/>
                    <a:pt x="1190" y="1110"/>
                    <a:pt x="1324" y="825"/>
                  </a:cubicBezTo>
                  <a:cubicBezTo>
                    <a:pt x="1233" y="551"/>
                    <a:pt x="1233" y="163"/>
                    <a:pt x="1051" y="72"/>
                  </a:cubicBezTo>
                  <a:cubicBezTo>
                    <a:pt x="948" y="24"/>
                    <a:pt x="838" y="1"/>
                    <a:pt x="73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1" name="Google Shape;1721;p25"/>
            <p:cNvSpPr/>
            <p:nvPr/>
          </p:nvSpPr>
          <p:spPr>
            <a:xfrm>
              <a:off x="5496482" y="4919823"/>
              <a:ext cx="25720" cy="27365"/>
            </a:xfrm>
            <a:custGeom>
              <a:avLst/>
              <a:gdLst/>
              <a:ahLst/>
              <a:cxnLst/>
              <a:rect l="l" t="t" r="r" b="b"/>
              <a:pathLst>
                <a:path w="1233" h="1312" extrusionOk="0">
                  <a:moveTo>
                    <a:pt x="656" y="0"/>
                  </a:moveTo>
                  <a:cubicBezTo>
                    <a:pt x="565" y="0"/>
                    <a:pt x="467" y="18"/>
                    <a:pt x="366" y="57"/>
                  </a:cubicBezTo>
                  <a:cubicBezTo>
                    <a:pt x="183" y="57"/>
                    <a:pt x="92" y="445"/>
                    <a:pt x="0" y="628"/>
                  </a:cubicBezTo>
                  <a:cubicBezTo>
                    <a:pt x="77" y="1106"/>
                    <a:pt x="346" y="1312"/>
                    <a:pt x="660" y="1312"/>
                  </a:cubicBezTo>
                  <a:cubicBezTo>
                    <a:pt x="720" y="1312"/>
                    <a:pt x="782" y="1304"/>
                    <a:pt x="845" y="1290"/>
                  </a:cubicBezTo>
                  <a:cubicBezTo>
                    <a:pt x="1028" y="1198"/>
                    <a:pt x="1233" y="810"/>
                    <a:pt x="1233" y="628"/>
                  </a:cubicBezTo>
                  <a:cubicBezTo>
                    <a:pt x="1233" y="250"/>
                    <a:pt x="992" y="0"/>
                    <a:pt x="65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2" name="Google Shape;1722;p25"/>
            <p:cNvSpPr/>
            <p:nvPr/>
          </p:nvSpPr>
          <p:spPr>
            <a:xfrm>
              <a:off x="5680738" y="4920490"/>
              <a:ext cx="33835" cy="26239"/>
            </a:xfrm>
            <a:custGeom>
              <a:avLst/>
              <a:gdLst/>
              <a:ahLst/>
              <a:cxnLst/>
              <a:rect l="l" t="t" r="r" b="b"/>
              <a:pathLst>
                <a:path w="1622" h="1258" extrusionOk="0">
                  <a:moveTo>
                    <a:pt x="743" y="1"/>
                  </a:moveTo>
                  <a:cubicBezTo>
                    <a:pt x="538" y="1"/>
                    <a:pt x="277" y="154"/>
                    <a:pt x="183" y="322"/>
                  </a:cubicBezTo>
                  <a:cubicBezTo>
                    <a:pt x="1" y="778"/>
                    <a:pt x="298" y="1166"/>
                    <a:pt x="754" y="1258"/>
                  </a:cubicBezTo>
                  <a:cubicBezTo>
                    <a:pt x="959" y="1166"/>
                    <a:pt x="1325" y="1075"/>
                    <a:pt x="1439" y="892"/>
                  </a:cubicBezTo>
                  <a:cubicBezTo>
                    <a:pt x="1621" y="413"/>
                    <a:pt x="1325" y="25"/>
                    <a:pt x="868" y="25"/>
                  </a:cubicBezTo>
                  <a:cubicBezTo>
                    <a:pt x="831" y="8"/>
                    <a:pt x="788" y="1"/>
                    <a:pt x="74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3" name="Google Shape;1723;p25"/>
            <p:cNvSpPr/>
            <p:nvPr/>
          </p:nvSpPr>
          <p:spPr>
            <a:xfrm>
              <a:off x="5871190" y="4919823"/>
              <a:ext cx="27639" cy="27365"/>
            </a:xfrm>
            <a:custGeom>
              <a:avLst/>
              <a:gdLst/>
              <a:ahLst/>
              <a:cxnLst/>
              <a:rect l="l" t="t" r="r" b="b"/>
              <a:pathLst>
                <a:path w="1325" h="1312" extrusionOk="0">
                  <a:moveTo>
                    <a:pt x="677" y="0"/>
                  </a:moveTo>
                  <a:cubicBezTo>
                    <a:pt x="587" y="0"/>
                    <a:pt x="491" y="18"/>
                    <a:pt x="389" y="57"/>
                  </a:cubicBezTo>
                  <a:cubicBezTo>
                    <a:pt x="184" y="57"/>
                    <a:pt x="92" y="445"/>
                    <a:pt x="1" y="628"/>
                  </a:cubicBezTo>
                  <a:cubicBezTo>
                    <a:pt x="77" y="1106"/>
                    <a:pt x="363" y="1312"/>
                    <a:pt x="682" y="1312"/>
                  </a:cubicBezTo>
                  <a:cubicBezTo>
                    <a:pt x="743" y="1312"/>
                    <a:pt x="806" y="1304"/>
                    <a:pt x="868" y="1290"/>
                  </a:cubicBezTo>
                  <a:cubicBezTo>
                    <a:pt x="1051" y="1198"/>
                    <a:pt x="1325" y="810"/>
                    <a:pt x="1233" y="628"/>
                  </a:cubicBezTo>
                  <a:cubicBezTo>
                    <a:pt x="1233" y="250"/>
                    <a:pt x="1007" y="0"/>
                    <a:pt x="6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4" name="Google Shape;1724;p25"/>
            <p:cNvSpPr/>
            <p:nvPr/>
          </p:nvSpPr>
          <p:spPr>
            <a:xfrm>
              <a:off x="6055947" y="4920490"/>
              <a:ext cx="33334" cy="26239"/>
            </a:xfrm>
            <a:custGeom>
              <a:avLst/>
              <a:gdLst/>
              <a:ahLst/>
              <a:cxnLst/>
              <a:rect l="l" t="t" r="r" b="b"/>
              <a:pathLst>
                <a:path w="1598" h="1258" extrusionOk="0">
                  <a:moveTo>
                    <a:pt x="728" y="1"/>
                  </a:moveTo>
                  <a:cubicBezTo>
                    <a:pt x="531" y="1"/>
                    <a:pt x="257" y="154"/>
                    <a:pt x="183" y="322"/>
                  </a:cubicBezTo>
                  <a:cubicBezTo>
                    <a:pt x="0" y="778"/>
                    <a:pt x="274" y="1166"/>
                    <a:pt x="753" y="1258"/>
                  </a:cubicBezTo>
                  <a:cubicBezTo>
                    <a:pt x="936" y="1166"/>
                    <a:pt x="1324" y="1075"/>
                    <a:pt x="1415" y="892"/>
                  </a:cubicBezTo>
                  <a:cubicBezTo>
                    <a:pt x="1598" y="413"/>
                    <a:pt x="1324" y="25"/>
                    <a:pt x="845" y="25"/>
                  </a:cubicBezTo>
                  <a:cubicBezTo>
                    <a:pt x="811" y="8"/>
                    <a:pt x="771" y="1"/>
                    <a:pt x="72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5" name="Google Shape;1725;p25"/>
            <p:cNvSpPr/>
            <p:nvPr/>
          </p:nvSpPr>
          <p:spPr>
            <a:xfrm>
              <a:off x="6244021" y="4919093"/>
              <a:ext cx="31916" cy="27636"/>
            </a:xfrm>
            <a:custGeom>
              <a:avLst/>
              <a:gdLst/>
              <a:ahLst/>
              <a:cxnLst/>
              <a:rect l="l" t="t" r="r" b="b"/>
              <a:pathLst>
                <a:path w="1530" h="1325" extrusionOk="0">
                  <a:moveTo>
                    <a:pt x="571" y="1"/>
                  </a:moveTo>
                  <a:cubicBezTo>
                    <a:pt x="206" y="183"/>
                    <a:pt x="0" y="571"/>
                    <a:pt x="206" y="959"/>
                  </a:cubicBezTo>
                  <a:cubicBezTo>
                    <a:pt x="297" y="1142"/>
                    <a:pt x="685" y="1325"/>
                    <a:pt x="867" y="1325"/>
                  </a:cubicBezTo>
                  <a:cubicBezTo>
                    <a:pt x="1347" y="1142"/>
                    <a:pt x="1529" y="754"/>
                    <a:pt x="1256" y="389"/>
                  </a:cubicBezTo>
                  <a:cubicBezTo>
                    <a:pt x="1141" y="183"/>
                    <a:pt x="867" y="92"/>
                    <a:pt x="57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6" name="Google Shape;1726;p25"/>
            <p:cNvSpPr/>
            <p:nvPr/>
          </p:nvSpPr>
          <p:spPr>
            <a:xfrm>
              <a:off x="6434473" y="4919823"/>
              <a:ext cx="26200" cy="27365"/>
            </a:xfrm>
            <a:custGeom>
              <a:avLst/>
              <a:gdLst/>
              <a:ahLst/>
              <a:cxnLst/>
              <a:rect l="l" t="t" r="r" b="b"/>
              <a:pathLst>
                <a:path w="1256" h="1312" extrusionOk="0">
                  <a:moveTo>
                    <a:pt x="679" y="0"/>
                  </a:moveTo>
                  <a:cubicBezTo>
                    <a:pt x="588" y="0"/>
                    <a:pt x="490" y="18"/>
                    <a:pt x="388" y="57"/>
                  </a:cubicBezTo>
                  <a:cubicBezTo>
                    <a:pt x="206" y="57"/>
                    <a:pt x="114" y="445"/>
                    <a:pt x="0" y="628"/>
                  </a:cubicBezTo>
                  <a:cubicBezTo>
                    <a:pt x="0" y="1106"/>
                    <a:pt x="273" y="1312"/>
                    <a:pt x="644" y="1312"/>
                  </a:cubicBezTo>
                  <a:cubicBezTo>
                    <a:pt x="715" y="1312"/>
                    <a:pt x="790" y="1304"/>
                    <a:pt x="868" y="1290"/>
                  </a:cubicBezTo>
                  <a:cubicBezTo>
                    <a:pt x="1050" y="1198"/>
                    <a:pt x="1256" y="810"/>
                    <a:pt x="1256" y="628"/>
                  </a:cubicBezTo>
                  <a:cubicBezTo>
                    <a:pt x="1256" y="250"/>
                    <a:pt x="1015" y="0"/>
                    <a:pt x="67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7" name="Google Shape;1727;p25"/>
            <p:cNvSpPr/>
            <p:nvPr/>
          </p:nvSpPr>
          <p:spPr>
            <a:xfrm>
              <a:off x="6621107" y="4919176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02" y="1"/>
                  </a:moveTo>
                  <a:cubicBezTo>
                    <a:pt x="577" y="1"/>
                    <a:pt x="440" y="31"/>
                    <a:pt x="298" y="88"/>
                  </a:cubicBezTo>
                  <a:cubicBezTo>
                    <a:pt x="183" y="179"/>
                    <a:pt x="1" y="567"/>
                    <a:pt x="1" y="750"/>
                  </a:cubicBezTo>
                  <a:cubicBezTo>
                    <a:pt x="125" y="1077"/>
                    <a:pt x="346" y="1266"/>
                    <a:pt x="596" y="1266"/>
                  </a:cubicBezTo>
                  <a:cubicBezTo>
                    <a:pt x="713" y="1266"/>
                    <a:pt x="836" y="1225"/>
                    <a:pt x="959" y="1138"/>
                  </a:cubicBezTo>
                  <a:cubicBezTo>
                    <a:pt x="1142" y="1047"/>
                    <a:pt x="1233" y="659"/>
                    <a:pt x="1325" y="476"/>
                  </a:cubicBezTo>
                  <a:cubicBezTo>
                    <a:pt x="1199" y="147"/>
                    <a:pt x="977" y="1"/>
                    <a:pt x="70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8" name="Google Shape;1728;p25"/>
            <p:cNvSpPr/>
            <p:nvPr/>
          </p:nvSpPr>
          <p:spPr>
            <a:xfrm>
              <a:off x="6807762" y="4919176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23" y="1"/>
                  </a:moveTo>
                  <a:cubicBezTo>
                    <a:pt x="608" y="1"/>
                    <a:pt x="487" y="31"/>
                    <a:pt x="366" y="88"/>
                  </a:cubicBezTo>
                  <a:cubicBezTo>
                    <a:pt x="183" y="179"/>
                    <a:pt x="0" y="567"/>
                    <a:pt x="92" y="750"/>
                  </a:cubicBezTo>
                  <a:cubicBezTo>
                    <a:pt x="154" y="1077"/>
                    <a:pt x="397" y="1266"/>
                    <a:pt x="668" y="1266"/>
                  </a:cubicBezTo>
                  <a:cubicBezTo>
                    <a:pt x="795" y="1266"/>
                    <a:pt x="927" y="1225"/>
                    <a:pt x="1050" y="1138"/>
                  </a:cubicBezTo>
                  <a:cubicBezTo>
                    <a:pt x="1233" y="1047"/>
                    <a:pt x="1233" y="659"/>
                    <a:pt x="1324" y="476"/>
                  </a:cubicBezTo>
                  <a:cubicBezTo>
                    <a:pt x="1199" y="147"/>
                    <a:pt x="976" y="1"/>
                    <a:pt x="72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9" name="Google Shape;1729;p25"/>
            <p:cNvSpPr/>
            <p:nvPr/>
          </p:nvSpPr>
          <p:spPr>
            <a:xfrm>
              <a:off x="6998214" y="4918613"/>
              <a:ext cx="25720" cy="27407"/>
            </a:xfrm>
            <a:custGeom>
              <a:avLst/>
              <a:gdLst/>
              <a:ahLst/>
              <a:cxnLst/>
              <a:rect l="l" t="t" r="r" b="b"/>
              <a:pathLst>
                <a:path w="1233" h="1314" extrusionOk="0">
                  <a:moveTo>
                    <a:pt x="617" y="1"/>
                  </a:moveTo>
                  <a:cubicBezTo>
                    <a:pt x="255" y="1"/>
                    <a:pt x="0" y="194"/>
                    <a:pt x="0" y="594"/>
                  </a:cubicBezTo>
                  <a:cubicBezTo>
                    <a:pt x="0" y="777"/>
                    <a:pt x="183" y="1256"/>
                    <a:pt x="366" y="1256"/>
                  </a:cubicBezTo>
                  <a:cubicBezTo>
                    <a:pt x="448" y="1295"/>
                    <a:pt x="530" y="1313"/>
                    <a:pt x="610" y="1313"/>
                  </a:cubicBezTo>
                  <a:cubicBezTo>
                    <a:pt x="905" y="1313"/>
                    <a:pt x="1161" y="1063"/>
                    <a:pt x="1233" y="686"/>
                  </a:cubicBezTo>
                  <a:cubicBezTo>
                    <a:pt x="1142" y="503"/>
                    <a:pt x="1050" y="115"/>
                    <a:pt x="845" y="24"/>
                  </a:cubicBezTo>
                  <a:cubicBezTo>
                    <a:pt x="766" y="9"/>
                    <a:pt x="689" y="1"/>
                    <a:pt x="61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0" name="Google Shape;1730;p25"/>
            <p:cNvSpPr/>
            <p:nvPr/>
          </p:nvSpPr>
          <p:spPr>
            <a:xfrm>
              <a:off x="7182470" y="4920490"/>
              <a:ext cx="31937" cy="26239"/>
            </a:xfrm>
            <a:custGeom>
              <a:avLst/>
              <a:gdLst/>
              <a:ahLst/>
              <a:cxnLst/>
              <a:rect l="l" t="t" r="r" b="b"/>
              <a:pathLst>
                <a:path w="1531" h="1258" extrusionOk="0">
                  <a:moveTo>
                    <a:pt x="651" y="1"/>
                  </a:moveTo>
                  <a:cubicBezTo>
                    <a:pt x="447" y="1"/>
                    <a:pt x="185" y="154"/>
                    <a:pt x="92" y="322"/>
                  </a:cubicBezTo>
                  <a:cubicBezTo>
                    <a:pt x="1" y="778"/>
                    <a:pt x="206" y="1166"/>
                    <a:pt x="663" y="1258"/>
                  </a:cubicBezTo>
                  <a:cubicBezTo>
                    <a:pt x="959" y="1166"/>
                    <a:pt x="1348" y="1075"/>
                    <a:pt x="1348" y="892"/>
                  </a:cubicBezTo>
                  <a:cubicBezTo>
                    <a:pt x="1530" y="413"/>
                    <a:pt x="1233" y="25"/>
                    <a:pt x="777" y="25"/>
                  </a:cubicBezTo>
                  <a:cubicBezTo>
                    <a:pt x="740" y="8"/>
                    <a:pt x="697" y="1"/>
                    <a:pt x="65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1" name="Google Shape;1731;p25"/>
            <p:cNvSpPr/>
            <p:nvPr/>
          </p:nvSpPr>
          <p:spPr>
            <a:xfrm>
              <a:off x="7372922" y="4918613"/>
              <a:ext cx="25741" cy="27407"/>
            </a:xfrm>
            <a:custGeom>
              <a:avLst/>
              <a:gdLst/>
              <a:ahLst/>
              <a:cxnLst/>
              <a:rect l="l" t="t" r="r" b="b"/>
              <a:pathLst>
                <a:path w="1234" h="1314" extrusionOk="0">
                  <a:moveTo>
                    <a:pt x="671" y="1"/>
                  </a:moveTo>
                  <a:cubicBezTo>
                    <a:pt x="335" y="1"/>
                    <a:pt x="1" y="194"/>
                    <a:pt x="1" y="594"/>
                  </a:cubicBezTo>
                  <a:cubicBezTo>
                    <a:pt x="1" y="777"/>
                    <a:pt x="206" y="1256"/>
                    <a:pt x="389" y="1256"/>
                  </a:cubicBezTo>
                  <a:cubicBezTo>
                    <a:pt x="471" y="1295"/>
                    <a:pt x="553" y="1313"/>
                    <a:pt x="631" y="1313"/>
                  </a:cubicBezTo>
                  <a:cubicBezTo>
                    <a:pt x="920" y="1313"/>
                    <a:pt x="1162" y="1063"/>
                    <a:pt x="1234" y="686"/>
                  </a:cubicBezTo>
                  <a:cubicBezTo>
                    <a:pt x="1142" y="503"/>
                    <a:pt x="1051" y="115"/>
                    <a:pt x="868" y="24"/>
                  </a:cubicBezTo>
                  <a:cubicBezTo>
                    <a:pt x="804" y="9"/>
                    <a:pt x="737" y="1"/>
                    <a:pt x="67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2" name="Google Shape;1732;p25"/>
            <p:cNvSpPr/>
            <p:nvPr/>
          </p:nvSpPr>
          <p:spPr>
            <a:xfrm>
              <a:off x="7559578" y="4918613"/>
              <a:ext cx="27640" cy="27407"/>
            </a:xfrm>
            <a:custGeom>
              <a:avLst/>
              <a:gdLst/>
              <a:ahLst/>
              <a:cxnLst/>
              <a:rect l="l" t="t" r="r" b="b"/>
              <a:pathLst>
                <a:path w="1325" h="1314" extrusionOk="0">
                  <a:moveTo>
                    <a:pt x="730" y="1"/>
                  </a:moveTo>
                  <a:cubicBezTo>
                    <a:pt x="359" y="1"/>
                    <a:pt x="77" y="194"/>
                    <a:pt x="0" y="594"/>
                  </a:cubicBezTo>
                  <a:cubicBezTo>
                    <a:pt x="0" y="777"/>
                    <a:pt x="183" y="1256"/>
                    <a:pt x="388" y="1256"/>
                  </a:cubicBezTo>
                  <a:cubicBezTo>
                    <a:pt x="485" y="1295"/>
                    <a:pt x="575" y="1313"/>
                    <a:pt x="658" y="1313"/>
                  </a:cubicBezTo>
                  <a:cubicBezTo>
                    <a:pt x="966" y="1313"/>
                    <a:pt x="1181" y="1063"/>
                    <a:pt x="1324" y="686"/>
                  </a:cubicBezTo>
                  <a:cubicBezTo>
                    <a:pt x="1233" y="503"/>
                    <a:pt x="1142" y="115"/>
                    <a:pt x="959" y="24"/>
                  </a:cubicBezTo>
                  <a:cubicBezTo>
                    <a:pt x="880" y="9"/>
                    <a:pt x="803" y="1"/>
                    <a:pt x="73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3" name="Google Shape;1733;p25"/>
            <p:cNvSpPr/>
            <p:nvPr/>
          </p:nvSpPr>
          <p:spPr>
            <a:xfrm>
              <a:off x="7748131" y="4918634"/>
              <a:ext cx="25720" cy="27386"/>
            </a:xfrm>
            <a:custGeom>
              <a:avLst/>
              <a:gdLst/>
              <a:ahLst/>
              <a:cxnLst/>
              <a:rect l="l" t="t" r="r" b="b"/>
              <a:pathLst>
                <a:path w="1233" h="1313" extrusionOk="0">
                  <a:moveTo>
                    <a:pt x="552" y="0"/>
                  </a:moveTo>
                  <a:cubicBezTo>
                    <a:pt x="491" y="0"/>
                    <a:pt x="428" y="8"/>
                    <a:pt x="365" y="23"/>
                  </a:cubicBezTo>
                  <a:cubicBezTo>
                    <a:pt x="183" y="114"/>
                    <a:pt x="0" y="502"/>
                    <a:pt x="0" y="685"/>
                  </a:cubicBezTo>
                  <a:cubicBezTo>
                    <a:pt x="0" y="1062"/>
                    <a:pt x="227" y="1312"/>
                    <a:pt x="557" y="1312"/>
                  </a:cubicBezTo>
                  <a:cubicBezTo>
                    <a:pt x="646" y="1312"/>
                    <a:pt x="743" y="1294"/>
                    <a:pt x="845" y="1255"/>
                  </a:cubicBezTo>
                  <a:cubicBezTo>
                    <a:pt x="1050" y="1255"/>
                    <a:pt x="1142" y="867"/>
                    <a:pt x="1233" y="685"/>
                  </a:cubicBezTo>
                  <a:cubicBezTo>
                    <a:pt x="1156" y="206"/>
                    <a:pt x="871" y="0"/>
                    <a:pt x="55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4" name="Google Shape;1734;p25"/>
            <p:cNvSpPr/>
            <p:nvPr/>
          </p:nvSpPr>
          <p:spPr>
            <a:xfrm>
              <a:off x="5024149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27" y="0"/>
                  </a:moveTo>
                  <a:cubicBezTo>
                    <a:pt x="872" y="0"/>
                    <a:pt x="815" y="6"/>
                    <a:pt x="754" y="17"/>
                  </a:cubicBezTo>
                  <a:cubicBezTo>
                    <a:pt x="571" y="17"/>
                    <a:pt x="183" y="200"/>
                    <a:pt x="92" y="383"/>
                  </a:cubicBezTo>
                  <a:cubicBezTo>
                    <a:pt x="1" y="771"/>
                    <a:pt x="183" y="1250"/>
                    <a:pt x="571" y="1341"/>
                  </a:cubicBezTo>
                  <a:cubicBezTo>
                    <a:pt x="676" y="1375"/>
                    <a:pt x="767" y="1390"/>
                    <a:pt x="848" y="1390"/>
                  </a:cubicBezTo>
                  <a:cubicBezTo>
                    <a:pt x="1209" y="1390"/>
                    <a:pt x="1362" y="1088"/>
                    <a:pt x="1530" y="771"/>
                  </a:cubicBezTo>
                  <a:cubicBezTo>
                    <a:pt x="1530" y="272"/>
                    <a:pt x="1304" y="0"/>
                    <a:pt x="92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5" name="Google Shape;1735;p25"/>
            <p:cNvSpPr/>
            <p:nvPr/>
          </p:nvSpPr>
          <p:spPr>
            <a:xfrm>
              <a:off x="5212953" y="5012034"/>
              <a:ext cx="33585" cy="29451"/>
            </a:xfrm>
            <a:custGeom>
              <a:avLst/>
              <a:gdLst/>
              <a:ahLst/>
              <a:cxnLst/>
              <a:rect l="l" t="t" r="r" b="b"/>
              <a:pathLst>
                <a:path w="1610" h="1412" extrusionOk="0">
                  <a:moveTo>
                    <a:pt x="628" y="1"/>
                  </a:moveTo>
                  <a:cubicBezTo>
                    <a:pt x="198" y="1"/>
                    <a:pt x="0" y="263"/>
                    <a:pt x="80" y="680"/>
                  </a:cubicBezTo>
                  <a:cubicBezTo>
                    <a:pt x="80" y="954"/>
                    <a:pt x="262" y="1342"/>
                    <a:pt x="468" y="1342"/>
                  </a:cubicBezTo>
                  <a:cubicBezTo>
                    <a:pt x="561" y="1389"/>
                    <a:pt x="662" y="1412"/>
                    <a:pt x="763" y="1412"/>
                  </a:cubicBezTo>
                  <a:cubicBezTo>
                    <a:pt x="1053" y="1412"/>
                    <a:pt x="1336" y="1219"/>
                    <a:pt x="1404" y="863"/>
                  </a:cubicBezTo>
                  <a:cubicBezTo>
                    <a:pt x="1609" y="384"/>
                    <a:pt x="1221" y="110"/>
                    <a:pt x="833" y="18"/>
                  </a:cubicBezTo>
                  <a:cubicBezTo>
                    <a:pt x="760" y="7"/>
                    <a:pt x="691" y="1"/>
                    <a:pt x="62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6" name="Google Shape;1736;p25"/>
            <p:cNvSpPr/>
            <p:nvPr/>
          </p:nvSpPr>
          <p:spPr>
            <a:xfrm>
              <a:off x="5398878" y="5011241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68" y="0"/>
                  </a:moveTo>
                  <a:cubicBezTo>
                    <a:pt x="886" y="0"/>
                    <a:pt x="792" y="18"/>
                    <a:pt x="685" y="56"/>
                  </a:cubicBezTo>
                  <a:cubicBezTo>
                    <a:pt x="480" y="56"/>
                    <a:pt x="206" y="330"/>
                    <a:pt x="114" y="536"/>
                  </a:cubicBezTo>
                  <a:cubicBezTo>
                    <a:pt x="0" y="992"/>
                    <a:pt x="297" y="1380"/>
                    <a:pt x="776" y="1380"/>
                  </a:cubicBezTo>
                  <a:cubicBezTo>
                    <a:pt x="838" y="1392"/>
                    <a:pt x="896" y="1398"/>
                    <a:pt x="951" y="1398"/>
                  </a:cubicBezTo>
                  <a:cubicBezTo>
                    <a:pt x="1322" y="1398"/>
                    <a:pt x="1530" y="1136"/>
                    <a:pt x="1530" y="718"/>
                  </a:cubicBezTo>
                  <a:cubicBezTo>
                    <a:pt x="1455" y="329"/>
                    <a:pt x="1321" y="0"/>
                    <a:pt x="96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7" name="Google Shape;1737;p25"/>
            <p:cNvSpPr/>
            <p:nvPr/>
          </p:nvSpPr>
          <p:spPr>
            <a:xfrm>
              <a:off x="5585512" y="5012409"/>
              <a:ext cx="35733" cy="28846"/>
            </a:xfrm>
            <a:custGeom>
              <a:avLst/>
              <a:gdLst/>
              <a:ahLst/>
              <a:cxnLst/>
              <a:rect l="l" t="t" r="r" b="b"/>
              <a:pathLst>
                <a:path w="1713" h="1383" extrusionOk="0">
                  <a:moveTo>
                    <a:pt x="959" y="0"/>
                  </a:moveTo>
                  <a:cubicBezTo>
                    <a:pt x="663" y="0"/>
                    <a:pt x="297" y="183"/>
                    <a:pt x="297" y="366"/>
                  </a:cubicBezTo>
                  <a:cubicBezTo>
                    <a:pt x="1" y="754"/>
                    <a:pt x="183" y="1233"/>
                    <a:pt x="663" y="1324"/>
                  </a:cubicBezTo>
                  <a:cubicBezTo>
                    <a:pt x="747" y="1364"/>
                    <a:pt x="832" y="1382"/>
                    <a:pt x="914" y="1382"/>
                  </a:cubicBezTo>
                  <a:cubicBezTo>
                    <a:pt x="1210" y="1382"/>
                    <a:pt x="1478" y="1148"/>
                    <a:pt x="1621" y="845"/>
                  </a:cubicBezTo>
                  <a:cubicBezTo>
                    <a:pt x="1713" y="274"/>
                    <a:pt x="1325" y="0"/>
                    <a:pt x="95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8" name="Google Shape;1738;p25"/>
            <p:cNvSpPr/>
            <p:nvPr/>
          </p:nvSpPr>
          <p:spPr>
            <a:xfrm>
              <a:off x="5774066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27" y="0"/>
                  </a:moveTo>
                  <a:cubicBezTo>
                    <a:pt x="872" y="0"/>
                    <a:pt x="814" y="6"/>
                    <a:pt x="754" y="17"/>
                  </a:cubicBezTo>
                  <a:cubicBezTo>
                    <a:pt x="571" y="17"/>
                    <a:pt x="183" y="200"/>
                    <a:pt x="92" y="383"/>
                  </a:cubicBezTo>
                  <a:cubicBezTo>
                    <a:pt x="1" y="771"/>
                    <a:pt x="183" y="1250"/>
                    <a:pt x="662" y="1341"/>
                  </a:cubicBezTo>
                  <a:cubicBezTo>
                    <a:pt x="750" y="1375"/>
                    <a:pt x="831" y="1390"/>
                    <a:pt x="905" y="1390"/>
                  </a:cubicBezTo>
                  <a:cubicBezTo>
                    <a:pt x="1237" y="1390"/>
                    <a:pt x="1437" y="1088"/>
                    <a:pt x="1530" y="771"/>
                  </a:cubicBezTo>
                  <a:cubicBezTo>
                    <a:pt x="1530" y="272"/>
                    <a:pt x="1303" y="0"/>
                    <a:pt x="92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9" name="Google Shape;1739;p25"/>
            <p:cNvSpPr/>
            <p:nvPr/>
          </p:nvSpPr>
          <p:spPr>
            <a:xfrm>
              <a:off x="5960721" y="5011241"/>
              <a:ext cx="33334" cy="29159"/>
            </a:xfrm>
            <a:custGeom>
              <a:avLst/>
              <a:gdLst/>
              <a:ahLst/>
              <a:cxnLst/>
              <a:rect l="l" t="t" r="r" b="b"/>
              <a:pathLst>
                <a:path w="1598" h="1398" extrusionOk="0">
                  <a:moveTo>
                    <a:pt x="1036" y="0"/>
                  </a:moveTo>
                  <a:cubicBezTo>
                    <a:pt x="954" y="0"/>
                    <a:pt x="861" y="18"/>
                    <a:pt x="753" y="56"/>
                  </a:cubicBezTo>
                  <a:cubicBezTo>
                    <a:pt x="571" y="56"/>
                    <a:pt x="274" y="330"/>
                    <a:pt x="183" y="536"/>
                  </a:cubicBezTo>
                  <a:cubicBezTo>
                    <a:pt x="0" y="992"/>
                    <a:pt x="365" y="1380"/>
                    <a:pt x="753" y="1380"/>
                  </a:cubicBezTo>
                  <a:cubicBezTo>
                    <a:pt x="827" y="1392"/>
                    <a:pt x="894" y="1398"/>
                    <a:pt x="955" y="1398"/>
                  </a:cubicBezTo>
                  <a:cubicBezTo>
                    <a:pt x="1369" y="1398"/>
                    <a:pt x="1518" y="1136"/>
                    <a:pt x="1598" y="718"/>
                  </a:cubicBezTo>
                  <a:cubicBezTo>
                    <a:pt x="1524" y="329"/>
                    <a:pt x="1389" y="0"/>
                    <a:pt x="103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0" name="Google Shape;1740;p25"/>
            <p:cNvSpPr/>
            <p:nvPr/>
          </p:nvSpPr>
          <p:spPr>
            <a:xfrm>
              <a:off x="6148795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48" y="0"/>
                  </a:moveTo>
                  <a:cubicBezTo>
                    <a:pt x="894" y="0"/>
                    <a:pt x="837" y="6"/>
                    <a:pt x="776" y="17"/>
                  </a:cubicBezTo>
                  <a:cubicBezTo>
                    <a:pt x="571" y="17"/>
                    <a:pt x="206" y="200"/>
                    <a:pt x="114" y="383"/>
                  </a:cubicBezTo>
                  <a:cubicBezTo>
                    <a:pt x="0" y="771"/>
                    <a:pt x="206" y="1250"/>
                    <a:pt x="685" y="1341"/>
                  </a:cubicBezTo>
                  <a:cubicBezTo>
                    <a:pt x="768" y="1375"/>
                    <a:pt x="846" y="1390"/>
                    <a:pt x="919" y="1390"/>
                  </a:cubicBezTo>
                  <a:cubicBezTo>
                    <a:pt x="1243" y="1390"/>
                    <a:pt x="1455" y="1088"/>
                    <a:pt x="1529" y="771"/>
                  </a:cubicBezTo>
                  <a:cubicBezTo>
                    <a:pt x="1529" y="272"/>
                    <a:pt x="1320" y="0"/>
                    <a:pt x="94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1" name="Google Shape;1741;p25"/>
            <p:cNvSpPr/>
            <p:nvPr/>
          </p:nvSpPr>
          <p:spPr>
            <a:xfrm>
              <a:off x="6335429" y="5011241"/>
              <a:ext cx="33835" cy="29159"/>
            </a:xfrm>
            <a:custGeom>
              <a:avLst/>
              <a:gdLst/>
              <a:ahLst/>
              <a:cxnLst/>
              <a:rect l="l" t="t" r="r" b="b"/>
              <a:pathLst>
                <a:path w="1622" h="1398" extrusionOk="0">
                  <a:moveTo>
                    <a:pt x="1039" y="0"/>
                  </a:moveTo>
                  <a:cubicBezTo>
                    <a:pt x="956" y="0"/>
                    <a:pt x="861" y="18"/>
                    <a:pt x="754" y="56"/>
                  </a:cubicBezTo>
                  <a:cubicBezTo>
                    <a:pt x="571" y="56"/>
                    <a:pt x="297" y="330"/>
                    <a:pt x="183" y="536"/>
                  </a:cubicBezTo>
                  <a:cubicBezTo>
                    <a:pt x="1" y="992"/>
                    <a:pt x="389" y="1380"/>
                    <a:pt x="868" y="1380"/>
                  </a:cubicBezTo>
                  <a:cubicBezTo>
                    <a:pt x="927" y="1392"/>
                    <a:pt x="981" y="1398"/>
                    <a:pt x="1032" y="1398"/>
                  </a:cubicBezTo>
                  <a:cubicBezTo>
                    <a:pt x="1375" y="1398"/>
                    <a:pt x="1542" y="1136"/>
                    <a:pt x="1621" y="718"/>
                  </a:cubicBezTo>
                  <a:cubicBezTo>
                    <a:pt x="1547" y="329"/>
                    <a:pt x="1398" y="0"/>
                    <a:pt x="103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2" name="Google Shape;1742;p25"/>
            <p:cNvSpPr/>
            <p:nvPr/>
          </p:nvSpPr>
          <p:spPr>
            <a:xfrm>
              <a:off x="6523983" y="5011241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94" y="0"/>
                  </a:moveTo>
                  <a:cubicBezTo>
                    <a:pt x="923" y="0"/>
                    <a:pt x="844" y="18"/>
                    <a:pt x="754" y="56"/>
                  </a:cubicBezTo>
                  <a:cubicBezTo>
                    <a:pt x="480" y="56"/>
                    <a:pt x="183" y="330"/>
                    <a:pt x="183" y="536"/>
                  </a:cubicBezTo>
                  <a:cubicBezTo>
                    <a:pt x="0" y="992"/>
                    <a:pt x="274" y="1380"/>
                    <a:pt x="754" y="1380"/>
                  </a:cubicBezTo>
                  <a:cubicBezTo>
                    <a:pt x="815" y="1392"/>
                    <a:pt x="874" y="1398"/>
                    <a:pt x="929" y="1398"/>
                  </a:cubicBezTo>
                  <a:cubicBezTo>
                    <a:pt x="1304" y="1398"/>
                    <a:pt x="1530" y="1136"/>
                    <a:pt x="1530" y="718"/>
                  </a:cubicBezTo>
                  <a:cubicBezTo>
                    <a:pt x="1437" y="329"/>
                    <a:pt x="1299" y="0"/>
                    <a:pt x="99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3" name="Google Shape;1743;p25"/>
            <p:cNvSpPr/>
            <p:nvPr/>
          </p:nvSpPr>
          <p:spPr>
            <a:xfrm>
              <a:off x="6712536" y="5011012"/>
              <a:ext cx="33814" cy="29034"/>
            </a:xfrm>
            <a:custGeom>
              <a:avLst/>
              <a:gdLst/>
              <a:ahLst/>
              <a:cxnLst/>
              <a:rect l="l" t="t" r="r" b="b"/>
              <a:pathLst>
                <a:path w="1621" h="1392" extrusionOk="0">
                  <a:moveTo>
                    <a:pt x="819" y="0"/>
                  </a:moveTo>
                  <a:cubicBezTo>
                    <a:pt x="737" y="0"/>
                    <a:pt x="653" y="21"/>
                    <a:pt x="571" y="67"/>
                  </a:cubicBezTo>
                  <a:cubicBezTo>
                    <a:pt x="92" y="159"/>
                    <a:pt x="0" y="638"/>
                    <a:pt x="183" y="1117"/>
                  </a:cubicBezTo>
                  <a:cubicBezTo>
                    <a:pt x="274" y="1300"/>
                    <a:pt x="662" y="1391"/>
                    <a:pt x="845" y="1391"/>
                  </a:cubicBezTo>
                  <a:cubicBezTo>
                    <a:pt x="1324" y="1391"/>
                    <a:pt x="1621" y="1117"/>
                    <a:pt x="1507" y="547"/>
                  </a:cubicBezTo>
                  <a:cubicBezTo>
                    <a:pt x="1365" y="246"/>
                    <a:pt x="1101" y="0"/>
                    <a:pt x="81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4" name="Google Shape;1744;p25"/>
            <p:cNvSpPr/>
            <p:nvPr/>
          </p:nvSpPr>
          <p:spPr>
            <a:xfrm>
              <a:off x="6898691" y="5012034"/>
              <a:ext cx="31937" cy="29493"/>
            </a:xfrm>
            <a:custGeom>
              <a:avLst/>
              <a:gdLst/>
              <a:ahLst/>
              <a:cxnLst/>
              <a:rect l="l" t="t" r="r" b="b"/>
              <a:pathLst>
                <a:path w="1531" h="1414" extrusionOk="0">
                  <a:moveTo>
                    <a:pt x="857" y="1"/>
                  </a:moveTo>
                  <a:cubicBezTo>
                    <a:pt x="802" y="1"/>
                    <a:pt x="745" y="6"/>
                    <a:pt x="686" y="18"/>
                  </a:cubicBezTo>
                  <a:cubicBezTo>
                    <a:pt x="206" y="201"/>
                    <a:pt x="1" y="589"/>
                    <a:pt x="115" y="954"/>
                  </a:cubicBezTo>
                  <a:cubicBezTo>
                    <a:pt x="249" y="1239"/>
                    <a:pt x="543" y="1413"/>
                    <a:pt x="835" y="1413"/>
                  </a:cubicBezTo>
                  <a:cubicBezTo>
                    <a:pt x="940" y="1413"/>
                    <a:pt x="1045" y="1391"/>
                    <a:pt x="1142" y="1342"/>
                  </a:cubicBezTo>
                  <a:cubicBezTo>
                    <a:pt x="1348" y="1160"/>
                    <a:pt x="1530" y="863"/>
                    <a:pt x="1530" y="589"/>
                  </a:cubicBezTo>
                  <a:cubicBezTo>
                    <a:pt x="1451" y="252"/>
                    <a:pt x="1216" y="1"/>
                    <a:pt x="85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5" name="Google Shape;1745;p25"/>
            <p:cNvSpPr/>
            <p:nvPr/>
          </p:nvSpPr>
          <p:spPr>
            <a:xfrm>
              <a:off x="7085346" y="5012034"/>
              <a:ext cx="33835" cy="29493"/>
            </a:xfrm>
            <a:custGeom>
              <a:avLst/>
              <a:gdLst/>
              <a:ahLst/>
              <a:cxnLst/>
              <a:rect l="l" t="t" r="r" b="b"/>
              <a:pathLst>
                <a:path w="1622" h="1414" extrusionOk="0">
                  <a:moveTo>
                    <a:pt x="872" y="1"/>
                  </a:moveTo>
                  <a:cubicBezTo>
                    <a:pt x="807" y="1"/>
                    <a:pt x="737" y="6"/>
                    <a:pt x="662" y="18"/>
                  </a:cubicBezTo>
                  <a:cubicBezTo>
                    <a:pt x="297" y="201"/>
                    <a:pt x="0" y="589"/>
                    <a:pt x="183" y="954"/>
                  </a:cubicBezTo>
                  <a:cubicBezTo>
                    <a:pt x="334" y="1239"/>
                    <a:pt x="633" y="1413"/>
                    <a:pt x="925" y="1413"/>
                  </a:cubicBezTo>
                  <a:cubicBezTo>
                    <a:pt x="1031" y="1413"/>
                    <a:pt x="1136" y="1391"/>
                    <a:pt x="1233" y="1342"/>
                  </a:cubicBezTo>
                  <a:cubicBezTo>
                    <a:pt x="1438" y="1160"/>
                    <a:pt x="1621" y="863"/>
                    <a:pt x="1530" y="589"/>
                  </a:cubicBezTo>
                  <a:cubicBezTo>
                    <a:pt x="1530" y="252"/>
                    <a:pt x="1306" y="1"/>
                    <a:pt x="87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6" name="Google Shape;1746;p25"/>
            <p:cNvSpPr/>
            <p:nvPr/>
          </p:nvSpPr>
          <p:spPr>
            <a:xfrm>
              <a:off x="7273900" y="5012054"/>
              <a:ext cx="33585" cy="28992"/>
            </a:xfrm>
            <a:custGeom>
              <a:avLst/>
              <a:gdLst/>
              <a:ahLst/>
              <a:cxnLst/>
              <a:rect l="l" t="t" r="r" b="b"/>
              <a:pathLst>
                <a:path w="1610" h="1390" extrusionOk="0">
                  <a:moveTo>
                    <a:pt x="1018" y="0"/>
                  </a:moveTo>
                  <a:cubicBezTo>
                    <a:pt x="963" y="0"/>
                    <a:pt x="905" y="6"/>
                    <a:pt x="845" y="17"/>
                  </a:cubicBezTo>
                  <a:cubicBezTo>
                    <a:pt x="571" y="17"/>
                    <a:pt x="183" y="200"/>
                    <a:pt x="183" y="383"/>
                  </a:cubicBezTo>
                  <a:cubicBezTo>
                    <a:pt x="0" y="771"/>
                    <a:pt x="183" y="1250"/>
                    <a:pt x="662" y="1341"/>
                  </a:cubicBezTo>
                  <a:cubicBezTo>
                    <a:pt x="750" y="1375"/>
                    <a:pt x="830" y="1390"/>
                    <a:pt x="905" y="1390"/>
                  </a:cubicBezTo>
                  <a:cubicBezTo>
                    <a:pt x="1236" y="1390"/>
                    <a:pt x="1436" y="1088"/>
                    <a:pt x="1530" y="771"/>
                  </a:cubicBezTo>
                  <a:cubicBezTo>
                    <a:pt x="1609" y="272"/>
                    <a:pt x="1393" y="0"/>
                    <a:pt x="10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7" name="Google Shape;1747;p25"/>
            <p:cNvSpPr/>
            <p:nvPr/>
          </p:nvSpPr>
          <p:spPr>
            <a:xfrm>
              <a:off x="7462453" y="5011241"/>
              <a:ext cx="31436" cy="29159"/>
            </a:xfrm>
            <a:custGeom>
              <a:avLst/>
              <a:gdLst/>
              <a:ahLst/>
              <a:cxnLst/>
              <a:rect l="l" t="t" r="r" b="b"/>
              <a:pathLst>
                <a:path w="1507" h="1398" extrusionOk="0">
                  <a:moveTo>
                    <a:pt x="945" y="0"/>
                  </a:moveTo>
                  <a:cubicBezTo>
                    <a:pt x="863" y="0"/>
                    <a:pt x="769" y="18"/>
                    <a:pt x="662" y="56"/>
                  </a:cubicBezTo>
                  <a:cubicBezTo>
                    <a:pt x="479" y="56"/>
                    <a:pt x="183" y="330"/>
                    <a:pt x="91" y="536"/>
                  </a:cubicBezTo>
                  <a:cubicBezTo>
                    <a:pt x="0" y="992"/>
                    <a:pt x="274" y="1380"/>
                    <a:pt x="753" y="1380"/>
                  </a:cubicBezTo>
                  <a:cubicBezTo>
                    <a:pt x="815" y="1392"/>
                    <a:pt x="873" y="1398"/>
                    <a:pt x="928" y="1398"/>
                  </a:cubicBezTo>
                  <a:cubicBezTo>
                    <a:pt x="1299" y="1398"/>
                    <a:pt x="1507" y="1136"/>
                    <a:pt x="1507" y="718"/>
                  </a:cubicBezTo>
                  <a:cubicBezTo>
                    <a:pt x="1432" y="329"/>
                    <a:pt x="1298" y="0"/>
                    <a:pt x="945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8" name="Google Shape;1748;p25"/>
            <p:cNvSpPr/>
            <p:nvPr/>
          </p:nvSpPr>
          <p:spPr>
            <a:xfrm>
              <a:off x="7648608" y="5011012"/>
              <a:ext cx="33835" cy="29034"/>
            </a:xfrm>
            <a:custGeom>
              <a:avLst/>
              <a:gdLst/>
              <a:ahLst/>
              <a:cxnLst/>
              <a:rect l="l" t="t" r="r" b="b"/>
              <a:pathLst>
                <a:path w="1622" h="1392" extrusionOk="0">
                  <a:moveTo>
                    <a:pt x="880" y="0"/>
                  </a:moveTo>
                  <a:cubicBezTo>
                    <a:pt x="783" y="0"/>
                    <a:pt x="679" y="21"/>
                    <a:pt x="571" y="67"/>
                  </a:cubicBezTo>
                  <a:cubicBezTo>
                    <a:pt x="206" y="159"/>
                    <a:pt x="1" y="638"/>
                    <a:pt x="298" y="1117"/>
                  </a:cubicBezTo>
                  <a:cubicBezTo>
                    <a:pt x="389" y="1300"/>
                    <a:pt x="686" y="1391"/>
                    <a:pt x="959" y="1391"/>
                  </a:cubicBezTo>
                  <a:cubicBezTo>
                    <a:pt x="1347" y="1391"/>
                    <a:pt x="1621" y="1117"/>
                    <a:pt x="1621" y="547"/>
                  </a:cubicBezTo>
                  <a:cubicBezTo>
                    <a:pt x="1480" y="246"/>
                    <a:pt x="1215" y="0"/>
                    <a:pt x="88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49" name="Google Shape;1749;p25"/>
          <p:cNvGrpSpPr/>
          <p:nvPr/>
        </p:nvGrpSpPr>
        <p:grpSpPr>
          <a:xfrm>
            <a:off x="-839676" y="4692063"/>
            <a:ext cx="2749703" cy="122913"/>
            <a:chOff x="5024149" y="4918613"/>
            <a:chExt cx="2749703" cy="122913"/>
          </a:xfrm>
        </p:grpSpPr>
        <p:sp>
          <p:nvSpPr>
            <p:cNvPr id="1750" name="Google Shape;1750;p25"/>
            <p:cNvSpPr/>
            <p:nvPr/>
          </p:nvSpPr>
          <p:spPr>
            <a:xfrm>
              <a:off x="5121294" y="4919510"/>
              <a:ext cx="27619" cy="26802"/>
            </a:xfrm>
            <a:custGeom>
              <a:avLst/>
              <a:gdLst/>
              <a:ahLst/>
              <a:cxnLst/>
              <a:rect l="l" t="t" r="r" b="b"/>
              <a:pathLst>
                <a:path w="1324" h="1285" extrusionOk="0">
                  <a:moveTo>
                    <a:pt x="690" y="1"/>
                  </a:moveTo>
                  <a:cubicBezTo>
                    <a:pt x="379" y="1"/>
                    <a:pt x="134" y="175"/>
                    <a:pt x="0" y="460"/>
                  </a:cubicBezTo>
                  <a:cubicBezTo>
                    <a:pt x="0" y="643"/>
                    <a:pt x="183" y="1031"/>
                    <a:pt x="297" y="1213"/>
                  </a:cubicBezTo>
                  <a:cubicBezTo>
                    <a:pt x="418" y="1262"/>
                    <a:pt x="528" y="1284"/>
                    <a:pt x="629" y="1284"/>
                  </a:cubicBezTo>
                  <a:cubicBezTo>
                    <a:pt x="909" y="1284"/>
                    <a:pt x="1123" y="1110"/>
                    <a:pt x="1324" y="825"/>
                  </a:cubicBezTo>
                  <a:cubicBezTo>
                    <a:pt x="1233" y="551"/>
                    <a:pt x="1141" y="163"/>
                    <a:pt x="1050" y="72"/>
                  </a:cubicBezTo>
                  <a:cubicBezTo>
                    <a:pt x="923" y="24"/>
                    <a:pt x="802" y="1"/>
                    <a:pt x="69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1" name="Google Shape;1751;p25"/>
            <p:cNvSpPr/>
            <p:nvPr/>
          </p:nvSpPr>
          <p:spPr>
            <a:xfrm>
              <a:off x="5307928" y="4919510"/>
              <a:ext cx="27639" cy="26802"/>
            </a:xfrm>
            <a:custGeom>
              <a:avLst/>
              <a:gdLst/>
              <a:ahLst/>
              <a:cxnLst/>
              <a:rect l="l" t="t" r="r" b="b"/>
              <a:pathLst>
                <a:path w="1325" h="1285" extrusionOk="0">
                  <a:moveTo>
                    <a:pt x="731" y="1"/>
                  </a:moveTo>
                  <a:cubicBezTo>
                    <a:pt x="435" y="1"/>
                    <a:pt x="159" y="175"/>
                    <a:pt x="92" y="460"/>
                  </a:cubicBezTo>
                  <a:cubicBezTo>
                    <a:pt x="1" y="643"/>
                    <a:pt x="183" y="1031"/>
                    <a:pt x="366" y="1213"/>
                  </a:cubicBezTo>
                  <a:cubicBezTo>
                    <a:pt x="469" y="1262"/>
                    <a:pt x="572" y="1284"/>
                    <a:pt x="671" y="1284"/>
                  </a:cubicBezTo>
                  <a:cubicBezTo>
                    <a:pt x="945" y="1284"/>
                    <a:pt x="1190" y="1110"/>
                    <a:pt x="1324" y="825"/>
                  </a:cubicBezTo>
                  <a:cubicBezTo>
                    <a:pt x="1233" y="551"/>
                    <a:pt x="1233" y="163"/>
                    <a:pt x="1051" y="72"/>
                  </a:cubicBezTo>
                  <a:cubicBezTo>
                    <a:pt x="948" y="24"/>
                    <a:pt x="838" y="1"/>
                    <a:pt x="73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2" name="Google Shape;1752;p25"/>
            <p:cNvSpPr/>
            <p:nvPr/>
          </p:nvSpPr>
          <p:spPr>
            <a:xfrm>
              <a:off x="5496482" y="4919823"/>
              <a:ext cx="25720" cy="27365"/>
            </a:xfrm>
            <a:custGeom>
              <a:avLst/>
              <a:gdLst/>
              <a:ahLst/>
              <a:cxnLst/>
              <a:rect l="l" t="t" r="r" b="b"/>
              <a:pathLst>
                <a:path w="1233" h="1312" extrusionOk="0">
                  <a:moveTo>
                    <a:pt x="656" y="0"/>
                  </a:moveTo>
                  <a:cubicBezTo>
                    <a:pt x="565" y="0"/>
                    <a:pt x="467" y="18"/>
                    <a:pt x="366" y="57"/>
                  </a:cubicBezTo>
                  <a:cubicBezTo>
                    <a:pt x="183" y="57"/>
                    <a:pt x="92" y="445"/>
                    <a:pt x="0" y="628"/>
                  </a:cubicBezTo>
                  <a:cubicBezTo>
                    <a:pt x="77" y="1106"/>
                    <a:pt x="346" y="1312"/>
                    <a:pt x="660" y="1312"/>
                  </a:cubicBezTo>
                  <a:cubicBezTo>
                    <a:pt x="720" y="1312"/>
                    <a:pt x="782" y="1304"/>
                    <a:pt x="845" y="1290"/>
                  </a:cubicBezTo>
                  <a:cubicBezTo>
                    <a:pt x="1028" y="1198"/>
                    <a:pt x="1233" y="810"/>
                    <a:pt x="1233" y="628"/>
                  </a:cubicBezTo>
                  <a:cubicBezTo>
                    <a:pt x="1233" y="250"/>
                    <a:pt x="992" y="0"/>
                    <a:pt x="65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3" name="Google Shape;1753;p25"/>
            <p:cNvSpPr/>
            <p:nvPr/>
          </p:nvSpPr>
          <p:spPr>
            <a:xfrm>
              <a:off x="5680738" y="4920490"/>
              <a:ext cx="33835" cy="26239"/>
            </a:xfrm>
            <a:custGeom>
              <a:avLst/>
              <a:gdLst/>
              <a:ahLst/>
              <a:cxnLst/>
              <a:rect l="l" t="t" r="r" b="b"/>
              <a:pathLst>
                <a:path w="1622" h="1258" extrusionOk="0">
                  <a:moveTo>
                    <a:pt x="743" y="1"/>
                  </a:moveTo>
                  <a:cubicBezTo>
                    <a:pt x="538" y="1"/>
                    <a:pt x="277" y="154"/>
                    <a:pt x="183" y="322"/>
                  </a:cubicBezTo>
                  <a:cubicBezTo>
                    <a:pt x="1" y="778"/>
                    <a:pt x="298" y="1166"/>
                    <a:pt x="754" y="1258"/>
                  </a:cubicBezTo>
                  <a:cubicBezTo>
                    <a:pt x="959" y="1166"/>
                    <a:pt x="1325" y="1075"/>
                    <a:pt x="1439" y="892"/>
                  </a:cubicBezTo>
                  <a:cubicBezTo>
                    <a:pt x="1621" y="413"/>
                    <a:pt x="1325" y="25"/>
                    <a:pt x="868" y="25"/>
                  </a:cubicBezTo>
                  <a:cubicBezTo>
                    <a:pt x="831" y="8"/>
                    <a:pt x="788" y="1"/>
                    <a:pt x="74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4" name="Google Shape;1754;p25"/>
            <p:cNvSpPr/>
            <p:nvPr/>
          </p:nvSpPr>
          <p:spPr>
            <a:xfrm>
              <a:off x="5871190" y="4919823"/>
              <a:ext cx="27639" cy="27365"/>
            </a:xfrm>
            <a:custGeom>
              <a:avLst/>
              <a:gdLst/>
              <a:ahLst/>
              <a:cxnLst/>
              <a:rect l="l" t="t" r="r" b="b"/>
              <a:pathLst>
                <a:path w="1325" h="1312" extrusionOk="0">
                  <a:moveTo>
                    <a:pt x="677" y="0"/>
                  </a:moveTo>
                  <a:cubicBezTo>
                    <a:pt x="587" y="0"/>
                    <a:pt x="491" y="18"/>
                    <a:pt x="389" y="57"/>
                  </a:cubicBezTo>
                  <a:cubicBezTo>
                    <a:pt x="184" y="57"/>
                    <a:pt x="92" y="445"/>
                    <a:pt x="1" y="628"/>
                  </a:cubicBezTo>
                  <a:cubicBezTo>
                    <a:pt x="77" y="1106"/>
                    <a:pt x="363" y="1312"/>
                    <a:pt x="682" y="1312"/>
                  </a:cubicBezTo>
                  <a:cubicBezTo>
                    <a:pt x="743" y="1312"/>
                    <a:pt x="806" y="1304"/>
                    <a:pt x="868" y="1290"/>
                  </a:cubicBezTo>
                  <a:cubicBezTo>
                    <a:pt x="1051" y="1198"/>
                    <a:pt x="1325" y="810"/>
                    <a:pt x="1233" y="628"/>
                  </a:cubicBezTo>
                  <a:cubicBezTo>
                    <a:pt x="1233" y="250"/>
                    <a:pt x="1007" y="0"/>
                    <a:pt x="6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5" name="Google Shape;1755;p25"/>
            <p:cNvSpPr/>
            <p:nvPr/>
          </p:nvSpPr>
          <p:spPr>
            <a:xfrm>
              <a:off x="6055947" y="4920490"/>
              <a:ext cx="33334" cy="26239"/>
            </a:xfrm>
            <a:custGeom>
              <a:avLst/>
              <a:gdLst/>
              <a:ahLst/>
              <a:cxnLst/>
              <a:rect l="l" t="t" r="r" b="b"/>
              <a:pathLst>
                <a:path w="1598" h="1258" extrusionOk="0">
                  <a:moveTo>
                    <a:pt x="728" y="1"/>
                  </a:moveTo>
                  <a:cubicBezTo>
                    <a:pt x="531" y="1"/>
                    <a:pt x="257" y="154"/>
                    <a:pt x="183" y="322"/>
                  </a:cubicBezTo>
                  <a:cubicBezTo>
                    <a:pt x="0" y="778"/>
                    <a:pt x="274" y="1166"/>
                    <a:pt x="753" y="1258"/>
                  </a:cubicBezTo>
                  <a:cubicBezTo>
                    <a:pt x="936" y="1166"/>
                    <a:pt x="1324" y="1075"/>
                    <a:pt x="1415" y="892"/>
                  </a:cubicBezTo>
                  <a:cubicBezTo>
                    <a:pt x="1598" y="413"/>
                    <a:pt x="1324" y="25"/>
                    <a:pt x="845" y="25"/>
                  </a:cubicBezTo>
                  <a:cubicBezTo>
                    <a:pt x="811" y="8"/>
                    <a:pt x="771" y="1"/>
                    <a:pt x="72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6" name="Google Shape;1756;p25"/>
            <p:cNvSpPr/>
            <p:nvPr/>
          </p:nvSpPr>
          <p:spPr>
            <a:xfrm>
              <a:off x="6244021" y="4919093"/>
              <a:ext cx="31916" cy="27636"/>
            </a:xfrm>
            <a:custGeom>
              <a:avLst/>
              <a:gdLst/>
              <a:ahLst/>
              <a:cxnLst/>
              <a:rect l="l" t="t" r="r" b="b"/>
              <a:pathLst>
                <a:path w="1530" h="1325" extrusionOk="0">
                  <a:moveTo>
                    <a:pt x="571" y="1"/>
                  </a:moveTo>
                  <a:cubicBezTo>
                    <a:pt x="206" y="183"/>
                    <a:pt x="0" y="571"/>
                    <a:pt x="206" y="959"/>
                  </a:cubicBezTo>
                  <a:cubicBezTo>
                    <a:pt x="297" y="1142"/>
                    <a:pt x="685" y="1325"/>
                    <a:pt x="867" y="1325"/>
                  </a:cubicBezTo>
                  <a:cubicBezTo>
                    <a:pt x="1347" y="1142"/>
                    <a:pt x="1529" y="754"/>
                    <a:pt x="1256" y="389"/>
                  </a:cubicBezTo>
                  <a:cubicBezTo>
                    <a:pt x="1141" y="183"/>
                    <a:pt x="867" y="92"/>
                    <a:pt x="57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7" name="Google Shape;1757;p25"/>
            <p:cNvSpPr/>
            <p:nvPr/>
          </p:nvSpPr>
          <p:spPr>
            <a:xfrm>
              <a:off x="6434473" y="4919823"/>
              <a:ext cx="26200" cy="27365"/>
            </a:xfrm>
            <a:custGeom>
              <a:avLst/>
              <a:gdLst/>
              <a:ahLst/>
              <a:cxnLst/>
              <a:rect l="l" t="t" r="r" b="b"/>
              <a:pathLst>
                <a:path w="1256" h="1312" extrusionOk="0">
                  <a:moveTo>
                    <a:pt x="679" y="0"/>
                  </a:moveTo>
                  <a:cubicBezTo>
                    <a:pt x="588" y="0"/>
                    <a:pt x="490" y="18"/>
                    <a:pt x="388" y="57"/>
                  </a:cubicBezTo>
                  <a:cubicBezTo>
                    <a:pt x="206" y="57"/>
                    <a:pt x="114" y="445"/>
                    <a:pt x="0" y="628"/>
                  </a:cubicBezTo>
                  <a:cubicBezTo>
                    <a:pt x="0" y="1106"/>
                    <a:pt x="273" y="1312"/>
                    <a:pt x="644" y="1312"/>
                  </a:cubicBezTo>
                  <a:cubicBezTo>
                    <a:pt x="715" y="1312"/>
                    <a:pt x="790" y="1304"/>
                    <a:pt x="868" y="1290"/>
                  </a:cubicBezTo>
                  <a:cubicBezTo>
                    <a:pt x="1050" y="1198"/>
                    <a:pt x="1256" y="810"/>
                    <a:pt x="1256" y="628"/>
                  </a:cubicBezTo>
                  <a:cubicBezTo>
                    <a:pt x="1256" y="250"/>
                    <a:pt x="1015" y="0"/>
                    <a:pt x="67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8" name="Google Shape;1758;p25"/>
            <p:cNvSpPr/>
            <p:nvPr/>
          </p:nvSpPr>
          <p:spPr>
            <a:xfrm>
              <a:off x="6621107" y="4919176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02" y="1"/>
                  </a:moveTo>
                  <a:cubicBezTo>
                    <a:pt x="577" y="1"/>
                    <a:pt x="440" y="31"/>
                    <a:pt x="298" y="88"/>
                  </a:cubicBezTo>
                  <a:cubicBezTo>
                    <a:pt x="183" y="179"/>
                    <a:pt x="1" y="567"/>
                    <a:pt x="1" y="750"/>
                  </a:cubicBezTo>
                  <a:cubicBezTo>
                    <a:pt x="125" y="1077"/>
                    <a:pt x="346" y="1266"/>
                    <a:pt x="596" y="1266"/>
                  </a:cubicBezTo>
                  <a:cubicBezTo>
                    <a:pt x="713" y="1266"/>
                    <a:pt x="836" y="1225"/>
                    <a:pt x="959" y="1138"/>
                  </a:cubicBezTo>
                  <a:cubicBezTo>
                    <a:pt x="1142" y="1047"/>
                    <a:pt x="1233" y="659"/>
                    <a:pt x="1325" y="476"/>
                  </a:cubicBezTo>
                  <a:cubicBezTo>
                    <a:pt x="1199" y="147"/>
                    <a:pt x="977" y="1"/>
                    <a:pt x="70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9" name="Google Shape;1759;p25"/>
            <p:cNvSpPr/>
            <p:nvPr/>
          </p:nvSpPr>
          <p:spPr>
            <a:xfrm>
              <a:off x="6807762" y="4919176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23" y="1"/>
                  </a:moveTo>
                  <a:cubicBezTo>
                    <a:pt x="608" y="1"/>
                    <a:pt x="487" y="31"/>
                    <a:pt x="366" y="88"/>
                  </a:cubicBezTo>
                  <a:cubicBezTo>
                    <a:pt x="183" y="179"/>
                    <a:pt x="0" y="567"/>
                    <a:pt x="92" y="750"/>
                  </a:cubicBezTo>
                  <a:cubicBezTo>
                    <a:pt x="154" y="1077"/>
                    <a:pt x="397" y="1266"/>
                    <a:pt x="668" y="1266"/>
                  </a:cubicBezTo>
                  <a:cubicBezTo>
                    <a:pt x="795" y="1266"/>
                    <a:pt x="927" y="1225"/>
                    <a:pt x="1050" y="1138"/>
                  </a:cubicBezTo>
                  <a:cubicBezTo>
                    <a:pt x="1233" y="1047"/>
                    <a:pt x="1233" y="659"/>
                    <a:pt x="1324" y="476"/>
                  </a:cubicBezTo>
                  <a:cubicBezTo>
                    <a:pt x="1199" y="147"/>
                    <a:pt x="976" y="1"/>
                    <a:pt x="72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0" name="Google Shape;1760;p25"/>
            <p:cNvSpPr/>
            <p:nvPr/>
          </p:nvSpPr>
          <p:spPr>
            <a:xfrm>
              <a:off x="6998214" y="4918613"/>
              <a:ext cx="25720" cy="27407"/>
            </a:xfrm>
            <a:custGeom>
              <a:avLst/>
              <a:gdLst/>
              <a:ahLst/>
              <a:cxnLst/>
              <a:rect l="l" t="t" r="r" b="b"/>
              <a:pathLst>
                <a:path w="1233" h="1314" extrusionOk="0">
                  <a:moveTo>
                    <a:pt x="617" y="1"/>
                  </a:moveTo>
                  <a:cubicBezTo>
                    <a:pt x="255" y="1"/>
                    <a:pt x="0" y="194"/>
                    <a:pt x="0" y="594"/>
                  </a:cubicBezTo>
                  <a:cubicBezTo>
                    <a:pt x="0" y="777"/>
                    <a:pt x="183" y="1256"/>
                    <a:pt x="366" y="1256"/>
                  </a:cubicBezTo>
                  <a:cubicBezTo>
                    <a:pt x="448" y="1295"/>
                    <a:pt x="530" y="1313"/>
                    <a:pt x="610" y="1313"/>
                  </a:cubicBezTo>
                  <a:cubicBezTo>
                    <a:pt x="905" y="1313"/>
                    <a:pt x="1161" y="1063"/>
                    <a:pt x="1233" y="686"/>
                  </a:cubicBezTo>
                  <a:cubicBezTo>
                    <a:pt x="1142" y="503"/>
                    <a:pt x="1050" y="115"/>
                    <a:pt x="845" y="24"/>
                  </a:cubicBezTo>
                  <a:cubicBezTo>
                    <a:pt x="766" y="9"/>
                    <a:pt x="689" y="1"/>
                    <a:pt x="61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1" name="Google Shape;1761;p25"/>
            <p:cNvSpPr/>
            <p:nvPr/>
          </p:nvSpPr>
          <p:spPr>
            <a:xfrm>
              <a:off x="7182470" y="4920490"/>
              <a:ext cx="31937" cy="26239"/>
            </a:xfrm>
            <a:custGeom>
              <a:avLst/>
              <a:gdLst/>
              <a:ahLst/>
              <a:cxnLst/>
              <a:rect l="l" t="t" r="r" b="b"/>
              <a:pathLst>
                <a:path w="1531" h="1258" extrusionOk="0">
                  <a:moveTo>
                    <a:pt x="651" y="1"/>
                  </a:moveTo>
                  <a:cubicBezTo>
                    <a:pt x="447" y="1"/>
                    <a:pt x="185" y="154"/>
                    <a:pt x="92" y="322"/>
                  </a:cubicBezTo>
                  <a:cubicBezTo>
                    <a:pt x="1" y="778"/>
                    <a:pt x="206" y="1166"/>
                    <a:pt x="663" y="1258"/>
                  </a:cubicBezTo>
                  <a:cubicBezTo>
                    <a:pt x="959" y="1166"/>
                    <a:pt x="1348" y="1075"/>
                    <a:pt x="1348" y="892"/>
                  </a:cubicBezTo>
                  <a:cubicBezTo>
                    <a:pt x="1530" y="413"/>
                    <a:pt x="1233" y="25"/>
                    <a:pt x="777" y="25"/>
                  </a:cubicBezTo>
                  <a:cubicBezTo>
                    <a:pt x="740" y="8"/>
                    <a:pt x="697" y="1"/>
                    <a:pt x="65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2" name="Google Shape;1762;p25"/>
            <p:cNvSpPr/>
            <p:nvPr/>
          </p:nvSpPr>
          <p:spPr>
            <a:xfrm>
              <a:off x="7372922" y="4918613"/>
              <a:ext cx="25741" cy="27407"/>
            </a:xfrm>
            <a:custGeom>
              <a:avLst/>
              <a:gdLst/>
              <a:ahLst/>
              <a:cxnLst/>
              <a:rect l="l" t="t" r="r" b="b"/>
              <a:pathLst>
                <a:path w="1234" h="1314" extrusionOk="0">
                  <a:moveTo>
                    <a:pt x="671" y="1"/>
                  </a:moveTo>
                  <a:cubicBezTo>
                    <a:pt x="335" y="1"/>
                    <a:pt x="1" y="194"/>
                    <a:pt x="1" y="594"/>
                  </a:cubicBezTo>
                  <a:cubicBezTo>
                    <a:pt x="1" y="777"/>
                    <a:pt x="206" y="1256"/>
                    <a:pt x="389" y="1256"/>
                  </a:cubicBezTo>
                  <a:cubicBezTo>
                    <a:pt x="471" y="1295"/>
                    <a:pt x="553" y="1313"/>
                    <a:pt x="631" y="1313"/>
                  </a:cubicBezTo>
                  <a:cubicBezTo>
                    <a:pt x="920" y="1313"/>
                    <a:pt x="1162" y="1063"/>
                    <a:pt x="1234" y="686"/>
                  </a:cubicBezTo>
                  <a:cubicBezTo>
                    <a:pt x="1142" y="503"/>
                    <a:pt x="1051" y="115"/>
                    <a:pt x="868" y="24"/>
                  </a:cubicBezTo>
                  <a:cubicBezTo>
                    <a:pt x="804" y="9"/>
                    <a:pt x="737" y="1"/>
                    <a:pt x="67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3" name="Google Shape;1763;p25"/>
            <p:cNvSpPr/>
            <p:nvPr/>
          </p:nvSpPr>
          <p:spPr>
            <a:xfrm>
              <a:off x="7559578" y="4918613"/>
              <a:ext cx="27640" cy="27407"/>
            </a:xfrm>
            <a:custGeom>
              <a:avLst/>
              <a:gdLst/>
              <a:ahLst/>
              <a:cxnLst/>
              <a:rect l="l" t="t" r="r" b="b"/>
              <a:pathLst>
                <a:path w="1325" h="1314" extrusionOk="0">
                  <a:moveTo>
                    <a:pt x="730" y="1"/>
                  </a:moveTo>
                  <a:cubicBezTo>
                    <a:pt x="359" y="1"/>
                    <a:pt x="77" y="194"/>
                    <a:pt x="0" y="594"/>
                  </a:cubicBezTo>
                  <a:cubicBezTo>
                    <a:pt x="0" y="777"/>
                    <a:pt x="183" y="1256"/>
                    <a:pt x="388" y="1256"/>
                  </a:cubicBezTo>
                  <a:cubicBezTo>
                    <a:pt x="485" y="1295"/>
                    <a:pt x="575" y="1313"/>
                    <a:pt x="658" y="1313"/>
                  </a:cubicBezTo>
                  <a:cubicBezTo>
                    <a:pt x="966" y="1313"/>
                    <a:pt x="1181" y="1063"/>
                    <a:pt x="1324" y="686"/>
                  </a:cubicBezTo>
                  <a:cubicBezTo>
                    <a:pt x="1233" y="503"/>
                    <a:pt x="1142" y="115"/>
                    <a:pt x="959" y="24"/>
                  </a:cubicBezTo>
                  <a:cubicBezTo>
                    <a:pt x="880" y="9"/>
                    <a:pt x="803" y="1"/>
                    <a:pt x="73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4" name="Google Shape;1764;p25"/>
            <p:cNvSpPr/>
            <p:nvPr/>
          </p:nvSpPr>
          <p:spPr>
            <a:xfrm>
              <a:off x="7748131" y="4918634"/>
              <a:ext cx="25720" cy="27386"/>
            </a:xfrm>
            <a:custGeom>
              <a:avLst/>
              <a:gdLst/>
              <a:ahLst/>
              <a:cxnLst/>
              <a:rect l="l" t="t" r="r" b="b"/>
              <a:pathLst>
                <a:path w="1233" h="1313" extrusionOk="0">
                  <a:moveTo>
                    <a:pt x="552" y="0"/>
                  </a:moveTo>
                  <a:cubicBezTo>
                    <a:pt x="491" y="0"/>
                    <a:pt x="428" y="8"/>
                    <a:pt x="365" y="23"/>
                  </a:cubicBezTo>
                  <a:cubicBezTo>
                    <a:pt x="183" y="114"/>
                    <a:pt x="0" y="502"/>
                    <a:pt x="0" y="685"/>
                  </a:cubicBezTo>
                  <a:cubicBezTo>
                    <a:pt x="0" y="1062"/>
                    <a:pt x="227" y="1312"/>
                    <a:pt x="557" y="1312"/>
                  </a:cubicBezTo>
                  <a:cubicBezTo>
                    <a:pt x="646" y="1312"/>
                    <a:pt x="743" y="1294"/>
                    <a:pt x="845" y="1255"/>
                  </a:cubicBezTo>
                  <a:cubicBezTo>
                    <a:pt x="1050" y="1255"/>
                    <a:pt x="1142" y="867"/>
                    <a:pt x="1233" y="685"/>
                  </a:cubicBezTo>
                  <a:cubicBezTo>
                    <a:pt x="1156" y="206"/>
                    <a:pt x="871" y="0"/>
                    <a:pt x="55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5" name="Google Shape;1765;p25"/>
            <p:cNvSpPr/>
            <p:nvPr/>
          </p:nvSpPr>
          <p:spPr>
            <a:xfrm>
              <a:off x="5024149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27" y="0"/>
                  </a:moveTo>
                  <a:cubicBezTo>
                    <a:pt x="872" y="0"/>
                    <a:pt x="815" y="6"/>
                    <a:pt x="754" y="17"/>
                  </a:cubicBezTo>
                  <a:cubicBezTo>
                    <a:pt x="571" y="17"/>
                    <a:pt x="183" y="200"/>
                    <a:pt x="92" y="383"/>
                  </a:cubicBezTo>
                  <a:cubicBezTo>
                    <a:pt x="1" y="771"/>
                    <a:pt x="183" y="1250"/>
                    <a:pt x="571" y="1341"/>
                  </a:cubicBezTo>
                  <a:cubicBezTo>
                    <a:pt x="676" y="1375"/>
                    <a:pt x="767" y="1390"/>
                    <a:pt x="848" y="1390"/>
                  </a:cubicBezTo>
                  <a:cubicBezTo>
                    <a:pt x="1209" y="1390"/>
                    <a:pt x="1362" y="1088"/>
                    <a:pt x="1530" y="771"/>
                  </a:cubicBezTo>
                  <a:cubicBezTo>
                    <a:pt x="1530" y="272"/>
                    <a:pt x="1304" y="0"/>
                    <a:pt x="92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6" name="Google Shape;1766;p25"/>
            <p:cNvSpPr/>
            <p:nvPr/>
          </p:nvSpPr>
          <p:spPr>
            <a:xfrm>
              <a:off x="5212953" y="5012034"/>
              <a:ext cx="33585" cy="29451"/>
            </a:xfrm>
            <a:custGeom>
              <a:avLst/>
              <a:gdLst/>
              <a:ahLst/>
              <a:cxnLst/>
              <a:rect l="l" t="t" r="r" b="b"/>
              <a:pathLst>
                <a:path w="1610" h="1412" extrusionOk="0">
                  <a:moveTo>
                    <a:pt x="628" y="1"/>
                  </a:moveTo>
                  <a:cubicBezTo>
                    <a:pt x="198" y="1"/>
                    <a:pt x="0" y="263"/>
                    <a:pt x="80" y="680"/>
                  </a:cubicBezTo>
                  <a:cubicBezTo>
                    <a:pt x="80" y="954"/>
                    <a:pt x="262" y="1342"/>
                    <a:pt x="468" y="1342"/>
                  </a:cubicBezTo>
                  <a:cubicBezTo>
                    <a:pt x="561" y="1389"/>
                    <a:pt x="662" y="1412"/>
                    <a:pt x="763" y="1412"/>
                  </a:cubicBezTo>
                  <a:cubicBezTo>
                    <a:pt x="1053" y="1412"/>
                    <a:pt x="1336" y="1219"/>
                    <a:pt x="1404" y="863"/>
                  </a:cubicBezTo>
                  <a:cubicBezTo>
                    <a:pt x="1609" y="384"/>
                    <a:pt x="1221" y="110"/>
                    <a:pt x="833" y="18"/>
                  </a:cubicBezTo>
                  <a:cubicBezTo>
                    <a:pt x="760" y="7"/>
                    <a:pt x="691" y="1"/>
                    <a:pt x="62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7" name="Google Shape;1767;p25"/>
            <p:cNvSpPr/>
            <p:nvPr/>
          </p:nvSpPr>
          <p:spPr>
            <a:xfrm>
              <a:off x="5398878" y="5011241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68" y="0"/>
                  </a:moveTo>
                  <a:cubicBezTo>
                    <a:pt x="886" y="0"/>
                    <a:pt x="792" y="18"/>
                    <a:pt x="685" y="56"/>
                  </a:cubicBezTo>
                  <a:cubicBezTo>
                    <a:pt x="480" y="56"/>
                    <a:pt x="206" y="330"/>
                    <a:pt x="114" y="536"/>
                  </a:cubicBezTo>
                  <a:cubicBezTo>
                    <a:pt x="0" y="992"/>
                    <a:pt x="297" y="1380"/>
                    <a:pt x="776" y="1380"/>
                  </a:cubicBezTo>
                  <a:cubicBezTo>
                    <a:pt x="838" y="1392"/>
                    <a:pt x="896" y="1398"/>
                    <a:pt x="951" y="1398"/>
                  </a:cubicBezTo>
                  <a:cubicBezTo>
                    <a:pt x="1322" y="1398"/>
                    <a:pt x="1530" y="1136"/>
                    <a:pt x="1530" y="718"/>
                  </a:cubicBezTo>
                  <a:cubicBezTo>
                    <a:pt x="1455" y="329"/>
                    <a:pt x="1321" y="0"/>
                    <a:pt x="96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8" name="Google Shape;1768;p25"/>
            <p:cNvSpPr/>
            <p:nvPr/>
          </p:nvSpPr>
          <p:spPr>
            <a:xfrm>
              <a:off x="5585512" y="5012409"/>
              <a:ext cx="35733" cy="28846"/>
            </a:xfrm>
            <a:custGeom>
              <a:avLst/>
              <a:gdLst/>
              <a:ahLst/>
              <a:cxnLst/>
              <a:rect l="l" t="t" r="r" b="b"/>
              <a:pathLst>
                <a:path w="1713" h="1383" extrusionOk="0">
                  <a:moveTo>
                    <a:pt x="959" y="0"/>
                  </a:moveTo>
                  <a:cubicBezTo>
                    <a:pt x="663" y="0"/>
                    <a:pt x="297" y="183"/>
                    <a:pt x="297" y="366"/>
                  </a:cubicBezTo>
                  <a:cubicBezTo>
                    <a:pt x="1" y="754"/>
                    <a:pt x="183" y="1233"/>
                    <a:pt x="663" y="1324"/>
                  </a:cubicBezTo>
                  <a:cubicBezTo>
                    <a:pt x="747" y="1364"/>
                    <a:pt x="832" y="1382"/>
                    <a:pt x="914" y="1382"/>
                  </a:cubicBezTo>
                  <a:cubicBezTo>
                    <a:pt x="1210" y="1382"/>
                    <a:pt x="1478" y="1148"/>
                    <a:pt x="1621" y="845"/>
                  </a:cubicBezTo>
                  <a:cubicBezTo>
                    <a:pt x="1713" y="274"/>
                    <a:pt x="1325" y="0"/>
                    <a:pt x="95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9" name="Google Shape;1769;p25"/>
            <p:cNvSpPr/>
            <p:nvPr/>
          </p:nvSpPr>
          <p:spPr>
            <a:xfrm>
              <a:off x="5774066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27" y="0"/>
                  </a:moveTo>
                  <a:cubicBezTo>
                    <a:pt x="872" y="0"/>
                    <a:pt x="814" y="6"/>
                    <a:pt x="754" y="17"/>
                  </a:cubicBezTo>
                  <a:cubicBezTo>
                    <a:pt x="571" y="17"/>
                    <a:pt x="183" y="200"/>
                    <a:pt x="92" y="383"/>
                  </a:cubicBezTo>
                  <a:cubicBezTo>
                    <a:pt x="1" y="771"/>
                    <a:pt x="183" y="1250"/>
                    <a:pt x="662" y="1341"/>
                  </a:cubicBezTo>
                  <a:cubicBezTo>
                    <a:pt x="750" y="1375"/>
                    <a:pt x="831" y="1390"/>
                    <a:pt x="905" y="1390"/>
                  </a:cubicBezTo>
                  <a:cubicBezTo>
                    <a:pt x="1237" y="1390"/>
                    <a:pt x="1437" y="1088"/>
                    <a:pt x="1530" y="771"/>
                  </a:cubicBezTo>
                  <a:cubicBezTo>
                    <a:pt x="1530" y="272"/>
                    <a:pt x="1303" y="0"/>
                    <a:pt x="92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0" name="Google Shape;1770;p25"/>
            <p:cNvSpPr/>
            <p:nvPr/>
          </p:nvSpPr>
          <p:spPr>
            <a:xfrm>
              <a:off x="5960721" y="5011241"/>
              <a:ext cx="33334" cy="29159"/>
            </a:xfrm>
            <a:custGeom>
              <a:avLst/>
              <a:gdLst/>
              <a:ahLst/>
              <a:cxnLst/>
              <a:rect l="l" t="t" r="r" b="b"/>
              <a:pathLst>
                <a:path w="1598" h="1398" extrusionOk="0">
                  <a:moveTo>
                    <a:pt x="1036" y="0"/>
                  </a:moveTo>
                  <a:cubicBezTo>
                    <a:pt x="954" y="0"/>
                    <a:pt x="861" y="18"/>
                    <a:pt x="753" y="56"/>
                  </a:cubicBezTo>
                  <a:cubicBezTo>
                    <a:pt x="571" y="56"/>
                    <a:pt x="274" y="330"/>
                    <a:pt x="183" y="536"/>
                  </a:cubicBezTo>
                  <a:cubicBezTo>
                    <a:pt x="0" y="992"/>
                    <a:pt x="365" y="1380"/>
                    <a:pt x="753" y="1380"/>
                  </a:cubicBezTo>
                  <a:cubicBezTo>
                    <a:pt x="827" y="1392"/>
                    <a:pt x="894" y="1398"/>
                    <a:pt x="955" y="1398"/>
                  </a:cubicBezTo>
                  <a:cubicBezTo>
                    <a:pt x="1369" y="1398"/>
                    <a:pt x="1518" y="1136"/>
                    <a:pt x="1598" y="718"/>
                  </a:cubicBezTo>
                  <a:cubicBezTo>
                    <a:pt x="1524" y="329"/>
                    <a:pt x="1389" y="0"/>
                    <a:pt x="103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1" name="Google Shape;1771;p25"/>
            <p:cNvSpPr/>
            <p:nvPr/>
          </p:nvSpPr>
          <p:spPr>
            <a:xfrm>
              <a:off x="6148795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48" y="0"/>
                  </a:moveTo>
                  <a:cubicBezTo>
                    <a:pt x="894" y="0"/>
                    <a:pt x="837" y="6"/>
                    <a:pt x="776" y="17"/>
                  </a:cubicBezTo>
                  <a:cubicBezTo>
                    <a:pt x="571" y="17"/>
                    <a:pt x="206" y="200"/>
                    <a:pt x="114" y="383"/>
                  </a:cubicBezTo>
                  <a:cubicBezTo>
                    <a:pt x="0" y="771"/>
                    <a:pt x="206" y="1250"/>
                    <a:pt x="685" y="1341"/>
                  </a:cubicBezTo>
                  <a:cubicBezTo>
                    <a:pt x="768" y="1375"/>
                    <a:pt x="846" y="1390"/>
                    <a:pt x="919" y="1390"/>
                  </a:cubicBezTo>
                  <a:cubicBezTo>
                    <a:pt x="1243" y="1390"/>
                    <a:pt x="1455" y="1088"/>
                    <a:pt x="1529" y="771"/>
                  </a:cubicBezTo>
                  <a:cubicBezTo>
                    <a:pt x="1529" y="272"/>
                    <a:pt x="1320" y="0"/>
                    <a:pt x="94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2" name="Google Shape;1772;p25"/>
            <p:cNvSpPr/>
            <p:nvPr/>
          </p:nvSpPr>
          <p:spPr>
            <a:xfrm>
              <a:off x="6335429" y="5011241"/>
              <a:ext cx="33835" cy="29159"/>
            </a:xfrm>
            <a:custGeom>
              <a:avLst/>
              <a:gdLst/>
              <a:ahLst/>
              <a:cxnLst/>
              <a:rect l="l" t="t" r="r" b="b"/>
              <a:pathLst>
                <a:path w="1622" h="1398" extrusionOk="0">
                  <a:moveTo>
                    <a:pt x="1039" y="0"/>
                  </a:moveTo>
                  <a:cubicBezTo>
                    <a:pt x="956" y="0"/>
                    <a:pt x="861" y="18"/>
                    <a:pt x="754" y="56"/>
                  </a:cubicBezTo>
                  <a:cubicBezTo>
                    <a:pt x="571" y="56"/>
                    <a:pt x="297" y="330"/>
                    <a:pt x="183" y="536"/>
                  </a:cubicBezTo>
                  <a:cubicBezTo>
                    <a:pt x="1" y="992"/>
                    <a:pt x="389" y="1380"/>
                    <a:pt x="868" y="1380"/>
                  </a:cubicBezTo>
                  <a:cubicBezTo>
                    <a:pt x="927" y="1392"/>
                    <a:pt x="981" y="1398"/>
                    <a:pt x="1032" y="1398"/>
                  </a:cubicBezTo>
                  <a:cubicBezTo>
                    <a:pt x="1375" y="1398"/>
                    <a:pt x="1542" y="1136"/>
                    <a:pt x="1621" y="718"/>
                  </a:cubicBezTo>
                  <a:cubicBezTo>
                    <a:pt x="1547" y="329"/>
                    <a:pt x="1398" y="0"/>
                    <a:pt x="103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3" name="Google Shape;1773;p25"/>
            <p:cNvSpPr/>
            <p:nvPr/>
          </p:nvSpPr>
          <p:spPr>
            <a:xfrm>
              <a:off x="6523983" y="5011241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94" y="0"/>
                  </a:moveTo>
                  <a:cubicBezTo>
                    <a:pt x="923" y="0"/>
                    <a:pt x="844" y="18"/>
                    <a:pt x="754" y="56"/>
                  </a:cubicBezTo>
                  <a:cubicBezTo>
                    <a:pt x="480" y="56"/>
                    <a:pt x="183" y="330"/>
                    <a:pt x="183" y="536"/>
                  </a:cubicBezTo>
                  <a:cubicBezTo>
                    <a:pt x="0" y="992"/>
                    <a:pt x="274" y="1380"/>
                    <a:pt x="754" y="1380"/>
                  </a:cubicBezTo>
                  <a:cubicBezTo>
                    <a:pt x="815" y="1392"/>
                    <a:pt x="874" y="1398"/>
                    <a:pt x="929" y="1398"/>
                  </a:cubicBezTo>
                  <a:cubicBezTo>
                    <a:pt x="1304" y="1398"/>
                    <a:pt x="1530" y="1136"/>
                    <a:pt x="1530" y="718"/>
                  </a:cubicBezTo>
                  <a:cubicBezTo>
                    <a:pt x="1437" y="329"/>
                    <a:pt x="1299" y="0"/>
                    <a:pt x="99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4" name="Google Shape;1774;p25"/>
            <p:cNvSpPr/>
            <p:nvPr/>
          </p:nvSpPr>
          <p:spPr>
            <a:xfrm>
              <a:off x="6712536" y="5011012"/>
              <a:ext cx="33814" cy="29034"/>
            </a:xfrm>
            <a:custGeom>
              <a:avLst/>
              <a:gdLst/>
              <a:ahLst/>
              <a:cxnLst/>
              <a:rect l="l" t="t" r="r" b="b"/>
              <a:pathLst>
                <a:path w="1621" h="1392" extrusionOk="0">
                  <a:moveTo>
                    <a:pt x="819" y="0"/>
                  </a:moveTo>
                  <a:cubicBezTo>
                    <a:pt x="737" y="0"/>
                    <a:pt x="653" y="21"/>
                    <a:pt x="571" y="67"/>
                  </a:cubicBezTo>
                  <a:cubicBezTo>
                    <a:pt x="92" y="159"/>
                    <a:pt x="0" y="638"/>
                    <a:pt x="183" y="1117"/>
                  </a:cubicBezTo>
                  <a:cubicBezTo>
                    <a:pt x="274" y="1300"/>
                    <a:pt x="662" y="1391"/>
                    <a:pt x="845" y="1391"/>
                  </a:cubicBezTo>
                  <a:cubicBezTo>
                    <a:pt x="1324" y="1391"/>
                    <a:pt x="1621" y="1117"/>
                    <a:pt x="1507" y="547"/>
                  </a:cubicBezTo>
                  <a:cubicBezTo>
                    <a:pt x="1365" y="246"/>
                    <a:pt x="1101" y="0"/>
                    <a:pt x="81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5" name="Google Shape;1775;p25"/>
            <p:cNvSpPr/>
            <p:nvPr/>
          </p:nvSpPr>
          <p:spPr>
            <a:xfrm>
              <a:off x="6898691" y="5012034"/>
              <a:ext cx="31937" cy="29493"/>
            </a:xfrm>
            <a:custGeom>
              <a:avLst/>
              <a:gdLst/>
              <a:ahLst/>
              <a:cxnLst/>
              <a:rect l="l" t="t" r="r" b="b"/>
              <a:pathLst>
                <a:path w="1531" h="1414" extrusionOk="0">
                  <a:moveTo>
                    <a:pt x="857" y="1"/>
                  </a:moveTo>
                  <a:cubicBezTo>
                    <a:pt x="802" y="1"/>
                    <a:pt x="745" y="6"/>
                    <a:pt x="686" y="18"/>
                  </a:cubicBezTo>
                  <a:cubicBezTo>
                    <a:pt x="206" y="201"/>
                    <a:pt x="1" y="589"/>
                    <a:pt x="115" y="954"/>
                  </a:cubicBezTo>
                  <a:cubicBezTo>
                    <a:pt x="249" y="1239"/>
                    <a:pt x="543" y="1413"/>
                    <a:pt x="835" y="1413"/>
                  </a:cubicBezTo>
                  <a:cubicBezTo>
                    <a:pt x="940" y="1413"/>
                    <a:pt x="1045" y="1391"/>
                    <a:pt x="1142" y="1342"/>
                  </a:cubicBezTo>
                  <a:cubicBezTo>
                    <a:pt x="1348" y="1160"/>
                    <a:pt x="1530" y="863"/>
                    <a:pt x="1530" y="589"/>
                  </a:cubicBezTo>
                  <a:cubicBezTo>
                    <a:pt x="1451" y="252"/>
                    <a:pt x="1216" y="1"/>
                    <a:pt x="85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6" name="Google Shape;1776;p25"/>
            <p:cNvSpPr/>
            <p:nvPr/>
          </p:nvSpPr>
          <p:spPr>
            <a:xfrm>
              <a:off x="7085346" y="5012034"/>
              <a:ext cx="33835" cy="29493"/>
            </a:xfrm>
            <a:custGeom>
              <a:avLst/>
              <a:gdLst/>
              <a:ahLst/>
              <a:cxnLst/>
              <a:rect l="l" t="t" r="r" b="b"/>
              <a:pathLst>
                <a:path w="1622" h="1414" extrusionOk="0">
                  <a:moveTo>
                    <a:pt x="872" y="1"/>
                  </a:moveTo>
                  <a:cubicBezTo>
                    <a:pt x="807" y="1"/>
                    <a:pt x="737" y="6"/>
                    <a:pt x="662" y="18"/>
                  </a:cubicBezTo>
                  <a:cubicBezTo>
                    <a:pt x="297" y="201"/>
                    <a:pt x="0" y="589"/>
                    <a:pt x="183" y="954"/>
                  </a:cubicBezTo>
                  <a:cubicBezTo>
                    <a:pt x="334" y="1239"/>
                    <a:pt x="633" y="1413"/>
                    <a:pt x="925" y="1413"/>
                  </a:cubicBezTo>
                  <a:cubicBezTo>
                    <a:pt x="1031" y="1413"/>
                    <a:pt x="1136" y="1391"/>
                    <a:pt x="1233" y="1342"/>
                  </a:cubicBezTo>
                  <a:cubicBezTo>
                    <a:pt x="1438" y="1160"/>
                    <a:pt x="1621" y="863"/>
                    <a:pt x="1530" y="589"/>
                  </a:cubicBezTo>
                  <a:cubicBezTo>
                    <a:pt x="1530" y="252"/>
                    <a:pt x="1306" y="1"/>
                    <a:pt x="87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7" name="Google Shape;1777;p25"/>
            <p:cNvSpPr/>
            <p:nvPr/>
          </p:nvSpPr>
          <p:spPr>
            <a:xfrm>
              <a:off x="7273900" y="5012054"/>
              <a:ext cx="33585" cy="28992"/>
            </a:xfrm>
            <a:custGeom>
              <a:avLst/>
              <a:gdLst/>
              <a:ahLst/>
              <a:cxnLst/>
              <a:rect l="l" t="t" r="r" b="b"/>
              <a:pathLst>
                <a:path w="1610" h="1390" extrusionOk="0">
                  <a:moveTo>
                    <a:pt x="1018" y="0"/>
                  </a:moveTo>
                  <a:cubicBezTo>
                    <a:pt x="963" y="0"/>
                    <a:pt x="905" y="6"/>
                    <a:pt x="845" y="17"/>
                  </a:cubicBezTo>
                  <a:cubicBezTo>
                    <a:pt x="571" y="17"/>
                    <a:pt x="183" y="200"/>
                    <a:pt x="183" y="383"/>
                  </a:cubicBezTo>
                  <a:cubicBezTo>
                    <a:pt x="0" y="771"/>
                    <a:pt x="183" y="1250"/>
                    <a:pt x="662" y="1341"/>
                  </a:cubicBezTo>
                  <a:cubicBezTo>
                    <a:pt x="750" y="1375"/>
                    <a:pt x="830" y="1390"/>
                    <a:pt x="905" y="1390"/>
                  </a:cubicBezTo>
                  <a:cubicBezTo>
                    <a:pt x="1236" y="1390"/>
                    <a:pt x="1436" y="1088"/>
                    <a:pt x="1530" y="771"/>
                  </a:cubicBezTo>
                  <a:cubicBezTo>
                    <a:pt x="1609" y="272"/>
                    <a:pt x="1393" y="0"/>
                    <a:pt x="10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8" name="Google Shape;1778;p25"/>
            <p:cNvSpPr/>
            <p:nvPr/>
          </p:nvSpPr>
          <p:spPr>
            <a:xfrm>
              <a:off x="7462453" y="5011241"/>
              <a:ext cx="31436" cy="29159"/>
            </a:xfrm>
            <a:custGeom>
              <a:avLst/>
              <a:gdLst/>
              <a:ahLst/>
              <a:cxnLst/>
              <a:rect l="l" t="t" r="r" b="b"/>
              <a:pathLst>
                <a:path w="1507" h="1398" extrusionOk="0">
                  <a:moveTo>
                    <a:pt x="945" y="0"/>
                  </a:moveTo>
                  <a:cubicBezTo>
                    <a:pt x="863" y="0"/>
                    <a:pt x="769" y="18"/>
                    <a:pt x="662" y="56"/>
                  </a:cubicBezTo>
                  <a:cubicBezTo>
                    <a:pt x="479" y="56"/>
                    <a:pt x="183" y="330"/>
                    <a:pt x="91" y="536"/>
                  </a:cubicBezTo>
                  <a:cubicBezTo>
                    <a:pt x="0" y="992"/>
                    <a:pt x="274" y="1380"/>
                    <a:pt x="753" y="1380"/>
                  </a:cubicBezTo>
                  <a:cubicBezTo>
                    <a:pt x="815" y="1392"/>
                    <a:pt x="873" y="1398"/>
                    <a:pt x="928" y="1398"/>
                  </a:cubicBezTo>
                  <a:cubicBezTo>
                    <a:pt x="1299" y="1398"/>
                    <a:pt x="1507" y="1136"/>
                    <a:pt x="1507" y="718"/>
                  </a:cubicBezTo>
                  <a:cubicBezTo>
                    <a:pt x="1432" y="329"/>
                    <a:pt x="1298" y="0"/>
                    <a:pt x="945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9" name="Google Shape;1779;p25"/>
            <p:cNvSpPr/>
            <p:nvPr/>
          </p:nvSpPr>
          <p:spPr>
            <a:xfrm>
              <a:off x="7648608" y="5011012"/>
              <a:ext cx="33835" cy="29034"/>
            </a:xfrm>
            <a:custGeom>
              <a:avLst/>
              <a:gdLst/>
              <a:ahLst/>
              <a:cxnLst/>
              <a:rect l="l" t="t" r="r" b="b"/>
              <a:pathLst>
                <a:path w="1622" h="1392" extrusionOk="0">
                  <a:moveTo>
                    <a:pt x="880" y="0"/>
                  </a:moveTo>
                  <a:cubicBezTo>
                    <a:pt x="783" y="0"/>
                    <a:pt x="679" y="21"/>
                    <a:pt x="571" y="67"/>
                  </a:cubicBezTo>
                  <a:cubicBezTo>
                    <a:pt x="206" y="159"/>
                    <a:pt x="1" y="638"/>
                    <a:pt x="298" y="1117"/>
                  </a:cubicBezTo>
                  <a:cubicBezTo>
                    <a:pt x="389" y="1300"/>
                    <a:pt x="686" y="1391"/>
                    <a:pt x="959" y="1391"/>
                  </a:cubicBezTo>
                  <a:cubicBezTo>
                    <a:pt x="1347" y="1391"/>
                    <a:pt x="1621" y="1117"/>
                    <a:pt x="1621" y="547"/>
                  </a:cubicBezTo>
                  <a:cubicBezTo>
                    <a:pt x="1480" y="246"/>
                    <a:pt x="1215" y="0"/>
                    <a:pt x="88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80" name="Google Shape;1780;p25"/>
          <p:cNvSpPr/>
          <p:nvPr/>
        </p:nvSpPr>
        <p:spPr>
          <a:xfrm flipH="1">
            <a:off x="-839675" y="4950300"/>
            <a:ext cx="2926800" cy="365700"/>
          </a:xfrm>
          <a:prstGeom prst="round2DiagRect">
            <a:avLst>
              <a:gd name="adj1" fmla="val 16667"/>
              <a:gd name="adj2" fmla="val 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81" name="Google Shape;1781;p25"/>
          <p:cNvSpPr/>
          <p:nvPr/>
        </p:nvSpPr>
        <p:spPr>
          <a:xfrm>
            <a:off x="7042100" y="4950300"/>
            <a:ext cx="2926800" cy="365700"/>
          </a:xfrm>
          <a:prstGeom prst="round2DiagRect">
            <a:avLst>
              <a:gd name="adj1" fmla="val 16667"/>
              <a:gd name="adj2" fmla="val 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CUSTOM_11">
    <p:spTree>
      <p:nvGrpSpPr>
        <p:cNvPr id="1" name="Shape 18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7" name="Google Shape;1897;p27"/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grpSp>
        <p:nvGrpSpPr>
          <p:cNvPr id="1898" name="Google Shape;1898;p27"/>
          <p:cNvGrpSpPr/>
          <p:nvPr/>
        </p:nvGrpSpPr>
        <p:grpSpPr>
          <a:xfrm>
            <a:off x="1827974" y="4938638"/>
            <a:ext cx="2749703" cy="122913"/>
            <a:chOff x="5024149" y="4918613"/>
            <a:chExt cx="2749703" cy="122913"/>
          </a:xfrm>
        </p:grpSpPr>
        <p:sp>
          <p:nvSpPr>
            <p:cNvPr id="1899" name="Google Shape;1899;p27"/>
            <p:cNvSpPr/>
            <p:nvPr/>
          </p:nvSpPr>
          <p:spPr>
            <a:xfrm>
              <a:off x="5121294" y="4919510"/>
              <a:ext cx="27619" cy="26802"/>
            </a:xfrm>
            <a:custGeom>
              <a:avLst/>
              <a:gdLst/>
              <a:ahLst/>
              <a:cxnLst/>
              <a:rect l="l" t="t" r="r" b="b"/>
              <a:pathLst>
                <a:path w="1324" h="1285" extrusionOk="0">
                  <a:moveTo>
                    <a:pt x="690" y="1"/>
                  </a:moveTo>
                  <a:cubicBezTo>
                    <a:pt x="379" y="1"/>
                    <a:pt x="134" y="175"/>
                    <a:pt x="0" y="460"/>
                  </a:cubicBezTo>
                  <a:cubicBezTo>
                    <a:pt x="0" y="643"/>
                    <a:pt x="183" y="1031"/>
                    <a:pt x="297" y="1213"/>
                  </a:cubicBezTo>
                  <a:cubicBezTo>
                    <a:pt x="418" y="1262"/>
                    <a:pt x="528" y="1284"/>
                    <a:pt x="629" y="1284"/>
                  </a:cubicBezTo>
                  <a:cubicBezTo>
                    <a:pt x="909" y="1284"/>
                    <a:pt x="1123" y="1110"/>
                    <a:pt x="1324" y="825"/>
                  </a:cubicBezTo>
                  <a:cubicBezTo>
                    <a:pt x="1233" y="551"/>
                    <a:pt x="1141" y="163"/>
                    <a:pt x="1050" y="72"/>
                  </a:cubicBezTo>
                  <a:cubicBezTo>
                    <a:pt x="923" y="24"/>
                    <a:pt x="802" y="1"/>
                    <a:pt x="69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0" name="Google Shape;1900;p27"/>
            <p:cNvSpPr/>
            <p:nvPr/>
          </p:nvSpPr>
          <p:spPr>
            <a:xfrm>
              <a:off x="5307928" y="4919510"/>
              <a:ext cx="27639" cy="26802"/>
            </a:xfrm>
            <a:custGeom>
              <a:avLst/>
              <a:gdLst/>
              <a:ahLst/>
              <a:cxnLst/>
              <a:rect l="l" t="t" r="r" b="b"/>
              <a:pathLst>
                <a:path w="1325" h="1285" extrusionOk="0">
                  <a:moveTo>
                    <a:pt x="731" y="1"/>
                  </a:moveTo>
                  <a:cubicBezTo>
                    <a:pt x="435" y="1"/>
                    <a:pt x="159" y="175"/>
                    <a:pt x="92" y="460"/>
                  </a:cubicBezTo>
                  <a:cubicBezTo>
                    <a:pt x="1" y="643"/>
                    <a:pt x="183" y="1031"/>
                    <a:pt x="366" y="1213"/>
                  </a:cubicBezTo>
                  <a:cubicBezTo>
                    <a:pt x="469" y="1262"/>
                    <a:pt x="572" y="1284"/>
                    <a:pt x="671" y="1284"/>
                  </a:cubicBezTo>
                  <a:cubicBezTo>
                    <a:pt x="945" y="1284"/>
                    <a:pt x="1190" y="1110"/>
                    <a:pt x="1324" y="825"/>
                  </a:cubicBezTo>
                  <a:cubicBezTo>
                    <a:pt x="1233" y="551"/>
                    <a:pt x="1233" y="163"/>
                    <a:pt x="1051" y="72"/>
                  </a:cubicBezTo>
                  <a:cubicBezTo>
                    <a:pt x="948" y="24"/>
                    <a:pt x="838" y="1"/>
                    <a:pt x="73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1" name="Google Shape;1901;p27"/>
            <p:cNvSpPr/>
            <p:nvPr/>
          </p:nvSpPr>
          <p:spPr>
            <a:xfrm>
              <a:off x="5496482" y="4919823"/>
              <a:ext cx="25720" cy="27365"/>
            </a:xfrm>
            <a:custGeom>
              <a:avLst/>
              <a:gdLst/>
              <a:ahLst/>
              <a:cxnLst/>
              <a:rect l="l" t="t" r="r" b="b"/>
              <a:pathLst>
                <a:path w="1233" h="1312" extrusionOk="0">
                  <a:moveTo>
                    <a:pt x="656" y="0"/>
                  </a:moveTo>
                  <a:cubicBezTo>
                    <a:pt x="565" y="0"/>
                    <a:pt x="467" y="18"/>
                    <a:pt x="366" y="57"/>
                  </a:cubicBezTo>
                  <a:cubicBezTo>
                    <a:pt x="183" y="57"/>
                    <a:pt x="92" y="445"/>
                    <a:pt x="0" y="628"/>
                  </a:cubicBezTo>
                  <a:cubicBezTo>
                    <a:pt x="77" y="1106"/>
                    <a:pt x="346" y="1312"/>
                    <a:pt x="660" y="1312"/>
                  </a:cubicBezTo>
                  <a:cubicBezTo>
                    <a:pt x="720" y="1312"/>
                    <a:pt x="782" y="1304"/>
                    <a:pt x="845" y="1290"/>
                  </a:cubicBezTo>
                  <a:cubicBezTo>
                    <a:pt x="1028" y="1198"/>
                    <a:pt x="1233" y="810"/>
                    <a:pt x="1233" y="628"/>
                  </a:cubicBezTo>
                  <a:cubicBezTo>
                    <a:pt x="1233" y="250"/>
                    <a:pt x="992" y="0"/>
                    <a:pt x="65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2" name="Google Shape;1902;p27"/>
            <p:cNvSpPr/>
            <p:nvPr/>
          </p:nvSpPr>
          <p:spPr>
            <a:xfrm>
              <a:off x="5680738" y="4920490"/>
              <a:ext cx="33835" cy="26239"/>
            </a:xfrm>
            <a:custGeom>
              <a:avLst/>
              <a:gdLst/>
              <a:ahLst/>
              <a:cxnLst/>
              <a:rect l="l" t="t" r="r" b="b"/>
              <a:pathLst>
                <a:path w="1622" h="1258" extrusionOk="0">
                  <a:moveTo>
                    <a:pt x="743" y="1"/>
                  </a:moveTo>
                  <a:cubicBezTo>
                    <a:pt x="538" y="1"/>
                    <a:pt x="277" y="154"/>
                    <a:pt x="183" y="322"/>
                  </a:cubicBezTo>
                  <a:cubicBezTo>
                    <a:pt x="1" y="778"/>
                    <a:pt x="298" y="1166"/>
                    <a:pt x="754" y="1258"/>
                  </a:cubicBezTo>
                  <a:cubicBezTo>
                    <a:pt x="959" y="1166"/>
                    <a:pt x="1325" y="1075"/>
                    <a:pt x="1439" y="892"/>
                  </a:cubicBezTo>
                  <a:cubicBezTo>
                    <a:pt x="1621" y="413"/>
                    <a:pt x="1325" y="25"/>
                    <a:pt x="868" y="25"/>
                  </a:cubicBezTo>
                  <a:cubicBezTo>
                    <a:pt x="831" y="8"/>
                    <a:pt x="788" y="1"/>
                    <a:pt x="74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3" name="Google Shape;1903;p27"/>
            <p:cNvSpPr/>
            <p:nvPr/>
          </p:nvSpPr>
          <p:spPr>
            <a:xfrm>
              <a:off x="5871190" y="4919823"/>
              <a:ext cx="27639" cy="27365"/>
            </a:xfrm>
            <a:custGeom>
              <a:avLst/>
              <a:gdLst/>
              <a:ahLst/>
              <a:cxnLst/>
              <a:rect l="l" t="t" r="r" b="b"/>
              <a:pathLst>
                <a:path w="1325" h="1312" extrusionOk="0">
                  <a:moveTo>
                    <a:pt x="677" y="0"/>
                  </a:moveTo>
                  <a:cubicBezTo>
                    <a:pt x="587" y="0"/>
                    <a:pt x="491" y="18"/>
                    <a:pt x="389" y="57"/>
                  </a:cubicBezTo>
                  <a:cubicBezTo>
                    <a:pt x="184" y="57"/>
                    <a:pt x="92" y="445"/>
                    <a:pt x="1" y="628"/>
                  </a:cubicBezTo>
                  <a:cubicBezTo>
                    <a:pt x="77" y="1106"/>
                    <a:pt x="363" y="1312"/>
                    <a:pt x="682" y="1312"/>
                  </a:cubicBezTo>
                  <a:cubicBezTo>
                    <a:pt x="743" y="1312"/>
                    <a:pt x="806" y="1304"/>
                    <a:pt x="868" y="1290"/>
                  </a:cubicBezTo>
                  <a:cubicBezTo>
                    <a:pt x="1051" y="1198"/>
                    <a:pt x="1325" y="810"/>
                    <a:pt x="1233" y="628"/>
                  </a:cubicBezTo>
                  <a:cubicBezTo>
                    <a:pt x="1233" y="250"/>
                    <a:pt x="1007" y="0"/>
                    <a:pt x="6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4" name="Google Shape;1904;p27"/>
            <p:cNvSpPr/>
            <p:nvPr/>
          </p:nvSpPr>
          <p:spPr>
            <a:xfrm>
              <a:off x="6055947" y="4920490"/>
              <a:ext cx="33334" cy="26239"/>
            </a:xfrm>
            <a:custGeom>
              <a:avLst/>
              <a:gdLst/>
              <a:ahLst/>
              <a:cxnLst/>
              <a:rect l="l" t="t" r="r" b="b"/>
              <a:pathLst>
                <a:path w="1598" h="1258" extrusionOk="0">
                  <a:moveTo>
                    <a:pt x="728" y="1"/>
                  </a:moveTo>
                  <a:cubicBezTo>
                    <a:pt x="531" y="1"/>
                    <a:pt x="257" y="154"/>
                    <a:pt x="183" y="322"/>
                  </a:cubicBezTo>
                  <a:cubicBezTo>
                    <a:pt x="0" y="778"/>
                    <a:pt x="274" y="1166"/>
                    <a:pt x="753" y="1258"/>
                  </a:cubicBezTo>
                  <a:cubicBezTo>
                    <a:pt x="936" y="1166"/>
                    <a:pt x="1324" y="1075"/>
                    <a:pt x="1415" y="892"/>
                  </a:cubicBezTo>
                  <a:cubicBezTo>
                    <a:pt x="1598" y="413"/>
                    <a:pt x="1324" y="25"/>
                    <a:pt x="845" y="25"/>
                  </a:cubicBezTo>
                  <a:cubicBezTo>
                    <a:pt x="811" y="8"/>
                    <a:pt x="771" y="1"/>
                    <a:pt x="72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5" name="Google Shape;1905;p27"/>
            <p:cNvSpPr/>
            <p:nvPr/>
          </p:nvSpPr>
          <p:spPr>
            <a:xfrm>
              <a:off x="6244021" y="4919093"/>
              <a:ext cx="31916" cy="27636"/>
            </a:xfrm>
            <a:custGeom>
              <a:avLst/>
              <a:gdLst/>
              <a:ahLst/>
              <a:cxnLst/>
              <a:rect l="l" t="t" r="r" b="b"/>
              <a:pathLst>
                <a:path w="1530" h="1325" extrusionOk="0">
                  <a:moveTo>
                    <a:pt x="571" y="1"/>
                  </a:moveTo>
                  <a:cubicBezTo>
                    <a:pt x="206" y="183"/>
                    <a:pt x="0" y="571"/>
                    <a:pt x="206" y="959"/>
                  </a:cubicBezTo>
                  <a:cubicBezTo>
                    <a:pt x="297" y="1142"/>
                    <a:pt x="685" y="1325"/>
                    <a:pt x="867" y="1325"/>
                  </a:cubicBezTo>
                  <a:cubicBezTo>
                    <a:pt x="1347" y="1142"/>
                    <a:pt x="1529" y="754"/>
                    <a:pt x="1256" y="389"/>
                  </a:cubicBezTo>
                  <a:cubicBezTo>
                    <a:pt x="1141" y="183"/>
                    <a:pt x="867" y="92"/>
                    <a:pt x="57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6" name="Google Shape;1906;p27"/>
            <p:cNvSpPr/>
            <p:nvPr/>
          </p:nvSpPr>
          <p:spPr>
            <a:xfrm>
              <a:off x="6434473" y="4919823"/>
              <a:ext cx="26200" cy="27365"/>
            </a:xfrm>
            <a:custGeom>
              <a:avLst/>
              <a:gdLst/>
              <a:ahLst/>
              <a:cxnLst/>
              <a:rect l="l" t="t" r="r" b="b"/>
              <a:pathLst>
                <a:path w="1256" h="1312" extrusionOk="0">
                  <a:moveTo>
                    <a:pt x="679" y="0"/>
                  </a:moveTo>
                  <a:cubicBezTo>
                    <a:pt x="588" y="0"/>
                    <a:pt x="490" y="18"/>
                    <a:pt x="388" y="57"/>
                  </a:cubicBezTo>
                  <a:cubicBezTo>
                    <a:pt x="206" y="57"/>
                    <a:pt x="114" y="445"/>
                    <a:pt x="0" y="628"/>
                  </a:cubicBezTo>
                  <a:cubicBezTo>
                    <a:pt x="0" y="1106"/>
                    <a:pt x="273" y="1312"/>
                    <a:pt x="644" y="1312"/>
                  </a:cubicBezTo>
                  <a:cubicBezTo>
                    <a:pt x="715" y="1312"/>
                    <a:pt x="790" y="1304"/>
                    <a:pt x="868" y="1290"/>
                  </a:cubicBezTo>
                  <a:cubicBezTo>
                    <a:pt x="1050" y="1198"/>
                    <a:pt x="1256" y="810"/>
                    <a:pt x="1256" y="628"/>
                  </a:cubicBezTo>
                  <a:cubicBezTo>
                    <a:pt x="1256" y="250"/>
                    <a:pt x="1015" y="0"/>
                    <a:pt x="67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7" name="Google Shape;1907;p27"/>
            <p:cNvSpPr/>
            <p:nvPr/>
          </p:nvSpPr>
          <p:spPr>
            <a:xfrm>
              <a:off x="6621107" y="4919176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02" y="1"/>
                  </a:moveTo>
                  <a:cubicBezTo>
                    <a:pt x="577" y="1"/>
                    <a:pt x="440" y="31"/>
                    <a:pt x="298" y="88"/>
                  </a:cubicBezTo>
                  <a:cubicBezTo>
                    <a:pt x="183" y="179"/>
                    <a:pt x="1" y="567"/>
                    <a:pt x="1" y="750"/>
                  </a:cubicBezTo>
                  <a:cubicBezTo>
                    <a:pt x="125" y="1077"/>
                    <a:pt x="346" y="1266"/>
                    <a:pt x="596" y="1266"/>
                  </a:cubicBezTo>
                  <a:cubicBezTo>
                    <a:pt x="713" y="1266"/>
                    <a:pt x="836" y="1225"/>
                    <a:pt x="959" y="1138"/>
                  </a:cubicBezTo>
                  <a:cubicBezTo>
                    <a:pt x="1142" y="1047"/>
                    <a:pt x="1233" y="659"/>
                    <a:pt x="1325" y="476"/>
                  </a:cubicBezTo>
                  <a:cubicBezTo>
                    <a:pt x="1199" y="147"/>
                    <a:pt x="977" y="1"/>
                    <a:pt x="70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8" name="Google Shape;1908;p27"/>
            <p:cNvSpPr/>
            <p:nvPr/>
          </p:nvSpPr>
          <p:spPr>
            <a:xfrm>
              <a:off x="6807762" y="4919176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23" y="1"/>
                  </a:moveTo>
                  <a:cubicBezTo>
                    <a:pt x="608" y="1"/>
                    <a:pt x="487" y="31"/>
                    <a:pt x="366" y="88"/>
                  </a:cubicBezTo>
                  <a:cubicBezTo>
                    <a:pt x="183" y="179"/>
                    <a:pt x="0" y="567"/>
                    <a:pt x="92" y="750"/>
                  </a:cubicBezTo>
                  <a:cubicBezTo>
                    <a:pt x="154" y="1077"/>
                    <a:pt x="397" y="1266"/>
                    <a:pt x="668" y="1266"/>
                  </a:cubicBezTo>
                  <a:cubicBezTo>
                    <a:pt x="795" y="1266"/>
                    <a:pt x="927" y="1225"/>
                    <a:pt x="1050" y="1138"/>
                  </a:cubicBezTo>
                  <a:cubicBezTo>
                    <a:pt x="1233" y="1047"/>
                    <a:pt x="1233" y="659"/>
                    <a:pt x="1324" y="476"/>
                  </a:cubicBezTo>
                  <a:cubicBezTo>
                    <a:pt x="1199" y="147"/>
                    <a:pt x="976" y="1"/>
                    <a:pt x="72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9" name="Google Shape;1909;p27"/>
            <p:cNvSpPr/>
            <p:nvPr/>
          </p:nvSpPr>
          <p:spPr>
            <a:xfrm>
              <a:off x="6998214" y="4918613"/>
              <a:ext cx="25720" cy="27407"/>
            </a:xfrm>
            <a:custGeom>
              <a:avLst/>
              <a:gdLst/>
              <a:ahLst/>
              <a:cxnLst/>
              <a:rect l="l" t="t" r="r" b="b"/>
              <a:pathLst>
                <a:path w="1233" h="1314" extrusionOk="0">
                  <a:moveTo>
                    <a:pt x="617" y="1"/>
                  </a:moveTo>
                  <a:cubicBezTo>
                    <a:pt x="255" y="1"/>
                    <a:pt x="0" y="194"/>
                    <a:pt x="0" y="594"/>
                  </a:cubicBezTo>
                  <a:cubicBezTo>
                    <a:pt x="0" y="777"/>
                    <a:pt x="183" y="1256"/>
                    <a:pt x="366" y="1256"/>
                  </a:cubicBezTo>
                  <a:cubicBezTo>
                    <a:pt x="448" y="1295"/>
                    <a:pt x="530" y="1313"/>
                    <a:pt x="610" y="1313"/>
                  </a:cubicBezTo>
                  <a:cubicBezTo>
                    <a:pt x="905" y="1313"/>
                    <a:pt x="1161" y="1063"/>
                    <a:pt x="1233" y="686"/>
                  </a:cubicBezTo>
                  <a:cubicBezTo>
                    <a:pt x="1142" y="503"/>
                    <a:pt x="1050" y="115"/>
                    <a:pt x="845" y="24"/>
                  </a:cubicBezTo>
                  <a:cubicBezTo>
                    <a:pt x="766" y="9"/>
                    <a:pt x="689" y="1"/>
                    <a:pt x="61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0" name="Google Shape;1910;p27"/>
            <p:cNvSpPr/>
            <p:nvPr/>
          </p:nvSpPr>
          <p:spPr>
            <a:xfrm>
              <a:off x="7182470" y="4920490"/>
              <a:ext cx="31937" cy="26239"/>
            </a:xfrm>
            <a:custGeom>
              <a:avLst/>
              <a:gdLst/>
              <a:ahLst/>
              <a:cxnLst/>
              <a:rect l="l" t="t" r="r" b="b"/>
              <a:pathLst>
                <a:path w="1531" h="1258" extrusionOk="0">
                  <a:moveTo>
                    <a:pt x="651" y="1"/>
                  </a:moveTo>
                  <a:cubicBezTo>
                    <a:pt x="447" y="1"/>
                    <a:pt x="185" y="154"/>
                    <a:pt x="92" y="322"/>
                  </a:cubicBezTo>
                  <a:cubicBezTo>
                    <a:pt x="1" y="778"/>
                    <a:pt x="206" y="1166"/>
                    <a:pt x="663" y="1258"/>
                  </a:cubicBezTo>
                  <a:cubicBezTo>
                    <a:pt x="959" y="1166"/>
                    <a:pt x="1348" y="1075"/>
                    <a:pt x="1348" y="892"/>
                  </a:cubicBezTo>
                  <a:cubicBezTo>
                    <a:pt x="1530" y="413"/>
                    <a:pt x="1233" y="25"/>
                    <a:pt x="777" y="25"/>
                  </a:cubicBezTo>
                  <a:cubicBezTo>
                    <a:pt x="740" y="8"/>
                    <a:pt x="697" y="1"/>
                    <a:pt x="65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1" name="Google Shape;1911;p27"/>
            <p:cNvSpPr/>
            <p:nvPr/>
          </p:nvSpPr>
          <p:spPr>
            <a:xfrm>
              <a:off x="7372922" y="4918613"/>
              <a:ext cx="25741" cy="27407"/>
            </a:xfrm>
            <a:custGeom>
              <a:avLst/>
              <a:gdLst/>
              <a:ahLst/>
              <a:cxnLst/>
              <a:rect l="l" t="t" r="r" b="b"/>
              <a:pathLst>
                <a:path w="1234" h="1314" extrusionOk="0">
                  <a:moveTo>
                    <a:pt x="671" y="1"/>
                  </a:moveTo>
                  <a:cubicBezTo>
                    <a:pt x="335" y="1"/>
                    <a:pt x="1" y="194"/>
                    <a:pt x="1" y="594"/>
                  </a:cubicBezTo>
                  <a:cubicBezTo>
                    <a:pt x="1" y="777"/>
                    <a:pt x="206" y="1256"/>
                    <a:pt x="389" y="1256"/>
                  </a:cubicBezTo>
                  <a:cubicBezTo>
                    <a:pt x="471" y="1295"/>
                    <a:pt x="553" y="1313"/>
                    <a:pt x="631" y="1313"/>
                  </a:cubicBezTo>
                  <a:cubicBezTo>
                    <a:pt x="920" y="1313"/>
                    <a:pt x="1162" y="1063"/>
                    <a:pt x="1234" y="686"/>
                  </a:cubicBezTo>
                  <a:cubicBezTo>
                    <a:pt x="1142" y="503"/>
                    <a:pt x="1051" y="115"/>
                    <a:pt x="868" y="24"/>
                  </a:cubicBezTo>
                  <a:cubicBezTo>
                    <a:pt x="804" y="9"/>
                    <a:pt x="737" y="1"/>
                    <a:pt x="67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2" name="Google Shape;1912;p27"/>
            <p:cNvSpPr/>
            <p:nvPr/>
          </p:nvSpPr>
          <p:spPr>
            <a:xfrm>
              <a:off x="7559578" y="4918613"/>
              <a:ext cx="27640" cy="27407"/>
            </a:xfrm>
            <a:custGeom>
              <a:avLst/>
              <a:gdLst/>
              <a:ahLst/>
              <a:cxnLst/>
              <a:rect l="l" t="t" r="r" b="b"/>
              <a:pathLst>
                <a:path w="1325" h="1314" extrusionOk="0">
                  <a:moveTo>
                    <a:pt x="730" y="1"/>
                  </a:moveTo>
                  <a:cubicBezTo>
                    <a:pt x="359" y="1"/>
                    <a:pt x="77" y="194"/>
                    <a:pt x="0" y="594"/>
                  </a:cubicBezTo>
                  <a:cubicBezTo>
                    <a:pt x="0" y="777"/>
                    <a:pt x="183" y="1256"/>
                    <a:pt x="388" y="1256"/>
                  </a:cubicBezTo>
                  <a:cubicBezTo>
                    <a:pt x="485" y="1295"/>
                    <a:pt x="575" y="1313"/>
                    <a:pt x="658" y="1313"/>
                  </a:cubicBezTo>
                  <a:cubicBezTo>
                    <a:pt x="966" y="1313"/>
                    <a:pt x="1181" y="1063"/>
                    <a:pt x="1324" y="686"/>
                  </a:cubicBezTo>
                  <a:cubicBezTo>
                    <a:pt x="1233" y="503"/>
                    <a:pt x="1142" y="115"/>
                    <a:pt x="959" y="24"/>
                  </a:cubicBezTo>
                  <a:cubicBezTo>
                    <a:pt x="880" y="9"/>
                    <a:pt x="803" y="1"/>
                    <a:pt x="73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3" name="Google Shape;1913;p27"/>
            <p:cNvSpPr/>
            <p:nvPr/>
          </p:nvSpPr>
          <p:spPr>
            <a:xfrm>
              <a:off x="7748131" y="4918634"/>
              <a:ext cx="25720" cy="27386"/>
            </a:xfrm>
            <a:custGeom>
              <a:avLst/>
              <a:gdLst/>
              <a:ahLst/>
              <a:cxnLst/>
              <a:rect l="l" t="t" r="r" b="b"/>
              <a:pathLst>
                <a:path w="1233" h="1313" extrusionOk="0">
                  <a:moveTo>
                    <a:pt x="552" y="0"/>
                  </a:moveTo>
                  <a:cubicBezTo>
                    <a:pt x="491" y="0"/>
                    <a:pt x="428" y="8"/>
                    <a:pt x="365" y="23"/>
                  </a:cubicBezTo>
                  <a:cubicBezTo>
                    <a:pt x="183" y="114"/>
                    <a:pt x="0" y="502"/>
                    <a:pt x="0" y="685"/>
                  </a:cubicBezTo>
                  <a:cubicBezTo>
                    <a:pt x="0" y="1062"/>
                    <a:pt x="227" y="1312"/>
                    <a:pt x="557" y="1312"/>
                  </a:cubicBezTo>
                  <a:cubicBezTo>
                    <a:pt x="646" y="1312"/>
                    <a:pt x="743" y="1294"/>
                    <a:pt x="845" y="1255"/>
                  </a:cubicBezTo>
                  <a:cubicBezTo>
                    <a:pt x="1050" y="1255"/>
                    <a:pt x="1142" y="867"/>
                    <a:pt x="1233" y="685"/>
                  </a:cubicBezTo>
                  <a:cubicBezTo>
                    <a:pt x="1156" y="206"/>
                    <a:pt x="871" y="0"/>
                    <a:pt x="55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4" name="Google Shape;1914;p27"/>
            <p:cNvSpPr/>
            <p:nvPr/>
          </p:nvSpPr>
          <p:spPr>
            <a:xfrm>
              <a:off x="5024149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27" y="0"/>
                  </a:moveTo>
                  <a:cubicBezTo>
                    <a:pt x="872" y="0"/>
                    <a:pt x="815" y="6"/>
                    <a:pt x="754" y="17"/>
                  </a:cubicBezTo>
                  <a:cubicBezTo>
                    <a:pt x="571" y="17"/>
                    <a:pt x="183" y="200"/>
                    <a:pt x="92" y="383"/>
                  </a:cubicBezTo>
                  <a:cubicBezTo>
                    <a:pt x="1" y="771"/>
                    <a:pt x="183" y="1250"/>
                    <a:pt x="571" y="1341"/>
                  </a:cubicBezTo>
                  <a:cubicBezTo>
                    <a:pt x="676" y="1375"/>
                    <a:pt x="767" y="1390"/>
                    <a:pt x="848" y="1390"/>
                  </a:cubicBezTo>
                  <a:cubicBezTo>
                    <a:pt x="1209" y="1390"/>
                    <a:pt x="1362" y="1088"/>
                    <a:pt x="1530" y="771"/>
                  </a:cubicBezTo>
                  <a:cubicBezTo>
                    <a:pt x="1530" y="272"/>
                    <a:pt x="1304" y="0"/>
                    <a:pt x="92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5" name="Google Shape;1915;p27"/>
            <p:cNvSpPr/>
            <p:nvPr/>
          </p:nvSpPr>
          <p:spPr>
            <a:xfrm>
              <a:off x="5212953" y="5012034"/>
              <a:ext cx="33585" cy="29451"/>
            </a:xfrm>
            <a:custGeom>
              <a:avLst/>
              <a:gdLst/>
              <a:ahLst/>
              <a:cxnLst/>
              <a:rect l="l" t="t" r="r" b="b"/>
              <a:pathLst>
                <a:path w="1610" h="1412" extrusionOk="0">
                  <a:moveTo>
                    <a:pt x="628" y="1"/>
                  </a:moveTo>
                  <a:cubicBezTo>
                    <a:pt x="198" y="1"/>
                    <a:pt x="0" y="263"/>
                    <a:pt x="80" y="680"/>
                  </a:cubicBezTo>
                  <a:cubicBezTo>
                    <a:pt x="80" y="954"/>
                    <a:pt x="262" y="1342"/>
                    <a:pt x="468" y="1342"/>
                  </a:cubicBezTo>
                  <a:cubicBezTo>
                    <a:pt x="561" y="1389"/>
                    <a:pt x="662" y="1412"/>
                    <a:pt x="763" y="1412"/>
                  </a:cubicBezTo>
                  <a:cubicBezTo>
                    <a:pt x="1053" y="1412"/>
                    <a:pt x="1336" y="1219"/>
                    <a:pt x="1404" y="863"/>
                  </a:cubicBezTo>
                  <a:cubicBezTo>
                    <a:pt x="1609" y="384"/>
                    <a:pt x="1221" y="110"/>
                    <a:pt x="833" y="18"/>
                  </a:cubicBezTo>
                  <a:cubicBezTo>
                    <a:pt x="760" y="7"/>
                    <a:pt x="691" y="1"/>
                    <a:pt x="62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6" name="Google Shape;1916;p27"/>
            <p:cNvSpPr/>
            <p:nvPr/>
          </p:nvSpPr>
          <p:spPr>
            <a:xfrm>
              <a:off x="5398878" y="5011241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68" y="0"/>
                  </a:moveTo>
                  <a:cubicBezTo>
                    <a:pt x="886" y="0"/>
                    <a:pt x="792" y="18"/>
                    <a:pt x="685" y="56"/>
                  </a:cubicBezTo>
                  <a:cubicBezTo>
                    <a:pt x="480" y="56"/>
                    <a:pt x="206" y="330"/>
                    <a:pt x="114" y="536"/>
                  </a:cubicBezTo>
                  <a:cubicBezTo>
                    <a:pt x="0" y="992"/>
                    <a:pt x="297" y="1380"/>
                    <a:pt x="776" y="1380"/>
                  </a:cubicBezTo>
                  <a:cubicBezTo>
                    <a:pt x="838" y="1392"/>
                    <a:pt x="896" y="1398"/>
                    <a:pt x="951" y="1398"/>
                  </a:cubicBezTo>
                  <a:cubicBezTo>
                    <a:pt x="1322" y="1398"/>
                    <a:pt x="1530" y="1136"/>
                    <a:pt x="1530" y="718"/>
                  </a:cubicBezTo>
                  <a:cubicBezTo>
                    <a:pt x="1455" y="329"/>
                    <a:pt x="1321" y="0"/>
                    <a:pt x="96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7" name="Google Shape;1917;p27"/>
            <p:cNvSpPr/>
            <p:nvPr/>
          </p:nvSpPr>
          <p:spPr>
            <a:xfrm>
              <a:off x="5585512" y="5012409"/>
              <a:ext cx="35733" cy="28846"/>
            </a:xfrm>
            <a:custGeom>
              <a:avLst/>
              <a:gdLst/>
              <a:ahLst/>
              <a:cxnLst/>
              <a:rect l="l" t="t" r="r" b="b"/>
              <a:pathLst>
                <a:path w="1713" h="1383" extrusionOk="0">
                  <a:moveTo>
                    <a:pt x="959" y="0"/>
                  </a:moveTo>
                  <a:cubicBezTo>
                    <a:pt x="663" y="0"/>
                    <a:pt x="297" y="183"/>
                    <a:pt x="297" y="366"/>
                  </a:cubicBezTo>
                  <a:cubicBezTo>
                    <a:pt x="1" y="754"/>
                    <a:pt x="183" y="1233"/>
                    <a:pt x="663" y="1324"/>
                  </a:cubicBezTo>
                  <a:cubicBezTo>
                    <a:pt x="747" y="1364"/>
                    <a:pt x="832" y="1382"/>
                    <a:pt x="914" y="1382"/>
                  </a:cubicBezTo>
                  <a:cubicBezTo>
                    <a:pt x="1210" y="1382"/>
                    <a:pt x="1478" y="1148"/>
                    <a:pt x="1621" y="845"/>
                  </a:cubicBezTo>
                  <a:cubicBezTo>
                    <a:pt x="1713" y="274"/>
                    <a:pt x="1325" y="0"/>
                    <a:pt x="95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8" name="Google Shape;1918;p27"/>
            <p:cNvSpPr/>
            <p:nvPr/>
          </p:nvSpPr>
          <p:spPr>
            <a:xfrm>
              <a:off x="5774066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27" y="0"/>
                  </a:moveTo>
                  <a:cubicBezTo>
                    <a:pt x="872" y="0"/>
                    <a:pt x="814" y="6"/>
                    <a:pt x="754" y="17"/>
                  </a:cubicBezTo>
                  <a:cubicBezTo>
                    <a:pt x="571" y="17"/>
                    <a:pt x="183" y="200"/>
                    <a:pt x="92" y="383"/>
                  </a:cubicBezTo>
                  <a:cubicBezTo>
                    <a:pt x="1" y="771"/>
                    <a:pt x="183" y="1250"/>
                    <a:pt x="662" y="1341"/>
                  </a:cubicBezTo>
                  <a:cubicBezTo>
                    <a:pt x="750" y="1375"/>
                    <a:pt x="831" y="1390"/>
                    <a:pt x="905" y="1390"/>
                  </a:cubicBezTo>
                  <a:cubicBezTo>
                    <a:pt x="1237" y="1390"/>
                    <a:pt x="1437" y="1088"/>
                    <a:pt x="1530" y="771"/>
                  </a:cubicBezTo>
                  <a:cubicBezTo>
                    <a:pt x="1530" y="272"/>
                    <a:pt x="1303" y="0"/>
                    <a:pt x="92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9" name="Google Shape;1919;p27"/>
            <p:cNvSpPr/>
            <p:nvPr/>
          </p:nvSpPr>
          <p:spPr>
            <a:xfrm>
              <a:off x="5960721" y="5011241"/>
              <a:ext cx="33334" cy="29159"/>
            </a:xfrm>
            <a:custGeom>
              <a:avLst/>
              <a:gdLst/>
              <a:ahLst/>
              <a:cxnLst/>
              <a:rect l="l" t="t" r="r" b="b"/>
              <a:pathLst>
                <a:path w="1598" h="1398" extrusionOk="0">
                  <a:moveTo>
                    <a:pt x="1036" y="0"/>
                  </a:moveTo>
                  <a:cubicBezTo>
                    <a:pt x="954" y="0"/>
                    <a:pt x="861" y="18"/>
                    <a:pt x="753" y="56"/>
                  </a:cubicBezTo>
                  <a:cubicBezTo>
                    <a:pt x="571" y="56"/>
                    <a:pt x="274" y="330"/>
                    <a:pt x="183" y="536"/>
                  </a:cubicBezTo>
                  <a:cubicBezTo>
                    <a:pt x="0" y="992"/>
                    <a:pt x="365" y="1380"/>
                    <a:pt x="753" y="1380"/>
                  </a:cubicBezTo>
                  <a:cubicBezTo>
                    <a:pt x="827" y="1392"/>
                    <a:pt x="894" y="1398"/>
                    <a:pt x="955" y="1398"/>
                  </a:cubicBezTo>
                  <a:cubicBezTo>
                    <a:pt x="1369" y="1398"/>
                    <a:pt x="1518" y="1136"/>
                    <a:pt x="1598" y="718"/>
                  </a:cubicBezTo>
                  <a:cubicBezTo>
                    <a:pt x="1524" y="329"/>
                    <a:pt x="1389" y="0"/>
                    <a:pt x="103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0" name="Google Shape;1920;p27"/>
            <p:cNvSpPr/>
            <p:nvPr/>
          </p:nvSpPr>
          <p:spPr>
            <a:xfrm>
              <a:off x="6148795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48" y="0"/>
                  </a:moveTo>
                  <a:cubicBezTo>
                    <a:pt x="894" y="0"/>
                    <a:pt x="837" y="6"/>
                    <a:pt x="776" y="17"/>
                  </a:cubicBezTo>
                  <a:cubicBezTo>
                    <a:pt x="571" y="17"/>
                    <a:pt x="206" y="200"/>
                    <a:pt x="114" y="383"/>
                  </a:cubicBezTo>
                  <a:cubicBezTo>
                    <a:pt x="0" y="771"/>
                    <a:pt x="206" y="1250"/>
                    <a:pt x="685" y="1341"/>
                  </a:cubicBezTo>
                  <a:cubicBezTo>
                    <a:pt x="768" y="1375"/>
                    <a:pt x="846" y="1390"/>
                    <a:pt x="919" y="1390"/>
                  </a:cubicBezTo>
                  <a:cubicBezTo>
                    <a:pt x="1243" y="1390"/>
                    <a:pt x="1455" y="1088"/>
                    <a:pt x="1529" y="771"/>
                  </a:cubicBezTo>
                  <a:cubicBezTo>
                    <a:pt x="1529" y="272"/>
                    <a:pt x="1320" y="0"/>
                    <a:pt x="94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1" name="Google Shape;1921;p27"/>
            <p:cNvSpPr/>
            <p:nvPr/>
          </p:nvSpPr>
          <p:spPr>
            <a:xfrm>
              <a:off x="6335429" y="5011241"/>
              <a:ext cx="33835" cy="29159"/>
            </a:xfrm>
            <a:custGeom>
              <a:avLst/>
              <a:gdLst/>
              <a:ahLst/>
              <a:cxnLst/>
              <a:rect l="l" t="t" r="r" b="b"/>
              <a:pathLst>
                <a:path w="1622" h="1398" extrusionOk="0">
                  <a:moveTo>
                    <a:pt x="1039" y="0"/>
                  </a:moveTo>
                  <a:cubicBezTo>
                    <a:pt x="956" y="0"/>
                    <a:pt x="861" y="18"/>
                    <a:pt x="754" y="56"/>
                  </a:cubicBezTo>
                  <a:cubicBezTo>
                    <a:pt x="571" y="56"/>
                    <a:pt x="297" y="330"/>
                    <a:pt x="183" y="536"/>
                  </a:cubicBezTo>
                  <a:cubicBezTo>
                    <a:pt x="1" y="992"/>
                    <a:pt x="389" y="1380"/>
                    <a:pt x="868" y="1380"/>
                  </a:cubicBezTo>
                  <a:cubicBezTo>
                    <a:pt x="927" y="1392"/>
                    <a:pt x="981" y="1398"/>
                    <a:pt x="1032" y="1398"/>
                  </a:cubicBezTo>
                  <a:cubicBezTo>
                    <a:pt x="1375" y="1398"/>
                    <a:pt x="1542" y="1136"/>
                    <a:pt x="1621" y="718"/>
                  </a:cubicBezTo>
                  <a:cubicBezTo>
                    <a:pt x="1547" y="329"/>
                    <a:pt x="1398" y="0"/>
                    <a:pt x="103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2" name="Google Shape;1922;p27"/>
            <p:cNvSpPr/>
            <p:nvPr/>
          </p:nvSpPr>
          <p:spPr>
            <a:xfrm>
              <a:off x="6523983" y="5011241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94" y="0"/>
                  </a:moveTo>
                  <a:cubicBezTo>
                    <a:pt x="923" y="0"/>
                    <a:pt x="844" y="18"/>
                    <a:pt x="754" y="56"/>
                  </a:cubicBezTo>
                  <a:cubicBezTo>
                    <a:pt x="480" y="56"/>
                    <a:pt x="183" y="330"/>
                    <a:pt x="183" y="536"/>
                  </a:cubicBezTo>
                  <a:cubicBezTo>
                    <a:pt x="0" y="992"/>
                    <a:pt x="274" y="1380"/>
                    <a:pt x="754" y="1380"/>
                  </a:cubicBezTo>
                  <a:cubicBezTo>
                    <a:pt x="815" y="1392"/>
                    <a:pt x="874" y="1398"/>
                    <a:pt x="929" y="1398"/>
                  </a:cubicBezTo>
                  <a:cubicBezTo>
                    <a:pt x="1304" y="1398"/>
                    <a:pt x="1530" y="1136"/>
                    <a:pt x="1530" y="718"/>
                  </a:cubicBezTo>
                  <a:cubicBezTo>
                    <a:pt x="1437" y="329"/>
                    <a:pt x="1299" y="0"/>
                    <a:pt x="99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3" name="Google Shape;1923;p27"/>
            <p:cNvSpPr/>
            <p:nvPr/>
          </p:nvSpPr>
          <p:spPr>
            <a:xfrm>
              <a:off x="6712536" y="5011012"/>
              <a:ext cx="33814" cy="29034"/>
            </a:xfrm>
            <a:custGeom>
              <a:avLst/>
              <a:gdLst/>
              <a:ahLst/>
              <a:cxnLst/>
              <a:rect l="l" t="t" r="r" b="b"/>
              <a:pathLst>
                <a:path w="1621" h="1392" extrusionOk="0">
                  <a:moveTo>
                    <a:pt x="819" y="0"/>
                  </a:moveTo>
                  <a:cubicBezTo>
                    <a:pt x="737" y="0"/>
                    <a:pt x="653" y="21"/>
                    <a:pt x="571" y="67"/>
                  </a:cubicBezTo>
                  <a:cubicBezTo>
                    <a:pt x="92" y="159"/>
                    <a:pt x="0" y="638"/>
                    <a:pt x="183" y="1117"/>
                  </a:cubicBezTo>
                  <a:cubicBezTo>
                    <a:pt x="274" y="1300"/>
                    <a:pt x="662" y="1391"/>
                    <a:pt x="845" y="1391"/>
                  </a:cubicBezTo>
                  <a:cubicBezTo>
                    <a:pt x="1324" y="1391"/>
                    <a:pt x="1621" y="1117"/>
                    <a:pt x="1507" y="547"/>
                  </a:cubicBezTo>
                  <a:cubicBezTo>
                    <a:pt x="1365" y="246"/>
                    <a:pt x="1101" y="0"/>
                    <a:pt x="81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4" name="Google Shape;1924;p27"/>
            <p:cNvSpPr/>
            <p:nvPr/>
          </p:nvSpPr>
          <p:spPr>
            <a:xfrm>
              <a:off x="6898691" y="5012034"/>
              <a:ext cx="31937" cy="29493"/>
            </a:xfrm>
            <a:custGeom>
              <a:avLst/>
              <a:gdLst/>
              <a:ahLst/>
              <a:cxnLst/>
              <a:rect l="l" t="t" r="r" b="b"/>
              <a:pathLst>
                <a:path w="1531" h="1414" extrusionOk="0">
                  <a:moveTo>
                    <a:pt x="857" y="1"/>
                  </a:moveTo>
                  <a:cubicBezTo>
                    <a:pt x="802" y="1"/>
                    <a:pt x="745" y="6"/>
                    <a:pt x="686" y="18"/>
                  </a:cubicBezTo>
                  <a:cubicBezTo>
                    <a:pt x="206" y="201"/>
                    <a:pt x="1" y="589"/>
                    <a:pt x="115" y="954"/>
                  </a:cubicBezTo>
                  <a:cubicBezTo>
                    <a:pt x="249" y="1239"/>
                    <a:pt x="543" y="1413"/>
                    <a:pt x="835" y="1413"/>
                  </a:cubicBezTo>
                  <a:cubicBezTo>
                    <a:pt x="940" y="1413"/>
                    <a:pt x="1045" y="1391"/>
                    <a:pt x="1142" y="1342"/>
                  </a:cubicBezTo>
                  <a:cubicBezTo>
                    <a:pt x="1348" y="1160"/>
                    <a:pt x="1530" y="863"/>
                    <a:pt x="1530" y="589"/>
                  </a:cubicBezTo>
                  <a:cubicBezTo>
                    <a:pt x="1451" y="252"/>
                    <a:pt x="1216" y="1"/>
                    <a:pt x="85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5" name="Google Shape;1925;p27"/>
            <p:cNvSpPr/>
            <p:nvPr/>
          </p:nvSpPr>
          <p:spPr>
            <a:xfrm>
              <a:off x="7085346" y="5012034"/>
              <a:ext cx="33835" cy="29493"/>
            </a:xfrm>
            <a:custGeom>
              <a:avLst/>
              <a:gdLst/>
              <a:ahLst/>
              <a:cxnLst/>
              <a:rect l="l" t="t" r="r" b="b"/>
              <a:pathLst>
                <a:path w="1622" h="1414" extrusionOk="0">
                  <a:moveTo>
                    <a:pt x="872" y="1"/>
                  </a:moveTo>
                  <a:cubicBezTo>
                    <a:pt x="807" y="1"/>
                    <a:pt x="737" y="6"/>
                    <a:pt x="662" y="18"/>
                  </a:cubicBezTo>
                  <a:cubicBezTo>
                    <a:pt x="297" y="201"/>
                    <a:pt x="0" y="589"/>
                    <a:pt x="183" y="954"/>
                  </a:cubicBezTo>
                  <a:cubicBezTo>
                    <a:pt x="334" y="1239"/>
                    <a:pt x="633" y="1413"/>
                    <a:pt x="925" y="1413"/>
                  </a:cubicBezTo>
                  <a:cubicBezTo>
                    <a:pt x="1031" y="1413"/>
                    <a:pt x="1136" y="1391"/>
                    <a:pt x="1233" y="1342"/>
                  </a:cubicBezTo>
                  <a:cubicBezTo>
                    <a:pt x="1438" y="1160"/>
                    <a:pt x="1621" y="863"/>
                    <a:pt x="1530" y="589"/>
                  </a:cubicBezTo>
                  <a:cubicBezTo>
                    <a:pt x="1530" y="252"/>
                    <a:pt x="1306" y="1"/>
                    <a:pt x="87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6" name="Google Shape;1926;p27"/>
            <p:cNvSpPr/>
            <p:nvPr/>
          </p:nvSpPr>
          <p:spPr>
            <a:xfrm>
              <a:off x="7273900" y="5012054"/>
              <a:ext cx="33585" cy="28992"/>
            </a:xfrm>
            <a:custGeom>
              <a:avLst/>
              <a:gdLst/>
              <a:ahLst/>
              <a:cxnLst/>
              <a:rect l="l" t="t" r="r" b="b"/>
              <a:pathLst>
                <a:path w="1610" h="1390" extrusionOk="0">
                  <a:moveTo>
                    <a:pt x="1018" y="0"/>
                  </a:moveTo>
                  <a:cubicBezTo>
                    <a:pt x="963" y="0"/>
                    <a:pt x="905" y="6"/>
                    <a:pt x="845" y="17"/>
                  </a:cubicBezTo>
                  <a:cubicBezTo>
                    <a:pt x="571" y="17"/>
                    <a:pt x="183" y="200"/>
                    <a:pt x="183" y="383"/>
                  </a:cubicBezTo>
                  <a:cubicBezTo>
                    <a:pt x="0" y="771"/>
                    <a:pt x="183" y="1250"/>
                    <a:pt x="662" y="1341"/>
                  </a:cubicBezTo>
                  <a:cubicBezTo>
                    <a:pt x="750" y="1375"/>
                    <a:pt x="830" y="1390"/>
                    <a:pt x="905" y="1390"/>
                  </a:cubicBezTo>
                  <a:cubicBezTo>
                    <a:pt x="1236" y="1390"/>
                    <a:pt x="1436" y="1088"/>
                    <a:pt x="1530" y="771"/>
                  </a:cubicBezTo>
                  <a:cubicBezTo>
                    <a:pt x="1609" y="272"/>
                    <a:pt x="1393" y="0"/>
                    <a:pt x="10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7" name="Google Shape;1927;p27"/>
            <p:cNvSpPr/>
            <p:nvPr/>
          </p:nvSpPr>
          <p:spPr>
            <a:xfrm>
              <a:off x="7462453" y="5011241"/>
              <a:ext cx="31436" cy="29159"/>
            </a:xfrm>
            <a:custGeom>
              <a:avLst/>
              <a:gdLst/>
              <a:ahLst/>
              <a:cxnLst/>
              <a:rect l="l" t="t" r="r" b="b"/>
              <a:pathLst>
                <a:path w="1507" h="1398" extrusionOk="0">
                  <a:moveTo>
                    <a:pt x="945" y="0"/>
                  </a:moveTo>
                  <a:cubicBezTo>
                    <a:pt x="863" y="0"/>
                    <a:pt x="769" y="18"/>
                    <a:pt x="662" y="56"/>
                  </a:cubicBezTo>
                  <a:cubicBezTo>
                    <a:pt x="479" y="56"/>
                    <a:pt x="183" y="330"/>
                    <a:pt x="91" y="536"/>
                  </a:cubicBezTo>
                  <a:cubicBezTo>
                    <a:pt x="0" y="992"/>
                    <a:pt x="274" y="1380"/>
                    <a:pt x="753" y="1380"/>
                  </a:cubicBezTo>
                  <a:cubicBezTo>
                    <a:pt x="815" y="1392"/>
                    <a:pt x="873" y="1398"/>
                    <a:pt x="928" y="1398"/>
                  </a:cubicBezTo>
                  <a:cubicBezTo>
                    <a:pt x="1299" y="1398"/>
                    <a:pt x="1507" y="1136"/>
                    <a:pt x="1507" y="718"/>
                  </a:cubicBezTo>
                  <a:cubicBezTo>
                    <a:pt x="1432" y="329"/>
                    <a:pt x="1298" y="0"/>
                    <a:pt x="945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8" name="Google Shape;1928;p27"/>
            <p:cNvSpPr/>
            <p:nvPr/>
          </p:nvSpPr>
          <p:spPr>
            <a:xfrm>
              <a:off x="7648608" y="5011012"/>
              <a:ext cx="33835" cy="29034"/>
            </a:xfrm>
            <a:custGeom>
              <a:avLst/>
              <a:gdLst/>
              <a:ahLst/>
              <a:cxnLst/>
              <a:rect l="l" t="t" r="r" b="b"/>
              <a:pathLst>
                <a:path w="1622" h="1392" extrusionOk="0">
                  <a:moveTo>
                    <a:pt x="880" y="0"/>
                  </a:moveTo>
                  <a:cubicBezTo>
                    <a:pt x="783" y="0"/>
                    <a:pt x="679" y="21"/>
                    <a:pt x="571" y="67"/>
                  </a:cubicBezTo>
                  <a:cubicBezTo>
                    <a:pt x="206" y="159"/>
                    <a:pt x="1" y="638"/>
                    <a:pt x="298" y="1117"/>
                  </a:cubicBezTo>
                  <a:cubicBezTo>
                    <a:pt x="389" y="1300"/>
                    <a:pt x="686" y="1391"/>
                    <a:pt x="959" y="1391"/>
                  </a:cubicBezTo>
                  <a:cubicBezTo>
                    <a:pt x="1347" y="1391"/>
                    <a:pt x="1621" y="1117"/>
                    <a:pt x="1621" y="547"/>
                  </a:cubicBezTo>
                  <a:cubicBezTo>
                    <a:pt x="1480" y="246"/>
                    <a:pt x="1215" y="0"/>
                    <a:pt x="88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29" name="Google Shape;1929;p27"/>
          <p:cNvSpPr/>
          <p:nvPr/>
        </p:nvSpPr>
        <p:spPr>
          <a:xfrm flipH="1">
            <a:off x="-311775" y="4938650"/>
            <a:ext cx="2016300" cy="321900"/>
          </a:xfrm>
          <a:prstGeom prst="round2DiagRect">
            <a:avLst>
              <a:gd name="adj1" fmla="val 16667"/>
              <a:gd name="adj2" fmla="val 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930" name="Google Shape;1930;p27"/>
          <p:cNvGrpSpPr/>
          <p:nvPr/>
        </p:nvGrpSpPr>
        <p:grpSpPr>
          <a:xfrm>
            <a:off x="8552883" y="201878"/>
            <a:ext cx="246888" cy="246888"/>
            <a:chOff x="4396276" y="3156781"/>
            <a:chExt cx="367777" cy="369040"/>
          </a:xfrm>
        </p:grpSpPr>
        <p:sp>
          <p:nvSpPr>
            <p:cNvPr id="1931" name="Google Shape;1931;p27"/>
            <p:cNvSpPr/>
            <p:nvPr/>
          </p:nvSpPr>
          <p:spPr>
            <a:xfrm>
              <a:off x="4396276" y="3156781"/>
              <a:ext cx="367777" cy="369040"/>
            </a:xfrm>
            <a:custGeom>
              <a:avLst/>
              <a:gdLst/>
              <a:ahLst/>
              <a:cxnLst/>
              <a:rect l="l" t="t" r="r" b="b"/>
              <a:pathLst>
                <a:path w="2542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1972" y="2551"/>
                    <a:pt x="2541" y="1980"/>
                    <a:pt x="2541" y="1276"/>
                  </a:cubicBezTo>
                  <a:cubicBezTo>
                    <a:pt x="2541" y="572"/>
                    <a:pt x="1972" y="1"/>
                    <a:pt x="1275" y="1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2" name="Google Shape;1932;p27"/>
            <p:cNvSpPr/>
            <p:nvPr/>
          </p:nvSpPr>
          <p:spPr>
            <a:xfrm>
              <a:off x="4396276" y="3156781"/>
              <a:ext cx="183599" cy="369040"/>
            </a:xfrm>
            <a:custGeom>
              <a:avLst/>
              <a:gdLst/>
              <a:ahLst/>
              <a:cxnLst/>
              <a:rect l="l" t="t" r="r" b="b"/>
              <a:pathLst>
                <a:path w="1269" h="2551" extrusionOk="0">
                  <a:moveTo>
                    <a:pt x="1268" y="1"/>
                  </a:moveTo>
                  <a:cubicBezTo>
                    <a:pt x="564" y="8"/>
                    <a:pt x="0" y="572"/>
                    <a:pt x="0" y="1276"/>
                  </a:cubicBezTo>
                  <a:cubicBezTo>
                    <a:pt x="0" y="1980"/>
                    <a:pt x="564" y="2542"/>
                    <a:pt x="1268" y="2551"/>
                  </a:cubicBezTo>
                  <a:cubicBezTo>
                    <a:pt x="1268" y="2542"/>
                    <a:pt x="578" y="1913"/>
                    <a:pt x="578" y="1276"/>
                  </a:cubicBezTo>
                  <a:cubicBezTo>
                    <a:pt x="578" y="639"/>
                    <a:pt x="1268" y="8"/>
                    <a:pt x="1268" y="1"/>
                  </a:cubicBezTo>
                  <a:close/>
                </a:path>
              </a:pathLst>
            </a:custGeom>
            <a:solidFill>
              <a:srgbClr val="FFE9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33" name="Google Shape;1933;p27"/>
          <p:cNvSpPr/>
          <p:nvPr/>
        </p:nvSpPr>
        <p:spPr>
          <a:xfrm>
            <a:off x="7862091" y="201875"/>
            <a:ext cx="428508" cy="155543"/>
          </a:xfrm>
          <a:custGeom>
            <a:avLst/>
            <a:gdLst/>
            <a:ahLst/>
            <a:cxnLst/>
            <a:rect l="l" t="t" r="r" b="b"/>
            <a:pathLst>
              <a:path w="7269" h="2639" extrusionOk="0">
                <a:moveTo>
                  <a:pt x="3113" y="1"/>
                </a:moveTo>
                <a:cubicBezTo>
                  <a:pt x="2305" y="1"/>
                  <a:pt x="1615" y="497"/>
                  <a:pt x="1334" y="1192"/>
                </a:cubicBezTo>
                <a:cubicBezTo>
                  <a:pt x="1283" y="1185"/>
                  <a:pt x="1238" y="1185"/>
                  <a:pt x="1187" y="1185"/>
                </a:cubicBezTo>
                <a:cubicBezTo>
                  <a:pt x="534" y="1185"/>
                  <a:pt x="1" y="1712"/>
                  <a:pt x="1" y="2371"/>
                </a:cubicBezTo>
                <a:cubicBezTo>
                  <a:pt x="1" y="2460"/>
                  <a:pt x="15" y="2549"/>
                  <a:pt x="38" y="2638"/>
                </a:cubicBezTo>
                <a:lnTo>
                  <a:pt x="5876" y="2638"/>
                </a:lnTo>
                <a:cubicBezTo>
                  <a:pt x="5891" y="2624"/>
                  <a:pt x="5907" y="2615"/>
                  <a:pt x="5921" y="2601"/>
                </a:cubicBezTo>
                <a:cubicBezTo>
                  <a:pt x="5921" y="2615"/>
                  <a:pt x="5928" y="2624"/>
                  <a:pt x="5935" y="2638"/>
                </a:cubicBezTo>
                <a:lnTo>
                  <a:pt x="7217" y="2638"/>
                </a:lnTo>
                <a:cubicBezTo>
                  <a:pt x="7248" y="2556"/>
                  <a:pt x="7269" y="2467"/>
                  <a:pt x="7269" y="2371"/>
                </a:cubicBezTo>
                <a:cubicBezTo>
                  <a:pt x="7269" y="1986"/>
                  <a:pt x="6958" y="1674"/>
                  <a:pt x="6573" y="1674"/>
                </a:cubicBezTo>
                <a:cubicBezTo>
                  <a:pt x="6440" y="1674"/>
                  <a:pt x="6314" y="1712"/>
                  <a:pt x="6202" y="1779"/>
                </a:cubicBezTo>
                <a:cubicBezTo>
                  <a:pt x="6136" y="1335"/>
                  <a:pt x="5750" y="993"/>
                  <a:pt x="5291" y="993"/>
                </a:cubicBezTo>
                <a:cubicBezTo>
                  <a:pt x="5128" y="993"/>
                  <a:pt x="4980" y="1038"/>
                  <a:pt x="4854" y="1103"/>
                </a:cubicBezTo>
                <a:cubicBezTo>
                  <a:pt x="4543" y="453"/>
                  <a:pt x="3883" y="1"/>
                  <a:pt x="3113" y="1"/>
                </a:cubicBezTo>
                <a:close/>
              </a:path>
            </a:pathLst>
          </a:custGeom>
          <a:solidFill>
            <a:srgbClr val="A1E1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34" name="Google Shape;1934;p27"/>
          <p:cNvSpPr/>
          <p:nvPr/>
        </p:nvSpPr>
        <p:spPr>
          <a:xfrm>
            <a:off x="8799787" y="471334"/>
            <a:ext cx="94149" cy="45600"/>
          </a:xfrm>
          <a:custGeom>
            <a:avLst/>
            <a:gdLst/>
            <a:ahLst/>
            <a:cxnLst/>
            <a:rect l="l" t="t" r="r" b="b"/>
            <a:pathLst>
              <a:path w="993" h="481" extrusionOk="0">
                <a:moveTo>
                  <a:pt x="851" y="0"/>
                </a:moveTo>
                <a:cubicBezTo>
                  <a:pt x="787" y="0"/>
                  <a:pt x="715" y="30"/>
                  <a:pt x="644" y="89"/>
                </a:cubicBezTo>
                <a:cubicBezTo>
                  <a:pt x="578" y="141"/>
                  <a:pt x="534" y="207"/>
                  <a:pt x="511" y="267"/>
                </a:cubicBezTo>
                <a:cubicBezTo>
                  <a:pt x="459" y="230"/>
                  <a:pt x="394" y="192"/>
                  <a:pt x="312" y="178"/>
                </a:cubicBezTo>
                <a:cubicBezTo>
                  <a:pt x="281" y="173"/>
                  <a:pt x="251" y="170"/>
                  <a:pt x="224" y="170"/>
                </a:cubicBezTo>
                <a:cubicBezTo>
                  <a:pt x="93" y="170"/>
                  <a:pt x="6" y="227"/>
                  <a:pt x="1" y="326"/>
                </a:cubicBezTo>
                <a:cubicBezTo>
                  <a:pt x="1" y="326"/>
                  <a:pt x="33" y="251"/>
                  <a:pt x="203" y="251"/>
                </a:cubicBezTo>
                <a:cubicBezTo>
                  <a:pt x="233" y="251"/>
                  <a:pt x="266" y="253"/>
                  <a:pt x="305" y="258"/>
                </a:cubicBezTo>
                <a:cubicBezTo>
                  <a:pt x="386" y="274"/>
                  <a:pt x="445" y="303"/>
                  <a:pt x="490" y="333"/>
                </a:cubicBezTo>
                <a:lnTo>
                  <a:pt x="490" y="480"/>
                </a:lnTo>
                <a:lnTo>
                  <a:pt x="555" y="466"/>
                </a:lnTo>
                <a:lnTo>
                  <a:pt x="630" y="452"/>
                </a:lnTo>
                <a:lnTo>
                  <a:pt x="555" y="319"/>
                </a:lnTo>
                <a:cubicBezTo>
                  <a:pt x="586" y="274"/>
                  <a:pt x="623" y="214"/>
                  <a:pt x="689" y="162"/>
                </a:cubicBezTo>
                <a:cubicBezTo>
                  <a:pt x="782" y="77"/>
                  <a:pt x="862" y="57"/>
                  <a:pt x="916" y="57"/>
                </a:cubicBezTo>
                <a:cubicBezTo>
                  <a:pt x="964" y="57"/>
                  <a:pt x="993" y="73"/>
                  <a:pt x="993" y="73"/>
                </a:cubicBezTo>
                <a:cubicBezTo>
                  <a:pt x="958" y="24"/>
                  <a:pt x="908" y="0"/>
                  <a:pt x="851" y="0"/>
                </a:cubicBezTo>
                <a:close/>
              </a:path>
            </a:pathLst>
          </a:custGeom>
          <a:solidFill>
            <a:srgbClr val="AAACB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35" name="Google Shape;1935;p27"/>
          <p:cNvSpPr/>
          <p:nvPr/>
        </p:nvSpPr>
        <p:spPr>
          <a:xfrm>
            <a:off x="8164075" y="397313"/>
            <a:ext cx="533399" cy="193630"/>
          </a:xfrm>
          <a:custGeom>
            <a:avLst/>
            <a:gdLst/>
            <a:ahLst/>
            <a:cxnLst/>
            <a:rect l="l" t="t" r="r" b="b"/>
            <a:pathLst>
              <a:path w="7269" h="2639" extrusionOk="0">
                <a:moveTo>
                  <a:pt x="3113" y="1"/>
                </a:moveTo>
                <a:cubicBezTo>
                  <a:pt x="2305" y="1"/>
                  <a:pt x="1615" y="497"/>
                  <a:pt x="1334" y="1192"/>
                </a:cubicBezTo>
                <a:cubicBezTo>
                  <a:pt x="1283" y="1185"/>
                  <a:pt x="1238" y="1185"/>
                  <a:pt x="1187" y="1185"/>
                </a:cubicBezTo>
                <a:cubicBezTo>
                  <a:pt x="534" y="1185"/>
                  <a:pt x="1" y="1712"/>
                  <a:pt x="1" y="2371"/>
                </a:cubicBezTo>
                <a:cubicBezTo>
                  <a:pt x="1" y="2460"/>
                  <a:pt x="15" y="2549"/>
                  <a:pt x="38" y="2638"/>
                </a:cubicBezTo>
                <a:lnTo>
                  <a:pt x="5876" y="2638"/>
                </a:lnTo>
                <a:cubicBezTo>
                  <a:pt x="5891" y="2624"/>
                  <a:pt x="5907" y="2615"/>
                  <a:pt x="5921" y="2601"/>
                </a:cubicBezTo>
                <a:cubicBezTo>
                  <a:pt x="5921" y="2615"/>
                  <a:pt x="5928" y="2624"/>
                  <a:pt x="5935" y="2638"/>
                </a:cubicBezTo>
                <a:lnTo>
                  <a:pt x="7217" y="2638"/>
                </a:lnTo>
                <a:cubicBezTo>
                  <a:pt x="7248" y="2556"/>
                  <a:pt x="7269" y="2467"/>
                  <a:pt x="7269" y="2371"/>
                </a:cubicBezTo>
                <a:cubicBezTo>
                  <a:pt x="7269" y="1986"/>
                  <a:pt x="6958" y="1674"/>
                  <a:pt x="6573" y="1674"/>
                </a:cubicBezTo>
                <a:cubicBezTo>
                  <a:pt x="6440" y="1674"/>
                  <a:pt x="6314" y="1712"/>
                  <a:pt x="6202" y="1779"/>
                </a:cubicBezTo>
                <a:cubicBezTo>
                  <a:pt x="6136" y="1335"/>
                  <a:pt x="5750" y="993"/>
                  <a:pt x="5291" y="993"/>
                </a:cubicBezTo>
                <a:cubicBezTo>
                  <a:pt x="5128" y="993"/>
                  <a:pt x="4980" y="1038"/>
                  <a:pt x="4854" y="1103"/>
                </a:cubicBezTo>
                <a:cubicBezTo>
                  <a:pt x="4543" y="453"/>
                  <a:pt x="3883" y="1"/>
                  <a:pt x="3113" y="1"/>
                </a:cubicBezTo>
                <a:close/>
              </a:path>
            </a:pathLst>
          </a:custGeom>
          <a:solidFill>
            <a:srgbClr val="A1E1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36" name="Google Shape;1936;p27"/>
          <p:cNvSpPr/>
          <p:nvPr/>
        </p:nvSpPr>
        <p:spPr>
          <a:xfrm>
            <a:off x="364613" y="4773208"/>
            <a:ext cx="587030" cy="161246"/>
          </a:xfrm>
          <a:custGeom>
            <a:avLst/>
            <a:gdLst/>
            <a:ahLst/>
            <a:cxnLst/>
            <a:rect l="l" t="t" r="r" b="b"/>
            <a:pathLst>
              <a:path w="12418" h="3411" extrusionOk="0">
                <a:moveTo>
                  <a:pt x="6110" y="1"/>
                </a:moveTo>
                <a:cubicBezTo>
                  <a:pt x="5063" y="1"/>
                  <a:pt x="4128" y="615"/>
                  <a:pt x="3548" y="1589"/>
                </a:cubicBezTo>
                <a:cubicBezTo>
                  <a:pt x="3301" y="2001"/>
                  <a:pt x="2908" y="2234"/>
                  <a:pt x="2504" y="2234"/>
                </a:cubicBezTo>
                <a:cubicBezTo>
                  <a:pt x="2377" y="2234"/>
                  <a:pt x="2250" y="2212"/>
                  <a:pt x="2125" y="2164"/>
                </a:cubicBezTo>
                <a:cubicBezTo>
                  <a:pt x="1874" y="2073"/>
                  <a:pt x="1601" y="2021"/>
                  <a:pt x="1333" y="2021"/>
                </a:cubicBezTo>
                <a:lnTo>
                  <a:pt x="1151" y="2021"/>
                </a:lnTo>
                <a:cubicBezTo>
                  <a:pt x="433" y="2091"/>
                  <a:pt x="35" y="2722"/>
                  <a:pt x="1" y="3410"/>
                </a:cubicBezTo>
                <a:lnTo>
                  <a:pt x="12417" y="3410"/>
                </a:lnTo>
                <a:cubicBezTo>
                  <a:pt x="12365" y="2722"/>
                  <a:pt x="11985" y="2091"/>
                  <a:pt x="11249" y="2021"/>
                </a:cubicBezTo>
                <a:lnTo>
                  <a:pt x="11068" y="2021"/>
                </a:lnTo>
                <a:cubicBezTo>
                  <a:pt x="10760" y="2021"/>
                  <a:pt x="10471" y="2073"/>
                  <a:pt x="10202" y="2199"/>
                </a:cubicBezTo>
                <a:cubicBezTo>
                  <a:pt x="10052" y="2263"/>
                  <a:pt x="9899" y="2294"/>
                  <a:pt x="9749" y="2294"/>
                </a:cubicBezTo>
                <a:cubicBezTo>
                  <a:pt x="9341" y="2294"/>
                  <a:pt x="8955" y="2064"/>
                  <a:pt x="8705" y="1641"/>
                </a:cubicBezTo>
                <a:cubicBezTo>
                  <a:pt x="8130" y="650"/>
                  <a:pt x="7191" y="1"/>
                  <a:pt x="6110" y="1"/>
                </a:cubicBezTo>
                <a:close/>
              </a:path>
            </a:pathLst>
          </a:custGeom>
          <a:solidFill>
            <a:srgbClr val="8AC93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937" name="Google Shape;1937;p27"/>
          <p:cNvGrpSpPr/>
          <p:nvPr/>
        </p:nvGrpSpPr>
        <p:grpSpPr>
          <a:xfrm>
            <a:off x="790590" y="4549611"/>
            <a:ext cx="394464" cy="384889"/>
            <a:chOff x="3582125" y="860850"/>
            <a:chExt cx="259175" cy="252900"/>
          </a:xfrm>
        </p:grpSpPr>
        <p:sp>
          <p:nvSpPr>
            <p:cNvPr id="1938" name="Google Shape;1938;p27"/>
            <p:cNvSpPr/>
            <p:nvPr/>
          </p:nvSpPr>
          <p:spPr>
            <a:xfrm>
              <a:off x="3613700" y="887450"/>
              <a:ext cx="196450" cy="226300"/>
            </a:xfrm>
            <a:custGeom>
              <a:avLst/>
              <a:gdLst/>
              <a:ahLst/>
              <a:cxnLst/>
              <a:rect l="l" t="t" r="r" b="b"/>
              <a:pathLst>
                <a:path w="7858" h="9052" extrusionOk="0">
                  <a:moveTo>
                    <a:pt x="3877" y="1"/>
                  </a:moveTo>
                  <a:lnTo>
                    <a:pt x="1" y="3194"/>
                  </a:lnTo>
                  <a:lnTo>
                    <a:pt x="1" y="9052"/>
                  </a:lnTo>
                  <a:lnTo>
                    <a:pt x="7857" y="9052"/>
                  </a:lnTo>
                  <a:lnTo>
                    <a:pt x="7857" y="3280"/>
                  </a:lnTo>
                  <a:lnTo>
                    <a:pt x="387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9" name="Google Shape;1939;p27"/>
            <p:cNvSpPr/>
            <p:nvPr/>
          </p:nvSpPr>
          <p:spPr>
            <a:xfrm>
              <a:off x="3712775" y="1029900"/>
              <a:ext cx="25325" cy="23400"/>
            </a:xfrm>
            <a:custGeom>
              <a:avLst/>
              <a:gdLst/>
              <a:ahLst/>
              <a:cxnLst/>
              <a:rect l="l" t="t" r="r" b="b"/>
              <a:pathLst>
                <a:path w="1013" h="936" extrusionOk="0">
                  <a:moveTo>
                    <a:pt x="1" y="1"/>
                  </a:moveTo>
                  <a:lnTo>
                    <a:pt x="1" y="935"/>
                  </a:lnTo>
                  <a:lnTo>
                    <a:pt x="1013" y="935"/>
                  </a:lnTo>
                  <a:lnTo>
                    <a:pt x="1013" y="502"/>
                  </a:lnTo>
                  <a:cubicBezTo>
                    <a:pt x="939" y="286"/>
                    <a:pt x="797" y="109"/>
                    <a:pt x="598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0" name="Google Shape;1940;p27"/>
            <p:cNvSpPr/>
            <p:nvPr/>
          </p:nvSpPr>
          <p:spPr>
            <a:xfrm>
              <a:off x="3700225" y="1024925"/>
              <a:ext cx="10400" cy="2300"/>
            </a:xfrm>
            <a:custGeom>
              <a:avLst/>
              <a:gdLst/>
              <a:ahLst/>
              <a:cxnLst/>
              <a:rect l="l" t="t" r="r" b="b"/>
              <a:pathLst>
                <a:path w="416" h="92" extrusionOk="0">
                  <a:moveTo>
                    <a:pt x="416" y="1"/>
                  </a:moveTo>
                  <a:cubicBezTo>
                    <a:pt x="269" y="1"/>
                    <a:pt x="126" y="35"/>
                    <a:pt x="1" y="91"/>
                  </a:cubicBezTo>
                  <a:lnTo>
                    <a:pt x="416" y="91"/>
                  </a:lnTo>
                  <a:lnTo>
                    <a:pt x="416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1" name="Google Shape;1941;p27"/>
            <p:cNvSpPr/>
            <p:nvPr/>
          </p:nvSpPr>
          <p:spPr>
            <a:xfrm>
              <a:off x="3712775" y="1082575"/>
              <a:ext cx="25325" cy="25325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1" y="1"/>
                  </a:moveTo>
                  <a:lnTo>
                    <a:pt x="1" y="1013"/>
                  </a:lnTo>
                  <a:lnTo>
                    <a:pt x="1013" y="1013"/>
                  </a:lnTo>
                  <a:lnTo>
                    <a:pt x="1013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2" name="Google Shape;1942;p27"/>
            <p:cNvSpPr/>
            <p:nvPr/>
          </p:nvSpPr>
          <p:spPr>
            <a:xfrm>
              <a:off x="3685300" y="1082575"/>
              <a:ext cx="25775" cy="25325"/>
            </a:xfrm>
            <a:custGeom>
              <a:avLst/>
              <a:gdLst/>
              <a:ahLst/>
              <a:cxnLst/>
              <a:rect l="l" t="t" r="r" b="b"/>
              <a:pathLst>
                <a:path w="1031" h="1013" extrusionOk="0">
                  <a:moveTo>
                    <a:pt x="1" y="1"/>
                  </a:moveTo>
                  <a:lnTo>
                    <a:pt x="1" y="1013"/>
                  </a:lnTo>
                  <a:lnTo>
                    <a:pt x="1030" y="1013"/>
                  </a:lnTo>
                  <a:lnTo>
                    <a:pt x="1030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3" name="Google Shape;1943;p27"/>
            <p:cNvSpPr/>
            <p:nvPr/>
          </p:nvSpPr>
          <p:spPr>
            <a:xfrm>
              <a:off x="3685300" y="1029900"/>
              <a:ext cx="25775" cy="23400"/>
            </a:xfrm>
            <a:custGeom>
              <a:avLst/>
              <a:gdLst/>
              <a:ahLst/>
              <a:cxnLst/>
              <a:rect l="l" t="t" r="r" b="b"/>
              <a:pathLst>
                <a:path w="1031" h="936" extrusionOk="0">
                  <a:moveTo>
                    <a:pt x="416" y="1"/>
                  </a:moveTo>
                  <a:cubicBezTo>
                    <a:pt x="234" y="109"/>
                    <a:pt x="91" y="286"/>
                    <a:pt x="1" y="485"/>
                  </a:cubicBezTo>
                  <a:lnTo>
                    <a:pt x="1" y="935"/>
                  </a:lnTo>
                  <a:lnTo>
                    <a:pt x="1030" y="935"/>
                  </a:lnTo>
                  <a:lnTo>
                    <a:pt x="1030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4" name="Google Shape;1944;p27"/>
            <p:cNvSpPr/>
            <p:nvPr/>
          </p:nvSpPr>
          <p:spPr>
            <a:xfrm>
              <a:off x="3712775" y="1056500"/>
              <a:ext cx="25325" cy="23825"/>
            </a:xfrm>
            <a:custGeom>
              <a:avLst/>
              <a:gdLst/>
              <a:ahLst/>
              <a:cxnLst/>
              <a:rect l="l" t="t" r="r" b="b"/>
              <a:pathLst>
                <a:path w="1013" h="953" extrusionOk="0">
                  <a:moveTo>
                    <a:pt x="1" y="1"/>
                  </a:moveTo>
                  <a:lnTo>
                    <a:pt x="1" y="953"/>
                  </a:lnTo>
                  <a:lnTo>
                    <a:pt x="1013" y="953"/>
                  </a:lnTo>
                  <a:lnTo>
                    <a:pt x="1013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5" name="Google Shape;1945;p27"/>
            <p:cNvSpPr/>
            <p:nvPr/>
          </p:nvSpPr>
          <p:spPr>
            <a:xfrm>
              <a:off x="3685300" y="1056500"/>
              <a:ext cx="25325" cy="23825"/>
            </a:xfrm>
            <a:custGeom>
              <a:avLst/>
              <a:gdLst/>
              <a:ahLst/>
              <a:cxnLst/>
              <a:rect l="l" t="t" r="r" b="b"/>
              <a:pathLst>
                <a:path w="1013" h="953" extrusionOk="0">
                  <a:moveTo>
                    <a:pt x="1" y="1"/>
                  </a:moveTo>
                  <a:lnTo>
                    <a:pt x="1" y="953"/>
                  </a:lnTo>
                  <a:lnTo>
                    <a:pt x="1013" y="953"/>
                  </a:lnTo>
                  <a:lnTo>
                    <a:pt x="1013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6" name="Google Shape;1946;p27"/>
            <p:cNvSpPr/>
            <p:nvPr/>
          </p:nvSpPr>
          <p:spPr>
            <a:xfrm>
              <a:off x="3712775" y="1024925"/>
              <a:ext cx="10400" cy="2300"/>
            </a:xfrm>
            <a:custGeom>
              <a:avLst/>
              <a:gdLst/>
              <a:ahLst/>
              <a:cxnLst/>
              <a:rect l="l" t="t" r="r" b="b"/>
              <a:pathLst>
                <a:path w="416" h="92" extrusionOk="0">
                  <a:moveTo>
                    <a:pt x="1" y="1"/>
                  </a:moveTo>
                  <a:lnTo>
                    <a:pt x="1" y="91"/>
                  </a:lnTo>
                  <a:lnTo>
                    <a:pt x="416" y="91"/>
                  </a:lnTo>
                  <a:cubicBezTo>
                    <a:pt x="290" y="35"/>
                    <a:pt x="148" y="1"/>
                    <a:pt x="1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7" name="Google Shape;1947;p27"/>
            <p:cNvSpPr/>
            <p:nvPr/>
          </p:nvSpPr>
          <p:spPr>
            <a:xfrm>
              <a:off x="3683025" y="1049700"/>
              <a:ext cx="575" cy="58650"/>
            </a:xfrm>
            <a:custGeom>
              <a:avLst/>
              <a:gdLst/>
              <a:ahLst/>
              <a:cxnLst/>
              <a:rect l="l" t="t" r="r" b="b"/>
              <a:pathLst>
                <a:path w="23" h="2346" extrusionOk="0">
                  <a:moveTo>
                    <a:pt x="22" y="0"/>
                  </a:moveTo>
                  <a:cubicBezTo>
                    <a:pt x="1" y="57"/>
                    <a:pt x="1" y="108"/>
                    <a:pt x="1" y="165"/>
                  </a:cubicBezTo>
                  <a:lnTo>
                    <a:pt x="1" y="2345"/>
                  </a:lnTo>
                  <a:lnTo>
                    <a:pt x="22" y="2345"/>
                  </a:lnTo>
                  <a:lnTo>
                    <a:pt x="22" y="1333"/>
                  </a:lnTo>
                  <a:lnTo>
                    <a:pt x="22" y="165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8" name="Google Shape;1948;p27"/>
            <p:cNvSpPr/>
            <p:nvPr/>
          </p:nvSpPr>
          <p:spPr>
            <a:xfrm>
              <a:off x="3739825" y="1056950"/>
              <a:ext cx="550" cy="24775"/>
            </a:xfrm>
            <a:custGeom>
              <a:avLst/>
              <a:gdLst/>
              <a:ahLst/>
              <a:cxnLst/>
              <a:rect l="l" t="t" r="r" b="b"/>
              <a:pathLst>
                <a:path w="22" h="991" extrusionOk="0">
                  <a:moveTo>
                    <a:pt x="0" y="0"/>
                  </a:moveTo>
                  <a:lnTo>
                    <a:pt x="0" y="956"/>
                  </a:lnTo>
                  <a:lnTo>
                    <a:pt x="22" y="991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9" name="Google Shape;1949;p27"/>
            <p:cNvSpPr/>
            <p:nvPr/>
          </p:nvSpPr>
          <p:spPr>
            <a:xfrm>
              <a:off x="3710600" y="1025350"/>
              <a:ext cx="475" cy="2300"/>
            </a:xfrm>
            <a:custGeom>
              <a:avLst/>
              <a:gdLst/>
              <a:ahLst/>
              <a:cxnLst/>
              <a:rect l="l" t="t" r="r" b="b"/>
              <a:pathLst>
                <a:path w="19" h="92" extrusionOk="0">
                  <a:moveTo>
                    <a:pt x="1" y="1"/>
                  </a:moveTo>
                  <a:lnTo>
                    <a:pt x="1" y="92"/>
                  </a:lnTo>
                  <a:lnTo>
                    <a:pt x="18" y="92"/>
                  </a:lnTo>
                  <a:lnTo>
                    <a:pt x="1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0" name="Google Shape;1950;p27"/>
            <p:cNvSpPr/>
            <p:nvPr/>
          </p:nvSpPr>
          <p:spPr>
            <a:xfrm>
              <a:off x="3712775" y="1025350"/>
              <a:ext cx="25" cy="2300"/>
            </a:xfrm>
            <a:custGeom>
              <a:avLst/>
              <a:gdLst/>
              <a:ahLst/>
              <a:cxnLst/>
              <a:rect l="l" t="t" r="r" b="b"/>
              <a:pathLst>
                <a:path w="1" h="92" extrusionOk="0">
                  <a:moveTo>
                    <a:pt x="1" y="92"/>
                  </a:moveTo>
                  <a:lnTo>
                    <a:pt x="1" y="92"/>
                  </a:lnTo>
                  <a:lnTo>
                    <a:pt x="1" y="92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1" name="Google Shape;1951;p27"/>
            <p:cNvSpPr/>
            <p:nvPr/>
          </p:nvSpPr>
          <p:spPr>
            <a:xfrm>
              <a:off x="3711050" y="1024925"/>
              <a:ext cx="1750" cy="2725"/>
            </a:xfrm>
            <a:custGeom>
              <a:avLst/>
              <a:gdLst/>
              <a:ahLst/>
              <a:cxnLst/>
              <a:rect l="l" t="t" r="r" b="b"/>
              <a:pathLst>
                <a:path w="70" h="109" extrusionOk="0">
                  <a:moveTo>
                    <a:pt x="35" y="1"/>
                  </a:moveTo>
                  <a:cubicBezTo>
                    <a:pt x="18" y="1"/>
                    <a:pt x="0" y="1"/>
                    <a:pt x="0" y="18"/>
                  </a:cubicBezTo>
                  <a:lnTo>
                    <a:pt x="0" y="109"/>
                  </a:lnTo>
                  <a:lnTo>
                    <a:pt x="70" y="109"/>
                  </a:lnTo>
                  <a:lnTo>
                    <a:pt x="70" y="18"/>
                  </a:lnTo>
                  <a:cubicBezTo>
                    <a:pt x="52" y="1"/>
                    <a:pt x="35" y="1"/>
                    <a:pt x="35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2" name="Google Shape;1952;p27"/>
            <p:cNvSpPr/>
            <p:nvPr/>
          </p:nvSpPr>
          <p:spPr>
            <a:xfrm>
              <a:off x="3685300" y="1055525"/>
              <a:ext cx="25325" cy="1450"/>
            </a:xfrm>
            <a:custGeom>
              <a:avLst/>
              <a:gdLst/>
              <a:ahLst/>
              <a:cxnLst/>
              <a:rect l="l" t="t" r="r" b="b"/>
              <a:pathLst>
                <a:path w="1013" h="58" extrusionOk="0">
                  <a:moveTo>
                    <a:pt x="1" y="1"/>
                  </a:moveTo>
                  <a:lnTo>
                    <a:pt x="1" y="57"/>
                  </a:lnTo>
                  <a:lnTo>
                    <a:pt x="1013" y="57"/>
                  </a:lnTo>
                  <a:lnTo>
                    <a:pt x="1013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3" name="Google Shape;1953;p27"/>
            <p:cNvSpPr/>
            <p:nvPr/>
          </p:nvSpPr>
          <p:spPr>
            <a:xfrm>
              <a:off x="3683575" y="1042450"/>
              <a:ext cx="1750" cy="11375"/>
            </a:xfrm>
            <a:custGeom>
              <a:avLst/>
              <a:gdLst/>
              <a:ahLst/>
              <a:cxnLst/>
              <a:rect l="l" t="t" r="r" b="b"/>
              <a:pathLst>
                <a:path w="70" h="455" extrusionOk="0">
                  <a:moveTo>
                    <a:pt x="70" y="0"/>
                  </a:moveTo>
                  <a:cubicBezTo>
                    <a:pt x="35" y="91"/>
                    <a:pt x="18" y="199"/>
                    <a:pt x="0" y="290"/>
                  </a:cubicBezTo>
                  <a:lnTo>
                    <a:pt x="0" y="455"/>
                  </a:lnTo>
                  <a:lnTo>
                    <a:pt x="70" y="455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4" name="Google Shape;1954;p27"/>
            <p:cNvSpPr/>
            <p:nvPr/>
          </p:nvSpPr>
          <p:spPr>
            <a:xfrm>
              <a:off x="3699250" y="1027625"/>
              <a:ext cx="11375" cy="475"/>
            </a:xfrm>
            <a:custGeom>
              <a:avLst/>
              <a:gdLst/>
              <a:ahLst/>
              <a:cxnLst/>
              <a:rect l="l" t="t" r="r" b="b"/>
              <a:pathLst>
                <a:path w="455" h="19" extrusionOk="0">
                  <a:moveTo>
                    <a:pt x="40" y="1"/>
                  </a:moveTo>
                  <a:cubicBezTo>
                    <a:pt x="22" y="1"/>
                    <a:pt x="1" y="18"/>
                    <a:pt x="1" y="18"/>
                  </a:cubicBezTo>
                  <a:lnTo>
                    <a:pt x="455" y="18"/>
                  </a:lnTo>
                  <a:lnTo>
                    <a:pt x="455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5" name="Google Shape;1955;p27"/>
            <p:cNvSpPr/>
            <p:nvPr/>
          </p:nvSpPr>
          <p:spPr>
            <a:xfrm>
              <a:off x="3695675" y="1029475"/>
              <a:ext cx="14950" cy="450"/>
            </a:xfrm>
            <a:custGeom>
              <a:avLst/>
              <a:gdLst/>
              <a:ahLst/>
              <a:cxnLst/>
              <a:rect l="l" t="t" r="r" b="b"/>
              <a:pathLst>
                <a:path w="598" h="18" extrusionOk="0">
                  <a:moveTo>
                    <a:pt x="36" y="0"/>
                  </a:moveTo>
                  <a:cubicBezTo>
                    <a:pt x="18" y="18"/>
                    <a:pt x="18" y="18"/>
                    <a:pt x="1" y="18"/>
                  </a:cubicBezTo>
                  <a:lnTo>
                    <a:pt x="598" y="18"/>
                  </a:lnTo>
                  <a:lnTo>
                    <a:pt x="598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6" name="Google Shape;1956;p27"/>
            <p:cNvSpPr/>
            <p:nvPr/>
          </p:nvSpPr>
          <p:spPr>
            <a:xfrm>
              <a:off x="3696550" y="1028075"/>
              <a:ext cx="14075" cy="1425"/>
            </a:xfrm>
            <a:custGeom>
              <a:avLst/>
              <a:gdLst/>
              <a:ahLst/>
              <a:cxnLst/>
              <a:rect l="l" t="t" r="r" b="b"/>
              <a:pathLst>
                <a:path w="563" h="57" extrusionOk="0">
                  <a:moveTo>
                    <a:pt x="109" y="0"/>
                  </a:moveTo>
                  <a:cubicBezTo>
                    <a:pt x="74" y="17"/>
                    <a:pt x="39" y="35"/>
                    <a:pt x="1" y="56"/>
                  </a:cubicBezTo>
                  <a:lnTo>
                    <a:pt x="563" y="56"/>
                  </a:lnTo>
                  <a:lnTo>
                    <a:pt x="563" y="17"/>
                  </a:lnTo>
                  <a:lnTo>
                    <a:pt x="563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7" name="Google Shape;1957;p27"/>
            <p:cNvSpPr/>
            <p:nvPr/>
          </p:nvSpPr>
          <p:spPr>
            <a:xfrm>
              <a:off x="3710600" y="1027625"/>
              <a:ext cx="25" cy="475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8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8" name="Google Shape;1958;p27"/>
            <p:cNvSpPr/>
            <p:nvPr/>
          </p:nvSpPr>
          <p:spPr>
            <a:xfrm>
              <a:off x="3710600" y="1029475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18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9" name="Google Shape;1959;p27"/>
            <p:cNvSpPr/>
            <p:nvPr/>
          </p:nvSpPr>
          <p:spPr>
            <a:xfrm>
              <a:off x="3710600" y="1028500"/>
              <a:ext cx="25" cy="1000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39"/>
                  </a:moveTo>
                  <a:lnTo>
                    <a:pt x="1" y="39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0" name="Google Shape;1960;p27"/>
            <p:cNvSpPr/>
            <p:nvPr/>
          </p:nvSpPr>
          <p:spPr>
            <a:xfrm>
              <a:off x="3710600" y="1028075"/>
              <a:ext cx="25" cy="1425"/>
            </a:xfrm>
            <a:custGeom>
              <a:avLst/>
              <a:gdLst/>
              <a:ahLst/>
              <a:cxnLst/>
              <a:rect l="l" t="t" r="r" b="b"/>
              <a:pathLst>
                <a:path w="1" h="57" extrusionOk="0">
                  <a:moveTo>
                    <a:pt x="1" y="17"/>
                  </a:moveTo>
                  <a:lnTo>
                    <a:pt x="1" y="56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1" name="Google Shape;1961;p27"/>
            <p:cNvSpPr/>
            <p:nvPr/>
          </p:nvSpPr>
          <p:spPr>
            <a:xfrm>
              <a:off x="3712775" y="1055525"/>
              <a:ext cx="25325" cy="1450"/>
            </a:xfrm>
            <a:custGeom>
              <a:avLst/>
              <a:gdLst/>
              <a:ahLst/>
              <a:cxnLst/>
              <a:rect l="l" t="t" r="r" b="b"/>
              <a:pathLst>
                <a:path w="1013" h="58" extrusionOk="0">
                  <a:moveTo>
                    <a:pt x="1" y="1"/>
                  </a:moveTo>
                  <a:lnTo>
                    <a:pt x="1" y="57"/>
                  </a:lnTo>
                  <a:lnTo>
                    <a:pt x="1013" y="57"/>
                  </a:lnTo>
                  <a:lnTo>
                    <a:pt x="1013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2" name="Google Shape;1962;p27"/>
            <p:cNvSpPr/>
            <p:nvPr/>
          </p:nvSpPr>
          <p:spPr>
            <a:xfrm>
              <a:off x="3738075" y="1042450"/>
              <a:ext cx="2300" cy="14525"/>
            </a:xfrm>
            <a:custGeom>
              <a:avLst/>
              <a:gdLst/>
              <a:ahLst/>
              <a:cxnLst/>
              <a:rect l="l" t="t" r="r" b="b"/>
              <a:pathLst>
                <a:path w="92" h="581" extrusionOk="0">
                  <a:moveTo>
                    <a:pt x="1" y="0"/>
                  </a:moveTo>
                  <a:lnTo>
                    <a:pt x="1" y="455"/>
                  </a:lnTo>
                  <a:lnTo>
                    <a:pt x="70" y="455"/>
                  </a:lnTo>
                  <a:lnTo>
                    <a:pt x="70" y="580"/>
                  </a:lnTo>
                  <a:lnTo>
                    <a:pt x="92" y="580"/>
                  </a:lnTo>
                  <a:lnTo>
                    <a:pt x="92" y="308"/>
                  </a:lnTo>
                  <a:cubicBezTo>
                    <a:pt x="70" y="199"/>
                    <a:pt x="36" y="109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3" name="Google Shape;1963;p27"/>
            <p:cNvSpPr/>
            <p:nvPr/>
          </p:nvSpPr>
          <p:spPr>
            <a:xfrm>
              <a:off x="3712775" y="1027625"/>
              <a:ext cx="11825" cy="475"/>
            </a:xfrm>
            <a:custGeom>
              <a:avLst/>
              <a:gdLst/>
              <a:ahLst/>
              <a:cxnLst/>
              <a:rect l="l" t="t" r="r" b="b"/>
              <a:pathLst>
                <a:path w="473" h="19" extrusionOk="0">
                  <a:moveTo>
                    <a:pt x="1" y="1"/>
                  </a:moveTo>
                  <a:lnTo>
                    <a:pt x="1" y="18"/>
                  </a:lnTo>
                  <a:lnTo>
                    <a:pt x="472" y="18"/>
                  </a:lnTo>
                  <a:cubicBezTo>
                    <a:pt x="455" y="18"/>
                    <a:pt x="433" y="1"/>
                    <a:pt x="416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4" name="Google Shape;1964;p27"/>
            <p:cNvSpPr/>
            <p:nvPr/>
          </p:nvSpPr>
          <p:spPr>
            <a:xfrm>
              <a:off x="3712775" y="1029475"/>
              <a:ext cx="14950" cy="450"/>
            </a:xfrm>
            <a:custGeom>
              <a:avLst/>
              <a:gdLst/>
              <a:ahLst/>
              <a:cxnLst/>
              <a:rect l="l" t="t" r="r" b="b"/>
              <a:pathLst>
                <a:path w="598" h="18" extrusionOk="0">
                  <a:moveTo>
                    <a:pt x="1" y="0"/>
                  </a:moveTo>
                  <a:lnTo>
                    <a:pt x="1" y="18"/>
                  </a:lnTo>
                  <a:lnTo>
                    <a:pt x="598" y="18"/>
                  </a:lnTo>
                  <a:cubicBezTo>
                    <a:pt x="598" y="18"/>
                    <a:pt x="580" y="18"/>
                    <a:pt x="5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5" name="Google Shape;1965;p27"/>
            <p:cNvSpPr/>
            <p:nvPr/>
          </p:nvSpPr>
          <p:spPr>
            <a:xfrm>
              <a:off x="3712775" y="1028075"/>
              <a:ext cx="14075" cy="1425"/>
            </a:xfrm>
            <a:custGeom>
              <a:avLst/>
              <a:gdLst/>
              <a:ahLst/>
              <a:cxnLst/>
              <a:rect l="l" t="t" r="r" b="b"/>
              <a:pathLst>
                <a:path w="563" h="57" extrusionOk="0">
                  <a:moveTo>
                    <a:pt x="1" y="0"/>
                  </a:moveTo>
                  <a:lnTo>
                    <a:pt x="1" y="35"/>
                  </a:lnTo>
                  <a:lnTo>
                    <a:pt x="1" y="56"/>
                  </a:lnTo>
                  <a:lnTo>
                    <a:pt x="563" y="56"/>
                  </a:lnTo>
                  <a:cubicBezTo>
                    <a:pt x="541" y="35"/>
                    <a:pt x="507" y="17"/>
                    <a:pt x="472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6" name="Google Shape;1966;p27"/>
            <p:cNvSpPr/>
            <p:nvPr/>
          </p:nvSpPr>
          <p:spPr>
            <a:xfrm>
              <a:off x="3710600" y="1029900"/>
              <a:ext cx="475" cy="23925"/>
            </a:xfrm>
            <a:custGeom>
              <a:avLst/>
              <a:gdLst/>
              <a:ahLst/>
              <a:cxnLst/>
              <a:rect l="l" t="t" r="r" b="b"/>
              <a:pathLst>
                <a:path w="19" h="957" extrusionOk="0">
                  <a:moveTo>
                    <a:pt x="1" y="1"/>
                  </a:moveTo>
                  <a:lnTo>
                    <a:pt x="1" y="957"/>
                  </a:lnTo>
                  <a:lnTo>
                    <a:pt x="18" y="957"/>
                  </a:lnTo>
                  <a:lnTo>
                    <a:pt x="1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7" name="Google Shape;1967;p27"/>
            <p:cNvSpPr/>
            <p:nvPr/>
          </p:nvSpPr>
          <p:spPr>
            <a:xfrm>
              <a:off x="3712775" y="1029900"/>
              <a:ext cx="25" cy="23925"/>
            </a:xfrm>
            <a:custGeom>
              <a:avLst/>
              <a:gdLst/>
              <a:ahLst/>
              <a:cxnLst/>
              <a:rect l="l" t="t" r="r" b="b"/>
              <a:pathLst>
                <a:path w="1" h="957" extrusionOk="0">
                  <a:moveTo>
                    <a:pt x="1" y="1"/>
                  </a:moveTo>
                  <a:lnTo>
                    <a:pt x="1" y="957"/>
                  </a:lnTo>
                  <a:lnTo>
                    <a:pt x="1" y="95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8" name="Google Shape;1968;p27"/>
            <p:cNvSpPr/>
            <p:nvPr/>
          </p:nvSpPr>
          <p:spPr>
            <a:xfrm>
              <a:off x="3712775" y="1055525"/>
              <a:ext cx="25" cy="1450"/>
            </a:xfrm>
            <a:custGeom>
              <a:avLst/>
              <a:gdLst/>
              <a:ahLst/>
              <a:cxnLst/>
              <a:rect l="l" t="t" r="r" b="b"/>
              <a:pathLst>
                <a:path w="1" h="58" extrusionOk="0">
                  <a:moveTo>
                    <a:pt x="1" y="57"/>
                  </a:moveTo>
                  <a:lnTo>
                    <a:pt x="1" y="57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9" name="Google Shape;1969;p27"/>
            <p:cNvSpPr/>
            <p:nvPr/>
          </p:nvSpPr>
          <p:spPr>
            <a:xfrm>
              <a:off x="3711050" y="1029900"/>
              <a:ext cx="1750" cy="23925"/>
            </a:xfrm>
            <a:custGeom>
              <a:avLst/>
              <a:gdLst/>
              <a:ahLst/>
              <a:cxnLst/>
              <a:rect l="l" t="t" r="r" b="b"/>
              <a:pathLst>
                <a:path w="70" h="957" extrusionOk="0">
                  <a:moveTo>
                    <a:pt x="0" y="1"/>
                  </a:moveTo>
                  <a:lnTo>
                    <a:pt x="0" y="957"/>
                  </a:lnTo>
                  <a:lnTo>
                    <a:pt x="70" y="957"/>
                  </a:lnTo>
                  <a:lnTo>
                    <a:pt x="7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0" name="Google Shape;1970;p27"/>
            <p:cNvSpPr/>
            <p:nvPr/>
          </p:nvSpPr>
          <p:spPr>
            <a:xfrm>
              <a:off x="3712775" y="1029475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1" name="Google Shape;1971;p27"/>
            <p:cNvSpPr/>
            <p:nvPr/>
          </p:nvSpPr>
          <p:spPr>
            <a:xfrm>
              <a:off x="3712775" y="1028925"/>
              <a:ext cx="25" cy="575"/>
            </a:xfrm>
            <a:custGeom>
              <a:avLst/>
              <a:gdLst/>
              <a:ahLst/>
              <a:cxnLst/>
              <a:rect l="l" t="t" r="r" b="b"/>
              <a:pathLst>
                <a:path w="1" h="23" extrusionOk="0">
                  <a:moveTo>
                    <a:pt x="1" y="22"/>
                  </a:moveTo>
                  <a:lnTo>
                    <a:pt x="1" y="22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2" name="Google Shape;1972;p27"/>
            <p:cNvSpPr/>
            <p:nvPr/>
          </p:nvSpPr>
          <p:spPr>
            <a:xfrm>
              <a:off x="3712775" y="1027625"/>
              <a:ext cx="25" cy="475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8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3" name="Google Shape;1973;p27"/>
            <p:cNvSpPr/>
            <p:nvPr/>
          </p:nvSpPr>
          <p:spPr>
            <a:xfrm>
              <a:off x="3712775" y="1027625"/>
              <a:ext cx="25" cy="475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8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4" name="Google Shape;1974;p27"/>
            <p:cNvSpPr/>
            <p:nvPr/>
          </p:nvSpPr>
          <p:spPr>
            <a:xfrm>
              <a:off x="3712775" y="1028075"/>
              <a:ext cx="25" cy="875"/>
            </a:xfrm>
            <a:custGeom>
              <a:avLst/>
              <a:gdLst/>
              <a:ahLst/>
              <a:cxnLst/>
              <a:rect l="l" t="t" r="r" b="b"/>
              <a:pathLst>
                <a:path w="1" h="35" extrusionOk="0">
                  <a:moveTo>
                    <a:pt x="1" y="0"/>
                  </a:moveTo>
                  <a:lnTo>
                    <a:pt x="1" y="17"/>
                  </a:lnTo>
                  <a:lnTo>
                    <a:pt x="1" y="35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5" name="Google Shape;1975;p27"/>
            <p:cNvSpPr/>
            <p:nvPr/>
          </p:nvSpPr>
          <p:spPr>
            <a:xfrm>
              <a:off x="3712775" y="1028075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6" name="Google Shape;1976;p27"/>
            <p:cNvSpPr/>
            <p:nvPr/>
          </p:nvSpPr>
          <p:spPr>
            <a:xfrm>
              <a:off x="3712775" y="1029475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0"/>
                  </a:lnTo>
                  <a:lnTo>
                    <a:pt x="1" y="18"/>
                  </a:lnTo>
                  <a:lnTo>
                    <a:pt x="1" y="18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7" name="Google Shape;1977;p27"/>
            <p:cNvSpPr/>
            <p:nvPr/>
          </p:nvSpPr>
          <p:spPr>
            <a:xfrm>
              <a:off x="3712775" y="1028500"/>
              <a:ext cx="25" cy="1000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0"/>
                  </a:moveTo>
                  <a:lnTo>
                    <a:pt x="1" y="39"/>
                  </a:lnTo>
                  <a:lnTo>
                    <a:pt x="1" y="39"/>
                  </a:lnTo>
                  <a:lnTo>
                    <a:pt x="1" y="18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8" name="Google Shape;1978;p27"/>
            <p:cNvSpPr/>
            <p:nvPr/>
          </p:nvSpPr>
          <p:spPr>
            <a:xfrm>
              <a:off x="3712775" y="1028075"/>
              <a:ext cx="25" cy="1425"/>
            </a:xfrm>
            <a:custGeom>
              <a:avLst/>
              <a:gdLst/>
              <a:ahLst/>
              <a:cxnLst/>
              <a:rect l="l" t="t" r="r" b="b"/>
              <a:pathLst>
                <a:path w="1" h="57" extrusionOk="0">
                  <a:moveTo>
                    <a:pt x="1" y="56"/>
                  </a:moveTo>
                  <a:lnTo>
                    <a:pt x="1" y="56"/>
                  </a:lnTo>
                  <a:lnTo>
                    <a:pt x="1" y="1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9" name="Google Shape;1979;p27"/>
            <p:cNvSpPr/>
            <p:nvPr/>
          </p:nvSpPr>
          <p:spPr>
            <a:xfrm>
              <a:off x="3710600" y="1027625"/>
              <a:ext cx="475" cy="475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"/>
                  </a:moveTo>
                  <a:lnTo>
                    <a:pt x="1" y="18"/>
                  </a:lnTo>
                  <a:lnTo>
                    <a:pt x="18" y="18"/>
                  </a:lnTo>
                  <a:lnTo>
                    <a:pt x="1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0" name="Google Shape;1980;p27"/>
            <p:cNvSpPr/>
            <p:nvPr/>
          </p:nvSpPr>
          <p:spPr>
            <a:xfrm>
              <a:off x="3710600" y="1029475"/>
              <a:ext cx="475" cy="450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0"/>
                  </a:moveTo>
                  <a:lnTo>
                    <a:pt x="1" y="18"/>
                  </a:lnTo>
                  <a:lnTo>
                    <a:pt x="18" y="18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1" name="Google Shape;1981;p27"/>
            <p:cNvSpPr/>
            <p:nvPr/>
          </p:nvSpPr>
          <p:spPr>
            <a:xfrm>
              <a:off x="3710600" y="1028075"/>
              <a:ext cx="475" cy="1425"/>
            </a:xfrm>
            <a:custGeom>
              <a:avLst/>
              <a:gdLst/>
              <a:ahLst/>
              <a:cxnLst/>
              <a:rect l="l" t="t" r="r" b="b"/>
              <a:pathLst>
                <a:path w="19" h="57" extrusionOk="0">
                  <a:moveTo>
                    <a:pt x="1" y="0"/>
                  </a:moveTo>
                  <a:lnTo>
                    <a:pt x="1" y="56"/>
                  </a:lnTo>
                  <a:lnTo>
                    <a:pt x="18" y="56"/>
                  </a:lnTo>
                  <a:lnTo>
                    <a:pt x="18" y="17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2" name="Google Shape;1982;p27"/>
            <p:cNvSpPr/>
            <p:nvPr/>
          </p:nvSpPr>
          <p:spPr>
            <a:xfrm>
              <a:off x="3711050" y="1027625"/>
              <a:ext cx="25" cy="475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8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3" name="Google Shape;1983;p27"/>
            <p:cNvSpPr/>
            <p:nvPr/>
          </p:nvSpPr>
          <p:spPr>
            <a:xfrm>
              <a:off x="3712775" y="1027625"/>
              <a:ext cx="25" cy="475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4" name="Google Shape;1984;p27"/>
            <p:cNvSpPr/>
            <p:nvPr/>
          </p:nvSpPr>
          <p:spPr>
            <a:xfrm>
              <a:off x="3712775" y="1027625"/>
              <a:ext cx="25" cy="475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8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5" name="Google Shape;1985;p27"/>
            <p:cNvSpPr/>
            <p:nvPr/>
          </p:nvSpPr>
          <p:spPr>
            <a:xfrm>
              <a:off x="3711050" y="1027625"/>
              <a:ext cx="1750" cy="475"/>
            </a:xfrm>
            <a:custGeom>
              <a:avLst/>
              <a:gdLst/>
              <a:ahLst/>
              <a:cxnLst/>
              <a:rect l="l" t="t" r="r" b="b"/>
              <a:pathLst>
                <a:path w="70" h="19" extrusionOk="0">
                  <a:moveTo>
                    <a:pt x="0" y="1"/>
                  </a:moveTo>
                  <a:lnTo>
                    <a:pt x="0" y="18"/>
                  </a:lnTo>
                  <a:lnTo>
                    <a:pt x="70" y="18"/>
                  </a:lnTo>
                  <a:lnTo>
                    <a:pt x="7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6" name="Google Shape;1986;p27"/>
            <p:cNvSpPr/>
            <p:nvPr/>
          </p:nvSpPr>
          <p:spPr>
            <a:xfrm>
              <a:off x="3712775" y="10280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7" name="Google Shape;1987;p27"/>
            <p:cNvSpPr/>
            <p:nvPr/>
          </p:nvSpPr>
          <p:spPr>
            <a:xfrm>
              <a:off x="3711050" y="1029475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1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8" name="Google Shape;1988;p27"/>
            <p:cNvSpPr/>
            <p:nvPr/>
          </p:nvSpPr>
          <p:spPr>
            <a:xfrm>
              <a:off x="3711050" y="1028500"/>
              <a:ext cx="25" cy="1000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0" y="39"/>
                  </a:moveTo>
                  <a:lnTo>
                    <a:pt x="0" y="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9" name="Google Shape;1989;p27"/>
            <p:cNvSpPr/>
            <p:nvPr/>
          </p:nvSpPr>
          <p:spPr>
            <a:xfrm>
              <a:off x="3711050" y="1028075"/>
              <a:ext cx="25" cy="1425"/>
            </a:xfrm>
            <a:custGeom>
              <a:avLst/>
              <a:gdLst/>
              <a:ahLst/>
              <a:cxnLst/>
              <a:rect l="l" t="t" r="r" b="b"/>
              <a:pathLst>
                <a:path w="1" h="57" extrusionOk="0">
                  <a:moveTo>
                    <a:pt x="0" y="17"/>
                  </a:moveTo>
                  <a:lnTo>
                    <a:pt x="0" y="5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0" name="Google Shape;1990;p27"/>
            <p:cNvSpPr/>
            <p:nvPr/>
          </p:nvSpPr>
          <p:spPr>
            <a:xfrm>
              <a:off x="3712775" y="1029475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lnTo>
                    <a:pt x="1" y="18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1" name="Google Shape;1991;p27"/>
            <p:cNvSpPr/>
            <p:nvPr/>
          </p:nvSpPr>
          <p:spPr>
            <a:xfrm>
              <a:off x="3712775" y="1028075"/>
              <a:ext cx="25" cy="1425"/>
            </a:xfrm>
            <a:custGeom>
              <a:avLst/>
              <a:gdLst/>
              <a:ahLst/>
              <a:cxnLst/>
              <a:rect l="l" t="t" r="r" b="b"/>
              <a:pathLst>
                <a:path w="1" h="57" extrusionOk="0">
                  <a:moveTo>
                    <a:pt x="1" y="0"/>
                  </a:moveTo>
                  <a:lnTo>
                    <a:pt x="1" y="0"/>
                  </a:lnTo>
                  <a:lnTo>
                    <a:pt x="1" y="17"/>
                  </a:lnTo>
                  <a:lnTo>
                    <a:pt x="1" y="35"/>
                  </a:lnTo>
                  <a:lnTo>
                    <a:pt x="1" y="56"/>
                  </a:lnTo>
                  <a:lnTo>
                    <a:pt x="1" y="56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2" name="Google Shape;1992;p27"/>
            <p:cNvSpPr/>
            <p:nvPr/>
          </p:nvSpPr>
          <p:spPr>
            <a:xfrm>
              <a:off x="3712775" y="1029475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3" name="Google Shape;1993;p27"/>
            <p:cNvSpPr/>
            <p:nvPr/>
          </p:nvSpPr>
          <p:spPr>
            <a:xfrm>
              <a:off x="3712775" y="1028500"/>
              <a:ext cx="25" cy="1000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39"/>
                  </a:moveTo>
                  <a:lnTo>
                    <a:pt x="1" y="39"/>
                  </a:lnTo>
                  <a:lnTo>
                    <a:pt x="1" y="1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4" name="Google Shape;1994;p27"/>
            <p:cNvSpPr/>
            <p:nvPr/>
          </p:nvSpPr>
          <p:spPr>
            <a:xfrm>
              <a:off x="3712775" y="1028075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7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5" name="Google Shape;1995;p27"/>
            <p:cNvSpPr/>
            <p:nvPr/>
          </p:nvSpPr>
          <p:spPr>
            <a:xfrm>
              <a:off x="3712775" y="1029475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lnTo>
                    <a:pt x="1" y="18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6" name="Google Shape;1996;p27"/>
            <p:cNvSpPr/>
            <p:nvPr/>
          </p:nvSpPr>
          <p:spPr>
            <a:xfrm>
              <a:off x="3712775" y="1028075"/>
              <a:ext cx="25" cy="1425"/>
            </a:xfrm>
            <a:custGeom>
              <a:avLst/>
              <a:gdLst/>
              <a:ahLst/>
              <a:cxnLst/>
              <a:rect l="l" t="t" r="r" b="b"/>
              <a:pathLst>
                <a:path w="1" h="57" extrusionOk="0">
                  <a:moveTo>
                    <a:pt x="1" y="0"/>
                  </a:moveTo>
                  <a:lnTo>
                    <a:pt x="1" y="56"/>
                  </a:lnTo>
                  <a:lnTo>
                    <a:pt x="1" y="56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7" name="Google Shape;1997;p27"/>
            <p:cNvSpPr/>
            <p:nvPr/>
          </p:nvSpPr>
          <p:spPr>
            <a:xfrm>
              <a:off x="3711050" y="1029475"/>
              <a:ext cx="1750" cy="450"/>
            </a:xfrm>
            <a:custGeom>
              <a:avLst/>
              <a:gdLst/>
              <a:ahLst/>
              <a:cxnLst/>
              <a:rect l="l" t="t" r="r" b="b"/>
              <a:pathLst>
                <a:path w="70" h="18" extrusionOk="0">
                  <a:moveTo>
                    <a:pt x="0" y="0"/>
                  </a:moveTo>
                  <a:lnTo>
                    <a:pt x="0" y="18"/>
                  </a:lnTo>
                  <a:lnTo>
                    <a:pt x="70" y="18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8" name="Google Shape;1998;p27"/>
            <p:cNvSpPr/>
            <p:nvPr/>
          </p:nvSpPr>
          <p:spPr>
            <a:xfrm>
              <a:off x="3711050" y="1028075"/>
              <a:ext cx="1750" cy="1425"/>
            </a:xfrm>
            <a:custGeom>
              <a:avLst/>
              <a:gdLst/>
              <a:ahLst/>
              <a:cxnLst/>
              <a:rect l="l" t="t" r="r" b="b"/>
              <a:pathLst>
                <a:path w="70" h="57" extrusionOk="0">
                  <a:moveTo>
                    <a:pt x="0" y="0"/>
                  </a:moveTo>
                  <a:lnTo>
                    <a:pt x="0" y="56"/>
                  </a:lnTo>
                  <a:lnTo>
                    <a:pt x="70" y="56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9" name="Google Shape;1999;p27"/>
            <p:cNvSpPr/>
            <p:nvPr/>
          </p:nvSpPr>
          <p:spPr>
            <a:xfrm>
              <a:off x="3685300" y="1053800"/>
              <a:ext cx="25325" cy="1325"/>
            </a:xfrm>
            <a:custGeom>
              <a:avLst/>
              <a:gdLst/>
              <a:ahLst/>
              <a:cxnLst/>
              <a:rect l="l" t="t" r="r" b="b"/>
              <a:pathLst>
                <a:path w="1013" h="53" extrusionOk="0">
                  <a:moveTo>
                    <a:pt x="1" y="1"/>
                  </a:moveTo>
                  <a:lnTo>
                    <a:pt x="1" y="53"/>
                  </a:lnTo>
                  <a:lnTo>
                    <a:pt x="1013" y="53"/>
                  </a:lnTo>
                  <a:lnTo>
                    <a:pt x="1013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0" name="Google Shape;2000;p27"/>
            <p:cNvSpPr/>
            <p:nvPr/>
          </p:nvSpPr>
          <p:spPr>
            <a:xfrm>
              <a:off x="3683575" y="1056950"/>
              <a:ext cx="1750" cy="23925"/>
            </a:xfrm>
            <a:custGeom>
              <a:avLst/>
              <a:gdLst/>
              <a:ahLst/>
              <a:cxnLst/>
              <a:rect l="l" t="t" r="r" b="b"/>
              <a:pathLst>
                <a:path w="70" h="957" extrusionOk="0">
                  <a:moveTo>
                    <a:pt x="0" y="0"/>
                  </a:moveTo>
                  <a:lnTo>
                    <a:pt x="0" y="956"/>
                  </a:lnTo>
                  <a:lnTo>
                    <a:pt x="70" y="956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1" name="Google Shape;2001;p27"/>
            <p:cNvSpPr/>
            <p:nvPr/>
          </p:nvSpPr>
          <p:spPr>
            <a:xfrm>
              <a:off x="3683575" y="1053800"/>
              <a:ext cx="27050" cy="3175"/>
            </a:xfrm>
            <a:custGeom>
              <a:avLst/>
              <a:gdLst/>
              <a:ahLst/>
              <a:cxnLst/>
              <a:rect l="l" t="t" r="r" b="b"/>
              <a:pathLst>
                <a:path w="1082" h="127" extrusionOk="0">
                  <a:moveTo>
                    <a:pt x="0" y="1"/>
                  </a:moveTo>
                  <a:lnTo>
                    <a:pt x="0" y="126"/>
                  </a:lnTo>
                  <a:lnTo>
                    <a:pt x="70" y="126"/>
                  </a:lnTo>
                  <a:lnTo>
                    <a:pt x="70" y="70"/>
                  </a:lnTo>
                  <a:lnTo>
                    <a:pt x="1082" y="70"/>
                  </a:lnTo>
                  <a:lnTo>
                    <a:pt x="1082" y="53"/>
                  </a:lnTo>
                  <a:lnTo>
                    <a:pt x="70" y="53"/>
                  </a:lnTo>
                  <a:lnTo>
                    <a:pt x="7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2" name="Google Shape;2002;p27"/>
            <p:cNvSpPr/>
            <p:nvPr/>
          </p:nvSpPr>
          <p:spPr>
            <a:xfrm>
              <a:off x="3712775" y="1053800"/>
              <a:ext cx="25325" cy="1325"/>
            </a:xfrm>
            <a:custGeom>
              <a:avLst/>
              <a:gdLst/>
              <a:ahLst/>
              <a:cxnLst/>
              <a:rect l="l" t="t" r="r" b="b"/>
              <a:pathLst>
                <a:path w="1013" h="53" extrusionOk="0">
                  <a:moveTo>
                    <a:pt x="1" y="1"/>
                  </a:moveTo>
                  <a:lnTo>
                    <a:pt x="1" y="53"/>
                  </a:lnTo>
                  <a:lnTo>
                    <a:pt x="1013" y="53"/>
                  </a:lnTo>
                  <a:lnTo>
                    <a:pt x="1013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3" name="Google Shape;2003;p27"/>
            <p:cNvSpPr/>
            <p:nvPr/>
          </p:nvSpPr>
          <p:spPr>
            <a:xfrm>
              <a:off x="3738075" y="1056950"/>
              <a:ext cx="1775" cy="23925"/>
            </a:xfrm>
            <a:custGeom>
              <a:avLst/>
              <a:gdLst/>
              <a:ahLst/>
              <a:cxnLst/>
              <a:rect l="l" t="t" r="r" b="b"/>
              <a:pathLst>
                <a:path w="71" h="957" extrusionOk="0">
                  <a:moveTo>
                    <a:pt x="1" y="0"/>
                  </a:moveTo>
                  <a:lnTo>
                    <a:pt x="1" y="956"/>
                  </a:lnTo>
                  <a:lnTo>
                    <a:pt x="70" y="956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4" name="Google Shape;2004;p27"/>
            <p:cNvSpPr/>
            <p:nvPr/>
          </p:nvSpPr>
          <p:spPr>
            <a:xfrm>
              <a:off x="3712775" y="1053800"/>
              <a:ext cx="27075" cy="3175"/>
            </a:xfrm>
            <a:custGeom>
              <a:avLst/>
              <a:gdLst/>
              <a:ahLst/>
              <a:cxnLst/>
              <a:rect l="l" t="t" r="r" b="b"/>
              <a:pathLst>
                <a:path w="1083" h="127" extrusionOk="0">
                  <a:moveTo>
                    <a:pt x="1013" y="1"/>
                  </a:moveTo>
                  <a:lnTo>
                    <a:pt x="1013" y="53"/>
                  </a:lnTo>
                  <a:lnTo>
                    <a:pt x="1" y="53"/>
                  </a:lnTo>
                  <a:lnTo>
                    <a:pt x="1" y="70"/>
                  </a:lnTo>
                  <a:lnTo>
                    <a:pt x="1013" y="70"/>
                  </a:lnTo>
                  <a:lnTo>
                    <a:pt x="1013" y="126"/>
                  </a:lnTo>
                  <a:lnTo>
                    <a:pt x="1082" y="126"/>
                  </a:lnTo>
                  <a:lnTo>
                    <a:pt x="108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5" name="Google Shape;2005;p27"/>
            <p:cNvSpPr/>
            <p:nvPr/>
          </p:nvSpPr>
          <p:spPr>
            <a:xfrm>
              <a:off x="3712775" y="1053800"/>
              <a:ext cx="25" cy="1750"/>
            </a:xfrm>
            <a:custGeom>
              <a:avLst/>
              <a:gdLst/>
              <a:ahLst/>
              <a:cxnLst/>
              <a:rect l="l" t="t" r="r" b="b"/>
              <a:pathLst>
                <a:path w="1" h="70" extrusionOk="0">
                  <a:moveTo>
                    <a:pt x="1" y="18"/>
                  </a:moveTo>
                  <a:lnTo>
                    <a:pt x="1" y="35"/>
                  </a:lnTo>
                  <a:lnTo>
                    <a:pt x="1" y="70"/>
                  </a:lnTo>
                  <a:lnTo>
                    <a:pt x="1" y="70"/>
                  </a:lnTo>
                  <a:lnTo>
                    <a:pt x="1" y="53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6" name="Google Shape;2006;p27"/>
            <p:cNvSpPr/>
            <p:nvPr/>
          </p:nvSpPr>
          <p:spPr>
            <a:xfrm>
              <a:off x="3712775" y="1053800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7" name="Google Shape;2007;p27"/>
            <p:cNvSpPr/>
            <p:nvPr/>
          </p:nvSpPr>
          <p:spPr>
            <a:xfrm>
              <a:off x="3710600" y="1056950"/>
              <a:ext cx="475" cy="23925"/>
            </a:xfrm>
            <a:custGeom>
              <a:avLst/>
              <a:gdLst/>
              <a:ahLst/>
              <a:cxnLst/>
              <a:rect l="l" t="t" r="r" b="b"/>
              <a:pathLst>
                <a:path w="19" h="957" extrusionOk="0">
                  <a:moveTo>
                    <a:pt x="1" y="0"/>
                  </a:moveTo>
                  <a:lnTo>
                    <a:pt x="1" y="956"/>
                  </a:lnTo>
                  <a:lnTo>
                    <a:pt x="18" y="956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8" name="Google Shape;2008;p27"/>
            <p:cNvSpPr/>
            <p:nvPr/>
          </p:nvSpPr>
          <p:spPr>
            <a:xfrm>
              <a:off x="3710600" y="1053800"/>
              <a:ext cx="25" cy="1325"/>
            </a:xfrm>
            <a:custGeom>
              <a:avLst/>
              <a:gdLst/>
              <a:ahLst/>
              <a:cxnLst/>
              <a:rect l="l" t="t" r="r" b="b"/>
              <a:pathLst>
                <a:path w="1" h="53" extrusionOk="0">
                  <a:moveTo>
                    <a:pt x="1" y="53"/>
                  </a:moveTo>
                  <a:lnTo>
                    <a:pt x="1" y="53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9" name="Google Shape;2009;p27"/>
            <p:cNvSpPr/>
            <p:nvPr/>
          </p:nvSpPr>
          <p:spPr>
            <a:xfrm>
              <a:off x="3710600" y="1055100"/>
              <a:ext cx="25" cy="1875"/>
            </a:xfrm>
            <a:custGeom>
              <a:avLst/>
              <a:gdLst/>
              <a:ahLst/>
              <a:cxnLst/>
              <a:rect l="l" t="t" r="r" b="b"/>
              <a:pathLst>
                <a:path w="1" h="75" extrusionOk="0">
                  <a:moveTo>
                    <a:pt x="1" y="18"/>
                  </a:moveTo>
                  <a:lnTo>
                    <a:pt x="1" y="74"/>
                  </a:lnTo>
                  <a:lnTo>
                    <a:pt x="1" y="7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0" name="Google Shape;2010;p27"/>
            <p:cNvSpPr/>
            <p:nvPr/>
          </p:nvSpPr>
          <p:spPr>
            <a:xfrm>
              <a:off x="3710600" y="1053800"/>
              <a:ext cx="475" cy="3175"/>
            </a:xfrm>
            <a:custGeom>
              <a:avLst/>
              <a:gdLst/>
              <a:ahLst/>
              <a:cxnLst/>
              <a:rect l="l" t="t" r="r" b="b"/>
              <a:pathLst>
                <a:path w="19" h="127" extrusionOk="0">
                  <a:moveTo>
                    <a:pt x="1" y="1"/>
                  </a:moveTo>
                  <a:lnTo>
                    <a:pt x="1" y="53"/>
                  </a:lnTo>
                  <a:lnTo>
                    <a:pt x="1" y="126"/>
                  </a:lnTo>
                  <a:lnTo>
                    <a:pt x="18" y="126"/>
                  </a:lnTo>
                  <a:lnTo>
                    <a:pt x="1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1" name="Google Shape;2011;p27"/>
            <p:cNvSpPr/>
            <p:nvPr/>
          </p:nvSpPr>
          <p:spPr>
            <a:xfrm>
              <a:off x="3712775" y="1056950"/>
              <a:ext cx="25" cy="23925"/>
            </a:xfrm>
            <a:custGeom>
              <a:avLst/>
              <a:gdLst/>
              <a:ahLst/>
              <a:cxnLst/>
              <a:rect l="l" t="t" r="r" b="b"/>
              <a:pathLst>
                <a:path w="1" h="957" extrusionOk="0">
                  <a:moveTo>
                    <a:pt x="1" y="0"/>
                  </a:moveTo>
                  <a:lnTo>
                    <a:pt x="1" y="956"/>
                  </a:lnTo>
                  <a:lnTo>
                    <a:pt x="1" y="956"/>
                  </a:lnTo>
                  <a:lnTo>
                    <a:pt x="1" y="956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2" name="Google Shape;2012;p27"/>
            <p:cNvSpPr/>
            <p:nvPr/>
          </p:nvSpPr>
          <p:spPr>
            <a:xfrm>
              <a:off x="3712775" y="1054250"/>
              <a:ext cx="25" cy="2725"/>
            </a:xfrm>
            <a:custGeom>
              <a:avLst/>
              <a:gdLst/>
              <a:ahLst/>
              <a:cxnLst/>
              <a:rect l="l" t="t" r="r" b="b"/>
              <a:pathLst>
                <a:path w="1" h="109" extrusionOk="0">
                  <a:moveTo>
                    <a:pt x="1" y="108"/>
                  </a:moveTo>
                  <a:lnTo>
                    <a:pt x="1" y="108"/>
                  </a:lnTo>
                  <a:lnTo>
                    <a:pt x="1" y="52"/>
                  </a:lnTo>
                  <a:lnTo>
                    <a:pt x="1" y="1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3" name="Google Shape;2013;p27"/>
            <p:cNvSpPr/>
            <p:nvPr/>
          </p:nvSpPr>
          <p:spPr>
            <a:xfrm>
              <a:off x="3712775" y="1053800"/>
              <a:ext cx="25" cy="3175"/>
            </a:xfrm>
            <a:custGeom>
              <a:avLst/>
              <a:gdLst/>
              <a:ahLst/>
              <a:cxnLst/>
              <a:rect l="l" t="t" r="r" b="b"/>
              <a:pathLst>
                <a:path w="1" h="127" extrusionOk="0">
                  <a:moveTo>
                    <a:pt x="1" y="126"/>
                  </a:moveTo>
                  <a:lnTo>
                    <a:pt x="1" y="126"/>
                  </a:lnTo>
                  <a:lnTo>
                    <a:pt x="1" y="18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4" name="Google Shape;2014;p27"/>
            <p:cNvSpPr/>
            <p:nvPr/>
          </p:nvSpPr>
          <p:spPr>
            <a:xfrm>
              <a:off x="3711050" y="1056950"/>
              <a:ext cx="1750" cy="23925"/>
            </a:xfrm>
            <a:custGeom>
              <a:avLst/>
              <a:gdLst/>
              <a:ahLst/>
              <a:cxnLst/>
              <a:rect l="l" t="t" r="r" b="b"/>
              <a:pathLst>
                <a:path w="70" h="957" extrusionOk="0">
                  <a:moveTo>
                    <a:pt x="0" y="0"/>
                  </a:moveTo>
                  <a:lnTo>
                    <a:pt x="0" y="956"/>
                  </a:lnTo>
                  <a:lnTo>
                    <a:pt x="70" y="956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5" name="Google Shape;2015;p27"/>
            <p:cNvSpPr/>
            <p:nvPr/>
          </p:nvSpPr>
          <p:spPr>
            <a:xfrm>
              <a:off x="3711050" y="1053800"/>
              <a:ext cx="25" cy="3175"/>
            </a:xfrm>
            <a:custGeom>
              <a:avLst/>
              <a:gdLst/>
              <a:ahLst/>
              <a:cxnLst/>
              <a:rect l="l" t="t" r="r" b="b"/>
              <a:pathLst>
                <a:path w="1" h="127" extrusionOk="0">
                  <a:moveTo>
                    <a:pt x="0" y="126"/>
                  </a:moveTo>
                  <a:lnTo>
                    <a:pt x="0" y="126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6" name="Google Shape;2016;p27"/>
            <p:cNvSpPr/>
            <p:nvPr/>
          </p:nvSpPr>
          <p:spPr>
            <a:xfrm>
              <a:off x="3711050" y="1053800"/>
              <a:ext cx="1750" cy="3175"/>
            </a:xfrm>
            <a:custGeom>
              <a:avLst/>
              <a:gdLst/>
              <a:ahLst/>
              <a:cxnLst/>
              <a:rect l="l" t="t" r="r" b="b"/>
              <a:pathLst>
                <a:path w="70" h="127" extrusionOk="0">
                  <a:moveTo>
                    <a:pt x="0" y="1"/>
                  </a:moveTo>
                  <a:lnTo>
                    <a:pt x="0" y="126"/>
                  </a:lnTo>
                  <a:lnTo>
                    <a:pt x="70" y="126"/>
                  </a:lnTo>
                  <a:lnTo>
                    <a:pt x="7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7" name="Google Shape;2017;p27"/>
            <p:cNvSpPr/>
            <p:nvPr/>
          </p:nvSpPr>
          <p:spPr>
            <a:xfrm>
              <a:off x="3683575" y="1108325"/>
              <a:ext cx="27050" cy="1750"/>
            </a:xfrm>
            <a:custGeom>
              <a:avLst/>
              <a:gdLst/>
              <a:ahLst/>
              <a:cxnLst/>
              <a:rect l="l" t="t" r="r" b="b"/>
              <a:pathLst>
                <a:path w="1082" h="70" extrusionOk="0">
                  <a:moveTo>
                    <a:pt x="0" y="0"/>
                  </a:moveTo>
                  <a:lnTo>
                    <a:pt x="0" y="69"/>
                  </a:lnTo>
                  <a:lnTo>
                    <a:pt x="1082" y="69"/>
                  </a:lnTo>
                  <a:lnTo>
                    <a:pt x="1082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8" name="Google Shape;2018;p27"/>
            <p:cNvSpPr/>
            <p:nvPr/>
          </p:nvSpPr>
          <p:spPr>
            <a:xfrm>
              <a:off x="3683575" y="1083000"/>
              <a:ext cx="1750" cy="25350"/>
            </a:xfrm>
            <a:custGeom>
              <a:avLst/>
              <a:gdLst/>
              <a:ahLst/>
              <a:cxnLst/>
              <a:rect l="l" t="t" r="r" b="b"/>
              <a:pathLst>
                <a:path w="70" h="1014" extrusionOk="0">
                  <a:moveTo>
                    <a:pt x="0" y="1"/>
                  </a:moveTo>
                  <a:lnTo>
                    <a:pt x="0" y="1013"/>
                  </a:lnTo>
                  <a:lnTo>
                    <a:pt x="70" y="1013"/>
                  </a:lnTo>
                  <a:lnTo>
                    <a:pt x="7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9" name="Google Shape;2019;p27"/>
            <p:cNvSpPr/>
            <p:nvPr/>
          </p:nvSpPr>
          <p:spPr>
            <a:xfrm>
              <a:off x="3683575" y="1080850"/>
              <a:ext cx="27050" cy="450"/>
            </a:xfrm>
            <a:custGeom>
              <a:avLst/>
              <a:gdLst/>
              <a:ahLst/>
              <a:cxnLst/>
              <a:rect l="l" t="t" r="r" b="b"/>
              <a:pathLst>
                <a:path w="1082" h="18" extrusionOk="0">
                  <a:moveTo>
                    <a:pt x="0" y="0"/>
                  </a:moveTo>
                  <a:lnTo>
                    <a:pt x="0" y="18"/>
                  </a:lnTo>
                  <a:lnTo>
                    <a:pt x="1082" y="18"/>
                  </a:lnTo>
                  <a:lnTo>
                    <a:pt x="1082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0" name="Google Shape;2020;p27"/>
            <p:cNvSpPr/>
            <p:nvPr/>
          </p:nvSpPr>
          <p:spPr>
            <a:xfrm>
              <a:off x="3685300" y="1082575"/>
              <a:ext cx="25325" cy="450"/>
            </a:xfrm>
            <a:custGeom>
              <a:avLst/>
              <a:gdLst/>
              <a:ahLst/>
              <a:cxnLst/>
              <a:rect l="l" t="t" r="r" b="b"/>
              <a:pathLst>
                <a:path w="1013" h="18" extrusionOk="0">
                  <a:moveTo>
                    <a:pt x="1" y="1"/>
                  </a:moveTo>
                  <a:lnTo>
                    <a:pt x="1" y="18"/>
                  </a:lnTo>
                  <a:lnTo>
                    <a:pt x="1013" y="18"/>
                  </a:lnTo>
                  <a:lnTo>
                    <a:pt x="1013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1" name="Google Shape;2021;p27"/>
            <p:cNvSpPr/>
            <p:nvPr/>
          </p:nvSpPr>
          <p:spPr>
            <a:xfrm>
              <a:off x="3683575" y="1081275"/>
              <a:ext cx="27050" cy="1750"/>
            </a:xfrm>
            <a:custGeom>
              <a:avLst/>
              <a:gdLst/>
              <a:ahLst/>
              <a:cxnLst/>
              <a:rect l="l" t="t" r="r" b="b"/>
              <a:pathLst>
                <a:path w="1082" h="70" extrusionOk="0">
                  <a:moveTo>
                    <a:pt x="0" y="1"/>
                  </a:moveTo>
                  <a:lnTo>
                    <a:pt x="0" y="70"/>
                  </a:lnTo>
                  <a:lnTo>
                    <a:pt x="70" y="70"/>
                  </a:lnTo>
                  <a:lnTo>
                    <a:pt x="70" y="53"/>
                  </a:lnTo>
                  <a:lnTo>
                    <a:pt x="1082" y="53"/>
                  </a:lnTo>
                  <a:lnTo>
                    <a:pt x="1082" y="18"/>
                  </a:lnTo>
                  <a:lnTo>
                    <a:pt x="108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2" name="Google Shape;2022;p27"/>
            <p:cNvSpPr/>
            <p:nvPr/>
          </p:nvSpPr>
          <p:spPr>
            <a:xfrm>
              <a:off x="3710600" y="1080850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18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3" name="Google Shape;2023;p27"/>
            <p:cNvSpPr/>
            <p:nvPr/>
          </p:nvSpPr>
          <p:spPr>
            <a:xfrm>
              <a:off x="3710600" y="1082575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18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4" name="Google Shape;2024;p27"/>
            <p:cNvSpPr/>
            <p:nvPr/>
          </p:nvSpPr>
          <p:spPr>
            <a:xfrm>
              <a:off x="3710600" y="1081700"/>
              <a:ext cx="25" cy="900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36"/>
                  </a:moveTo>
                  <a:lnTo>
                    <a:pt x="1" y="36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5" name="Google Shape;2025;p27"/>
            <p:cNvSpPr/>
            <p:nvPr/>
          </p:nvSpPr>
          <p:spPr>
            <a:xfrm>
              <a:off x="3710600" y="1081275"/>
              <a:ext cx="25" cy="1325"/>
            </a:xfrm>
            <a:custGeom>
              <a:avLst/>
              <a:gdLst/>
              <a:ahLst/>
              <a:cxnLst/>
              <a:rect l="l" t="t" r="r" b="b"/>
              <a:pathLst>
                <a:path w="1" h="53" extrusionOk="0">
                  <a:moveTo>
                    <a:pt x="1" y="18"/>
                  </a:moveTo>
                  <a:lnTo>
                    <a:pt x="1" y="53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6" name="Google Shape;2026;p27"/>
            <p:cNvSpPr/>
            <p:nvPr/>
          </p:nvSpPr>
          <p:spPr>
            <a:xfrm>
              <a:off x="3712775" y="1108325"/>
              <a:ext cx="27600" cy="1750"/>
            </a:xfrm>
            <a:custGeom>
              <a:avLst/>
              <a:gdLst/>
              <a:ahLst/>
              <a:cxnLst/>
              <a:rect l="l" t="t" r="r" b="b"/>
              <a:pathLst>
                <a:path w="1104" h="70" extrusionOk="0">
                  <a:moveTo>
                    <a:pt x="1" y="0"/>
                  </a:moveTo>
                  <a:lnTo>
                    <a:pt x="1" y="69"/>
                  </a:lnTo>
                  <a:lnTo>
                    <a:pt x="1104" y="69"/>
                  </a:lnTo>
                  <a:lnTo>
                    <a:pt x="1104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7" name="Google Shape;2027;p27"/>
            <p:cNvSpPr/>
            <p:nvPr/>
          </p:nvSpPr>
          <p:spPr>
            <a:xfrm>
              <a:off x="3738075" y="1080850"/>
              <a:ext cx="2300" cy="27500"/>
            </a:xfrm>
            <a:custGeom>
              <a:avLst/>
              <a:gdLst/>
              <a:ahLst/>
              <a:cxnLst/>
              <a:rect l="l" t="t" r="r" b="b"/>
              <a:pathLst>
                <a:path w="92" h="1100" extrusionOk="0">
                  <a:moveTo>
                    <a:pt x="70" y="0"/>
                  </a:moveTo>
                  <a:lnTo>
                    <a:pt x="70" y="70"/>
                  </a:lnTo>
                  <a:lnTo>
                    <a:pt x="70" y="87"/>
                  </a:lnTo>
                  <a:lnTo>
                    <a:pt x="1" y="87"/>
                  </a:lnTo>
                  <a:lnTo>
                    <a:pt x="1" y="1099"/>
                  </a:lnTo>
                  <a:lnTo>
                    <a:pt x="92" y="1099"/>
                  </a:lnTo>
                  <a:lnTo>
                    <a:pt x="92" y="35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8" name="Google Shape;2028;p27"/>
            <p:cNvSpPr/>
            <p:nvPr/>
          </p:nvSpPr>
          <p:spPr>
            <a:xfrm>
              <a:off x="3712775" y="1080850"/>
              <a:ext cx="25325" cy="450"/>
            </a:xfrm>
            <a:custGeom>
              <a:avLst/>
              <a:gdLst/>
              <a:ahLst/>
              <a:cxnLst/>
              <a:rect l="l" t="t" r="r" b="b"/>
              <a:pathLst>
                <a:path w="1013" h="18" extrusionOk="0">
                  <a:moveTo>
                    <a:pt x="1" y="0"/>
                  </a:moveTo>
                  <a:lnTo>
                    <a:pt x="1" y="18"/>
                  </a:lnTo>
                  <a:lnTo>
                    <a:pt x="1013" y="18"/>
                  </a:lnTo>
                  <a:lnTo>
                    <a:pt x="1013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9" name="Google Shape;2029;p27"/>
            <p:cNvSpPr/>
            <p:nvPr/>
          </p:nvSpPr>
          <p:spPr>
            <a:xfrm>
              <a:off x="3712775" y="1082575"/>
              <a:ext cx="27075" cy="450"/>
            </a:xfrm>
            <a:custGeom>
              <a:avLst/>
              <a:gdLst/>
              <a:ahLst/>
              <a:cxnLst/>
              <a:rect l="l" t="t" r="r" b="b"/>
              <a:pathLst>
                <a:path w="1083" h="18" extrusionOk="0">
                  <a:moveTo>
                    <a:pt x="1" y="1"/>
                  </a:moveTo>
                  <a:lnTo>
                    <a:pt x="1" y="18"/>
                  </a:lnTo>
                  <a:lnTo>
                    <a:pt x="1082" y="18"/>
                  </a:lnTo>
                  <a:lnTo>
                    <a:pt x="108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0" name="Google Shape;2030;p27"/>
            <p:cNvSpPr/>
            <p:nvPr/>
          </p:nvSpPr>
          <p:spPr>
            <a:xfrm>
              <a:off x="3712775" y="1080850"/>
              <a:ext cx="27075" cy="1750"/>
            </a:xfrm>
            <a:custGeom>
              <a:avLst/>
              <a:gdLst/>
              <a:ahLst/>
              <a:cxnLst/>
              <a:rect l="l" t="t" r="r" b="b"/>
              <a:pathLst>
                <a:path w="1083" h="70" extrusionOk="0">
                  <a:moveTo>
                    <a:pt x="1013" y="0"/>
                  </a:moveTo>
                  <a:lnTo>
                    <a:pt x="1013" y="18"/>
                  </a:lnTo>
                  <a:lnTo>
                    <a:pt x="1" y="18"/>
                  </a:lnTo>
                  <a:lnTo>
                    <a:pt x="1" y="35"/>
                  </a:lnTo>
                  <a:lnTo>
                    <a:pt x="1" y="52"/>
                  </a:lnTo>
                  <a:lnTo>
                    <a:pt x="1" y="70"/>
                  </a:lnTo>
                  <a:lnTo>
                    <a:pt x="1082" y="70"/>
                  </a:lnTo>
                  <a:lnTo>
                    <a:pt x="1082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1" name="Google Shape;2031;p27"/>
            <p:cNvSpPr/>
            <p:nvPr/>
          </p:nvSpPr>
          <p:spPr>
            <a:xfrm>
              <a:off x="3710600" y="1108325"/>
              <a:ext cx="475" cy="1750"/>
            </a:xfrm>
            <a:custGeom>
              <a:avLst/>
              <a:gdLst/>
              <a:ahLst/>
              <a:cxnLst/>
              <a:rect l="l" t="t" r="r" b="b"/>
              <a:pathLst>
                <a:path w="19" h="70" extrusionOk="0">
                  <a:moveTo>
                    <a:pt x="1" y="0"/>
                  </a:moveTo>
                  <a:lnTo>
                    <a:pt x="1" y="69"/>
                  </a:lnTo>
                  <a:lnTo>
                    <a:pt x="18" y="69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2" name="Google Shape;2032;p27"/>
            <p:cNvSpPr/>
            <p:nvPr/>
          </p:nvSpPr>
          <p:spPr>
            <a:xfrm>
              <a:off x="3710600" y="1083000"/>
              <a:ext cx="475" cy="25350"/>
            </a:xfrm>
            <a:custGeom>
              <a:avLst/>
              <a:gdLst/>
              <a:ahLst/>
              <a:cxnLst/>
              <a:rect l="l" t="t" r="r" b="b"/>
              <a:pathLst>
                <a:path w="19" h="1014" extrusionOk="0">
                  <a:moveTo>
                    <a:pt x="1" y="1"/>
                  </a:moveTo>
                  <a:lnTo>
                    <a:pt x="1" y="1013"/>
                  </a:lnTo>
                  <a:lnTo>
                    <a:pt x="18" y="1013"/>
                  </a:lnTo>
                  <a:lnTo>
                    <a:pt x="1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3" name="Google Shape;2033;p27"/>
            <p:cNvSpPr/>
            <p:nvPr/>
          </p:nvSpPr>
          <p:spPr>
            <a:xfrm>
              <a:off x="3712775" y="1108325"/>
              <a:ext cx="25" cy="1750"/>
            </a:xfrm>
            <a:custGeom>
              <a:avLst/>
              <a:gdLst/>
              <a:ahLst/>
              <a:cxnLst/>
              <a:rect l="l" t="t" r="r" b="b"/>
              <a:pathLst>
                <a:path w="1" h="70" extrusionOk="0">
                  <a:moveTo>
                    <a:pt x="1" y="69"/>
                  </a:moveTo>
                  <a:lnTo>
                    <a:pt x="1" y="69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4" name="Google Shape;2034;p27"/>
            <p:cNvSpPr/>
            <p:nvPr/>
          </p:nvSpPr>
          <p:spPr>
            <a:xfrm>
              <a:off x="3712775" y="1083000"/>
              <a:ext cx="25" cy="25350"/>
            </a:xfrm>
            <a:custGeom>
              <a:avLst/>
              <a:gdLst/>
              <a:ahLst/>
              <a:cxnLst/>
              <a:rect l="l" t="t" r="r" b="b"/>
              <a:pathLst>
                <a:path w="1" h="1014" extrusionOk="0">
                  <a:moveTo>
                    <a:pt x="1" y="1"/>
                  </a:moveTo>
                  <a:lnTo>
                    <a:pt x="1" y="1013"/>
                  </a:lnTo>
                  <a:lnTo>
                    <a:pt x="1" y="1013"/>
                  </a:lnTo>
                  <a:lnTo>
                    <a:pt x="1" y="1013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5" name="Google Shape;2035;p27"/>
            <p:cNvSpPr/>
            <p:nvPr/>
          </p:nvSpPr>
          <p:spPr>
            <a:xfrm>
              <a:off x="3711050" y="1108325"/>
              <a:ext cx="1750" cy="1750"/>
            </a:xfrm>
            <a:custGeom>
              <a:avLst/>
              <a:gdLst/>
              <a:ahLst/>
              <a:cxnLst/>
              <a:rect l="l" t="t" r="r" b="b"/>
              <a:pathLst>
                <a:path w="70" h="70" extrusionOk="0">
                  <a:moveTo>
                    <a:pt x="0" y="0"/>
                  </a:moveTo>
                  <a:lnTo>
                    <a:pt x="0" y="69"/>
                  </a:lnTo>
                  <a:lnTo>
                    <a:pt x="70" y="69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6" name="Google Shape;2036;p27"/>
            <p:cNvSpPr/>
            <p:nvPr/>
          </p:nvSpPr>
          <p:spPr>
            <a:xfrm>
              <a:off x="3711050" y="1083000"/>
              <a:ext cx="1750" cy="25350"/>
            </a:xfrm>
            <a:custGeom>
              <a:avLst/>
              <a:gdLst/>
              <a:ahLst/>
              <a:cxnLst/>
              <a:rect l="l" t="t" r="r" b="b"/>
              <a:pathLst>
                <a:path w="70" h="1014" extrusionOk="0">
                  <a:moveTo>
                    <a:pt x="0" y="1"/>
                  </a:moveTo>
                  <a:lnTo>
                    <a:pt x="0" y="1013"/>
                  </a:lnTo>
                  <a:lnTo>
                    <a:pt x="70" y="1013"/>
                  </a:lnTo>
                  <a:lnTo>
                    <a:pt x="7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7" name="Google Shape;2037;p27"/>
            <p:cNvSpPr/>
            <p:nvPr/>
          </p:nvSpPr>
          <p:spPr>
            <a:xfrm>
              <a:off x="3712775" y="1082575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8" name="Google Shape;2038;p27"/>
            <p:cNvSpPr/>
            <p:nvPr/>
          </p:nvSpPr>
          <p:spPr>
            <a:xfrm>
              <a:off x="3712775" y="1081700"/>
              <a:ext cx="25" cy="900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36"/>
                  </a:moveTo>
                  <a:lnTo>
                    <a:pt x="1" y="36"/>
                  </a:lnTo>
                  <a:lnTo>
                    <a:pt x="1" y="18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9" name="Google Shape;2039;p27"/>
            <p:cNvSpPr/>
            <p:nvPr/>
          </p:nvSpPr>
          <p:spPr>
            <a:xfrm>
              <a:off x="3712775" y="1080850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1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0" name="Google Shape;2040;p27"/>
            <p:cNvSpPr/>
            <p:nvPr/>
          </p:nvSpPr>
          <p:spPr>
            <a:xfrm>
              <a:off x="3712775" y="1080850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18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1" name="Google Shape;2041;p27"/>
            <p:cNvSpPr/>
            <p:nvPr/>
          </p:nvSpPr>
          <p:spPr>
            <a:xfrm>
              <a:off x="3712775" y="1081275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"/>
                  </a:moveTo>
                  <a:lnTo>
                    <a:pt x="1" y="18"/>
                  </a:lnTo>
                  <a:lnTo>
                    <a:pt x="1" y="18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2" name="Google Shape;2042;p27"/>
            <p:cNvSpPr/>
            <p:nvPr/>
          </p:nvSpPr>
          <p:spPr>
            <a:xfrm>
              <a:off x="3712775" y="1081275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"/>
                  </a:moveTo>
                  <a:lnTo>
                    <a:pt x="1" y="18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3" name="Google Shape;2043;p27"/>
            <p:cNvSpPr/>
            <p:nvPr/>
          </p:nvSpPr>
          <p:spPr>
            <a:xfrm>
              <a:off x="3712775" y="1082575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"/>
                  </a:moveTo>
                  <a:lnTo>
                    <a:pt x="1" y="1"/>
                  </a:lnTo>
                  <a:lnTo>
                    <a:pt x="1" y="18"/>
                  </a:lnTo>
                  <a:lnTo>
                    <a:pt x="1" y="18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4" name="Google Shape;2044;p27"/>
            <p:cNvSpPr/>
            <p:nvPr/>
          </p:nvSpPr>
          <p:spPr>
            <a:xfrm>
              <a:off x="3712775" y="1081700"/>
              <a:ext cx="25" cy="900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1"/>
                  </a:moveTo>
                  <a:lnTo>
                    <a:pt x="1" y="36"/>
                  </a:lnTo>
                  <a:lnTo>
                    <a:pt x="1" y="36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5" name="Google Shape;2045;p27"/>
            <p:cNvSpPr/>
            <p:nvPr/>
          </p:nvSpPr>
          <p:spPr>
            <a:xfrm>
              <a:off x="3712775" y="1081275"/>
              <a:ext cx="25" cy="1325"/>
            </a:xfrm>
            <a:custGeom>
              <a:avLst/>
              <a:gdLst/>
              <a:ahLst/>
              <a:cxnLst/>
              <a:rect l="l" t="t" r="r" b="b"/>
              <a:pathLst>
                <a:path w="1" h="53" extrusionOk="0">
                  <a:moveTo>
                    <a:pt x="1" y="53"/>
                  </a:moveTo>
                  <a:lnTo>
                    <a:pt x="1" y="53"/>
                  </a:lnTo>
                  <a:lnTo>
                    <a:pt x="1" y="18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6" name="Google Shape;2046;p27"/>
            <p:cNvSpPr/>
            <p:nvPr/>
          </p:nvSpPr>
          <p:spPr>
            <a:xfrm>
              <a:off x="3710600" y="1080850"/>
              <a:ext cx="475" cy="450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0"/>
                  </a:moveTo>
                  <a:lnTo>
                    <a:pt x="1" y="18"/>
                  </a:lnTo>
                  <a:lnTo>
                    <a:pt x="18" y="18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7" name="Google Shape;2047;p27"/>
            <p:cNvSpPr/>
            <p:nvPr/>
          </p:nvSpPr>
          <p:spPr>
            <a:xfrm>
              <a:off x="3710600" y="1082575"/>
              <a:ext cx="475" cy="450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"/>
                  </a:moveTo>
                  <a:lnTo>
                    <a:pt x="1" y="18"/>
                  </a:lnTo>
                  <a:lnTo>
                    <a:pt x="18" y="18"/>
                  </a:lnTo>
                  <a:lnTo>
                    <a:pt x="1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8" name="Google Shape;2048;p27"/>
            <p:cNvSpPr/>
            <p:nvPr/>
          </p:nvSpPr>
          <p:spPr>
            <a:xfrm>
              <a:off x="3710600" y="1081275"/>
              <a:ext cx="475" cy="1325"/>
            </a:xfrm>
            <a:custGeom>
              <a:avLst/>
              <a:gdLst/>
              <a:ahLst/>
              <a:cxnLst/>
              <a:rect l="l" t="t" r="r" b="b"/>
              <a:pathLst>
                <a:path w="19" h="53" extrusionOk="0">
                  <a:moveTo>
                    <a:pt x="1" y="1"/>
                  </a:moveTo>
                  <a:lnTo>
                    <a:pt x="1" y="53"/>
                  </a:lnTo>
                  <a:lnTo>
                    <a:pt x="18" y="53"/>
                  </a:lnTo>
                  <a:lnTo>
                    <a:pt x="18" y="18"/>
                  </a:lnTo>
                  <a:lnTo>
                    <a:pt x="1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9" name="Google Shape;2049;p27"/>
            <p:cNvSpPr/>
            <p:nvPr/>
          </p:nvSpPr>
          <p:spPr>
            <a:xfrm>
              <a:off x="3711050" y="1080850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1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0" name="Google Shape;2050;p27"/>
            <p:cNvSpPr/>
            <p:nvPr/>
          </p:nvSpPr>
          <p:spPr>
            <a:xfrm>
              <a:off x="3712775" y="1080850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1" name="Google Shape;2051;p27"/>
            <p:cNvSpPr/>
            <p:nvPr/>
          </p:nvSpPr>
          <p:spPr>
            <a:xfrm>
              <a:off x="3712775" y="1080850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1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2" name="Google Shape;2052;p27"/>
            <p:cNvSpPr/>
            <p:nvPr/>
          </p:nvSpPr>
          <p:spPr>
            <a:xfrm>
              <a:off x="3711050" y="1080850"/>
              <a:ext cx="1750" cy="450"/>
            </a:xfrm>
            <a:custGeom>
              <a:avLst/>
              <a:gdLst/>
              <a:ahLst/>
              <a:cxnLst/>
              <a:rect l="l" t="t" r="r" b="b"/>
              <a:pathLst>
                <a:path w="70" h="18" extrusionOk="0">
                  <a:moveTo>
                    <a:pt x="0" y="0"/>
                  </a:moveTo>
                  <a:lnTo>
                    <a:pt x="0" y="18"/>
                  </a:lnTo>
                  <a:lnTo>
                    <a:pt x="70" y="18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3" name="Google Shape;2053;p27"/>
            <p:cNvSpPr/>
            <p:nvPr/>
          </p:nvSpPr>
          <p:spPr>
            <a:xfrm>
              <a:off x="3712775" y="10812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4" name="Google Shape;2054;p27"/>
            <p:cNvSpPr/>
            <p:nvPr/>
          </p:nvSpPr>
          <p:spPr>
            <a:xfrm>
              <a:off x="3711050" y="1082575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18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5" name="Google Shape;2055;p27"/>
            <p:cNvSpPr/>
            <p:nvPr/>
          </p:nvSpPr>
          <p:spPr>
            <a:xfrm>
              <a:off x="3711050" y="1081700"/>
              <a:ext cx="25" cy="900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0" y="36"/>
                  </a:moveTo>
                  <a:lnTo>
                    <a:pt x="0" y="3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6" name="Google Shape;2056;p27"/>
            <p:cNvSpPr/>
            <p:nvPr/>
          </p:nvSpPr>
          <p:spPr>
            <a:xfrm>
              <a:off x="3711050" y="1081275"/>
              <a:ext cx="25" cy="1325"/>
            </a:xfrm>
            <a:custGeom>
              <a:avLst/>
              <a:gdLst/>
              <a:ahLst/>
              <a:cxnLst/>
              <a:rect l="l" t="t" r="r" b="b"/>
              <a:pathLst>
                <a:path w="1" h="53" extrusionOk="0">
                  <a:moveTo>
                    <a:pt x="0" y="18"/>
                  </a:moveTo>
                  <a:lnTo>
                    <a:pt x="0" y="53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7" name="Google Shape;2057;p27"/>
            <p:cNvSpPr/>
            <p:nvPr/>
          </p:nvSpPr>
          <p:spPr>
            <a:xfrm>
              <a:off x="3712775" y="1082575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"/>
                  </a:moveTo>
                  <a:lnTo>
                    <a:pt x="1" y="18"/>
                  </a:lnTo>
                  <a:lnTo>
                    <a:pt x="1" y="18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8" name="Google Shape;2058;p27"/>
            <p:cNvSpPr/>
            <p:nvPr/>
          </p:nvSpPr>
          <p:spPr>
            <a:xfrm>
              <a:off x="3712775" y="1081275"/>
              <a:ext cx="25" cy="1325"/>
            </a:xfrm>
            <a:custGeom>
              <a:avLst/>
              <a:gdLst/>
              <a:ahLst/>
              <a:cxnLst/>
              <a:rect l="l" t="t" r="r" b="b"/>
              <a:pathLst>
                <a:path w="1" h="53" extrusionOk="0">
                  <a:moveTo>
                    <a:pt x="1" y="1"/>
                  </a:moveTo>
                  <a:lnTo>
                    <a:pt x="1" y="1"/>
                  </a:lnTo>
                  <a:lnTo>
                    <a:pt x="1" y="18"/>
                  </a:lnTo>
                  <a:lnTo>
                    <a:pt x="1" y="35"/>
                  </a:lnTo>
                  <a:lnTo>
                    <a:pt x="1" y="53"/>
                  </a:lnTo>
                  <a:lnTo>
                    <a:pt x="1" y="53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9" name="Google Shape;2059;p27"/>
            <p:cNvSpPr/>
            <p:nvPr/>
          </p:nvSpPr>
          <p:spPr>
            <a:xfrm>
              <a:off x="3712775" y="1082575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0" name="Google Shape;2060;p27"/>
            <p:cNvSpPr/>
            <p:nvPr/>
          </p:nvSpPr>
          <p:spPr>
            <a:xfrm>
              <a:off x="3712775" y="1081700"/>
              <a:ext cx="25" cy="900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36"/>
                  </a:moveTo>
                  <a:lnTo>
                    <a:pt x="1" y="36"/>
                  </a:lnTo>
                  <a:lnTo>
                    <a:pt x="1" y="18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1" name="Google Shape;2061;p27"/>
            <p:cNvSpPr/>
            <p:nvPr/>
          </p:nvSpPr>
          <p:spPr>
            <a:xfrm>
              <a:off x="3712775" y="1081275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2" name="Google Shape;2062;p27"/>
            <p:cNvSpPr/>
            <p:nvPr/>
          </p:nvSpPr>
          <p:spPr>
            <a:xfrm>
              <a:off x="3712775" y="1082575"/>
              <a:ext cx="25" cy="450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"/>
                  </a:moveTo>
                  <a:lnTo>
                    <a:pt x="1" y="18"/>
                  </a:lnTo>
                  <a:lnTo>
                    <a:pt x="1" y="18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3" name="Google Shape;2063;p27"/>
            <p:cNvSpPr/>
            <p:nvPr/>
          </p:nvSpPr>
          <p:spPr>
            <a:xfrm>
              <a:off x="3712775" y="1081275"/>
              <a:ext cx="25" cy="1325"/>
            </a:xfrm>
            <a:custGeom>
              <a:avLst/>
              <a:gdLst/>
              <a:ahLst/>
              <a:cxnLst/>
              <a:rect l="l" t="t" r="r" b="b"/>
              <a:pathLst>
                <a:path w="1" h="53" extrusionOk="0">
                  <a:moveTo>
                    <a:pt x="1" y="1"/>
                  </a:moveTo>
                  <a:lnTo>
                    <a:pt x="1" y="53"/>
                  </a:lnTo>
                  <a:lnTo>
                    <a:pt x="1" y="53"/>
                  </a:lnTo>
                  <a:lnTo>
                    <a:pt x="1" y="18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4" name="Google Shape;2064;p27"/>
            <p:cNvSpPr/>
            <p:nvPr/>
          </p:nvSpPr>
          <p:spPr>
            <a:xfrm>
              <a:off x="3711050" y="1082575"/>
              <a:ext cx="1750" cy="450"/>
            </a:xfrm>
            <a:custGeom>
              <a:avLst/>
              <a:gdLst/>
              <a:ahLst/>
              <a:cxnLst/>
              <a:rect l="l" t="t" r="r" b="b"/>
              <a:pathLst>
                <a:path w="70" h="18" extrusionOk="0">
                  <a:moveTo>
                    <a:pt x="0" y="1"/>
                  </a:moveTo>
                  <a:lnTo>
                    <a:pt x="0" y="18"/>
                  </a:lnTo>
                  <a:lnTo>
                    <a:pt x="70" y="18"/>
                  </a:lnTo>
                  <a:lnTo>
                    <a:pt x="7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5" name="Google Shape;2065;p27"/>
            <p:cNvSpPr/>
            <p:nvPr/>
          </p:nvSpPr>
          <p:spPr>
            <a:xfrm>
              <a:off x="3711050" y="1081275"/>
              <a:ext cx="1750" cy="1325"/>
            </a:xfrm>
            <a:custGeom>
              <a:avLst/>
              <a:gdLst/>
              <a:ahLst/>
              <a:cxnLst/>
              <a:rect l="l" t="t" r="r" b="b"/>
              <a:pathLst>
                <a:path w="70" h="53" extrusionOk="0">
                  <a:moveTo>
                    <a:pt x="0" y="1"/>
                  </a:moveTo>
                  <a:lnTo>
                    <a:pt x="0" y="53"/>
                  </a:lnTo>
                  <a:lnTo>
                    <a:pt x="70" y="53"/>
                  </a:lnTo>
                  <a:lnTo>
                    <a:pt x="7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6" name="Google Shape;2066;p27"/>
            <p:cNvSpPr/>
            <p:nvPr/>
          </p:nvSpPr>
          <p:spPr>
            <a:xfrm>
              <a:off x="3681725" y="1024925"/>
              <a:ext cx="59950" cy="85700"/>
            </a:xfrm>
            <a:custGeom>
              <a:avLst/>
              <a:gdLst/>
              <a:ahLst/>
              <a:cxnLst/>
              <a:rect l="l" t="t" r="r" b="b"/>
              <a:pathLst>
                <a:path w="2398" h="3428" extrusionOk="0">
                  <a:moveTo>
                    <a:pt x="1208" y="109"/>
                  </a:moveTo>
                  <a:cubicBezTo>
                    <a:pt x="1805" y="109"/>
                    <a:pt x="2290" y="593"/>
                    <a:pt x="2290" y="1208"/>
                  </a:cubicBezTo>
                  <a:lnTo>
                    <a:pt x="2290" y="3336"/>
                  </a:lnTo>
                  <a:lnTo>
                    <a:pt x="109" y="3336"/>
                  </a:lnTo>
                  <a:lnTo>
                    <a:pt x="109" y="1208"/>
                  </a:lnTo>
                  <a:cubicBezTo>
                    <a:pt x="109" y="593"/>
                    <a:pt x="594" y="109"/>
                    <a:pt x="1208" y="109"/>
                  </a:cubicBezTo>
                  <a:close/>
                  <a:moveTo>
                    <a:pt x="1208" y="1"/>
                  </a:moveTo>
                  <a:cubicBezTo>
                    <a:pt x="542" y="1"/>
                    <a:pt x="1" y="541"/>
                    <a:pt x="1" y="1208"/>
                  </a:cubicBezTo>
                  <a:lnTo>
                    <a:pt x="1" y="3427"/>
                  </a:lnTo>
                  <a:lnTo>
                    <a:pt x="2398" y="3427"/>
                  </a:lnTo>
                  <a:lnTo>
                    <a:pt x="2398" y="1208"/>
                  </a:lnTo>
                  <a:cubicBezTo>
                    <a:pt x="2398" y="541"/>
                    <a:pt x="1857" y="1"/>
                    <a:pt x="1208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7" name="Google Shape;2067;p27"/>
            <p:cNvSpPr/>
            <p:nvPr/>
          </p:nvSpPr>
          <p:spPr>
            <a:xfrm>
              <a:off x="3582125" y="860850"/>
              <a:ext cx="259175" cy="109600"/>
            </a:xfrm>
            <a:custGeom>
              <a:avLst/>
              <a:gdLst/>
              <a:ahLst/>
              <a:cxnLst/>
              <a:rect l="l" t="t" r="r" b="b"/>
              <a:pathLst>
                <a:path w="10367" h="4384" extrusionOk="0">
                  <a:moveTo>
                    <a:pt x="5157" y="0"/>
                  </a:moveTo>
                  <a:lnTo>
                    <a:pt x="4526" y="541"/>
                  </a:lnTo>
                  <a:lnTo>
                    <a:pt x="0" y="4344"/>
                  </a:lnTo>
                  <a:lnTo>
                    <a:pt x="1190" y="4383"/>
                  </a:lnTo>
                  <a:lnTo>
                    <a:pt x="5192" y="1082"/>
                  </a:lnTo>
                  <a:lnTo>
                    <a:pt x="9194" y="4383"/>
                  </a:lnTo>
                  <a:lnTo>
                    <a:pt x="10366" y="4344"/>
                  </a:lnTo>
                  <a:lnTo>
                    <a:pt x="5841" y="541"/>
                  </a:lnTo>
                  <a:lnTo>
                    <a:pt x="5209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068" name="Google Shape;2068;p27"/>
          <p:cNvGrpSpPr/>
          <p:nvPr/>
        </p:nvGrpSpPr>
        <p:grpSpPr>
          <a:xfrm>
            <a:off x="1251513" y="4496825"/>
            <a:ext cx="224475" cy="437625"/>
            <a:chOff x="4276600" y="1069100"/>
            <a:chExt cx="224475" cy="437625"/>
          </a:xfrm>
        </p:grpSpPr>
        <p:sp>
          <p:nvSpPr>
            <p:cNvPr id="2069" name="Google Shape;2069;p27"/>
            <p:cNvSpPr/>
            <p:nvPr/>
          </p:nvSpPr>
          <p:spPr>
            <a:xfrm>
              <a:off x="4276600" y="1069100"/>
              <a:ext cx="224475" cy="384850"/>
            </a:xfrm>
            <a:custGeom>
              <a:avLst/>
              <a:gdLst/>
              <a:ahLst/>
              <a:cxnLst/>
              <a:rect l="l" t="t" r="r" b="b"/>
              <a:pathLst>
                <a:path w="8979" h="15394" extrusionOk="0">
                  <a:moveTo>
                    <a:pt x="4436" y="165"/>
                  </a:moveTo>
                  <a:cubicBezTo>
                    <a:pt x="2597" y="0"/>
                    <a:pt x="1623" y="4794"/>
                    <a:pt x="935" y="7645"/>
                  </a:cubicBezTo>
                  <a:cubicBezTo>
                    <a:pt x="1" y="11664"/>
                    <a:pt x="36" y="15394"/>
                    <a:pt x="3678" y="15285"/>
                  </a:cubicBezTo>
                  <a:cubicBezTo>
                    <a:pt x="5911" y="15216"/>
                    <a:pt x="8978" y="15268"/>
                    <a:pt x="7390" y="7896"/>
                  </a:cubicBezTo>
                  <a:cubicBezTo>
                    <a:pt x="6724" y="4759"/>
                    <a:pt x="6326" y="325"/>
                    <a:pt x="4436" y="165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0" name="Google Shape;2070;p27"/>
            <p:cNvSpPr/>
            <p:nvPr/>
          </p:nvSpPr>
          <p:spPr>
            <a:xfrm>
              <a:off x="4295975" y="1079925"/>
              <a:ext cx="137500" cy="307825"/>
            </a:xfrm>
            <a:custGeom>
              <a:avLst/>
              <a:gdLst/>
              <a:ahLst/>
              <a:cxnLst/>
              <a:rect l="l" t="t" r="r" b="b"/>
              <a:pathLst>
                <a:path w="5500" h="12313" extrusionOk="0">
                  <a:moveTo>
                    <a:pt x="3712" y="0"/>
                  </a:moveTo>
                  <a:cubicBezTo>
                    <a:pt x="3695" y="0"/>
                    <a:pt x="3678" y="17"/>
                    <a:pt x="3678" y="17"/>
                  </a:cubicBezTo>
                  <a:cubicBezTo>
                    <a:pt x="3678" y="17"/>
                    <a:pt x="3661" y="35"/>
                    <a:pt x="3639" y="108"/>
                  </a:cubicBezTo>
                  <a:cubicBezTo>
                    <a:pt x="3604" y="307"/>
                    <a:pt x="3622" y="216"/>
                    <a:pt x="3622" y="415"/>
                  </a:cubicBezTo>
                  <a:lnTo>
                    <a:pt x="3661" y="632"/>
                  </a:lnTo>
                  <a:lnTo>
                    <a:pt x="3695" y="597"/>
                  </a:lnTo>
                  <a:lnTo>
                    <a:pt x="3730" y="415"/>
                  </a:lnTo>
                  <a:cubicBezTo>
                    <a:pt x="3747" y="359"/>
                    <a:pt x="3747" y="381"/>
                    <a:pt x="3786" y="125"/>
                  </a:cubicBezTo>
                  <a:lnTo>
                    <a:pt x="3730" y="0"/>
                  </a:lnTo>
                  <a:close/>
                  <a:moveTo>
                    <a:pt x="3245" y="506"/>
                  </a:moveTo>
                  <a:cubicBezTo>
                    <a:pt x="3206" y="506"/>
                    <a:pt x="3154" y="541"/>
                    <a:pt x="3154" y="541"/>
                  </a:cubicBezTo>
                  <a:cubicBezTo>
                    <a:pt x="3154" y="541"/>
                    <a:pt x="3098" y="723"/>
                    <a:pt x="3046" y="883"/>
                  </a:cubicBezTo>
                  <a:cubicBezTo>
                    <a:pt x="3029" y="939"/>
                    <a:pt x="3012" y="922"/>
                    <a:pt x="3029" y="1008"/>
                  </a:cubicBezTo>
                  <a:lnTo>
                    <a:pt x="3081" y="1099"/>
                  </a:lnTo>
                  <a:lnTo>
                    <a:pt x="3172" y="1008"/>
                  </a:lnTo>
                  <a:cubicBezTo>
                    <a:pt x="3245" y="813"/>
                    <a:pt x="3263" y="524"/>
                    <a:pt x="3263" y="524"/>
                  </a:cubicBezTo>
                  <a:lnTo>
                    <a:pt x="3245" y="506"/>
                  </a:lnTo>
                  <a:close/>
                  <a:moveTo>
                    <a:pt x="2471" y="956"/>
                  </a:moveTo>
                  <a:cubicBezTo>
                    <a:pt x="2432" y="956"/>
                    <a:pt x="2415" y="991"/>
                    <a:pt x="2415" y="991"/>
                  </a:cubicBezTo>
                  <a:cubicBezTo>
                    <a:pt x="2397" y="991"/>
                    <a:pt x="2397" y="991"/>
                    <a:pt x="2363" y="1064"/>
                  </a:cubicBezTo>
                  <a:lnTo>
                    <a:pt x="2254" y="1354"/>
                  </a:lnTo>
                  <a:cubicBezTo>
                    <a:pt x="2216" y="1497"/>
                    <a:pt x="2254" y="1588"/>
                    <a:pt x="2254" y="1588"/>
                  </a:cubicBezTo>
                  <a:lnTo>
                    <a:pt x="2341" y="1532"/>
                  </a:lnTo>
                  <a:cubicBezTo>
                    <a:pt x="2432" y="1354"/>
                    <a:pt x="2449" y="1281"/>
                    <a:pt x="2505" y="1116"/>
                  </a:cubicBezTo>
                  <a:lnTo>
                    <a:pt x="2488" y="973"/>
                  </a:lnTo>
                  <a:lnTo>
                    <a:pt x="2471" y="956"/>
                  </a:lnTo>
                  <a:close/>
                  <a:moveTo>
                    <a:pt x="4162" y="1030"/>
                  </a:moveTo>
                  <a:cubicBezTo>
                    <a:pt x="4110" y="1030"/>
                    <a:pt x="4054" y="1281"/>
                    <a:pt x="4054" y="1281"/>
                  </a:cubicBezTo>
                  <a:cubicBezTo>
                    <a:pt x="4037" y="1441"/>
                    <a:pt x="4002" y="1497"/>
                    <a:pt x="4037" y="1679"/>
                  </a:cubicBezTo>
                  <a:lnTo>
                    <a:pt x="4180" y="1713"/>
                  </a:lnTo>
                  <a:lnTo>
                    <a:pt x="4219" y="1657"/>
                  </a:lnTo>
                  <a:cubicBezTo>
                    <a:pt x="4201" y="1462"/>
                    <a:pt x="4219" y="1207"/>
                    <a:pt x="4219" y="1207"/>
                  </a:cubicBezTo>
                  <a:cubicBezTo>
                    <a:pt x="4219" y="1207"/>
                    <a:pt x="4236" y="1207"/>
                    <a:pt x="4219" y="1155"/>
                  </a:cubicBezTo>
                  <a:lnTo>
                    <a:pt x="4162" y="1047"/>
                  </a:lnTo>
                  <a:lnTo>
                    <a:pt x="4162" y="1030"/>
                  </a:lnTo>
                  <a:close/>
                  <a:moveTo>
                    <a:pt x="3120" y="1964"/>
                  </a:moveTo>
                  <a:cubicBezTo>
                    <a:pt x="3081" y="1964"/>
                    <a:pt x="3029" y="2038"/>
                    <a:pt x="3029" y="2038"/>
                  </a:cubicBezTo>
                  <a:cubicBezTo>
                    <a:pt x="3029" y="2038"/>
                    <a:pt x="2973" y="2055"/>
                    <a:pt x="2973" y="2414"/>
                  </a:cubicBezTo>
                  <a:lnTo>
                    <a:pt x="3046" y="2652"/>
                  </a:lnTo>
                  <a:lnTo>
                    <a:pt x="3120" y="2579"/>
                  </a:lnTo>
                  <a:cubicBezTo>
                    <a:pt x="3120" y="2579"/>
                    <a:pt x="3154" y="2488"/>
                    <a:pt x="3172" y="2436"/>
                  </a:cubicBezTo>
                  <a:cubicBezTo>
                    <a:pt x="3263" y="2038"/>
                    <a:pt x="3263" y="2038"/>
                    <a:pt x="3228" y="2038"/>
                  </a:cubicBezTo>
                  <a:cubicBezTo>
                    <a:pt x="3206" y="2038"/>
                    <a:pt x="3172" y="2038"/>
                    <a:pt x="3137" y="1982"/>
                  </a:cubicBezTo>
                  <a:cubicBezTo>
                    <a:pt x="3137" y="1964"/>
                    <a:pt x="3120" y="1964"/>
                    <a:pt x="3120" y="1964"/>
                  </a:cubicBezTo>
                  <a:close/>
                  <a:moveTo>
                    <a:pt x="2038" y="2271"/>
                  </a:moveTo>
                  <a:lnTo>
                    <a:pt x="2017" y="2289"/>
                  </a:lnTo>
                  <a:cubicBezTo>
                    <a:pt x="1965" y="2345"/>
                    <a:pt x="1982" y="2271"/>
                    <a:pt x="1947" y="2380"/>
                  </a:cubicBezTo>
                  <a:cubicBezTo>
                    <a:pt x="1947" y="2380"/>
                    <a:pt x="1891" y="2579"/>
                    <a:pt x="1874" y="2704"/>
                  </a:cubicBezTo>
                  <a:cubicBezTo>
                    <a:pt x="1874" y="2721"/>
                    <a:pt x="1908" y="2955"/>
                    <a:pt x="1908" y="2955"/>
                  </a:cubicBezTo>
                  <a:lnTo>
                    <a:pt x="1982" y="2903"/>
                  </a:lnTo>
                  <a:cubicBezTo>
                    <a:pt x="1982" y="2903"/>
                    <a:pt x="1999" y="2812"/>
                    <a:pt x="2055" y="2669"/>
                  </a:cubicBezTo>
                  <a:lnTo>
                    <a:pt x="2073" y="2522"/>
                  </a:lnTo>
                  <a:cubicBezTo>
                    <a:pt x="2107" y="2362"/>
                    <a:pt x="2055" y="2289"/>
                    <a:pt x="2055" y="2289"/>
                  </a:cubicBezTo>
                  <a:cubicBezTo>
                    <a:pt x="2055" y="2271"/>
                    <a:pt x="2038" y="2271"/>
                    <a:pt x="2038" y="2271"/>
                  </a:cubicBezTo>
                  <a:close/>
                  <a:moveTo>
                    <a:pt x="4054" y="2470"/>
                  </a:moveTo>
                  <a:cubicBezTo>
                    <a:pt x="4020" y="2470"/>
                    <a:pt x="4002" y="2579"/>
                    <a:pt x="4002" y="2579"/>
                  </a:cubicBezTo>
                  <a:cubicBezTo>
                    <a:pt x="4002" y="2579"/>
                    <a:pt x="3985" y="2579"/>
                    <a:pt x="3985" y="2630"/>
                  </a:cubicBezTo>
                  <a:cubicBezTo>
                    <a:pt x="3985" y="2630"/>
                    <a:pt x="3963" y="2829"/>
                    <a:pt x="3963" y="3011"/>
                  </a:cubicBezTo>
                  <a:lnTo>
                    <a:pt x="4037" y="3171"/>
                  </a:lnTo>
                  <a:cubicBezTo>
                    <a:pt x="4093" y="3102"/>
                    <a:pt x="4110" y="3046"/>
                    <a:pt x="4110" y="3046"/>
                  </a:cubicBezTo>
                  <a:cubicBezTo>
                    <a:pt x="4180" y="2868"/>
                    <a:pt x="4162" y="2778"/>
                    <a:pt x="4145" y="2630"/>
                  </a:cubicBezTo>
                  <a:lnTo>
                    <a:pt x="4072" y="2470"/>
                  </a:lnTo>
                  <a:close/>
                  <a:moveTo>
                    <a:pt x="4794" y="2886"/>
                  </a:moveTo>
                  <a:lnTo>
                    <a:pt x="4703" y="2977"/>
                  </a:lnTo>
                  <a:cubicBezTo>
                    <a:pt x="4721" y="3119"/>
                    <a:pt x="4721" y="3228"/>
                    <a:pt x="4742" y="3478"/>
                  </a:cubicBezTo>
                  <a:lnTo>
                    <a:pt x="4829" y="3643"/>
                  </a:lnTo>
                  <a:cubicBezTo>
                    <a:pt x="4868" y="3604"/>
                    <a:pt x="4885" y="3552"/>
                    <a:pt x="4902" y="3496"/>
                  </a:cubicBezTo>
                  <a:lnTo>
                    <a:pt x="4850" y="2920"/>
                  </a:lnTo>
                  <a:cubicBezTo>
                    <a:pt x="4829" y="2903"/>
                    <a:pt x="4811" y="2903"/>
                    <a:pt x="4794" y="2886"/>
                  </a:cubicBezTo>
                  <a:close/>
                  <a:moveTo>
                    <a:pt x="3314" y="3318"/>
                  </a:moveTo>
                  <a:cubicBezTo>
                    <a:pt x="3280" y="3318"/>
                    <a:pt x="3263" y="3336"/>
                    <a:pt x="3263" y="3336"/>
                  </a:cubicBezTo>
                  <a:cubicBezTo>
                    <a:pt x="3263" y="3336"/>
                    <a:pt x="3245" y="3496"/>
                    <a:pt x="3228" y="3751"/>
                  </a:cubicBezTo>
                  <a:cubicBezTo>
                    <a:pt x="3228" y="3751"/>
                    <a:pt x="3228" y="3928"/>
                    <a:pt x="3280" y="3928"/>
                  </a:cubicBezTo>
                  <a:cubicBezTo>
                    <a:pt x="3297" y="3928"/>
                    <a:pt x="3336" y="3894"/>
                    <a:pt x="3388" y="3786"/>
                  </a:cubicBezTo>
                  <a:lnTo>
                    <a:pt x="3405" y="3677"/>
                  </a:lnTo>
                  <a:lnTo>
                    <a:pt x="3405" y="3427"/>
                  </a:lnTo>
                  <a:lnTo>
                    <a:pt x="3353" y="3318"/>
                  </a:lnTo>
                  <a:close/>
                  <a:moveTo>
                    <a:pt x="2324" y="3478"/>
                  </a:moveTo>
                  <a:lnTo>
                    <a:pt x="2233" y="3587"/>
                  </a:lnTo>
                  <a:cubicBezTo>
                    <a:pt x="2216" y="3734"/>
                    <a:pt x="2216" y="3677"/>
                    <a:pt x="2216" y="3820"/>
                  </a:cubicBezTo>
                  <a:lnTo>
                    <a:pt x="2289" y="3950"/>
                  </a:lnTo>
                  <a:lnTo>
                    <a:pt x="2341" y="3894"/>
                  </a:lnTo>
                  <a:cubicBezTo>
                    <a:pt x="2341" y="3894"/>
                    <a:pt x="2363" y="3876"/>
                    <a:pt x="2380" y="3842"/>
                  </a:cubicBezTo>
                  <a:cubicBezTo>
                    <a:pt x="2380" y="3842"/>
                    <a:pt x="2415" y="3677"/>
                    <a:pt x="2415" y="3552"/>
                  </a:cubicBezTo>
                  <a:lnTo>
                    <a:pt x="2341" y="3478"/>
                  </a:lnTo>
                  <a:close/>
                  <a:moveTo>
                    <a:pt x="1368" y="3734"/>
                  </a:moveTo>
                  <a:cubicBezTo>
                    <a:pt x="1333" y="3734"/>
                    <a:pt x="1316" y="3786"/>
                    <a:pt x="1316" y="3786"/>
                  </a:cubicBezTo>
                  <a:cubicBezTo>
                    <a:pt x="1281" y="4019"/>
                    <a:pt x="1225" y="4253"/>
                    <a:pt x="1225" y="4491"/>
                  </a:cubicBezTo>
                  <a:lnTo>
                    <a:pt x="1281" y="4543"/>
                  </a:lnTo>
                  <a:lnTo>
                    <a:pt x="1333" y="4491"/>
                  </a:lnTo>
                  <a:lnTo>
                    <a:pt x="1368" y="4326"/>
                  </a:lnTo>
                  <a:cubicBezTo>
                    <a:pt x="1424" y="4058"/>
                    <a:pt x="1424" y="3768"/>
                    <a:pt x="1424" y="3768"/>
                  </a:cubicBezTo>
                  <a:cubicBezTo>
                    <a:pt x="1406" y="3734"/>
                    <a:pt x="1389" y="3734"/>
                    <a:pt x="1368" y="3734"/>
                  </a:cubicBezTo>
                  <a:close/>
                  <a:moveTo>
                    <a:pt x="4180" y="3911"/>
                  </a:moveTo>
                  <a:cubicBezTo>
                    <a:pt x="4128" y="3911"/>
                    <a:pt x="4093" y="3928"/>
                    <a:pt x="4093" y="3928"/>
                  </a:cubicBezTo>
                  <a:lnTo>
                    <a:pt x="4072" y="3967"/>
                  </a:lnTo>
                  <a:lnTo>
                    <a:pt x="4054" y="4292"/>
                  </a:lnTo>
                  <a:cubicBezTo>
                    <a:pt x="4037" y="4560"/>
                    <a:pt x="4037" y="4344"/>
                    <a:pt x="4072" y="4599"/>
                  </a:cubicBezTo>
                  <a:lnTo>
                    <a:pt x="4128" y="4651"/>
                  </a:lnTo>
                  <a:lnTo>
                    <a:pt x="4180" y="4599"/>
                  </a:lnTo>
                  <a:cubicBezTo>
                    <a:pt x="4180" y="4599"/>
                    <a:pt x="4236" y="4491"/>
                    <a:pt x="4253" y="4292"/>
                  </a:cubicBezTo>
                  <a:lnTo>
                    <a:pt x="4253" y="3985"/>
                  </a:lnTo>
                  <a:cubicBezTo>
                    <a:pt x="4253" y="3985"/>
                    <a:pt x="4271" y="3950"/>
                    <a:pt x="4180" y="3911"/>
                  </a:cubicBezTo>
                  <a:close/>
                  <a:moveTo>
                    <a:pt x="2648" y="4417"/>
                  </a:moveTo>
                  <a:cubicBezTo>
                    <a:pt x="2614" y="4417"/>
                    <a:pt x="2540" y="4543"/>
                    <a:pt x="2540" y="4685"/>
                  </a:cubicBezTo>
                  <a:cubicBezTo>
                    <a:pt x="2505" y="4923"/>
                    <a:pt x="2505" y="4815"/>
                    <a:pt x="2523" y="4923"/>
                  </a:cubicBezTo>
                  <a:lnTo>
                    <a:pt x="2596" y="5084"/>
                  </a:lnTo>
                  <a:lnTo>
                    <a:pt x="2665" y="5032"/>
                  </a:lnTo>
                  <a:cubicBezTo>
                    <a:pt x="2665" y="5032"/>
                    <a:pt x="2687" y="4958"/>
                    <a:pt x="2704" y="4902"/>
                  </a:cubicBezTo>
                  <a:lnTo>
                    <a:pt x="2722" y="4742"/>
                  </a:lnTo>
                  <a:cubicBezTo>
                    <a:pt x="2739" y="4616"/>
                    <a:pt x="2739" y="4685"/>
                    <a:pt x="2722" y="4599"/>
                  </a:cubicBezTo>
                  <a:lnTo>
                    <a:pt x="2687" y="4435"/>
                  </a:lnTo>
                  <a:cubicBezTo>
                    <a:pt x="2665" y="4417"/>
                    <a:pt x="2665" y="4417"/>
                    <a:pt x="2648" y="4417"/>
                  </a:cubicBezTo>
                  <a:close/>
                  <a:moveTo>
                    <a:pt x="4902" y="4742"/>
                  </a:moveTo>
                  <a:cubicBezTo>
                    <a:pt x="4742" y="4742"/>
                    <a:pt x="4829" y="4794"/>
                    <a:pt x="4829" y="4794"/>
                  </a:cubicBezTo>
                  <a:cubicBezTo>
                    <a:pt x="4850" y="5032"/>
                    <a:pt x="4885" y="5334"/>
                    <a:pt x="4885" y="5334"/>
                  </a:cubicBezTo>
                  <a:lnTo>
                    <a:pt x="5028" y="5373"/>
                  </a:lnTo>
                  <a:lnTo>
                    <a:pt x="5067" y="5334"/>
                  </a:lnTo>
                  <a:lnTo>
                    <a:pt x="5067" y="5140"/>
                  </a:lnTo>
                  <a:cubicBezTo>
                    <a:pt x="5045" y="5049"/>
                    <a:pt x="5067" y="5032"/>
                    <a:pt x="5028" y="4759"/>
                  </a:cubicBezTo>
                  <a:cubicBezTo>
                    <a:pt x="4976" y="4742"/>
                    <a:pt x="4920" y="4742"/>
                    <a:pt x="4902" y="4742"/>
                  </a:cubicBezTo>
                  <a:close/>
                  <a:moveTo>
                    <a:pt x="3678" y="5157"/>
                  </a:moveTo>
                  <a:cubicBezTo>
                    <a:pt x="3639" y="5157"/>
                    <a:pt x="3604" y="5174"/>
                    <a:pt x="3604" y="5174"/>
                  </a:cubicBezTo>
                  <a:lnTo>
                    <a:pt x="3570" y="5174"/>
                  </a:lnTo>
                  <a:cubicBezTo>
                    <a:pt x="3552" y="5174"/>
                    <a:pt x="3570" y="5192"/>
                    <a:pt x="3570" y="5551"/>
                  </a:cubicBezTo>
                  <a:lnTo>
                    <a:pt x="3622" y="5698"/>
                  </a:lnTo>
                  <a:lnTo>
                    <a:pt x="3730" y="5698"/>
                  </a:lnTo>
                  <a:cubicBezTo>
                    <a:pt x="3730" y="5698"/>
                    <a:pt x="3747" y="5659"/>
                    <a:pt x="3769" y="5607"/>
                  </a:cubicBezTo>
                  <a:lnTo>
                    <a:pt x="3786" y="5482"/>
                  </a:lnTo>
                  <a:cubicBezTo>
                    <a:pt x="3769" y="5101"/>
                    <a:pt x="3855" y="5192"/>
                    <a:pt x="3695" y="5157"/>
                  </a:cubicBezTo>
                  <a:close/>
                  <a:moveTo>
                    <a:pt x="1640" y="5265"/>
                  </a:moveTo>
                  <a:cubicBezTo>
                    <a:pt x="1606" y="5265"/>
                    <a:pt x="1549" y="5356"/>
                    <a:pt x="1515" y="5750"/>
                  </a:cubicBezTo>
                  <a:lnTo>
                    <a:pt x="1549" y="6040"/>
                  </a:lnTo>
                  <a:lnTo>
                    <a:pt x="1640" y="5897"/>
                  </a:lnTo>
                  <a:lnTo>
                    <a:pt x="1692" y="5681"/>
                  </a:lnTo>
                  <a:cubicBezTo>
                    <a:pt x="1714" y="5443"/>
                    <a:pt x="1657" y="5283"/>
                    <a:pt x="1657" y="5283"/>
                  </a:cubicBezTo>
                  <a:cubicBezTo>
                    <a:pt x="1657" y="5265"/>
                    <a:pt x="1640" y="5265"/>
                    <a:pt x="1640" y="5265"/>
                  </a:cubicBezTo>
                  <a:close/>
                  <a:moveTo>
                    <a:pt x="4595" y="5897"/>
                  </a:moveTo>
                  <a:cubicBezTo>
                    <a:pt x="4578" y="5897"/>
                    <a:pt x="4578" y="5914"/>
                    <a:pt x="4560" y="5949"/>
                  </a:cubicBezTo>
                  <a:lnTo>
                    <a:pt x="4504" y="6040"/>
                  </a:lnTo>
                  <a:cubicBezTo>
                    <a:pt x="4487" y="6221"/>
                    <a:pt x="4504" y="6256"/>
                    <a:pt x="4526" y="6347"/>
                  </a:cubicBezTo>
                  <a:lnTo>
                    <a:pt x="4612" y="6524"/>
                  </a:lnTo>
                  <a:lnTo>
                    <a:pt x="4686" y="6438"/>
                  </a:lnTo>
                  <a:cubicBezTo>
                    <a:pt x="4686" y="6438"/>
                    <a:pt x="4686" y="6399"/>
                    <a:pt x="4703" y="6347"/>
                  </a:cubicBezTo>
                  <a:lnTo>
                    <a:pt x="4703" y="5983"/>
                  </a:lnTo>
                  <a:cubicBezTo>
                    <a:pt x="4686" y="5983"/>
                    <a:pt x="4686" y="5983"/>
                    <a:pt x="4612" y="5914"/>
                  </a:cubicBezTo>
                  <a:cubicBezTo>
                    <a:pt x="4612" y="5897"/>
                    <a:pt x="4595" y="5897"/>
                    <a:pt x="4595" y="5897"/>
                  </a:cubicBezTo>
                  <a:close/>
                  <a:moveTo>
                    <a:pt x="883" y="5983"/>
                  </a:moveTo>
                  <a:cubicBezTo>
                    <a:pt x="848" y="5983"/>
                    <a:pt x="827" y="6057"/>
                    <a:pt x="827" y="6057"/>
                  </a:cubicBezTo>
                  <a:cubicBezTo>
                    <a:pt x="827" y="6057"/>
                    <a:pt x="809" y="6057"/>
                    <a:pt x="809" y="6200"/>
                  </a:cubicBezTo>
                  <a:cubicBezTo>
                    <a:pt x="848" y="6524"/>
                    <a:pt x="883" y="6563"/>
                    <a:pt x="883" y="6563"/>
                  </a:cubicBezTo>
                  <a:lnTo>
                    <a:pt x="957" y="6507"/>
                  </a:lnTo>
                  <a:cubicBezTo>
                    <a:pt x="957" y="6507"/>
                    <a:pt x="974" y="6399"/>
                    <a:pt x="974" y="6330"/>
                  </a:cubicBezTo>
                  <a:cubicBezTo>
                    <a:pt x="974" y="6330"/>
                    <a:pt x="991" y="6273"/>
                    <a:pt x="974" y="6113"/>
                  </a:cubicBezTo>
                  <a:lnTo>
                    <a:pt x="900" y="5983"/>
                  </a:lnTo>
                  <a:close/>
                  <a:moveTo>
                    <a:pt x="2938" y="6200"/>
                  </a:moveTo>
                  <a:cubicBezTo>
                    <a:pt x="2921" y="6200"/>
                    <a:pt x="2921" y="6221"/>
                    <a:pt x="2921" y="6221"/>
                  </a:cubicBezTo>
                  <a:lnTo>
                    <a:pt x="2864" y="6273"/>
                  </a:lnTo>
                  <a:lnTo>
                    <a:pt x="2813" y="6364"/>
                  </a:lnTo>
                  <a:cubicBezTo>
                    <a:pt x="2739" y="6671"/>
                    <a:pt x="2665" y="6490"/>
                    <a:pt x="2921" y="6689"/>
                  </a:cubicBezTo>
                  <a:lnTo>
                    <a:pt x="2973" y="6615"/>
                  </a:lnTo>
                  <a:cubicBezTo>
                    <a:pt x="2973" y="6615"/>
                    <a:pt x="2990" y="6615"/>
                    <a:pt x="2990" y="6598"/>
                  </a:cubicBezTo>
                  <a:lnTo>
                    <a:pt x="3029" y="6330"/>
                  </a:lnTo>
                  <a:cubicBezTo>
                    <a:pt x="2973" y="6256"/>
                    <a:pt x="2990" y="6291"/>
                    <a:pt x="2955" y="6221"/>
                  </a:cubicBezTo>
                  <a:lnTo>
                    <a:pt x="2938" y="6200"/>
                  </a:lnTo>
                  <a:close/>
                  <a:moveTo>
                    <a:pt x="1891" y="6689"/>
                  </a:moveTo>
                  <a:cubicBezTo>
                    <a:pt x="1839" y="6689"/>
                    <a:pt x="1783" y="6723"/>
                    <a:pt x="1783" y="6723"/>
                  </a:cubicBezTo>
                  <a:cubicBezTo>
                    <a:pt x="1748" y="6870"/>
                    <a:pt x="1692" y="6957"/>
                    <a:pt x="1714" y="7156"/>
                  </a:cubicBezTo>
                  <a:lnTo>
                    <a:pt x="1822" y="7212"/>
                  </a:lnTo>
                  <a:lnTo>
                    <a:pt x="1891" y="7087"/>
                  </a:lnTo>
                  <a:cubicBezTo>
                    <a:pt x="1947" y="6849"/>
                    <a:pt x="1908" y="6689"/>
                    <a:pt x="1908" y="6689"/>
                  </a:cubicBezTo>
                  <a:close/>
                  <a:moveTo>
                    <a:pt x="5318" y="6689"/>
                  </a:moveTo>
                  <a:cubicBezTo>
                    <a:pt x="5227" y="6689"/>
                    <a:pt x="5209" y="6741"/>
                    <a:pt x="5209" y="6831"/>
                  </a:cubicBezTo>
                  <a:cubicBezTo>
                    <a:pt x="5209" y="6831"/>
                    <a:pt x="5209" y="7065"/>
                    <a:pt x="5227" y="7229"/>
                  </a:cubicBezTo>
                  <a:cubicBezTo>
                    <a:pt x="5227" y="7229"/>
                    <a:pt x="5244" y="7264"/>
                    <a:pt x="5283" y="7355"/>
                  </a:cubicBezTo>
                  <a:lnTo>
                    <a:pt x="5352" y="7428"/>
                  </a:lnTo>
                  <a:lnTo>
                    <a:pt x="5426" y="7338"/>
                  </a:lnTo>
                  <a:cubicBezTo>
                    <a:pt x="5426" y="7338"/>
                    <a:pt x="5426" y="7281"/>
                    <a:pt x="5443" y="7229"/>
                  </a:cubicBezTo>
                  <a:cubicBezTo>
                    <a:pt x="5443" y="7229"/>
                    <a:pt x="5443" y="6957"/>
                    <a:pt x="5426" y="6741"/>
                  </a:cubicBezTo>
                  <a:lnTo>
                    <a:pt x="5352" y="6706"/>
                  </a:lnTo>
                  <a:cubicBezTo>
                    <a:pt x="5335" y="6689"/>
                    <a:pt x="5318" y="6689"/>
                    <a:pt x="5318" y="6689"/>
                  </a:cubicBezTo>
                  <a:close/>
                  <a:moveTo>
                    <a:pt x="3946" y="6870"/>
                  </a:moveTo>
                  <a:cubicBezTo>
                    <a:pt x="3929" y="6870"/>
                    <a:pt x="3911" y="6922"/>
                    <a:pt x="3911" y="6922"/>
                  </a:cubicBezTo>
                  <a:cubicBezTo>
                    <a:pt x="3855" y="6978"/>
                    <a:pt x="3838" y="7264"/>
                    <a:pt x="3877" y="7428"/>
                  </a:cubicBezTo>
                  <a:lnTo>
                    <a:pt x="3946" y="7571"/>
                  </a:lnTo>
                  <a:lnTo>
                    <a:pt x="4002" y="7498"/>
                  </a:lnTo>
                  <a:cubicBezTo>
                    <a:pt x="4037" y="7389"/>
                    <a:pt x="4054" y="7229"/>
                    <a:pt x="4054" y="7173"/>
                  </a:cubicBezTo>
                  <a:cubicBezTo>
                    <a:pt x="4054" y="7013"/>
                    <a:pt x="3963" y="6888"/>
                    <a:pt x="3963" y="6888"/>
                  </a:cubicBezTo>
                  <a:cubicBezTo>
                    <a:pt x="3963" y="6870"/>
                    <a:pt x="3963" y="6870"/>
                    <a:pt x="3946" y="6870"/>
                  </a:cubicBezTo>
                  <a:close/>
                  <a:moveTo>
                    <a:pt x="866" y="7104"/>
                  </a:moveTo>
                  <a:cubicBezTo>
                    <a:pt x="848" y="7104"/>
                    <a:pt x="792" y="7156"/>
                    <a:pt x="792" y="7156"/>
                  </a:cubicBezTo>
                  <a:cubicBezTo>
                    <a:pt x="792" y="7156"/>
                    <a:pt x="758" y="7281"/>
                    <a:pt x="719" y="7428"/>
                  </a:cubicBezTo>
                  <a:lnTo>
                    <a:pt x="719" y="7519"/>
                  </a:lnTo>
                  <a:cubicBezTo>
                    <a:pt x="701" y="7554"/>
                    <a:pt x="758" y="7714"/>
                    <a:pt x="758" y="7714"/>
                  </a:cubicBezTo>
                  <a:lnTo>
                    <a:pt x="827" y="7662"/>
                  </a:lnTo>
                  <a:cubicBezTo>
                    <a:pt x="827" y="7662"/>
                    <a:pt x="883" y="7428"/>
                    <a:pt x="918" y="7229"/>
                  </a:cubicBezTo>
                  <a:lnTo>
                    <a:pt x="883" y="7121"/>
                  </a:lnTo>
                  <a:cubicBezTo>
                    <a:pt x="883" y="7104"/>
                    <a:pt x="866" y="7104"/>
                    <a:pt x="866" y="7104"/>
                  </a:cubicBezTo>
                  <a:close/>
                  <a:moveTo>
                    <a:pt x="2955" y="7645"/>
                  </a:moveTo>
                  <a:cubicBezTo>
                    <a:pt x="2903" y="7645"/>
                    <a:pt x="2847" y="7753"/>
                    <a:pt x="2847" y="7753"/>
                  </a:cubicBezTo>
                  <a:cubicBezTo>
                    <a:pt x="2795" y="7952"/>
                    <a:pt x="2795" y="8038"/>
                    <a:pt x="2795" y="8168"/>
                  </a:cubicBezTo>
                  <a:cubicBezTo>
                    <a:pt x="2795" y="8168"/>
                    <a:pt x="2795" y="8186"/>
                    <a:pt x="2830" y="8255"/>
                  </a:cubicBezTo>
                  <a:lnTo>
                    <a:pt x="2864" y="8328"/>
                  </a:lnTo>
                  <a:lnTo>
                    <a:pt x="2955" y="8237"/>
                  </a:lnTo>
                  <a:cubicBezTo>
                    <a:pt x="2990" y="8168"/>
                    <a:pt x="2973" y="8276"/>
                    <a:pt x="3029" y="7861"/>
                  </a:cubicBezTo>
                  <a:lnTo>
                    <a:pt x="2973" y="7645"/>
                  </a:lnTo>
                  <a:close/>
                  <a:moveTo>
                    <a:pt x="4742" y="7844"/>
                  </a:moveTo>
                  <a:cubicBezTo>
                    <a:pt x="4703" y="7844"/>
                    <a:pt x="4686" y="7844"/>
                    <a:pt x="4651" y="7878"/>
                  </a:cubicBezTo>
                  <a:cubicBezTo>
                    <a:pt x="4651" y="7878"/>
                    <a:pt x="4634" y="8112"/>
                    <a:pt x="4634" y="8294"/>
                  </a:cubicBezTo>
                  <a:lnTo>
                    <a:pt x="4651" y="8419"/>
                  </a:lnTo>
                  <a:cubicBezTo>
                    <a:pt x="4651" y="8419"/>
                    <a:pt x="4669" y="8436"/>
                    <a:pt x="4759" y="8562"/>
                  </a:cubicBezTo>
                  <a:lnTo>
                    <a:pt x="4850" y="8385"/>
                  </a:lnTo>
                  <a:lnTo>
                    <a:pt x="4829" y="7861"/>
                  </a:lnTo>
                  <a:lnTo>
                    <a:pt x="4777" y="7844"/>
                  </a:lnTo>
                  <a:close/>
                  <a:moveTo>
                    <a:pt x="1999" y="8112"/>
                  </a:moveTo>
                  <a:cubicBezTo>
                    <a:pt x="1965" y="8112"/>
                    <a:pt x="1930" y="8168"/>
                    <a:pt x="1930" y="8168"/>
                  </a:cubicBezTo>
                  <a:cubicBezTo>
                    <a:pt x="1930" y="8168"/>
                    <a:pt x="1908" y="8436"/>
                    <a:pt x="1874" y="8635"/>
                  </a:cubicBezTo>
                  <a:lnTo>
                    <a:pt x="1891" y="8778"/>
                  </a:lnTo>
                  <a:lnTo>
                    <a:pt x="1982" y="8796"/>
                  </a:lnTo>
                  <a:lnTo>
                    <a:pt x="2017" y="8761"/>
                  </a:lnTo>
                  <a:cubicBezTo>
                    <a:pt x="2017" y="8761"/>
                    <a:pt x="2038" y="8744"/>
                    <a:pt x="2038" y="8653"/>
                  </a:cubicBezTo>
                  <a:cubicBezTo>
                    <a:pt x="2038" y="8653"/>
                    <a:pt x="2073" y="8436"/>
                    <a:pt x="2073" y="8276"/>
                  </a:cubicBezTo>
                  <a:cubicBezTo>
                    <a:pt x="2073" y="8255"/>
                    <a:pt x="2017" y="8129"/>
                    <a:pt x="2017" y="8129"/>
                  </a:cubicBezTo>
                  <a:cubicBezTo>
                    <a:pt x="1999" y="8129"/>
                    <a:pt x="1999" y="8112"/>
                    <a:pt x="1999" y="8112"/>
                  </a:cubicBezTo>
                  <a:close/>
                  <a:moveTo>
                    <a:pt x="974" y="8527"/>
                  </a:moveTo>
                  <a:cubicBezTo>
                    <a:pt x="957" y="8527"/>
                    <a:pt x="957" y="8545"/>
                    <a:pt x="957" y="8545"/>
                  </a:cubicBezTo>
                  <a:lnTo>
                    <a:pt x="935" y="8545"/>
                  </a:lnTo>
                  <a:cubicBezTo>
                    <a:pt x="918" y="8545"/>
                    <a:pt x="900" y="8579"/>
                    <a:pt x="866" y="8852"/>
                  </a:cubicBezTo>
                  <a:cubicBezTo>
                    <a:pt x="848" y="8904"/>
                    <a:pt x="848" y="8960"/>
                    <a:pt x="848" y="9012"/>
                  </a:cubicBezTo>
                  <a:cubicBezTo>
                    <a:pt x="848" y="9012"/>
                    <a:pt x="827" y="9142"/>
                    <a:pt x="883" y="9142"/>
                  </a:cubicBezTo>
                  <a:cubicBezTo>
                    <a:pt x="900" y="9142"/>
                    <a:pt x="935" y="9120"/>
                    <a:pt x="991" y="9034"/>
                  </a:cubicBezTo>
                  <a:cubicBezTo>
                    <a:pt x="991" y="9034"/>
                    <a:pt x="1008" y="8925"/>
                    <a:pt x="1026" y="8834"/>
                  </a:cubicBezTo>
                  <a:lnTo>
                    <a:pt x="991" y="8545"/>
                  </a:lnTo>
                  <a:cubicBezTo>
                    <a:pt x="991" y="8527"/>
                    <a:pt x="974" y="8527"/>
                    <a:pt x="974" y="8527"/>
                  </a:cubicBezTo>
                  <a:close/>
                  <a:moveTo>
                    <a:pt x="4162" y="8778"/>
                  </a:moveTo>
                  <a:cubicBezTo>
                    <a:pt x="4145" y="8778"/>
                    <a:pt x="4128" y="8834"/>
                    <a:pt x="4093" y="9034"/>
                  </a:cubicBezTo>
                  <a:lnTo>
                    <a:pt x="4093" y="9284"/>
                  </a:lnTo>
                  <a:cubicBezTo>
                    <a:pt x="4093" y="9410"/>
                    <a:pt x="4093" y="9336"/>
                    <a:pt x="4128" y="9410"/>
                  </a:cubicBezTo>
                  <a:cubicBezTo>
                    <a:pt x="4128" y="9410"/>
                    <a:pt x="4128" y="9445"/>
                    <a:pt x="4162" y="9445"/>
                  </a:cubicBezTo>
                  <a:cubicBezTo>
                    <a:pt x="4180" y="9445"/>
                    <a:pt x="4201" y="9445"/>
                    <a:pt x="4236" y="9393"/>
                  </a:cubicBezTo>
                  <a:cubicBezTo>
                    <a:pt x="4236" y="9393"/>
                    <a:pt x="4288" y="8960"/>
                    <a:pt x="4310" y="8869"/>
                  </a:cubicBezTo>
                  <a:cubicBezTo>
                    <a:pt x="4310" y="8869"/>
                    <a:pt x="4288" y="8834"/>
                    <a:pt x="4236" y="8817"/>
                  </a:cubicBezTo>
                  <a:cubicBezTo>
                    <a:pt x="4201" y="8796"/>
                    <a:pt x="4180" y="8778"/>
                    <a:pt x="4162" y="8778"/>
                  </a:cubicBezTo>
                  <a:close/>
                  <a:moveTo>
                    <a:pt x="5352" y="8869"/>
                  </a:moveTo>
                  <a:cubicBezTo>
                    <a:pt x="5300" y="8869"/>
                    <a:pt x="5244" y="9012"/>
                    <a:pt x="5244" y="9012"/>
                  </a:cubicBezTo>
                  <a:cubicBezTo>
                    <a:pt x="5244" y="9085"/>
                    <a:pt x="5244" y="9012"/>
                    <a:pt x="5261" y="9319"/>
                  </a:cubicBezTo>
                  <a:lnTo>
                    <a:pt x="5300" y="9393"/>
                  </a:lnTo>
                  <a:lnTo>
                    <a:pt x="5369" y="9466"/>
                  </a:lnTo>
                  <a:lnTo>
                    <a:pt x="5443" y="9393"/>
                  </a:lnTo>
                  <a:lnTo>
                    <a:pt x="5478" y="9142"/>
                  </a:lnTo>
                  <a:cubicBezTo>
                    <a:pt x="5478" y="8852"/>
                    <a:pt x="5499" y="9034"/>
                    <a:pt x="5369" y="8886"/>
                  </a:cubicBezTo>
                  <a:cubicBezTo>
                    <a:pt x="5369" y="8869"/>
                    <a:pt x="5352" y="8869"/>
                    <a:pt x="5352" y="8869"/>
                  </a:cubicBezTo>
                  <a:close/>
                  <a:moveTo>
                    <a:pt x="178" y="8943"/>
                  </a:moveTo>
                  <a:cubicBezTo>
                    <a:pt x="160" y="8943"/>
                    <a:pt x="143" y="8977"/>
                    <a:pt x="143" y="8977"/>
                  </a:cubicBezTo>
                  <a:cubicBezTo>
                    <a:pt x="143" y="8977"/>
                    <a:pt x="126" y="8977"/>
                    <a:pt x="109" y="9051"/>
                  </a:cubicBezTo>
                  <a:cubicBezTo>
                    <a:pt x="109" y="9051"/>
                    <a:pt x="52" y="9284"/>
                    <a:pt x="52" y="9445"/>
                  </a:cubicBezTo>
                  <a:lnTo>
                    <a:pt x="91" y="9592"/>
                  </a:lnTo>
                  <a:lnTo>
                    <a:pt x="143" y="9553"/>
                  </a:lnTo>
                  <a:cubicBezTo>
                    <a:pt x="143" y="9553"/>
                    <a:pt x="160" y="9518"/>
                    <a:pt x="178" y="9483"/>
                  </a:cubicBezTo>
                  <a:lnTo>
                    <a:pt x="199" y="8943"/>
                  </a:lnTo>
                  <a:close/>
                  <a:moveTo>
                    <a:pt x="3137" y="9176"/>
                  </a:moveTo>
                  <a:cubicBezTo>
                    <a:pt x="3081" y="9176"/>
                    <a:pt x="3046" y="9250"/>
                    <a:pt x="3046" y="9250"/>
                  </a:cubicBezTo>
                  <a:cubicBezTo>
                    <a:pt x="3029" y="9427"/>
                    <a:pt x="2990" y="9592"/>
                    <a:pt x="3012" y="9752"/>
                  </a:cubicBezTo>
                  <a:lnTo>
                    <a:pt x="3063" y="9860"/>
                  </a:lnTo>
                  <a:lnTo>
                    <a:pt x="3120" y="9808"/>
                  </a:lnTo>
                  <a:cubicBezTo>
                    <a:pt x="3120" y="9808"/>
                    <a:pt x="3154" y="9791"/>
                    <a:pt x="3172" y="9717"/>
                  </a:cubicBezTo>
                  <a:cubicBezTo>
                    <a:pt x="3172" y="9717"/>
                    <a:pt x="3189" y="9518"/>
                    <a:pt x="3189" y="9250"/>
                  </a:cubicBezTo>
                  <a:lnTo>
                    <a:pt x="3137" y="9176"/>
                  </a:lnTo>
                  <a:close/>
                  <a:moveTo>
                    <a:pt x="1584" y="9427"/>
                  </a:moveTo>
                  <a:cubicBezTo>
                    <a:pt x="1584" y="9427"/>
                    <a:pt x="1584" y="9445"/>
                    <a:pt x="1549" y="9501"/>
                  </a:cubicBezTo>
                  <a:cubicBezTo>
                    <a:pt x="1549" y="9501"/>
                    <a:pt x="1515" y="9661"/>
                    <a:pt x="1497" y="9769"/>
                  </a:cubicBezTo>
                  <a:cubicBezTo>
                    <a:pt x="1497" y="9769"/>
                    <a:pt x="1458" y="9985"/>
                    <a:pt x="1458" y="10132"/>
                  </a:cubicBezTo>
                  <a:cubicBezTo>
                    <a:pt x="1458" y="10132"/>
                    <a:pt x="1476" y="10184"/>
                    <a:pt x="1515" y="10184"/>
                  </a:cubicBezTo>
                  <a:cubicBezTo>
                    <a:pt x="1549" y="10184"/>
                    <a:pt x="1584" y="10167"/>
                    <a:pt x="1623" y="10059"/>
                  </a:cubicBezTo>
                  <a:cubicBezTo>
                    <a:pt x="1623" y="10059"/>
                    <a:pt x="1640" y="9808"/>
                    <a:pt x="1657" y="9626"/>
                  </a:cubicBezTo>
                  <a:cubicBezTo>
                    <a:pt x="1675" y="9592"/>
                    <a:pt x="1675" y="9553"/>
                    <a:pt x="1675" y="9518"/>
                  </a:cubicBezTo>
                  <a:cubicBezTo>
                    <a:pt x="1675" y="9518"/>
                    <a:pt x="1714" y="9483"/>
                    <a:pt x="1640" y="9445"/>
                  </a:cubicBezTo>
                  <a:cubicBezTo>
                    <a:pt x="1606" y="9427"/>
                    <a:pt x="1606" y="9427"/>
                    <a:pt x="1584" y="9427"/>
                  </a:cubicBezTo>
                  <a:close/>
                  <a:moveTo>
                    <a:pt x="4777" y="9752"/>
                  </a:moveTo>
                  <a:cubicBezTo>
                    <a:pt x="4742" y="9752"/>
                    <a:pt x="4686" y="9825"/>
                    <a:pt x="4686" y="9825"/>
                  </a:cubicBezTo>
                  <a:cubicBezTo>
                    <a:pt x="4669" y="10007"/>
                    <a:pt x="4651" y="10241"/>
                    <a:pt x="4651" y="10241"/>
                  </a:cubicBezTo>
                  <a:cubicBezTo>
                    <a:pt x="4634" y="10457"/>
                    <a:pt x="4651" y="10310"/>
                    <a:pt x="4686" y="10474"/>
                  </a:cubicBezTo>
                  <a:lnTo>
                    <a:pt x="4721" y="10548"/>
                  </a:lnTo>
                  <a:cubicBezTo>
                    <a:pt x="4811" y="10440"/>
                    <a:pt x="4829" y="10331"/>
                    <a:pt x="4850" y="10241"/>
                  </a:cubicBezTo>
                  <a:lnTo>
                    <a:pt x="4850" y="10076"/>
                  </a:lnTo>
                  <a:cubicBezTo>
                    <a:pt x="4850" y="9899"/>
                    <a:pt x="4777" y="9769"/>
                    <a:pt x="4777" y="9769"/>
                  </a:cubicBezTo>
                  <a:lnTo>
                    <a:pt x="4777" y="9752"/>
                  </a:lnTo>
                  <a:close/>
                  <a:moveTo>
                    <a:pt x="632" y="10167"/>
                  </a:moveTo>
                  <a:cubicBezTo>
                    <a:pt x="593" y="10167"/>
                    <a:pt x="576" y="10184"/>
                    <a:pt x="576" y="10184"/>
                  </a:cubicBezTo>
                  <a:cubicBezTo>
                    <a:pt x="576" y="10184"/>
                    <a:pt x="559" y="10202"/>
                    <a:pt x="541" y="10331"/>
                  </a:cubicBezTo>
                  <a:lnTo>
                    <a:pt x="541" y="10418"/>
                  </a:lnTo>
                  <a:cubicBezTo>
                    <a:pt x="541" y="10418"/>
                    <a:pt x="524" y="10565"/>
                    <a:pt x="524" y="10656"/>
                  </a:cubicBezTo>
                  <a:lnTo>
                    <a:pt x="559" y="10872"/>
                  </a:lnTo>
                  <a:lnTo>
                    <a:pt x="632" y="10816"/>
                  </a:lnTo>
                  <a:cubicBezTo>
                    <a:pt x="649" y="10725"/>
                    <a:pt x="667" y="10656"/>
                    <a:pt x="667" y="10526"/>
                  </a:cubicBezTo>
                  <a:cubicBezTo>
                    <a:pt x="684" y="10474"/>
                    <a:pt x="684" y="10418"/>
                    <a:pt x="684" y="10366"/>
                  </a:cubicBezTo>
                  <a:lnTo>
                    <a:pt x="684" y="10258"/>
                  </a:lnTo>
                  <a:lnTo>
                    <a:pt x="632" y="10167"/>
                  </a:lnTo>
                  <a:close/>
                  <a:moveTo>
                    <a:pt x="3929" y="10223"/>
                  </a:moveTo>
                  <a:cubicBezTo>
                    <a:pt x="3877" y="10223"/>
                    <a:pt x="3855" y="10258"/>
                    <a:pt x="3855" y="10258"/>
                  </a:cubicBezTo>
                  <a:cubicBezTo>
                    <a:pt x="3855" y="10258"/>
                    <a:pt x="3803" y="10509"/>
                    <a:pt x="3786" y="10742"/>
                  </a:cubicBezTo>
                  <a:lnTo>
                    <a:pt x="3821" y="10781"/>
                  </a:lnTo>
                  <a:lnTo>
                    <a:pt x="3877" y="10872"/>
                  </a:lnTo>
                  <a:lnTo>
                    <a:pt x="3946" y="10799"/>
                  </a:lnTo>
                  <a:cubicBezTo>
                    <a:pt x="3946" y="10799"/>
                    <a:pt x="3985" y="10526"/>
                    <a:pt x="3985" y="10292"/>
                  </a:cubicBezTo>
                  <a:lnTo>
                    <a:pt x="3929" y="10223"/>
                  </a:lnTo>
                  <a:close/>
                  <a:moveTo>
                    <a:pt x="2488" y="10401"/>
                  </a:moveTo>
                  <a:cubicBezTo>
                    <a:pt x="2471" y="10401"/>
                    <a:pt x="2449" y="10418"/>
                    <a:pt x="2449" y="10418"/>
                  </a:cubicBezTo>
                  <a:cubicBezTo>
                    <a:pt x="2449" y="10418"/>
                    <a:pt x="2432" y="10634"/>
                    <a:pt x="2415" y="10764"/>
                  </a:cubicBezTo>
                  <a:lnTo>
                    <a:pt x="2488" y="11032"/>
                  </a:lnTo>
                  <a:lnTo>
                    <a:pt x="2557" y="10907"/>
                  </a:lnTo>
                  <a:cubicBezTo>
                    <a:pt x="2557" y="10907"/>
                    <a:pt x="2596" y="10872"/>
                    <a:pt x="2614" y="10600"/>
                  </a:cubicBezTo>
                  <a:lnTo>
                    <a:pt x="2596" y="10401"/>
                  </a:lnTo>
                  <a:close/>
                  <a:moveTo>
                    <a:pt x="91" y="11089"/>
                  </a:moveTo>
                  <a:cubicBezTo>
                    <a:pt x="52" y="11089"/>
                    <a:pt x="35" y="11140"/>
                    <a:pt x="35" y="11140"/>
                  </a:cubicBezTo>
                  <a:cubicBezTo>
                    <a:pt x="18" y="11214"/>
                    <a:pt x="18" y="11175"/>
                    <a:pt x="18" y="11214"/>
                  </a:cubicBezTo>
                  <a:cubicBezTo>
                    <a:pt x="0" y="11249"/>
                    <a:pt x="0" y="11521"/>
                    <a:pt x="91" y="11807"/>
                  </a:cubicBezTo>
                  <a:cubicBezTo>
                    <a:pt x="109" y="11824"/>
                    <a:pt x="160" y="11863"/>
                    <a:pt x="160" y="11863"/>
                  </a:cubicBezTo>
                  <a:lnTo>
                    <a:pt x="217" y="11789"/>
                  </a:lnTo>
                  <a:cubicBezTo>
                    <a:pt x="178" y="11590"/>
                    <a:pt x="160" y="11413"/>
                    <a:pt x="160" y="11214"/>
                  </a:cubicBezTo>
                  <a:lnTo>
                    <a:pt x="109" y="11106"/>
                  </a:lnTo>
                  <a:cubicBezTo>
                    <a:pt x="91" y="11106"/>
                    <a:pt x="91" y="11089"/>
                    <a:pt x="91" y="11089"/>
                  </a:cubicBezTo>
                  <a:close/>
                  <a:moveTo>
                    <a:pt x="1549" y="11266"/>
                  </a:moveTo>
                  <a:cubicBezTo>
                    <a:pt x="1532" y="11266"/>
                    <a:pt x="1515" y="11305"/>
                    <a:pt x="1515" y="11305"/>
                  </a:cubicBezTo>
                  <a:cubicBezTo>
                    <a:pt x="1476" y="11448"/>
                    <a:pt x="1476" y="11305"/>
                    <a:pt x="1458" y="11824"/>
                  </a:cubicBezTo>
                  <a:lnTo>
                    <a:pt x="1515" y="11880"/>
                  </a:lnTo>
                  <a:lnTo>
                    <a:pt x="1584" y="11824"/>
                  </a:lnTo>
                  <a:lnTo>
                    <a:pt x="1584" y="11664"/>
                  </a:lnTo>
                  <a:cubicBezTo>
                    <a:pt x="1606" y="11590"/>
                    <a:pt x="1606" y="11500"/>
                    <a:pt x="1606" y="11430"/>
                  </a:cubicBezTo>
                  <a:lnTo>
                    <a:pt x="1567" y="11266"/>
                  </a:lnTo>
                  <a:close/>
                  <a:moveTo>
                    <a:pt x="4703" y="11322"/>
                  </a:moveTo>
                  <a:lnTo>
                    <a:pt x="4634" y="11413"/>
                  </a:lnTo>
                  <a:cubicBezTo>
                    <a:pt x="4595" y="11699"/>
                    <a:pt x="4543" y="11898"/>
                    <a:pt x="4578" y="12131"/>
                  </a:cubicBezTo>
                  <a:lnTo>
                    <a:pt x="4634" y="12239"/>
                  </a:lnTo>
                  <a:lnTo>
                    <a:pt x="4703" y="12187"/>
                  </a:lnTo>
                  <a:cubicBezTo>
                    <a:pt x="4703" y="12187"/>
                    <a:pt x="4742" y="12097"/>
                    <a:pt x="4759" y="12040"/>
                  </a:cubicBezTo>
                  <a:cubicBezTo>
                    <a:pt x="4759" y="12040"/>
                    <a:pt x="4777" y="11863"/>
                    <a:pt x="4794" y="11699"/>
                  </a:cubicBezTo>
                  <a:cubicBezTo>
                    <a:pt x="4794" y="11699"/>
                    <a:pt x="4794" y="11538"/>
                    <a:pt x="4811" y="11413"/>
                  </a:cubicBezTo>
                  <a:lnTo>
                    <a:pt x="4742" y="11322"/>
                  </a:lnTo>
                  <a:close/>
                  <a:moveTo>
                    <a:pt x="3336" y="11538"/>
                  </a:moveTo>
                  <a:cubicBezTo>
                    <a:pt x="3297" y="11538"/>
                    <a:pt x="3245" y="11629"/>
                    <a:pt x="3228" y="12062"/>
                  </a:cubicBezTo>
                  <a:lnTo>
                    <a:pt x="3336" y="12313"/>
                  </a:lnTo>
                  <a:lnTo>
                    <a:pt x="3405" y="12187"/>
                  </a:lnTo>
                  <a:cubicBezTo>
                    <a:pt x="3444" y="12023"/>
                    <a:pt x="3444" y="12205"/>
                    <a:pt x="3423" y="11664"/>
                  </a:cubicBezTo>
                  <a:lnTo>
                    <a:pt x="3371" y="11573"/>
                  </a:lnTo>
                  <a:cubicBezTo>
                    <a:pt x="3353" y="11556"/>
                    <a:pt x="3353" y="11538"/>
                    <a:pt x="3336" y="11538"/>
                  </a:cubicBezTo>
                  <a:close/>
                </a:path>
              </a:pathLst>
            </a:custGeom>
            <a:solidFill>
              <a:srgbClr val="80DAA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1" name="Google Shape;2071;p27"/>
            <p:cNvSpPr/>
            <p:nvPr/>
          </p:nvSpPr>
          <p:spPr>
            <a:xfrm>
              <a:off x="4372975" y="1432850"/>
              <a:ext cx="30200" cy="73875"/>
            </a:xfrm>
            <a:custGeom>
              <a:avLst/>
              <a:gdLst/>
              <a:ahLst/>
              <a:cxnLst/>
              <a:rect l="l" t="t" r="r" b="b"/>
              <a:pathLst>
                <a:path w="1208" h="2955" extrusionOk="0">
                  <a:moveTo>
                    <a:pt x="1" y="2955"/>
                  </a:moveTo>
                  <a:lnTo>
                    <a:pt x="1" y="610"/>
                  </a:lnTo>
                  <a:cubicBezTo>
                    <a:pt x="1" y="268"/>
                    <a:pt x="273" y="0"/>
                    <a:pt x="615" y="0"/>
                  </a:cubicBezTo>
                  <a:cubicBezTo>
                    <a:pt x="940" y="0"/>
                    <a:pt x="1208" y="268"/>
                    <a:pt x="1208" y="610"/>
                  </a:cubicBezTo>
                  <a:lnTo>
                    <a:pt x="1208" y="2864"/>
                  </a:lnTo>
                  <a:lnTo>
                    <a:pt x="1100" y="2864"/>
                  </a:lnTo>
                  <a:cubicBezTo>
                    <a:pt x="797" y="2864"/>
                    <a:pt x="451" y="2881"/>
                    <a:pt x="148" y="2938"/>
                  </a:cubicBezTo>
                  <a:cubicBezTo>
                    <a:pt x="92" y="2938"/>
                    <a:pt x="57" y="2938"/>
                    <a:pt x="1" y="2955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2" name="Google Shape;2072;p27"/>
            <p:cNvSpPr/>
            <p:nvPr/>
          </p:nvSpPr>
          <p:spPr>
            <a:xfrm>
              <a:off x="4361725" y="1429150"/>
              <a:ext cx="42425" cy="22650"/>
            </a:xfrm>
            <a:custGeom>
              <a:avLst/>
              <a:gdLst/>
              <a:ahLst/>
              <a:cxnLst/>
              <a:rect l="l" t="t" r="r" b="b"/>
              <a:pathLst>
                <a:path w="1697" h="906" extrusionOk="0">
                  <a:moveTo>
                    <a:pt x="200" y="472"/>
                  </a:moveTo>
                  <a:cubicBezTo>
                    <a:pt x="126" y="542"/>
                    <a:pt x="74" y="615"/>
                    <a:pt x="35" y="689"/>
                  </a:cubicBezTo>
                  <a:cubicBezTo>
                    <a:pt x="35" y="706"/>
                    <a:pt x="1" y="758"/>
                    <a:pt x="1" y="758"/>
                  </a:cubicBezTo>
                  <a:cubicBezTo>
                    <a:pt x="126" y="814"/>
                    <a:pt x="308" y="689"/>
                    <a:pt x="382" y="633"/>
                  </a:cubicBezTo>
                  <a:cubicBezTo>
                    <a:pt x="416" y="598"/>
                    <a:pt x="433" y="581"/>
                    <a:pt x="468" y="559"/>
                  </a:cubicBezTo>
                  <a:cubicBezTo>
                    <a:pt x="490" y="542"/>
                    <a:pt x="524" y="490"/>
                    <a:pt x="507" y="507"/>
                  </a:cubicBezTo>
                  <a:cubicBezTo>
                    <a:pt x="490" y="559"/>
                    <a:pt x="451" y="598"/>
                    <a:pt x="433" y="650"/>
                  </a:cubicBezTo>
                  <a:cubicBezTo>
                    <a:pt x="399" y="689"/>
                    <a:pt x="325" y="849"/>
                    <a:pt x="433" y="849"/>
                  </a:cubicBezTo>
                  <a:cubicBezTo>
                    <a:pt x="524" y="849"/>
                    <a:pt x="615" y="775"/>
                    <a:pt x="667" y="706"/>
                  </a:cubicBezTo>
                  <a:cubicBezTo>
                    <a:pt x="706" y="689"/>
                    <a:pt x="723" y="667"/>
                    <a:pt x="741" y="633"/>
                  </a:cubicBezTo>
                  <a:cubicBezTo>
                    <a:pt x="758" y="633"/>
                    <a:pt x="758" y="598"/>
                    <a:pt x="775" y="598"/>
                  </a:cubicBezTo>
                  <a:cubicBezTo>
                    <a:pt x="849" y="650"/>
                    <a:pt x="992" y="905"/>
                    <a:pt x="1082" y="741"/>
                  </a:cubicBezTo>
                  <a:cubicBezTo>
                    <a:pt x="1100" y="723"/>
                    <a:pt x="1100" y="706"/>
                    <a:pt x="1100" y="689"/>
                  </a:cubicBezTo>
                  <a:lnTo>
                    <a:pt x="1100" y="581"/>
                  </a:lnTo>
                  <a:lnTo>
                    <a:pt x="1117" y="598"/>
                  </a:lnTo>
                  <a:cubicBezTo>
                    <a:pt x="1139" y="615"/>
                    <a:pt x="1156" y="633"/>
                    <a:pt x="1156" y="650"/>
                  </a:cubicBezTo>
                  <a:cubicBezTo>
                    <a:pt x="1191" y="689"/>
                    <a:pt x="1225" y="706"/>
                    <a:pt x="1281" y="741"/>
                  </a:cubicBezTo>
                  <a:cubicBezTo>
                    <a:pt x="1407" y="814"/>
                    <a:pt x="1550" y="814"/>
                    <a:pt x="1641" y="706"/>
                  </a:cubicBezTo>
                  <a:cubicBezTo>
                    <a:pt x="1697" y="633"/>
                    <a:pt x="1658" y="542"/>
                    <a:pt x="1641" y="472"/>
                  </a:cubicBezTo>
                  <a:cubicBezTo>
                    <a:pt x="1550" y="291"/>
                    <a:pt x="1333" y="183"/>
                    <a:pt x="1139" y="126"/>
                  </a:cubicBezTo>
                  <a:cubicBezTo>
                    <a:pt x="723" y="1"/>
                    <a:pt x="343" y="200"/>
                    <a:pt x="126" y="472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CUSTOM_9">
    <p:spTree>
      <p:nvGrpSpPr>
        <p:cNvPr id="1" name="Shape 2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7" name="Google Shape;2327;p32"/>
          <p:cNvSpPr/>
          <p:nvPr/>
        </p:nvSpPr>
        <p:spPr>
          <a:xfrm>
            <a:off x="7233675" y="4938650"/>
            <a:ext cx="2030700" cy="461700"/>
          </a:xfrm>
          <a:prstGeom prst="round2DiagRect">
            <a:avLst>
              <a:gd name="adj1" fmla="val 16667"/>
              <a:gd name="adj2" fmla="val 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328" name="Google Shape;2328;p32"/>
          <p:cNvGrpSpPr/>
          <p:nvPr/>
        </p:nvGrpSpPr>
        <p:grpSpPr>
          <a:xfrm>
            <a:off x="4382899" y="4938638"/>
            <a:ext cx="2749703" cy="122913"/>
            <a:chOff x="5024149" y="4918613"/>
            <a:chExt cx="2749703" cy="122913"/>
          </a:xfrm>
        </p:grpSpPr>
        <p:sp>
          <p:nvSpPr>
            <p:cNvPr id="2329" name="Google Shape;2329;p32"/>
            <p:cNvSpPr/>
            <p:nvPr/>
          </p:nvSpPr>
          <p:spPr>
            <a:xfrm>
              <a:off x="5121294" y="4919510"/>
              <a:ext cx="27619" cy="26802"/>
            </a:xfrm>
            <a:custGeom>
              <a:avLst/>
              <a:gdLst/>
              <a:ahLst/>
              <a:cxnLst/>
              <a:rect l="l" t="t" r="r" b="b"/>
              <a:pathLst>
                <a:path w="1324" h="1285" extrusionOk="0">
                  <a:moveTo>
                    <a:pt x="690" y="1"/>
                  </a:moveTo>
                  <a:cubicBezTo>
                    <a:pt x="379" y="1"/>
                    <a:pt x="134" y="175"/>
                    <a:pt x="0" y="460"/>
                  </a:cubicBezTo>
                  <a:cubicBezTo>
                    <a:pt x="0" y="643"/>
                    <a:pt x="183" y="1031"/>
                    <a:pt x="297" y="1213"/>
                  </a:cubicBezTo>
                  <a:cubicBezTo>
                    <a:pt x="418" y="1262"/>
                    <a:pt x="528" y="1284"/>
                    <a:pt x="629" y="1284"/>
                  </a:cubicBezTo>
                  <a:cubicBezTo>
                    <a:pt x="909" y="1284"/>
                    <a:pt x="1123" y="1110"/>
                    <a:pt x="1324" y="825"/>
                  </a:cubicBezTo>
                  <a:cubicBezTo>
                    <a:pt x="1233" y="551"/>
                    <a:pt x="1141" y="163"/>
                    <a:pt x="1050" y="72"/>
                  </a:cubicBezTo>
                  <a:cubicBezTo>
                    <a:pt x="923" y="24"/>
                    <a:pt x="802" y="1"/>
                    <a:pt x="69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0" name="Google Shape;2330;p32"/>
            <p:cNvSpPr/>
            <p:nvPr/>
          </p:nvSpPr>
          <p:spPr>
            <a:xfrm>
              <a:off x="5307928" y="4919510"/>
              <a:ext cx="27639" cy="26802"/>
            </a:xfrm>
            <a:custGeom>
              <a:avLst/>
              <a:gdLst/>
              <a:ahLst/>
              <a:cxnLst/>
              <a:rect l="l" t="t" r="r" b="b"/>
              <a:pathLst>
                <a:path w="1325" h="1285" extrusionOk="0">
                  <a:moveTo>
                    <a:pt x="731" y="1"/>
                  </a:moveTo>
                  <a:cubicBezTo>
                    <a:pt x="435" y="1"/>
                    <a:pt x="159" y="175"/>
                    <a:pt x="92" y="460"/>
                  </a:cubicBezTo>
                  <a:cubicBezTo>
                    <a:pt x="1" y="643"/>
                    <a:pt x="183" y="1031"/>
                    <a:pt x="366" y="1213"/>
                  </a:cubicBezTo>
                  <a:cubicBezTo>
                    <a:pt x="469" y="1262"/>
                    <a:pt x="572" y="1284"/>
                    <a:pt x="671" y="1284"/>
                  </a:cubicBezTo>
                  <a:cubicBezTo>
                    <a:pt x="945" y="1284"/>
                    <a:pt x="1190" y="1110"/>
                    <a:pt x="1324" y="825"/>
                  </a:cubicBezTo>
                  <a:cubicBezTo>
                    <a:pt x="1233" y="551"/>
                    <a:pt x="1233" y="163"/>
                    <a:pt x="1051" y="72"/>
                  </a:cubicBezTo>
                  <a:cubicBezTo>
                    <a:pt x="948" y="24"/>
                    <a:pt x="838" y="1"/>
                    <a:pt x="73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1" name="Google Shape;2331;p32"/>
            <p:cNvSpPr/>
            <p:nvPr/>
          </p:nvSpPr>
          <p:spPr>
            <a:xfrm>
              <a:off x="5496482" y="4919823"/>
              <a:ext cx="25720" cy="27365"/>
            </a:xfrm>
            <a:custGeom>
              <a:avLst/>
              <a:gdLst/>
              <a:ahLst/>
              <a:cxnLst/>
              <a:rect l="l" t="t" r="r" b="b"/>
              <a:pathLst>
                <a:path w="1233" h="1312" extrusionOk="0">
                  <a:moveTo>
                    <a:pt x="656" y="0"/>
                  </a:moveTo>
                  <a:cubicBezTo>
                    <a:pt x="565" y="0"/>
                    <a:pt x="467" y="18"/>
                    <a:pt x="366" y="57"/>
                  </a:cubicBezTo>
                  <a:cubicBezTo>
                    <a:pt x="183" y="57"/>
                    <a:pt x="92" y="445"/>
                    <a:pt x="0" y="628"/>
                  </a:cubicBezTo>
                  <a:cubicBezTo>
                    <a:pt x="77" y="1106"/>
                    <a:pt x="346" y="1312"/>
                    <a:pt x="660" y="1312"/>
                  </a:cubicBezTo>
                  <a:cubicBezTo>
                    <a:pt x="720" y="1312"/>
                    <a:pt x="782" y="1304"/>
                    <a:pt x="845" y="1290"/>
                  </a:cubicBezTo>
                  <a:cubicBezTo>
                    <a:pt x="1028" y="1198"/>
                    <a:pt x="1233" y="810"/>
                    <a:pt x="1233" y="628"/>
                  </a:cubicBezTo>
                  <a:cubicBezTo>
                    <a:pt x="1233" y="250"/>
                    <a:pt x="992" y="0"/>
                    <a:pt x="65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2" name="Google Shape;2332;p32"/>
            <p:cNvSpPr/>
            <p:nvPr/>
          </p:nvSpPr>
          <p:spPr>
            <a:xfrm>
              <a:off x="5680738" y="4920490"/>
              <a:ext cx="33835" cy="26239"/>
            </a:xfrm>
            <a:custGeom>
              <a:avLst/>
              <a:gdLst/>
              <a:ahLst/>
              <a:cxnLst/>
              <a:rect l="l" t="t" r="r" b="b"/>
              <a:pathLst>
                <a:path w="1622" h="1258" extrusionOk="0">
                  <a:moveTo>
                    <a:pt x="743" y="1"/>
                  </a:moveTo>
                  <a:cubicBezTo>
                    <a:pt x="538" y="1"/>
                    <a:pt x="277" y="154"/>
                    <a:pt x="183" y="322"/>
                  </a:cubicBezTo>
                  <a:cubicBezTo>
                    <a:pt x="1" y="778"/>
                    <a:pt x="298" y="1166"/>
                    <a:pt x="754" y="1258"/>
                  </a:cubicBezTo>
                  <a:cubicBezTo>
                    <a:pt x="959" y="1166"/>
                    <a:pt x="1325" y="1075"/>
                    <a:pt x="1439" y="892"/>
                  </a:cubicBezTo>
                  <a:cubicBezTo>
                    <a:pt x="1621" y="413"/>
                    <a:pt x="1325" y="25"/>
                    <a:pt x="868" y="25"/>
                  </a:cubicBezTo>
                  <a:cubicBezTo>
                    <a:pt x="831" y="8"/>
                    <a:pt x="788" y="1"/>
                    <a:pt x="74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3" name="Google Shape;2333;p32"/>
            <p:cNvSpPr/>
            <p:nvPr/>
          </p:nvSpPr>
          <p:spPr>
            <a:xfrm>
              <a:off x="5871190" y="4919823"/>
              <a:ext cx="27639" cy="27365"/>
            </a:xfrm>
            <a:custGeom>
              <a:avLst/>
              <a:gdLst/>
              <a:ahLst/>
              <a:cxnLst/>
              <a:rect l="l" t="t" r="r" b="b"/>
              <a:pathLst>
                <a:path w="1325" h="1312" extrusionOk="0">
                  <a:moveTo>
                    <a:pt x="677" y="0"/>
                  </a:moveTo>
                  <a:cubicBezTo>
                    <a:pt x="587" y="0"/>
                    <a:pt x="491" y="18"/>
                    <a:pt x="389" y="57"/>
                  </a:cubicBezTo>
                  <a:cubicBezTo>
                    <a:pt x="184" y="57"/>
                    <a:pt x="92" y="445"/>
                    <a:pt x="1" y="628"/>
                  </a:cubicBezTo>
                  <a:cubicBezTo>
                    <a:pt x="77" y="1106"/>
                    <a:pt x="363" y="1312"/>
                    <a:pt x="682" y="1312"/>
                  </a:cubicBezTo>
                  <a:cubicBezTo>
                    <a:pt x="743" y="1312"/>
                    <a:pt x="806" y="1304"/>
                    <a:pt x="868" y="1290"/>
                  </a:cubicBezTo>
                  <a:cubicBezTo>
                    <a:pt x="1051" y="1198"/>
                    <a:pt x="1325" y="810"/>
                    <a:pt x="1233" y="628"/>
                  </a:cubicBezTo>
                  <a:cubicBezTo>
                    <a:pt x="1233" y="250"/>
                    <a:pt x="1007" y="0"/>
                    <a:pt x="6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4" name="Google Shape;2334;p32"/>
            <p:cNvSpPr/>
            <p:nvPr/>
          </p:nvSpPr>
          <p:spPr>
            <a:xfrm>
              <a:off x="6055947" y="4920490"/>
              <a:ext cx="33334" cy="26239"/>
            </a:xfrm>
            <a:custGeom>
              <a:avLst/>
              <a:gdLst/>
              <a:ahLst/>
              <a:cxnLst/>
              <a:rect l="l" t="t" r="r" b="b"/>
              <a:pathLst>
                <a:path w="1598" h="1258" extrusionOk="0">
                  <a:moveTo>
                    <a:pt x="728" y="1"/>
                  </a:moveTo>
                  <a:cubicBezTo>
                    <a:pt x="531" y="1"/>
                    <a:pt x="257" y="154"/>
                    <a:pt x="183" y="322"/>
                  </a:cubicBezTo>
                  <a:cubicBezTo>
                    <a:pt x="0" y="778"/>
                    <a:pt x="274" y="1166"/>
                    <a:pt x="753" y="1258"/>
                  </a:cubicBezTo>
                  <a:cubicBezTo>
                    <a:pt x="936" y="1166"/>
                    <a:pt x="1324" y="1075"/>
                    <a:pt x="1415" y="892"/>
                  </a:cubicBezTo>
                  <a:cubicBezTo>
                    <a:pt x="1598" y="413"/>
                    <a:pt x="1324" y="25"/>
                    <a:pt x="845" y="25"/>
                  </a:cubicBezTo>
                  <a:cubicBezTo>
                    <a:pt x="811" y="8"/>
                    <a:pt x="771" y="1"/>
                    <a:pt x="72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5" name="Google Shape;2335;p32"/>
            <p:cNvSpPr/>
            <p:nvPr/>
          </p:nvSpPr>
          <p:spPr>
            <a:xfrm>
              <a:off x="6244021" y="4919093"/>
              <a:ext cx="31916" cy="27636"/>
            </a:xfrm>
            <a:custGeom>
              <a:avLst/>
              <a:gdLst/>
              <a:ahLst/>
              <a:cxnLst/>
              <a:rect l="l" t="t" r="r" b="b"/>
              <a:pathLst>
                <a:path w="1530" h="1325" extrusionOk="0">
                  <a:moveTo>
                    <a:pt x="571" y="1"/>
                  </a:moveTo>
                  <a:cubicBezTo>
                    <a:pt x="206" y="183"/>
                    <a:pt x="0" y="571"/>
                    <a:pt x="206" y="959"/>
                  </a:cubicBezTo>
                  <a:cubicBezTo>
                    <a:pt x="297" y="1142"/>
                    <a:pt x="685" y="1325"/>
                    <a:pt x="867" y="1325"/>
                  </a:cubicBezTo>
                  <a:cubicBezTo>
                    <a:pt x="1347" y="1142"/>
                    <a:pt x="1529" y="754"/>
                    <a:pt x="1256" y="389"/>
                  </a:cubicBezTo>
                  <a:cubicBezTo>
                    <a:pt x="1141" y="183"/>
                    <a:pt x="867" y="92"/>
                    <a:pt x="57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6" name="Google Shape;2336;p32"/>
            <p:cNvSpPr/>
            <p:nvPr/>
          </p:nvSpPr>
          <p:spPr>
            <a:xfrm>
              <a:off x="6434473" y="4919823"/>
              <a:ext cx="26200" cy="27365"/>
            </a:xfrm>
            <a:custGeom>
              <a:avLst/>
              <a:gdLst/>
              <a:ahLst/>
              <a:cxnLst/>
              <a:rect l="l" t="t" r="r" b="b"/>
              <a:pathLst>
                <a:path w="1256" h="1312" extrusionOk="0">
                  <a:moveTo>
                    <a:pt x="679" y="0"/>
                  </a:moveTo>
                  <a:cubicBezTo>
                    <a:pt x="588" y="0"/>
                    <a:pt x="490" y="18"/>
                    <a:pt x="388" y="57"/>
                  </a:cubicBezTo>
                  <a:cubicBezTo>
                    <a:pt x="206" y="57"/>
                    <a:pt x="114" y="445"/>
                    <a:pt x="0" y="628"/>
                  </a:cubicBezTo>
                  <a:cubicBezTo>
                    <a:pt x="0" y="1106"/>
                    <a:pt x="273" y="1312"/>
                    <a:pt x="644" y="1312"/>
                  </a:cubicBezTo>
                  <a:cubicBezTo>
                    <a:pt x="715" y="1312"/>
                    <a:pt x="790" y="1304"/>
                    <a:pt x="868" y="1290"/>
                  </a:cubicBezTo>
                  <a:cubicBezTo>
                    <a:pt x="1050" y="1198"/>
                    <a:pt x="1256" y="810"/>
                    <a:pt x="1256" y="628"/>
                  </a:cubicBezTo>
                  <a:cubicBezTo>
                    <a:pt x="1256" y="250"/>
                    <a:pt x="1015" y="0"/>
                    <a:pt x="67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7" name="Google Shape;2337;p32"/>
            <p:cNvSpPr/>
            <p:nvPr/>
          </p:nvSpPr>
          <p:spPr>
            <a:xfrm>
              <a:off x="6621107" y="4919176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02" y="1"/>
                  </a:moveTo>
                  <a:cubicBezTo>
                    <a:pt x="577" y="1"/>
                    <a:pt x="440" y="31"/>
                    <a:pt x="298" y="88"/>
                  </a:cubicBezTo>
                  <a:cubicBezTo>
                    <a:pt x="183" y="179"/>
                    <a:pt x="1" y="567"/>
                    <a:pt x="1" y="750"/>
                  </a:cubicBezTo>
                  <a:cubicBezTo>
                    <a:pt x="125" y="1077"/>
                    <a:pt x="346" y="1266"/>
                    <a:pt x="596" y="1266"/>
                  </a:cubicBezTo>
                  <a:cubicBezTo>
                    <a:pt x="713" y="1266"/>
                    <a:pt x="836" y="1225"/>
                    <a:pt x="959" y="1138"/>
                  </a:cubicBezTo>
                  <a:cubicBezTo>
                    <a:pt x="1142" y="1047"/>
                    <a:pt x="1233" y="659"/>
                    <a:pt x="1325" y="476"/>
                  </a:cubicBezTo>
                  <a:cubicBezTo>
                    <a:pt x="1199" y="147"/>
                    <a:pt x="977" y="1"/>
                    <a:pt x="70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8" name="Google Shape;2338;p32"/>
            <p:cNvSpPr/>
            <p:nvPr/>
          </p:nvSpPr>
          <p:spPr>
            <a:xfrm>
              <a:off x="6807762" y="4919176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23" y="1"/>
                  </a:moveTo>
                  <a:cubicBezTo>
                    <a:pt x="608" y="1"/>
                    <a:pt x="487" y="31"/>
                    <a:pt x="366" y="88"/>
                  </a:cubicBezTo>
                  <a:cubicBezTo>
                    <a:pt x="183" y="179"/>
                    <a:pt x="0" y="567"/>
                    <a:pt x="92" y="750"/>
                  </a:cubicBezTo>
                  <a:cubicBezTo>
                    <a:pt x="154" y="1077"/>
                    <a:pt x="397" y="1266"/>
                    <a:pt x="668" y="1266"/>
                  </a:cubicBezTo>
                  <a:cubicBezTo>
                    <a:pt x="795" y="1266"/>
                    <a:pt x="927" y="1225"/>
                    <a:pt x="1050" y="1138"/>
                  </a:cubicBezTo>
                  <a:cubicBezTo>
                    <a:pt x="1233" y="1047"/>
                    <a:pt x="1233" y="659"/>
                    <a:pt x="1324" y="476"/>
                  </a:cubicBezTo>
                  <a:cubicBezTo>
                    <a:pt x="1199" y="147"/>
                    <a:pt x="976" y="1"/>
                    <a:pt x="72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9" name="Google Shape;2339;p32"/>
            <p:cNvSpPr/>
            <p:nvPr/>
          </p:nvSpPr>
          <p:spPr>
            <a:xfrm>
              <a:off x="6998214" y="4918613"/>
              <a:ext cx="25720" cy="27407"/>
            </a:xfrm>
            <a:custGeom>
              <a:avLst/>
              <a:gdLst/>
              <a:ahLst/>
              <a:cxnLst/>
              <a:rect l="l" t="t" r="r" b="b"/>
              <a:pathLst>
                <a:path w="1233" h="1314" extrusionOk="0">
                  <a:moveTo>
                    <a:pt x="617" y="1"/>
                  </a:moveTo>
                  <a:cubicBezTo>
                    <a:pt x="255" y="1"/>
                    <a:pt x="0" y="194"/>
                    <a:pt x="0" y="594"/>
                  </a:cubicBezTo>
                  <a:cubicBezTo>
                    <a:pt x="0" y="777"/>
                    <a:pt x="183" y="1256"/>
                    <a:pt x="366" y="1256"/>
                  </a:cubicBezTo>
                  <a:cubicBezTo>
                    <a:pt x="448" y="1295"/>
                    <a:pt x="530" y="1313"/>
                    <a:pt x="610" y="1313"/>
                  </a:cubicBezTo>
                  <a:cubicBezTo>
                    <a:pt x="905" y="1313"/>
                    <a:pt x="1161" y="1063"/>
                    <a:pt x="1233" y="686"/>
                  </a:cubicBezTo>
                  <a:cubicBezTo>
                    <a:pt x="1142" y="503"/>
                    <a:pt x="1050" y="115"/>
                    <a:pt x="845" y="24"/>
                  </a:cubicBezTo>
                  <a:cubicBezTo>
                    <a:pt x="766" y="9"/>
                    <a:pt x="689" y="1"/>
                    <a:pt x="61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0" name="Google Shape;2340;p32"/>
            <p:cNvSpPr/>
            <p:nvPr/>
          </p:nvSpPr>
          <p:spPr>
            <a:xfrm>
              <a:off x="7182470" y="4920490"/>
              <a:ext cx="31937" cy="26239"/>
            </a:xfrm>
            <a:custGeom>
              <a:avLst/>
              <a:gdLst/>
              <a:ahLst/>
              <a:cxnLst/>
              <a:rect l="l" t="t" r="r" b="b"/>
              <a:pathLst>
                <a:path w="1531" h="1258" extrusionOk="0">
                  <a:moveTo>
                    <a:pt x="651" y="1"/>
                  </a:moveTo>
                  <a:cubicBezTo>
                    <a:pt x="447" y="1"/>
                    <a:pt x="185" y="154"/>
                    <a:pt x="92" y="322"/>
                  </a:cubicBezTo>
                  <a:cubicBezTo>
                    <a:pt x="1" y="778"/>
                    <a:pt x="206" y="1166"/>
                    <a:pt x="663" y="1258"/>
                  </a:cubicBezTo>
                  <a:cubicBezTo>
                    <a:pt x="959" y="1166"/>
                    <a:pt x="1348" y="1075"/>
                    <a:pt x="1348" y="892"/>
                  </a:cubicBezTo>
                  <a:cubicBezTo>
                    <a:pt x="1530" y="413"/>
                    <a:pt x="1233" y="25"/>
                    <a:pt x="777" y="25"/>
                  </a:cubicBezTo>
                  <a:cubicBezTo>
                    <a:pt x="740" y="8"/>
                    <a:pt x="697" y="1"/>
                    <a:pt x="65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1" name="Google Shape;2341;p32"/>
            <p:cNvSpPr/>
            <p:nvPr/>
          </p:nvSpPr>
          <p:spPr>
            <a:xfrm>
              <a:off x="7372922" y="4918613"/>
              <a:ext cx="25741" cy="27407"/>
            </a:xfrm>
            <a:custGeom>
              <a:avLst/>
              <a:gdLst/>
              <a:ahLst/>
              <a:cxnLst/>
              <a:rect l="l" t="t" r="r" b="b"/>
              <a:pathLst>
                <a:path w="1234" h="1314" extrusionOk="0">
                  <a:moveTo>
                    <a:pt x="671" y="1"/>
                  </a:moveTo>
                  <a:cubicBezTo>
                    <a:pt x="335" y="1"/>
                    <a:pt x="1" y="194"/>
                    <a:pt x="1" y="594"/>
                  </a:cubicBezTo>
                  <a:cubicBezTo>
                    <a:pt x="1" y="777"/>
                    <a:pt x="206" y="1256"/>
                    <a:pt x="389" y="1256"/>
                  </a:cubicBezTo>
                  <a:cubicBezTo>
                    <a:pt x="471" y="1295"/>
                    <a:pt x="553" y="1313"/>
                    <a:pt x="631" y="1313"/>
                  </a:cubicBezTo>
                  <a:cubicBezTo>
                    <a:pt x="920" y="1313"/>
                    <a:pt x="1162" y="1063"/>
                    <a:pt x="1234" y="686"/>
                  </a:cubicBezTo>
                  <a:cubicBezTo>
                    <a:pt x="1142" y="503"/>
                    <a:pt x="1051" y="115"/>
                    <a:pt x="868" y="24"/>
                  </a:cubicBezTo>
                  <a:cubicBezTo>
                    <a:pt x="804" y="9"/>
                    <a:pt x="737" y="1"/>
                    <a:pt x="67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2" name="Google Shape;2342;p32"/>
            <p:cNvSpPr/>
            <p:nvPr/>
          </p:nvSpPr>
          <p:spPr>
            <a:xfrm>
              <a:off x="7559578" y="4918613"/>
              <a:ext cx="27640" cy="27407"/>
            </a:xfrm>
            <a:custGeom>
              <a:avLst/>
              <a:gdLst/>
              <a:ahLst/>
              <a:cxnLst/>
              <a:rect l="l" t="t" r="r" b="b"/>
              <a:pathLst>
                <a:path w="1325" h="1314" extrusionOk="0">
                  <a:moveTo>
                    <a:pt x="730" y="1"/>
                  </a:moveTo>
                  <a:cubicBezTo>
                    <a:pt x="359" y="1"/>
                    <a:pt x="77" y="194"/>
                    <a:pt x="0" y="594"/>
                  </a:cubicBezTo>
                  <a:cubicBezTo>
                    <a:pt x="0" y="777"/>
                    <a:pt x="183" y="1256"/>
                    <a:pt x="388" y="1256"/>
                  </a:cubicBezTo>
                  <a:cubicBezTo>
                    <a:pt x="485" y="1295"/>
                    <a:pt x="575" y="1313"/>
                    <a:pt x="658" y="1313"/>
                  </a:cubicBezTo>
                  <a:cubicBezTo>
                    <a:pt x="966" y="1313"/>
                    <a:pt x="1181" y="1063"/>
                    <a:pt x="1324" y="686"/>
                  </a:cubicBezTo>
                  <a:cubicBezTo>
                    <a:pt x="1233" y="503"/>
                    <a:pt x="1142" y="115"/>
                    <a:pt x="959" y="24"/>
                  </a:cubicBezTo>
                  <a:cubicBezTo>
                    <a:pt x="880" y="9"/>
                    <a:pt x="803" y="1"/>
                    <a:pt x="73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3" name="Google Shape;2343;p32"/>
            <p:cNvSpPr/>
            <p:nvPr/>
          </p:nvSpPr>
          <p:spPr>
            <a:xfrm>
              <a:off x="7748131" y="4918634"/>
              <a:ext cx="25720" cy="27386"/>
            </a:xfrm>
            <a:custGeom>
              <a:avLst/>
              <a:gdLst/>
              <a:ahLst/>
              <a:cxnLst/>
              <a:rect l="l" t="t" r="r" b="b"/>
              <a:pathLst>
                <a:path w="1233" h="1313" extrusionOk="0">
                  <a:moveTo>
                    <a:pt x="552" y="0"/>
                  </a:moveTo>
                  <a:cubicBezTo>
                    <a:pt x="491" y="0"/>
                    <a:pt x="428" y="8"/>
                    <a:pt x="365" y="23"/>
                  </a:cubicBezTo>
                  <a:cubicBezTo>
                    <a:pt x="183" y="114"/>
                    <a:pt x="0" y="502"/>
                    <a:pt x="0" y="685"/>
                  </a:cubicBezTo>
                  <a:cubicBezTo>
                    <a:pt x="0" y="1062"/>
                    <a:pt x="227" y="1312"/>
                    <a:pt x="557" y="1312"/>
                  </a:cubicBezTo>
                  <a:cubicBezTo>
                    <a:pt x="646" y="1312"/>
                    <a:pt x="743" y="1294"/>
                    <a:pt x="845" y="1255"/>
                  </a:cubicBezTo>
                  <a:cubicBezTo>
                    <a:pt x="1050" y="1255"/>
                    <a:pt x="1142" y="867"/>
                    <a:pt x="1233" y="685"/>
                  </a:cubicBezTo>
                  <a:cubicBezTo>
                    <a:pt x="1156" y="206"/>
                    <a:pt x="871" y="0"/>
                    <a:pt x="55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4" name="Google Shape;2344;p32"/>
            <p:cNvSpPr/>
            <p:nvPr/>
          </p:nvSpPr>
          <p:spPr>
            <a:xfrm>
              <a:off x="5024149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27" y="0"/>
                  </a:moveTo>
                  <a:cubicBezTo>
                    <a:pt x="872" y="0"/>
                    <a:pt x="815" y="6"/>
                    <a:pt x="754" y="17"/>
                  </a:cubicBezTo>
                  <a:cubicBezTo>
                    <a:pt x="571" y="17"/>
                    <a:pt x="183" y="200"/>
                    <a:pt x="92" y="383"/>
                  </a:cubicBezTo>
                  <a:cubicBezTo>
                    <a:pt x="1" y="771"/>
                    <a:pt x="183" y="1250"/>
                    <a:pt x="571" y="1341"/>
                  </a:cubicBezTo>
                  <a:cubicBezTo>
                    <a:pt x="676" y="1375"/>
                    <a:pt x="767" y="1390"/>
                    <a:pt x="848" y="1390"/>
                  </a:cubicBezTo>
                  <a:cubicBezTo>
                    <a:pt x="1209" y="1390"/>
                    <a:pt x="1362" y="1088"/>
                    <a:pt x="1530" y="771"/>
                  </a:cubicBezTo>
                  <a:cubicBezTo>
                    <a:pt x="1530" y="272"/>
                    <a:pt x="1304" y="0"/>
                    <a:pt x="92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5" name="Google Shape;2345;p32"/>
            <p:cNvSpPr/>
            <p:nvPr/>
          </p:nvSpPr>
          <p:spPr>
            <a:xfrm>
              <a:off x="5212953" y="5012034"/>
              <a:ext cx="33585" cy="29451"/>
            </a:xfrm>
            <a:custGeom>
              <a:avLst/>
              <a:gdLst/>
              <a:ahLst/>
              <a:cxnLst/>
              <a:rect l="l" t="t" r="r" b="b"/>
              <a:pathLst>
                <a:path w="1610" h="1412" extrusionOk="0">
                  <a:moveTo>
                    <a:pt x="628" y="1"/>
                  </a:moveTo>
                  <a:cubicBezTo>
                    <a:pt x="198" y="1"/>
                    <a:pt x="0" y="263"/>
                    <a:pt x="80" y="680"/>
                  </a:cubicBezTo>
                  <a:cubicBezTo>
                    <a:pt x="80" y="954"/>
                    <a:pt x="262" y="1342"/>
                    <a:pt x="468" y="1342"/>
                  </a:cubicBezTo>
                  <a:cubicBezTo>
                    <a:pt x="561" y="1389"/>
                    <a:pt x="662" y="1412"/>
                    <a:pt x="763" y="1412"/>
                  </a:cubicBezTo>
                  <a:cubicBezTo>
                    <a:pt x="1053" y="1412"/>
                    <a:pt x="1336" y="1219"/>
                    <a:pt x="1404" y="863"/>
                  </a:cubicBezTo>
                  <a:cubicBezTo>
                    <a:pt x="1609" y="384"/>
                    <a:pt x="1221" y="110"/>
                    <a:pt x="833" y="18"/>
                  </a:cubicBezTo>
                  <a:cubicBezTo>
                    <a:pt x="760" y="7"/>
                    <a:pt x="691" y="1"/>
                    <a:pt x="62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6" name="Google Shape;2346;p32"/>
            <p:cNvSpPr/>
            <p:nvPr/>
          </p:nvSpPr>
          <p:spPr>
            <a:xfrm>
              <a:off x="5398878" y="5011241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68" y="0"/>
                  </a:moveTo>
                  <a:cubicBezTo>
                    <a:pt x="886" y="0"/>
                    <a:pt x="792" y="18"/>
                    <a:pt x="685" y="56"/>
                  </a:cubicBezTo>
                  <a:cubicBezTo>
                    <a:pt x="480" y="56"/>
                    <a:pt x="206" y="330"/>
                    <a:pt x="114" y="536"/>
                  </a:cubicBezTo>
                  <a:cubicBezTo>
                    <a:pt x="0" y="992"/>
                    <a:pt x="297" y="1380"/>
                    <a:pt x="776" y="1380"/>
                  </a:cubicBezTo>
                  <a:cubicBezTo>
                    <a:pt x="838" y="1392"/>
                    <a:pt x="896" y="1398"/>
                    <a:pt x="951" y="1398"/>
                  </a:cubicBezTo>
                  <a:cubicBezTo>
                    <a:pt x="1322" y="1398"/>
                    <a:pt x="1530" y="1136"/>
                    <a:pt x="1530" y="718"/>
                  </a:cubicBezTo>
                  <a:cubicBezTo>
                    <a:pt x="1455" y="329"/>
                    <a:pt x="1321" y="0"/>
                    <a:pt x="96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7" name="Google Shape;2347;p32"/>
            <p:cNvSpPr/>
            <p:nvPr/>
          </p:nvSpPr>
          <p:spPr>
            <a:xfrm>
              <a:off x="5585512" y="5012409"/>
              <a:ext cx="35733" cy="28846"/>
            </a:xfrm>
            <a:custGeom>
              <a:avLst/>
              <a:gdLst/>
              <a:ahLst/>
              <a:cxnLst/>
              <a:rect l="l" t="t" r="r" b="b"/>
              <a:pathLst>
                <a:path w="1713" h="1383" extrusionOk="0">
                  <a:moveTo>
                    <a:pt x="959" y="0"/>
                  </a:moveTo>
                  <a:cubicBezTo>
                    <a:pt x="663" y="0"/>
                    <a:pt x="297" y="183"/>
                    <a:pt x="297" y="366"/>
                  </a:cubicBezTo>
                  <a:cubicBezTo>
                    <a:pt x="1" y="754"/>
                    <a:pt x="183" y="1233"/>
                    <a:pt x="663" y="1324"/>
                  </a:cubicBezTo>
                  <a:cubicBezTo>
                    <a:pt x="747" y="1364"/>
                    <a:pt x="832" y="1382"/>
                    <a:pt x="914" y="1382"/>
                  </a:cubicBezTo>
                  <a:cubicBezTo>
                    <a:pt x="1210" y="1382"/>
                    <a:pt x="1478" y="1148"/>
                    <a:pt x="1621" y="845"/>
                  </a:cubicBezTo>
                  <a:cubicBezTo>
                    <a:pt x="1713" y="274"/>
                    <a:pt x="1325" y="0"/>
                    <a:pt x="95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8" name="Google Shape;2348;p32"/>
            <p:cNvSpPr/>
            <p:nvPr/>
          </p:nvSpPr>
          <p:spPr>
            <a:xfrm>
              <a:off x="5774066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27" y="0"/>
                  </a:moveTo>
                  <a:cubicBezTo>
                    <a:pt x="872" y="0"/>
                    <a:pt x="814" y="6"/>
                    <a:pt x="754" y="17"/>
                  </a:cubicBezTo>
                  <a:cubicBezTo>
                    <a:pt x="571" y="17"/>
                    <a:pt x="183" y="200"/>
                    <a:pt x="92" y="383"/>
                  </a:cubicBezTo>
                  <a:cubicBezTo>
                    <a:pt x="1" y="771"/>
                    <a:pt x="183" y="1250"/>
                    <a:pt x="662" y="1341"/>
                  </a:cubicBezTo>
                  <a:cubicBezTo>
                    <a:pt x="750" y="1375"/>
                    <a:pt x="831" y="1390"/>
                    <a:pt x="905" y="1390"/>
                  </a:cubicBezTo>
                  <a:cubicBezTo>
                    <a:pt x="1237" y="1390"/>
                    <a:pt x="1437" y="1088"/>
                    <a:pt x="1530" y="771"/>
                  </a:cubicBezTo>
                  <a:cubicBezTo>
                    <a:pt x="1530" y="272"/>
                    <a:pt x="1303" y="0"/>
                    <a:pt x="92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9" name="Google Shape;2349;p32"/>
            <p:cNvSpPr/>
            <p:nvPr/>
          </p:nvSpPr>
          <p:spPr>
            <a:xfrm>
              <a:off x="5960721" y="5011241"/>
              <a:ext cx="33334" cy="29159"/>
            </a:xfrm>
            <a:custGeom>
              <a:avLst/>
              <a:gdLst/>
              <a:ahLst/>
              <a:cxnLst/>
              <a:rect l="l" t="t" r="r" b="b"/>
              <a:pathLst>
                <a:path w="1598" h="1398" extrusionOk="0">
                  <a:moveTo>
                    <a:pt x="1036" y="0"/>
                  </a:moveTo>
                  <a:cubicBezTo>
                    <a:pt x="954" y="0"/>
                    <a:pt x="861" y="18"/>
                    <a:pt x="753" y="56"/>
                  </a:cubicBezTo>
                  <a:cubicBezTo>
                    <a:pt x="571" y="56"/>
                    <a:pt x="274" y="330"/>
                    <a:pt x="183" y="536"/>
                  </a:cubicBezTo>
                  <a:cubicBezTo>
                    <a:pt x="0" y="992"/>
                    <a:pt x="365" y="1380"/>
                    <a:pt x="753" y="1380"/>
                  </a:cubicBezTo>
                  <a:cubicBezTo>
                    <a:pt x="827" y="1392"/>
                    <a:pt x="894" y="1398"/>
                    <a:pt x="955" y="1398"/>
                  </a:cubicBezTo>
                  <a:cubicBezTo>
                    <a:pt x="1369" y="1398"/>
                    <a:pt x="1518" y="1136"/>
                    <a:pt x="1598" y="718"/>
                  </a:cubicBezTo>
                  <a:cubicBezTo>
                    <a:pt x="1524" y="329"/>
                    <a:pt x="1389" y="0"/>
                    <a:pt x="103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0" name="Google Shape;2350;p32"/>
            <p:cNvSpPr/>
            <p:nvPr/>
          </p:nvSpPr>
          <p:spPr>
            <a:xfrm>
              <a:off x="6148795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48" y="0"/>
                  </a:moveTo>
                  <a:cubicBezTo>
                    <a:pt x="894" y="0"/>
                    <a:pt x="837" y="6"/>
                    <a:pt x="776" y="17"/>
                  </a:cubicBezTo>
                  <a:cubicBezTo>
                    <a:pt x="571" y="17"/>
                    <a:pt x="206" y="200"/>
                    <a:pt x="114" y="383"/>
                  </a:cubicBezTo>
                  <a:cubicBezTo>
                    <a:pt x="0" y="771"/>
                    <a:pt x="206" y="1250"/>
                    <a:pt x="685" y="1341"/>
                  </a:cubicBezTo>
                  <a:cubicBezTo>
                    <a:pt x="768" y="1375"/>
                    <a:pt x="846" y="1390"/>
                    <a:pt x="919" y="1390"/>
                  </a:cubicBezTo>
                  <a:cubicBezTo>
                    <a:pt x="1243" y="1390"/>
                    <a:pt x="1455" y="1088"/>
                    <a:pt x="1529" y="771"/>
                  </a:cubicBezTo>
                  <a:cubicBezTo>
                    <a:pt x="1529" y="272"/>
                    <a:pt x="1320" y="0"/>
                    <a:pt x="94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1" name="Google Shape;2351;p32"/>
            <p:cNvSpPr/>
            <p:nvPr/>
          </p:nvSpPr>
          <p:spPr>
            <a:xfrm>
              <a:off x="6335429" y="5011241"/>
              <a:ext cx="33835" cy="29159"/>
            </a:xfrm>
            <a:custGeom>
              <a:avLst/>
              <a:gdLst/>
              <a:ahLst/>
              <a:cxnLst/>
              <a:rect l="l" t="t" r="r" b="b"/>
              <a:pathLst>
                <a:path w="1622" h="1398" extrusionOk="0">
                  <a:moveTo>
                    <a:pt x="1039" y="0"/>
                  </a:moveTo>
                  <a:cubicBezTo>
                    <a:pt x="956" y="0"/>
                    <a:pt x="861" y="18"/>
                    <a:pt x="754" y="56"/>
                  </a:cubicBezTo>
                  <a:cubicBezTo>
                    <a:pt x="571" y="56"/>
                    <a:pt x="297" y="330"/>
                    <a:pt x="183" y="536"/>
                  </a:cubicBezTo>
                  <a:cubicBezTo>
                    <a:pt x="1" y="992"/>
                    <a:pt x="389" y="1380"/>
                    <a:pt x="868" y="1380"/>
                  </a:cubicBezTo>
                  <a:cubicBezTo>
                    <a:pt x="927" y="1392"/>
                    <a:pt x="981" y="1398"/>
                    <a:pt x="1032" y="1398"/>
                  </a:cubicBezTo>
                  <a:cubicBezTo>
                    <a:pt x="1375" y="1398"/>
                    <a:pt x="1542" y="1136"/>
                    <a:pt x="1621" y="718"/>
                  </a:cubicBezTo>
                  <a:cubicBezTo>
                    <a:pt x="1547" y="329"/>
                    <a:pt x="1398" y="0"/>
                    <a:pt x="103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2" name="Google Shape;2352;p32"/>
            <p:cNvSpPr/>
            <p:nvPr/>
          </p:nvSpPr>
          <p:spPr>
            <a:xfrm>
              <a:off x="6523983" y="5011241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94" y="0"/>
                  </a:moveTo>
                  <a:cubicBezTo>
                    <a:pt x="923" y="0"/>
                    <a:pt x="844" y="18"/>
                    <a:pt x="754" y="56"/>
                  </a:cubicBezTo>
                  <a:cubicBezTo>
                    <a:pt x="480" y="56"/>
                    <a:pt x="183" y="330"/>
                    <a:pt x="183" y="536"/>
                  </a:cubicBezTo>
                  <a:cubicBezTo>
                    <a:pt x="0" y="992"/>
                    <a:pt x="274" y="1380"/>
                    <a:pt x="754" y="1380"/>
                  </a:cubicBezTo>
                  <a:cubicBezTo>
                    <a:pt x="815" y="1392"/>
                    <a:pt x="874" y="1398"/>
                    <a:pt x="929" y="1398"/>
                  </a:cubicBezTo>
                  <a:cubicBezTo>
                    <a:pt x="1304" y="1398"/>
                    <a:pt x="1530" y="1136"/>
                    <a:pt x="1530" y="718"/>
                  </a:cubicBezTo>
                  <a:cubicBezTo>
                    <a:pt x="1437" y="329"/>
                    <a:pt x="1299" y="0"/>
                    <a:pt x="99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3" name="Google Shape;2353;p32"/>
            <p:cNvSpPr/>
            <p:nvPr/>
          </p:nvSpPr>
          <p:spPr>
            <a:xfrm>
              <a:off x="6712536" y="5011012"/>
              <a:ext cx="33814" cy="29034"/>
            </a:xfrm>
            <a:custGeom>
              <a:avLst/>
              <a:gdLst/>
              <a:ahLst/>
              <a:cxnLst/>
              <a:rect l="l" t="t" r="r" b="b"/>
              <a:pathLst>
                <a:path w="1621" h="1392" extrusionOk="0">
                  <a:moveTo>
                    <a:pt x="819" y="0"/>
                  </a:moveTo>
                  <a:cubicBezTo>
                    <a:pt x="737" y="0"/>
                    <a:pt x="653" y="21"/>
                    <a:pt x="571" y="67"/>
                  </a:cubicBezTo>
                  <a:cubicBezTo>
                    <a:pt x="92" y="159"/>
                    <a:pt x="0" y="638"/>
                    <a:pt x="183" y="1117"/>
                  </a:cubicBezTo>
                  <a:cubicBezTo>
                    <a:pt x="274" y="1300"/>
                    <a:pt x="662" y="1391"/>
                    <a:pt x="845" y="1391"/>
                  </a:cubicBezTo>
                  <a:cubicBezTo>
                    <a:pt x="1324" y="1391"/>
                    <a:pt x="1621" y="1117"/>
                    <a:pt x="1507" y="547"/>
                  </a:cubicBezTo>
                  <a:cubicBezTo>
                    <a:pt x="1365" y="246"/>
                    <a:pt x="1101" y="0"/>
                    <a:pt x="81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4" name="Google Shape;2354;p32"/>
            <p:cNvSpPr/>
            <p:nvPr/>
          </p:nvSpPr>
          <p:spPr>
            <a:xfrm>
              <a:off x="6898691" y="5012034"/>
              <a:ext cx="31937" cy="29493"/>
            </a:xfrm>
            <a:custGeom>
              <a:avLst/>
              <a:gdLst/>
              <a:ahLst/>
              <a:cxnLst/>
              <a:rect l="l" t="t" r="r" b="b"/>
              <a:pathLst>
                <a:path w="1531" h="1414" extrusionOk="0">
                  <a:moveTo>
                    <a:pt x="857" y="1"/>
                  </a:moveTo>
                  <a:cubicBezTo>
                    <a:pt x="802" y="1"/>
                    <a:pt x="745" y="6"/>
                    <a:pt x="686" y="18"/>
                  </a:cubicBezTo>
                  <a:cubicBezTo>
                    <a:pt x="206" y="201"/>
                    <a:pt x="1" y="589"/>
                    <a:pt x="115" y="954"/>
                  </a:cubicBezTo>
                  <a:cubicBezTo>
                    <a:pt x="249" y="1239"/>
                    <a:pt x="543" y="1413"/>
                    <a:pt x="835" y="1413"/>
                  </a:cubicBezTo>
                  <a:cubicBezTo>
                    <a:pt x="940" y="1413"/>
                    <a:pt x="1045" y="1391"/>
                    <a:pt x="1142" y="1342"/>
                  </a:cubicBezTo>
                  <a:cubicBezTo>
                    <a:pt x="1348" y="1160"/>
                    <a:pt x="1530" y="863"/>
                    <a:pt x="1530" y="589"/>
                  </a:cubicBezTo>
                  <a:cubicBezTo>
                    <a:pt x="1451" y="252"/>
                    <a:pt x="1216" y="1"/>
                    <a:pt x="85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5" name="Google Shape;2355;p32"/>
            <p:cNvSpPr/>
            <p:nvPr/>
          </p:nvSpPr>
          <p:spPr>
            <a:xfrm>
              <a:off x="7085346" y="5012034"/>
              <a:ext cx="33835" cy="29493"/>
            </a:xfrm>
            <a:custGeom>
              <a:avLst/>
              <a:gdLst/>
              <a:ahLst/>
              <a:cxnLst/>
              <a:rect l="l" t="t" r="r" b="b"/>
              <a:pathLst>
                <a:path w="1622" h="1414" extrusionOk="0">
                  <a:moveTo>
                    <a:pt x="872" y="1"/>
                  </a:moveTo>
                  <a:cubicBezTo>
                    <a:pt x="807" y="1"/>
                    <a:pt x="737" y="6"/>
                    <a:pt x="662" y="18"/>
                  </a:cubicBezTo>
                  <a:cubicBezTo>
                    <a:pt x="297" y="201"/>
                    <a:pt x="0" y="589"/>
                    <a:pt x="183" y="954"/>
                  </a:cubicBezTo>
                  <a:cubicBezTo>
                    <a:pt x="334" y="1239"/>
                    <a:pt x="633" y="1413"/>
                    <a:pt x="925" y="1413"/>
                  </a:cubicBezTo>
                  <a:cubicBezTo>
                    <a:pt x="1031" y="1413"/>
                    <a:pt x="1136" y="1391"/>
                    <a:pt x="1233" y="1342"/>
                  </a:cubicBezTo>
                  <a:cubicBezTo>
                    <a:pt x="1438" y="1160"/>
                    <a:pt x="1621" y="863"/>
                    <a:pt x="1530" y="589"/>
                  </a:cubicBezTo>
                  <a:cubicBezTo>
                    <a:pt x="1530" y="252"/>
                    <a:pt x="1306" y="1"/>
                    <a:pt x="87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6" name="Google Shape;2356;p32"/>
            <p:cNvSpPr/>
            <p:nvPr/>
          </p:nvSpPr>
          <p:spPr>
            <a:xfrm>
              <a:off x="7273900" y="5012054"/>
              <a:ext cx="33585" cy="28992"/>
            </a:xfrm>
            <a:custGeom>
              <a:avLst/>
              <a:gdLst/>
              <a:ahLst/>
              <a:cxnLst/>
              <a:rect l="l" t="t" r="r" b="b"/>
              <a:pathLst>
                <a:path w="1610" h="1390" extrusionOk="0">
                  <a:moveTo>
                    <a:pt x="1018" y="0"/>
                  </a:moveTo>
                  <a:cubicBezTo>
                    <a:pt x="963" y="0"/>
                    <a:pt x="905" y="6"/>
                    <a:pt x="845" y="17"/>
                  </a:cubicBezTo>
                  <a:cubicBezTo>
                    <a:pt x="571" y="17"/>
                    <a:pt x="183" y="200"/>
                    <a:pt x="183" y="383"/>
                  </a:cubicBezTo>
                  <a:cubicBezTo>
                    <a:pt x="0" y="771"/>
                    <a:pt x="183" y="1250"/>
                    <a:pt x="662" y="1341"/>
                  </a:cubicBezTo>
                  <a:cubicBezTo>
                    <a:pt x="750" y="1375"/>
                    <a:pt x="830" y="1390"/>
                    <a:pt x="905" y="1390"/>
                  </a:cubicBezTo>
                  <a:cubicBezTo>
                    <a:pt x="1236" y="1390"/>
                    <a:pt x="1436" y="1088"/>
                    <a:pt x="1530" y="771"/>
                  </a:cubicBezTo>
                  <a:cubicBezTo>
                    <a:pt x="1609" y="272"/>
                    <a:pt x="1393" y="0"/>
                    <a:pt x="10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7" name="Google Shape;2357;p32"/>
            <p:cNvSpPr/>
            <p:nvPr/>
          </p:nvSpPr>
          <p:spPr>
            <a:xfrm>
              <a:off x="7462453" y="5011241"/>
              <a:ext cx="31436" cy="29159"/>
            </a:xfrm>
            <a:custGeom>
              <a:avLst/>
              <a:gdLst/>
              <a:ahLst/>
              <a:cxnLst/>
              <a:rect l="l" t="t" r="r" b="b"/>
              <a:pathLst>
                <a:path w="1507" h="1398" extrusionOk="0">
                  <a:moveTo>
                    <a:pt x="945" y="0"/>
                  </a:moveTo>
                  <a:cubicBezTo>
                    <a:pt x="863" y="0"/>
                    <a:pt x="769" y="18"/>
                    <a:pt x="662" y="56"/>
                  </a:cubicBezTo>
                  <a:cubicBezTo>
                    <a:pt x="479" y="56"/>
                    <a:pt x="183" y="330"/>
                    <a:pt x="91" y="536"/>
                  </a:cubicBezTo>
                  <a:cubicBezTo>
                    <a:pt x="0" y="992"/>
                    <a:pt x="274" y="1380"/>
                    <a:pt x="753" y="1380"/>
                  </a:cubicBezTo>
                  <a:cubicBezTo>
                    <a:pt x="815" y="1392"/>
                    <a:pt x="873" y="1398"/>
                    <a:pt x="928" y="1398"/>
                  </a:cubicBezTo>
                  <a:cubicBezTo>
                    <a:pt x="1299" y="1398"/>
                    <a:pt x="1507" y="1136"/>
                    <a:pt x="1507" y="718"/>
                  </a:cubicBezTo>
                  <a:cubicBezTo>
                    <a:pt x="1432" y="329"/>
                    <a:pt x="1298" y="0"/>
                    <a:pt x="945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8" name="Google Shape;2358;p32"/>
            <p:cNvSpPr/>
            <p:nvPr/>
          </p:nvSpPr>
          <p:spPr>
            <a:xfrm>
              <a:off x="7648608" y="5011012"/>
              <a:ext cx="33835" cy="29034"/>
            </a:xfrm>
            <a:custGeom>
              <a:avLst/>
              <a:gdLst/>
              <a:ahLst/>
              <a:cxnLst/>
              <a:rect l="l" t="t" r="r" b="b"/>
              <a:pathLst>
                <a:path w="1622" h="1392" extrusionOk="0">
                  <a:moveTo>
                    <a:pt x="880" y="0"/>
                  </a:moveTo>
                  <a:cubicBezTo>
                    <a:pt x="783" y="0"/>
                    <a:pt x="679" y="21"/>
                    <a:pt x="571" y="67"/>
                  </a:cubicBezTo>
                  <a:cubicBezTo>
                    <a:pt x="206" y="159"/>
                    <a:pt x="1" y="638"/>
                    <a:pt x="298" y="1117"/>
                  </a:cubicBezTo>
                  <a:cubicBezTo>
                    <a:pt x="389" y="1300"/>
                    <a:pt x="686" y="1391"/>
                    <a:pt x="959" y="1391"/>
                  </a:cubicBezTo>
                  <a:cubicBezTo>
                    <a:pt x="1347" y="1391"/>
                    <a:pt x="1621" y="1117"/>
                    <a:pt x="1621" y="547"/>
                  </a:cubicBezTo>
                  <a:cubicBezTo>
                    <a:pt x="1480" y="246"/>
                    <a:pt x="1215" y="0"/>
                    <a:pt x="88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359" name="Google Shape;2359;p32"/>
          <p:cNvGrpSpPr/>
          <p:nvPr/>
        </p:nvGrpSpPr>
        <p:grpSpPr>
          <a:xfrm>
            <a:off x="7513123" y="4476944"/>
            <a:ext cx="629337" cy="461701"/>
            <a:chOff x="4891675" y="2045050"/>
            <a:chExt cx="168200" cy="123400"/>
          </a:xfrm>
        </p:grpSpPr>
        <p:sp>
          <p:nvSpPr>
            <p:cNvPr id="2360" name="Google Shape;2360;p32"/>
            <p:cNvSpPr/>
            <p:nvPr/>
          </p:nvSpPr>
          <p:spPr>
            <a:xfrm>
              <a:off x="4949100" y="2045050"/>
              <a:ext cx="110775" cy="107675"/>
            </a:xfrm>
            <a:custGeom>
              <a:avLst/>
              <a:gdLst/>
              <a:ahLst/>
              <a:cxnLst/>
              <a:rect l="l" t="t" r="r" b="b"/>
              <a:pathLst>
                <a:path w="4431" h="4307" extrusionOk="0">
                  <a:moveTo>
                    <a:pt x="2149" y="0"/>
                  </a:moveTo>
                  <a:cubicBezTo>
                    <a:pt x="2071" y="0"/>
                    <a:pt x="1994" y="21"/>
                    <a:pt x="1927" y="61"/>
                  </a:cubicBezTo>
                  <a:cubicBezTo>
                    <a:pt x="1438" y="366"/>
                    <a:pt x="1" y="4306"/>
                    <a:pt x="2149" y="4306"/>
                  </a:cubicBezTo>
                  <a:cubicBezTo>
                    <a:pt x="4431" y="4306"/>
                    <a:pt x="2868" y="366"/>
                    <a:pt x="2371" y="61"/>
                  </a:cubicBezTo>
                  <a:cubicBezTo>
                    <a:pt x="2305" y="21"/>
                    <a:pt x="2227" y="0"/>
                    <a:pt x="2149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1" name="Google Shape;2361;p32"/>
            <p:cNvSpPr/>
            <p:nvPr/>
          </p:nvSpPr>
          <p:spPr>
            <a:xfrm>
              <a:off x="4949100" y="2046550"/>
              <a:ext cx="53750" cy="106175"/>
            </a:xfrm>
            <a:custGeom>
              <a:avLst/>
              <a:gdLst/>
              <a:ahLst/>
              <a:cxnLst/>
              <a:rect l="l" t="t" r="r" b="b"/>
              <a:pathLst>
                <a:path w="2150" h="4247" extrusionOk="0">
                  <a:moveTo>
                    <a:pt x="1930" y="0"/>
                  </a:moveTo>
                  <a:lnTo>
                    <a:pt x="1930" y="0"/>
                  </a:lnTo>
                  <a:cubicBezTo>
                    <a:pt x="1929" y="0"/>
                    <a:pt x="1928" y="1"/>
                    <a:pt x="1927" y="1"/>
                  </a:cubicBezTo>
                  <a:cubicBezTo>
                    <a:pt x="1438" y="306"/>
                    <a:pt x="1" y="4246"/>
                    <a:pt x="2149" y="4246"/>
                  </a:cubicBezTo>
                  <a:cubicBezTo>
                    <a:pt x="2149" y="4246"/>
                    <a:pt x="1609" y="4202"/>
                    <a:pt x="1578" y="2662"/>
                  </a:cubicBezTo>
                  <a:cubicBezTo>
                    <a:pt x="1542" y="1142"/>
                    <a:pt x="1985" y="0"/>
                    <a:pt x="1930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2" name="Google Shape;2362;p32"/>
            <p:cNvSpPr/>
            <p:nvPr/>
          </p:nvSpPr>
          <p:spPr>
            <a:xfrm>
              <a:off x="5001125" y="2093950"/>
              <a:ext cx="7800" cy="74500"/>
            </a:xfrm>
            <a:custGeom>
              <a:avLst/>
              <a:gdLst/>
              <a:ahLst/>
              <a:cxnLst/>
              <a:rect l="l" t="t" r="r" b="b"/>
              <a:pathLst>
                <a:path w="312" h="2980" extrusionOk="0">
                  <a:moveTo>
                    <a:pt x="159" y="1"/>
                  </a:moveTo>
                  <a:cubicBezTo>
                    <a:pt x="158" y="1"/>
                    <a:pt x="157" y="5"/>
                    <a:pt x="157" y="17"/>
                  </a:cubicBezTo>
                  <a:lnTo>
                    <a:pt x="1" y="2980"/>
                  </a:lnTo>
                  <a:lnTo>
                    <a:pt x="312" y="2980"/>
                  </a:lnTo>
                  <a:cubicBezTo>
                    <a:pt x="305" y="1714"/>
                    <a:pt x="187" y="17"/>
                    <a:pt x="164" y="17"/>
                  </a:cubicBezTo>
                  <a:cubicBezTo>
                    <a:pt x="164" y="17"/>
                    <a:pt x="161" y="1"/>
                    <a:pt x="15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3" name="Google Shape;2363;p32"/>
            <p:cNvSpPr/>
            <p:nvPr/>
          </p:nvSpPr>
          <p:spPr>
            <a:xfrm>
              <a:off x="4984100" y="2120275"/>
              <a:ext cx="20975" cy="17075"/>
            </a:xfrm>
            <a:custGeom>
              <a:avLst/>
              <a:gdLst/>
              <a:ahLst/>
              <a:cxnLst/>
              <a:rect l="l" t="t" r="r" b="b"/>
              <a:pathLst>
                <a:path w="839" h="683" extrusionOk="0">
                  <a:moveTo>
                    <a:pt x="0" y="1"/>
                  </a:moveTo>
                  <a:lnTo>
                    <a:pt x="0" y="1"/>
                  </a:lnTo>
                  <a:cubicBezTo>
                    <a:pt x="404" y="662"/>
                    <a:pt x="782" y="682"/>
                    <a:pt x="826" y="682"/>
                  </a:cubicBezTo>
                  <a:cubicBezTo>
                    <a:pt x="829" y="682"/>
                    <a:pt x="831" y="682"/>
                    <a:pt x="831" y="682"/>
                  </a:cubicBezTo>
                  <a:lnTo>
                    <a:pt x="838" y="586"/>
                  </a:lnTo>
                  <a:lnTo>
                    <a:pt x="838" y="586"/>
                  </a:lnTo>
                  <a:cubicBezTo>
                    <a:pt x="838" y="586"/>
                    <a:pt x="830" y="592"/>
                    <a:pt x="807" y="592"/>
                  </a:cubicBezTo>
                  <a:cubicBezTo>
                    <a:pt x="757" y="592"/>
                    <a:pt x="639" y="564"/>
                    <a:pt x="386" y="387"/>
                  </a:cubicBezTo>
                  <a:cubicBezTo>
                    <a:pt x="164" y="23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4" name="Google Shape;2364;p32"/>
            <p:cNvSpPr/>
            <p:nvPr/>
          </p:nvSpPr>
          <p:spPr>
            <a:xfrm>
              <a:off x="5005050" y="2115675"/>
              <a:ext cx="17975" cy="14475"/>
            </a:xfrm>
            <a:custGeom>
              <a:avLst/>
              <a:gdLst/>
              <a:ahLst/>
              <a:cxnLst/>
              <a:rect l="l" t="t" r="r" b="b"/>
              <a:pathLst>
                <a:path w="719" h="579" extrusionOk="0">
                  <a:moveTo>
                    <a:pt x="719" y="0"/>
                  </a:moveTo>
                  <a:lnTo>
                    <a:pt x="719" y="0"/>
                  </a:lnTo>
                  <a:cubicBezTo>
                    <a:pt x="718" y="0"/>
                    <a:pt x="578" y="192"/>
                    <a:pt x="393" y="325"/>
                  </a:cubicBezTo>
                  <a:cubicBezTo>
                    <a:pt x="185" y="471"/>
                    <a:pt x="81" y="496"/>
                    <a:pt x="34" y="496"/>
                  </a:cubicBezTo>
                  <a:cubicBezTo>
                    <a:pt x="9" y="496"/>
                    <a:pt x="0" y="489"/>
                    <a:pt x="0" y="489"/>
                  </a:cubicBezTo>
                  <a:lnTo>
                    <a:pt x="0" y="489"/>
                  </a:lnTo>
                  <a:lnTo>
                    <a:pt x="7" y="578"/>
                  </a:lnTo>
                  <a:cubicBezTo>
                    <a:pt x="7" y="578"/>
                    <a:pt x="8" y="578"/>
                    <a:pt x="9" y="578"/>
                  </a:cubicBezTo>
                  <a:cubicBezTo>
                    <a:pt x="39" y="578"/>
                    <a:pt x="366" y="565"/>
                    <a:pt x="719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5" name="Google Shape;2365;p32"/>
            <p:cNvSpPr/>
            <p:nvPr/>
          </p:nvSpPr>
          <p:spPr>
            <a:xfrm>
              <a:off x="4990600" y="2105300"/>
              <a:ext cx="14475" cy="11675"/>
            </a:xfrm>
            <a:custGeom>
              <a:avLst/>
              <a:gdLst/>
              <a:ahLst/>
              <a:cxnLst/>
              <a:rect l="l" t="t" r="r" b="b"/>
              <a:pathLst>
                <a:path w="579" h="467" extrusionOk="0">
                  <a:moveTo>
                    <a:pt x="0" y="1"/>
                  </a:moveTo>
                  <a:lnTo>
                    <a:pt x="0" y="1"/>
                  </a:lnTo>
                  <a:cubicBezTo>
                    <a:pt x="295" y="460"/>
                    <a:pt x="562" y="467"/>
                    <a:pt x="577" y="467"/>
                  </a:cubicBezTo>
                  <a:cubicBezTo>
                    <a:pt x="578" y="467"/>
                    <a:pt x="578" y="467"/>
                    <a:pt x="578" y="467"/>
                  </a:cubicBezTo>
                  <a:lnTo>
                    <a:pt x="578" y="392"/>
                  </a:lnTo>
                  <a:cubicBezTo>
                    <a:pt x="578" y="392"/>
                    <a:pt x="572" y="397"/>
                    <a:pt x="555" y="397"/>
                  </a:cubicBezTo>
                  <a:cubicBezTo>
                    <a:pt x="521" y="397"/>
                    <a:pt x="440" y="377"/>
                    <a:pt x="267" y="259"/>
                  </a:cubicBezTo>
                  <a:cubicBezTo>
                    <a:pt x="119" y="155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6" name="Google Shape;2366;p32"/>
            <p:cNvSpPr/>
            <p:nvPr/>
          </p:nvSpPr>
          <p:spPr>
            <a:xfrm>
              <a:off x="4891675" y="2046750"/>
              <a:ext cx="64475" cy="81525"/>
            </a:xfrm>
            <a:custGeom>
              <a:avLst/>
              <a:gdLst/>
              <a:ahLst/>
              <a:cxnLst/>
              <a:rect l="l" t="t" r="r" b="b"/>
              <a:pathLst>
                <a:path w="2579" h="3261" extrusionOk="0">
                  <a:moveTo>
                    <a:pt x="1290" y="1"/>
                  </a:moveTo>
                  <a:cubicBezTo>
                    <a:pt x="726" y="1"/>
                    <a:pt x="274" y="452"/>
                    <a:pt x="274" y="1016"/>
                  </a:cubicBezTo>
                  <a:cubicBezTo>
                    <a:pt x="274" y="1068"/>
                    <a:pt x="281" y="1112"/>
                    <a:pt x="281" y="1157"/>
                  </a:cubicBezTo>
                  <a:cubicBezTo>
                    <a:pt x="103" y="1379"/>
                    <a:pt x="0" y="1660"/>
                    <a:pt x="0" y="1964"/>
                  </a:cubicBezTo>
                  <a:cubicBezTo>
                    <a:pt x="0" y="2682"/>
                    <a:pt x="578" y="3260"/>
                    <a:pt x="1290" y="3260"/>
                  </a:cubicBezTo>
                  <a:cubicBezTo>
                    <a:pt x="2001" y="3260"/>
                    <a:pt x="2579" y="2682"/>
                    <a:pt x="2579" y="1964"/>
                  </a:cubicBezTo>
                  <a:cubicBezTo>
                    <a:pt x="2579" y="1660"/>
                    <a:pt x="2476" y="1379"/>
                    <a:pt x="2298" y="1157"/>
                  </a:cubicBezTo>
                  <a:cubicBezTo>
                    <a:pt x="2305" y="1112"/>
                    <a:pt x="2305" y="1068"/>
                    <a:pt x="2305" y="1016"/>
                  </a:cubicBezTo>
                  <a:cubicBezTo>
                    <a:pt x="2305" y="452"/>
                    <a:pt x="1853" y="1"/>
                    <a:pt x="1290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7" name="Google Shape;2367;p32"/>
            <p:cNvSpPr/>
            <p:nvPr/>
          </p:nvSpPr>
          <p:spPr>
            <a:xfrm>
              <a:off x="4923900" y="2071625"/>
              <a:ext cx="3000" cy="96825"/>
            </a:xfrm>
            <a:custGeom>
              <a:avLst/>
              <a:gdLst/>
              <a:ahLst/>
              <a:cxnLst/>
              <a:rect l="l" t="t" r="r" b="b"/>
              <a:pathLst>
                <a:path w="120" h="3873" extrusionOk="0">
                  <a:moveTo>
                    <a:pt x="54" y="0"/>
                  </a:moveTo>
                  <a:cubicBezTo>
                    <a:pt x="53" y="0"/>
                    <a:pt x="52" y="4"/>
                    <a:pt x="52" y="14"/>
                  </a:cubicBezTo>
                  <a:lnTo>
                    <a:pt x="1" y="3821"/>
                  </a:lnTo>
                  <a:cubicBezTo>
                    <a:pt x="1" y="3852"/>
                    <a:pt x="22" y="3873"/>
                    <a:pt x="52" y="3873"/>
                  </a:cubicBezTo>
                  <a:lnTo>
                    <a:pt x="59" y="3873"/>
                  </a:lnTo>
                  <a:cubicBezTo>
                    <a:pt x="89" y="3873"/>
                    <a:pt x="120" y="3852"/>
                    <a:pt x="120" y="3821"/>
                  </a:cubicBezTo>
                  <a:cubicBezTo>
                    <a:pt x="120" y="3821"/>
                    <a:pt x="89" y="14"/>
                    <a:pt x="59" y="14"/>
                  </a:cubicBezTo>
                  <a:cubicBezTo>
                    <a:pt x="59" y="14"/>
                    <a:pt x="56" y="0"/>
                    <a:pt x="54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8" name="Google Shape;2368;p32"/>
            <p:cNvSpPr/>
            <p:nvPr/>
          </p:nvSpPr>
          <p:spPr>
            <a:xfrm>
              <a:off x="4907050" y="2095075"/>
              <a:ext cx="18350" cy="15050"/>
            </a:xfrm>
            <a:custGeom>
              <a:avLst/>
              <a:gdLst/>
              <a:ahLst/>
              <a:cxnLst/>
              <a:rect l="l" t="t" r="r" b="b"/>
              <a:pathLst>
                <a:path w="734" h="602" extrusionOk="0">
                  <a:moveTo>
                    <a:pt x="1" y="1"/>
                  </a:moveTo>
                  <a:lnTo>
                    <a:pt x="1" y="1"/>
                  </a:lnTo>
                  <a:cubicBezTo>
                    <a:pt x="353" y="583"/>
                    <a:pt x="681" y="602"/>
                    <a:pt x="722" y="602"/>
                  </a:cubicBezTo>
                  <a:cubicBezTo>
                    <a:pt x="725" y="602"/>
                    <a:pt x="726" y="602"/>
                    <a:pt x="726" y="602"/>
                  </a:cubicBezTo>
                  <a:lnTo>
                    <a:pt x="733" y="513"/>
                  </a:lnTo>
                  <a:lnTo>
                    <a:pt x="733" y="513"/>
                  </a:lnTo>
                  <a:cubicBezTo>
                    <a:pt x="733" y="513"/>
                    <a:pt x="724" y="520"/>
                    <a:pt x="699" y="520"/>
                  </a:cubicBezTo>
                  <a:cubicBezTo>
                    <a:pt x="651" y="520"/>
                    <a:pt x="544" y="494"/>
                    <a:pt x="333" y="342"/>
                  </a:cubicBezTo>
                  <a:cubicBezTo>
                    <a:pt x="141" y="20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9" name="Google Shape;2369;p32"/>
            <p:cNvSpPr/>
            <p:nvPr/>
          </p:nvSpPr>
          <p:spPr>
            <a:xfrm>
              <a:off x="4925375" y="2090850"/>
              <a:ext cx="15575" cy="12800"/>
            </a:xfrm>
            <a:custGeom>
              <a:avLst/>
              <a:gdLst/>
              <a:ahLst/>
              <a:cxnLst/>
              <a:rect l="l" t="t" r="r" b="b"/>
              <a:pathLst>
                <a:path w="623" h="512" extrusionOk="0">
                  <a:moveTo>
                    <a:pt x="623" y="1"/>
                  </a:moveTo>
                  <a:cubicBezTo>
                    <a:pt x="622" y="1"/>
                    <a:pt x="496" y="179"/>
                    <a:pt x="335" y="289"/>
                  </a:cubicBezTo>
                  <a:cubicBezTo>
                    <a:pt x="156" y="420"/>
                    <a:pt x="68" y="443"/>
                    <a:pt x="28" y="443"/>
                  </a:cubicBezTo>
                  <a:cubicBezTo>
                    <a:pt x="7" y="443"/>
                    <a:pt x="0" y="436"/>
                    <a:pt x="0" y="436"/>
                  </a:cubicBezTo>
                  <a:lnTo>
                    <a:pt x="0" y="511"/>
                  </a:lnTo>
                  <a:cubicBezTo>
                    <a:pt x="0" y="511"/>
                    <a:pt x="1" y="511"/>
                    <a:pt x="3" y="511"/>
                  </a:cubicBezTo>
                  <a:cubicBezTo>
                    <a:pt x="31" y="511"/>
                    <a:pt x="314" y="498"/>
                    <a:pt x="623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0" name="Google Shape;2370;p32"/>
            <p:cNvSpPr/>
            <p:nvPr/>
          </p:nvSpPr>
          <p:spPr>
            <a:xfrm>
              <a:off x="4912775" y="2081750"/>
              <a:ext cx="12625" cy="10250"/>
            </a:xfrm>
            <a:custGeom>
              <a:avLst/>
              <a:gdLst/>
              <a:ahLst/>
              <a:cxnLst/>
              <a:rect l="l" t="t" r="r" b="b"/>
              <a:pathLst>
                <a:path w="505" h="410" extrusionOk="0">
                  <a:moveTo>
                    <a:pt x="1" y="0"/>
                  </a:moveTo>
                  <a:lnTo>
                    <a:pt x="1" y="0"/>
                  </a:lnTo>
                  <a:cubicBezTo>
                    <a:pt x="244" y="397"/>
                    <a:pt x="467" y="409"/>
                    <a:pt x="494" y="409"/>
                  </a:cubicBezTo>
                  <a:cubicBezTo>
                    <a:pt x="496" y="409"/>
                    <a:pt x="497" y="409"/>
                    <a:pt x="497" y="409"/>
                  </a:cubicBezTo>
                  <a:lnTo>
                    <a:pt x="504" y="349"/>
                  </a:lnTo>
                  <a:lnTo>
                    <a:pt x="504" y="349"/>
                  </a:lnTo>
                  <a:cubicBezTo>
                    <a:pt x="504" y="349"/>
                    <a:pt x="498" y="354"/>
                    <a:pt x="479" y="354"/>
                  </a:cubicBezTo>
                  <a:cubicBezTo>
                    <a:pt x="446" y="354"/>
                    <a:pt x="374" y="336"/>
                    <a:pt x="230" y="231"/>
                  </a:cubicBezTo>
                  <a:cubicBezTo>
                    <a:pt x="97" y="143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371" name="Google Shape;2371;p32"/>
          <p:cNvSpPr/>
          <p:nvPr/>
        </p:nvSpPr>
        <p:spPr>
          <a:xfrm>
            <a:off x="8081200" y="4775225"/>
            <a:ext cx="628785" cy="171475"/>
          </a:xfrm>
          <a:custGeom>
            <a:avLst/>
            <a:gdLst/>
            <a:ahLst/>
            <a:cxnLst/>
            <a:rect l="l" t="t" r="r" b="b"/>
            <a:pathLst>
              <a:path w="9560" h="2607" extrusionOk="0">
                <a:moveTo>
                  <a:pt x="6988" y="1"/>
                </a:moveTo>
                <a:cubicBezTo>
                  <a:pt x="6936" y="1"/>
                  <a:pt x="6884" y="17"/>
                  <a:pt x="6840" y="51"/>
                </a:cubicBezTo>
                <a:cubicBezTo>
                  <a:pt x="6758" y="110"/>
                  <a:pt x="6639" y="370"/>
                  <a:pt x="6522" y="718"/>
                </a:cubicBezTo>
                <a:cubicBezTo>
                  <a:pt x="6461" y="592"/>
                  <a:pt x="6403" y="503"/>
                  <a:pt x="6358" y="466"/>
                </a:cubicBezTo>
                <a:cubicBezTo>
                  <a:pt x="6314" y="432"/>
                  <a:pt x="6262" y="415"/>
                  <a:pt x="6210" y="415"/>
                </a:cubicBezTo>
                <a:cubicBezTo>
                  <a:pt x="6158" y="415"/>
                  <a:pt x="6106" y="432"/>
                  <a:pt x="6061" y="466"/>
                </a:cubicBezTo>
                <a:cubicBezTo>
                  <a:pt x="5965" y="547"/>
                  <a:pt x="5810" y="896"/>
                  <a:pt x="5677" y="1355"/>
                </a:cubicBezTo>
                <a:cubicBezTo>
                  <a:pt x="5640" y="1303"/>
                  <a:pt x="5609" y="1266"/>
                  <a:pt x="5581" y="1252"/>
                </a:cubicBezTo>
                <a:cubicBezTo>
                  <a:pt x="5536" y="1225"/>
                  <a:pt x="5484" y="1212"/>
                  <a:pt x="5432" y="1212"/>
                </a:cubicBezTo>
                <a:cubicBezTo>
                  <a:pt x="5380" y="1212"/>
                  <a:pt x="5328" y="1225"/>
                  <a:pt x="5284" y="1252"/>
                </a:cubicBezTo>
                <a:cubicBezTo>
                  <a:pt x="5209" y="1296"/>
                  <a:pt x="5106" y="1474"/>
                  <a:pt x="5003" y="1710"/>
                </a:cubicBezTo>
                <a:cubicBezTo>
                  <a:pt x="4928" y="1570"/>
                  <a:pt x="4854" y="1474"/>
                  <a:pt x="4802" y="1444"/>
                </a:cubicBezTo>
                <a:cubicBezTo>
                  <a:pt x="4758" y="1414"/>
                  <a:pt x="4706" y="1400"/>
                  <a:pt x="4653" y="1400"/>
                </a:cubicBezTo>
                <a:cubicBezTo>
                  <a:pt x="4601" y="1400"/>
                  <a:pt x="4549" y="1414"/>
                  <a:pt x="4505" y="1444"/>
                </a:cubicBezTo>
                <a:cubicBezTo>
                  <a:pt x="4402" y="1509"/>
                  <a:pt x="4217" y="1865"/>
                  <a:pt x="4076" y="2295"/>
                </a:cubicBezTo>
                <a:cubicBezTo>
                  <a:pt x="4039" y="2237"/>
                  <a:pt x="4009" y="2199"/>
                  <a:pt x="3987" y="2176"/>
                </a:cubicBezTo>
                <a:cubicBezTo>
                  <a:pt x="3957" y="2159"/>
                  <a:pt x="3922" y="2150"/>
                  <a:pt x="3887" y="2150"/>
                </a:cubicBezTo>
                <a:cubicBezTo>
                  <a:pt x="3852" y="2150"/>
                  <a:pt x="3817" y="2159"/>
                  <a:pt x="3787" y="2176"/>
                </a:cubicBezTo>
                <a:cubicBezTo>
                  <a:pt x="3749" y="2199"/>
                  <a:pt x="3714" y="2265"/>
                  <a:pt x="3669" y="2347"/>
                </a:cubicBezTo>
                <a:cubicBezTo>
                  <a:pt x="3616" y="1814"/>
                  <a:pt x="3358" y="1214"/>
                  <a:pt x="3239" y="1132"/>
                </a:cubicBezTo>
                <a:cubicBezTo>
                  <a:pt x="3209" y="1110"/>
                  <a:pt x="3174" y="1099"/>
                  <a:pt x="3139" y="1099"/>
                </a:cubicBezTo>
                <a:cubicBezTo>
                  <a:pt x="3104" y="1099"/>
                  <a:pt x="3068" y="1110"/>
                  <a:pt x="3038" y="1132"/>
                </a:cubicBezTo>
                <a:cubicBezTo>
                  <a:pt x="2972" y="1177"/>
                  <a:pt x="2869" y="1392"/>
                  <a:pt x="2780" y="1659"/>
                </a:cubicBezTo>
                <a:cubicBezTo>
                  <a:pt x="2623" y="1044"/>
                  <a:pt x="2364" y="496"/>
                  <a:pt x="2223" y="398"/>
                </a:cubicBezTo>
                <a:cubicBezTo>
                  <a:pt x="2175" y="365"/>
                  <a:pt x="2120" y="349"/>
                  <a:pt x="2065" y="349"/>
                </a:cubicBezTo>
                <a:cubicBezTo>
                  <a:pt x="2010" y="349"/>
                  <a:pt x="1957" y="365"/>
                  <a:pt x="1912" y="398"/>
                </a:cubicBezTo>
                <a:cubicBezTo>
                  <a:pt x="1779" y="487"/>
                  <a:pt x="1556" y="962"/>
                  <a:pt x="1409" y="1533"/>
                </a:cubicBezTo>
                <a:cubicBezTo>
                  <a:pt x="1409" y="1525"/>
                  <a:pt x="1402" y="1525"/>
                  <a:pt x="1402" y="1525"/>
                </a:cubicBezTo>
                <a:cubicBezTo>
                  <a:pt x="1353" y="1495"/>
                  <a:pt x="1297" y="1480"/>
                  <a:pt x="1242" y="1480"/>
                </a:cubicBezTo>
                <a:cubicBezTo>
                  <a:pt x="1186" y="1480"/>
                  <a:pt x="1131" y="1495"/>
                  <a:pt x="1082" y="1525"/>
                </a:cubicBezTo>
                <a:cubicBezTo>
                  <a:pt x="957" y="1591"/>
                  <a:pt x="749" y="1954"/>
                  <a:pt x="601" y="2392"/>
                </a:cubicBezTo>
                <a:cubicBezTo>
                  <a:pt x="548" y="2288"/>
                  <a:pt x="497" y="2214"/>
                  <a:pt x="459" y="2185"/>
                </a:cubicBezTo>
                <a:cubicBezTo>
                  <a:pt x="426" y="2163"/>
                  <a:pt x="386" y="2152"/>
                  <a:pt x="345" y="2152"/>
                </a:cubicBezTo>
                <a:cubicBezTo>
                  <a:pt x="304" y="2152"/>
                  <a:pt x="264" y="2163"/>
                  <a:pt x="230" y="2185"/>
                </a:cubicBezTo>
                <a:cubicBezTo>
                  <a:pt x="171" y="2230"/>
                  <a:pt x="82" y="2384"/>
                  <a:pt x="0" y="2607"/>
                </a:cubicBezTo>
                <a:lnTo>
                  <a:pt x="9559" y="2607"/>
                </a:lnTo>
                <a:lnTo>
                  <a:pt x="9559" y="1954"/>
                </a:lnTo>
                <a:cubicBezTo>
                  <a:pt x="9419" y="1465"/>
                  <a:pt x="9241" y="1074"/>
                  <a:pt x="9138" y="992"/>
                </a:cubicBezTo>
                <a:cubicBezTo>
                  <a:pt x="9093" y="958"/>
                  <a:pt x="9041" y="941"/>
                  <a:pt x="8989" y="941"/>
                </a:cubicBezTo>
                <a:cubicBezTo>
                  <a:pt x="8937" y="941"/>
                  <a:pt x="8885" y="958"/>
                  <a:pt x="8841" y="992"/>
                </a:cubicBezTo>
                <a:cubicBezTo>
                  <a:pt x="8752" y="1058"/>
                  <a:pt x="8618" y="1341"/>
                  <a:pt x="8499" y="1710"/>
                </a:cubicBezTo>
                <a:cubicBezTo>
                  <a:pt x="8441" y="1570"/>
                  <a:pt x="8382" y="1474"/>
                  <a:pt x="8337" y="1444"/>
                </a:cubicBezTo>
                <a:cubicBezTo>
                  <a:pt x="8300" y="1414"/>
                  <a:pt x="8256" y="1400"/>
                  <a:pt x="8211" y="1400"/>
                </a:cubicBezTo>
                <a:cubicBezTo>
                  <a:pt x="8167" y="1400"/>
                  <a:pt x="8122" y="1414"/>
                  <a:pt x="8085" y="1444"/>
                </a:cubicBezTo>
                <a:cubicBezTo>
                  <a:pt x="8055" y="1465"/>
                  <a:pt x="8026" y="1509"/>
                  <a:pt x="7989" y="1577"/>
                </a:cubicBezTo>
                <a:cubicBezTo>
                  <a:pt x="7877" y="1273"/>
                  <a:pt x="7759" y="1051"/>
                  <a:pt x="7685" y="992"/>
                </a:cubicBezTo>
                <a:cubicBezTo>
                  <a:pt x="7647" y="962"/>
                  <a:pt x="7596" y="947"/>
                  <a:pt x="7544" y="947"/>
                </a:cubicBezTo>
                <a:cubicBezTo>
                  <a:pt x="7411" y="487"/>
                  <a:pt x="7240" y="124"/>
                  <a:pt x="7137" y="51"/>
                </a:cubicBezTo>
                <a:cubicBezTo>
                  <a:pt x="7093" y="17"/>
                  <a:pt x="7041" y="1"/>
                  <a:pt x="6988" y="1"/>
                </a:cubicBezTo>
                <a:close/>
              </a:path>
            </a:pathLst>
          </a:custGeom>
          <a:solidFill>
            <a:srgbClr val="8AC93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372" name="Google Shape;2372;p32"/>
          <p:cNvGrpSpPr/>
          <p:nvPr/>
        </p:nvGrpSpPr>
        <p:grpSpPr>
          <a:xfrm>
            <a:off x="8040197" y="4366034"/>
            <a:ext cx="280222" cy="572731"/>
            <a:chOff x="684763" y="4011150"/>
            <a:chExt cx="453875" cy="927500"/>
          </a:xfrm>
        </p:grpSpPr>
        <p:sp>
          <p:nvSpPr>
            <p:cNvPr id="2373" name="Google Shape;2373;p32"/>
            <p:cNvSpPr/>
            <p:nvPr/>
          </p:nvSpPr>
          <p:spPr>
            <a:xfrm>
              <a:off x="900663" y="4285675"/>
              <a:ext cx="44150" cy="652975"/>
            </a:xfrm>
            <a:custGeom>
              <a:avLst/>
              <a:gdLst/>
              <a:ahLst/>
              <a:cxnLst/>
              <a:rect l="l" t="t" r="r" b="b"/>
              <a:pathLst>
                <a:path w="1766" h="26119" extrusionOk="0">
                  <a:moveTo>
                    <a:pt x="217" y="0"/>
                  </a:moveTo>
                  <a:lnTo>
                    <a:pt x="0" y="26118"/>
                  </a:lnTo>
                  <a:lnTo>
                    <a:pt x="1765" y="26118"/>
                  </a:lnTo>
                  <a:lnTo>
                    <a:pt x="1298" y="91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4" name="Google Shape;2374;p32"/>
            <p:cNvSpPr/>
            <p:nvPr/>
          </p:nvSpPr>
          <p:spPr>
            <a:xfrm>
              <a:off x="913313" y="4011150"/>
              <a:ext cx="53125" cy="254200"/>
            </a:xfrm>
            <a:custGeom>
              <a:avLst/>
              <a:gdLst/>
              <a:ahLst/>
              <a:cxnLst/>
              <a:rect l="l" t="t" r="r" b="b"/>
              <a:pathLst>
                <a:path w="2125" h="10168" extrusionOk="0">
                  <a:moveTo>
                    <a:pt x="1008" y="1"/>
                  </a:moveTo>
                  <a:lnTo>
                    <a:pt x="0" y="9899"/>
                  </a:lnTo>
                  <a:lnTo>
                    <a:pt x="740" y="10168"/>
                  </a:lnTo>
                  <a:lnTo>
                    <a:pt x="2125" y="8710"/>
                  </a:lnTo>
                  <a:lnTo>
                    <a:pt x="1532" y="416"/>
                  </a:lnTo>
                  <a:lnTo>
                    <a:pt x="1008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5" name="Google Shape;2375;p32"/>
            <p:cNvSpPr/>
            <p:nvPr/>
          </p:nvSpPr>
          <p:spPr>
            <a:xfrm>
              <a:off x="920438" y="4275725"/>
              <a:ext cx="218200" cy="150150"/>
            </a:xfrm>
            <a:custGeom>
              <a:avLst/>
              <a:gdLst/>
              <a:ahLst/>
              <a:cxnLst/>
              <a:rect l="l" t="t" r="r" b="b"/>
              <a:pathLst>
                <a:path w="8728" h="6006" extrusionOk="0">
                  <a:moveTo>
                    <a:pt x="598" y="0"/>
                  </a:moveTo>
                  <a:lnTo>
                    <a:pt x="1" y="506"/>
                  </a:lnTo>
                  <a:lnTo>
                    <a:pt x="598" y="2453"/>
                  </a:lnTo>
                  <a:lnTo>
                    <a:pt x="8113" y="6005"/>
                  </a:lnTo>
                  <a:lnTo>
                    <a:pt x="8727" y="5750"/>
                  </a:lnTo>
                  <a:lnTo>
                    <a:pt x="59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6" name="Google Shape;2376;p32"/>
            <p:cNvSpPr/>
            <p:nvPr/>
          </p:nvSpPr>
          <p:spPr>
            <a:xfrm>
              <a:off x="684763" y="4256350"/>
              <a:ext cx="222725" cy="140625"/>
            </a:xfrm>
            <a:custGeom>
              <a:avLst/>
              <a:gdLst/>
              <a:ahLst/>
              <a:cxnLst/>
              <a:rect l="l" t="t" r="r" b="b"/>
              <a:pathLst>
                <a:path w="8909" h="5625" extrusionOk="0">
                  <a:moveTo>
                    <a:pt x="6746" y="1"/>
                  </a:moveTo>
                  <a:lnTo>
                    <a:pt x="74" y="4959"/>
                  </a:lnTo>
                  <a:lnTo>
                    <a:pt x="1" y="5625"/>
                  </a:lnTo>
                  <a:lnTo>
                    <a:pt x="8909" y="1173"/>
                  </a:lnTo>
                  <a:lnTo>
                    <a:pt x="8727" y="377"/>
                  </a:lnTo>
                  <a:lnTo>
                    <a:pt x="674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7" name="Google Shape;2377;p32"/>
            <p:cNvSpPr/>
            <p:nvPr/>
          </p:nvSpPr>
          <p:spPr>
            <a:xfrm>
              <a:off x="888013" y="4245000"/>
              <a:ext cx="61350" cy="58400"/>
            </a:xfrm>
            <a:custGeom>
              <a:avLst/>
              <a:gdLst/>
              <a:ahLst/>
              <a:cxnLst/>
              <a:rect l="l" t="t" r="r" b="b"/>
              <a:pathLst>
                <a:path w="2454" h="2336" extrusionOk="0">
                  <a:moveTo>
                    <a:pt x="1223" y="0"/>
                  </a:moveTo>
                  <a:cubicBezTo>
                    <a:pt x="1189" y="0"/>
                    <a:pt x="1155" y="2"/>
                    <a:pt x="1121" y="5"/>
                  </a:cubicBezTo>
                  <a:cubicBezTo>
                    <a:pt x="472" y="74"/>
                    <a:pt x="0" y="654"/>
                    <a:pt x="74" y="1285"/>
                  </a:cubicBezTo>
                  <a:cubicBezTo>
                    <a:pt x="142" y="1889"/>
                    <a:pt x="630" y="2336"/>
                    <a:pt x="1220" y="2336"/>
                  </a:cubicBezTo>
                  <a:cubicBezTo>
                    <a:pt x="1264" y="2336"/>
                    <a:pt x="1309" y="2333"/>
                    <a:pt x="1354" y="2328"/>
                  </a:cubicBezTo>
                  <a:cubicBezTo>
                    <a:pt x="1986" y="2259"/>
                    <a:pt x="2453" y="1696"/>
                    <a:pt x="2401" y="1047"/>
                  </a:cubicBezTo>
                  <a:cubicBezTo>
                    <a:pt x="2332" y="454"/>
                    <a:pt x="1813" y="0"/>
                    <a:pt x="1223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378" name="Google Shape;2378;p32"/>
          <p:cNvGrpSpPr/>
          <p:nvPr/>
        </p:nvGrpSpPr>
        <p:grpSpPr>
          <a:xfrm>
            <a:off x="8384604" y="4366034"/>
            <a:ext cx="280222" cy="572731"/>
            <a:chOff x="684763" y="4011150"/>
            <a:chExt cx="453875" cy="927500"/>
          </a:xfrm>
        </p:grpSpPr>
        <p:sp>
          <p:nvSpPr>
            <p:cNvPr id="2379" name="Google Shape;2379;p32"/>
            <p:cNvSpPr/>
            <p:nvPr/>
          </p:nvSpPr>
          <p:spPr>
            <a:xfrm>
              <a:off x="900663" y="4285675"/>
              <a:ext cx="44150" cy="652975"/>
            </a:xfrm>
            <a:custGeom>
              <a:avLst/>
              <a:gdLst/>
              <a:ahLst/>
              <a:cxnLst/>
              <a:rect l="l" t="t" r="r" b="b"/>
              <a:pathLst>
                <a:path w="1766" h="26119" extrusionOk="0">
                  <a:moveTo>
                    <a:pt x="217" y="0"/>
                  </a:moveTo>
                  <a:lnTo>
                    <a:pt x="0" y="26118"/>
                  </a:lnTo>
                  <a:lnTo>
                    <a:pt x="1765" y="26118"/>
                  </a:lnTo>
                  <a:lnTo>
                    <a:pt x="1298" y="91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0" name="Google Shape;2380;p32"/>
            <p:cNvSpPr/>
            <p:nvPr/>
          </p:nvSpPr>
          <p:spPr>
            <a:xfrm>
              <a:off x="913313" y="4011150"/>
              <a:ext cx="53125" cy="254200"/>
            </a:xfrm>
            <a:custGeom>
              <a:avLst/>
              <a:gdLst/>
              <a:ahLst/>
              <a:cxnLst/>
              <a:rect l="l" t="t" r="r" b="b"/>
              <a:pathLst>
                <a:path w="2125" h="10168" extrusionOk="0">
                  <a:moveTo>
                    <a:pt x="1008" y="1"/>
                  </a:moveTo>
                  <a:lnTo>
                    <a:pt x="0" y="9899"/>
                  </a:lnTo>
                  <a:lnTo>
                    <a:pt x="740" y="10168"/>
                  </a:lnTo>
                  <a:lnTo>
                    <a:pt x="2125" y="8710"/>
                  </a:lnTo>
                  <a:lnTo>
                    <a:pt x="1532" y="416"/>
                  </a:lnTo>
                  <a:lnTo>
                    <a:pt x="1008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1" name="Google Shape;2381;p32"/>
            <p:cNvSpPr/>
            <p:nvPr/>
          </p:nvSpPr>
          <p:spPr>
            <a:xfrm>
              <a:off x="920438" y="4275725"/>
              <a:ext cx="218200" cy="150150"/>
            </a:xfrm>
            <a:custGeom>
              <a:avLst/>
              <a:gdLst/>
              <a:ahLst/>
              <a:cxnLst/>
              <a:rect l="l" t="t" r="r" b="b"/>
              <a:pathLst>
                <a:path w="8728" h="6006" extrusionOk="0">
                  <a:moveTo>
                    <a:pt x="598" y="0"/>
                  </a:moveTo>
                  <a:lnTo>
                    <a:pt x="1" y="506"/>
                  </a:lnTo>
                  <a:lnTo>
                    <a:pt x="598" y="2453"/>
                  </a:lnTo>
                  <a:lnTo>
                    <a:pt x="8113" y="6005"/>
                  </a:lnTo>
                  <a:lnTo>
                    <a:pt x="8727" y="5750"/>
                  </a:lnTo>
                  <a:lnTo>
                    <a:pt x="59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2" name="Google Shape;2382;p32"/>
            <p:cNvSpPr/>
            <p:nvPr/>
          </p:nvSpPr>
          <p:spPr>
            <a:xfrm>
              <a:off x="684763" y="4256350"/>
              <a:ext cx="222725" cy="140625"/>
            </a:xfrm>
            <a:custGeom>
              <a:avLst/>
              <a:gdLst/>
              <a:ahLst/>
              <a:cxnLst/>
              <a:rect l="l" t="t" r="r" b="b"/>
              <a:pathLst>
                <a:path w="8909" h="5625" extrusionOk="0">
                  <a:moveTo>
                    <a:pt x="6746" y="1"/>
                  </a:moveTo>
                  <a:lnTo>
                    <a:pt x="74" y="4959"/>
                  </a:lnTo>
                  <a:lnTo>
                    <a:pt x="1" y="5625"/>
                  </a:lnTo>
                  <a:lnTo>
                    <a:pt x="8909" y="1173"/>
                  </a:lnTo>
                  <a:lnTo>
                    <a:pt x="8727" y="377"/>
                  </a:lnTo>
                  <a:lnTo>
                    <a:pt x="674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3" name="Google Shape;2383;p32"/>
            <p:cNvSpPr/>
            <p:nvPr/>
          </p:nvSpPr>
          <p:spPr>
            <a:xfrm>
              <a:off x="888013" y="4245000"/>
              <a:ext cx="61350" cy="58400"/>
            </a:xfrm>
            <a:custGeom>
              <a:avLst/>
              <a:gdLst/>
              <a:ahLst/>
              <a:cxnLst/>
              <a:rect l="l" t="t" r="r" b="b"/>
              <a:pathLst>
                <a:path w="2454" h="2336" extrusionOk="0">
                  <a:moveTo>
                    <a:pt x="1223" y="0"/>
                  </a:moveTo>
                  <a:cubicBezTo>
                    <a:pt x="1189" y="0"/>
                    <a:pt x="1155" y="2"/>
                    <a:pt x="1121" y="5"/>
                  </a:cubicBezTo>
                  <a:cubicBezTo>
                    <a:pt x="472" y="74"/>
                    <a:pt x="0" y="654"/>
                    <a:pt x="74" y="1285"/>
                  </a:cubicBezTo>
                  <a:cubicBezTo>
                    <a:pt x="142" y="1889"/>
                    <a:pt x="630" y="2336"/>
                    <a:pt x="1220" y="2336"/>
                  </a:cubicBezTo>
                  <a:cubicBezTo>
                    <a:pt x="1264" y="2336"/>
                    <a:pt x="1309" y="2333"/>
                    <a:pt x="1354" y="2328"/>
                  </a:cubicBezTo>
                  <a:cubicBezTo>
                    <a:pt x="1986" y="2259"/>
                    <a:pt x="2453" y="1696"/>
                    <a:pt x="2401" y="1047"/>
                  </a:cubicBezTo>
                  <a:cubicBezTo>
                    <a:pt x="2332" y="454"/>
                    <a:pt x="1813" y="0"/>
                    <a:pt x="1223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CUSTOM_9_1">
    <p:spTree>
      <p:nvGrpSpPr>
        <p:cNvPr id="1" name="Shape 2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5" name="Google Shape;2385;p33"/>
          <p:cNvSpPr/>
          <p:nvPr/>
        </p:nvSpPr>
        <p:spPr>
          <a:xfrm>
            <a:off x="256052" y="4743375"/>
            <a:ext cx="695594" cy="191076"/>
          </a:xfrm>
          <a:custGeom>
            <a:avLst/>
            <a:gdLst/>
            <a:ahLst/>
            <a:cxnLst/>
            <a:rect l="l" t="t" r="r" b="b"/>
            <a:pathLst>
              <a:path w="12418" h="3411" extrusionOk="0">
                <a:moveTo>
                  <a:pt x="6110" y="1"/>
                </a:moveTo>
                <a:cubicBezTo>
                  <a:pt x="5063" y="1"/>
                  <a:pt x="4128" y="615"/>
                  <a:pt x="3548" y="1589"/>
                </a:cubicBezTo>
                <a:cubicBezTo>
                  <a:pt x="3301" y="2001"/>
                  <a:pt x="2908" y="2234"/>
                  <a:pt x="2504" y="2234"/>
                </a:cubicBezTo>
                <a:cubicBezTo>
                  <a:pt x="2377" y="2234"/>
                  <a:pt x="2250" y="2212"/>
                  <a:pt x="2125" y="2164"/>
                </a:cubicBezTo>
                <a:cubicBezTo>
                  <a:pt x="1874" y="2073"/>
                  <a:pt x="1601" y="2021"/>
                  <a:pt x="1333" y="2021"/>
                </a:cubicBezTo>
                <a:lnTo>
                  <a:pt x="1151" y="2021"/>
                </a:lnTo>
                <a:cubicBezTo>
                  <a:pt x="433" y="2091"/>
                  <a:pt x="35" y="2722"/>
                  <a:pt x="1" y="3410"/>
                </a:cubicBezTo>
                <a:lnTo>
                  <a:pt x="12417" y="3410"/>
                </a:lnTo>
                <a:cubicBezTo>
                  <a:pt x="12365" y="2722"/>
                  <a:pt x="11985" y="2091"/>
                  <a:pt x="11249" y="2021"/>
                </a:cubicBezTo>
                <a:lnTo>
                  <a:pt x="11068" y="2021"/>
                </a:lnTo>
                <a:cubicBezTo>
                  <a:pt x="10760" y="2021"/>
                  <a:pt x="10471" y="2073"/>
                  <a:pt x="10202" y="2199"/>
                </a:cubicBezTo>
                <a:cubicBezTo>
                  <a:pt x="10052" y="2263"/>
                  <a:pt x="9899" y="2294"/>
                  <a:pt x="9749" y="2294"/>
                </a:cubicBezTo>
                <a:cubicBezTo>
                  <a:pt x="9341" y="2294"/>
                  <a:pt x="8955" y="2064"/>
                  <a:pt x="8705" y="1641"/>
                </a:cubicBezTo>
                <a:cubicBezTo>
                  <a:pt x="8130" y="650"/>
                  <a:pt x="7191" y="1"/>
                  <a:pt x="6110" y="1"/>
                </a:cubicBezTo>
                <a:close/>
              </a:path>
            </a:pathLst>
          </a:custGeom>
          <a:solidFill>
            <a:srgbClr val="8AC93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386" name="Google Shape;2386;p33"/>
          <p:cNvGrpSpPr/>
          <p:nvPr/>
        </p:nvGrpSpPr>
        <p:grpSpPr>
          <a:xfrm>
            <a:off x="1733274" y="4938638"/>
            <a:ext cx="2749703" cy="122913"/>
            <a:chOff x="5024149" y="4918613"/>
            <a:chExt cx="2749703" cy="122913"/>
          </a:xfrm>
        </p:grpSpPr>
        <p:sp>
          <p:nvSpPr>
            <p:cNvPr id="2387" name="Google Shape;2387;p33"/>
            <p:cNvSpPr/>
            <p:nvPr/>
          </p:nvSpPr>
          <p:spPr>
            <a:xfrm>
              <a:off x="5121294" y="4919510"/>
              <a:ext cx="27619" cy="26802"/>
            </a:xfrm>
            <a:custGeom>
              <a:avLst/>
              <a:gdLst/>
              <a:ahLst/>
              <a:cxnLst/>
              <a:rect l="l" t="t" r="r" b="b"/>
              <a:pathLst>
                <a:path w="1324" h="1285" extrusionOk="0">
                  <a:moveTo>
                    <a:pt x="690" y="1"/>
                  </a:moveTo>
                  <a:cubicBezTo>
                    <a:pt x="379" y="1"/>
                    <a:pt x="134" y="175"/>
                    <a:pt x="0" y="460"/>
                  </a:cubicBezTo>
                  <a:cubicBezTo>
                    <a:pt x="0" y="643"/>
                    <a:pt x="183" y="1031"/>
                    <a:pt x="297" y="1213"/>
                  </a:cubicBezTo>
                  <a:cubicBezTo>
                    <a:pt x="418" y="1262"/>
                    <a:pt x="528" y="1284"/>
                    <a:pt x="629" y="1284"/>
                  </a:cubicBezTo>
                  <a:cubicBezTo>
                    <a:pt x="909" y="1284"/>
                    <a:pt x="1123" y="1110"/>
                    <a:pt x="1324" y="825"/>
                  </a:cubicBezTo>
                  <a:cubicBezTo>
                    <a:pt x="1233" y="551"/>
                    <a:pt x="1141" y="163"/>
                    <a:pt x="1050" y="72"/>
                  </a:cubicBezTo>
                  <a:cubicBezTo>
                    <a:pt x="923" y="24"/>
                    <a:pt x="802" y="1"/>
                    <a:pt x="69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8" name="Google Shape;2388;p33"/>
            <p:cNvSpPr/>
            <p:nvPr/>
          </p:nvSpPr>
          <p:spPr>
            <a:xfrm>
              <a:off x="5307928" y="4919510"/>
              <a:ext cx="27639" cy="26802"/>
            </a:xfrm>
            <a:custGeom>
              <a:avLst/>
              <a:gdLst/>
              <a:ahLst/>
              <a:cxnLst/>
              <a:rect l="l" t="t" r="r" b="b"/>
              <a:pathLst>
                <a:path w="1325" h="1285" extrusionOk="0">
                  <a:moveTo>
                    <a:pt x="731" y="1"/>
                  </a:moveTo>
                  <a:cubicBezTo>
                    <a:pt x="435" y="1"/>
                    <a:pt x="159" y="175"/>
                    <a:pt x="92" y="460"/>
                  </a:cubicBezTo>
                  <a:cubicBezTo>
                    <a:pt x="1" y="643"/>
                    <a:pt x="183" y="1031"/>
                    <a:pt x="366" y="1213"/>
                  </a:cubicBezTo>
                  <a:cubicBezTo>
                    <a:pt x="469" y="1262"/>
                    <a:pt x="572" y="1284"/>
                    <a:pt x="671" y="1284"/>
                  </a:cubicBezTo>
                  <a:cubicBezTo>
                    <a:pt x="945" y="1284"/>
                    <a:pt x="1190" y="1110"/>
                    <a:pt x="1324" y="825"/>
                  </a:cubicBezTo>
                  <a:cubicBezTo>
                    <a:pt x="1233" y="551"/>
                    <a:pt x="1233" y="163"/>
                    <a:pt x="1051" y="72"/>
                  </a:cubicBezTo>
                  <a:cubicBezTo>
                    <a:pt x="948" y="24"/>
                    <a:pt x="838" y="1"/>
                    <a:pt x="73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9" name="Google Shape;2389;p33"/>
            <p:cNvSpPr/>
            <p:nvPr/>
          </p:nvSpPr>
          <p:spPr>
            <a:xfrm>
              <a:off x="5496482" y="4919823"/>
              <a:ext cx="25720" cy="27365"/>
            </a:xfrm>
            <a:custGeom>
              <a:avLst/>
              <a:gdLst/>
              <a:ahLst/>
              <a:cxnLst/>
              <a:rect l="l" t="t" r="r" b="b"/>
              <a:pathLst>
                <a:path w="1233" h="1312" extrusionOk="0">
                  <a:moveTo>
                    <a:pt x="656" y="0"/>
                  </a:moveTo>
                  <a:cubicBezTo>
                    <a:pt x="565" y="0"/>
                    <a:pt x="467" y="18"/>
                    <a:pt x="366" y="57"/>
                  </a:cubicBezTo>
                  <a:cubicBezTo>
                    <a:pt x="183" y="57"/>
                    <a:pt x="92" y="445"/>
                    <a:pt x="0" y="628"/>
                  </a:cubicBezTo>
                  <a:cubicBezTo>
                    <a:pt x="77" y="1106"/>
                    <a:pt x="346" y="1312"/>
                    <a:pt x="660" y="1312"/>
                  </a:cubicBezTo>
                  <a:cubicBezTo>
                    <a:pt x="720" y="1312"/>
                    <a:pt x="782" y="1304"/>
                    <a:pt x="845" y="1290"/>
                  </a:cubicBezTo>
                  <a:cubicBezTo>
                    <a:pt x="1028" y="1198"/>
                    <a:pt x="1233" y="810"/>
                    <a:pt x="1233" y="628"/>
                  </a:cubicBezTo>
                  <a:cubicBezTo>
                    <a:pt x="1233" y="250"/>
                    <a:pt x="992" y="0"/>
                    <a:pt x="65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0" name="Google Shape;2390;p33"/>
            <p:cNvSpPr/>
            <p:nvPr/>
          </p:nvSpPr>
          <p:spPr>
            <a:xfrm>
              <a:off x="5680738" y="4920490"/>
              <a:ext cx="33835" cy="26239"/>
            </a:xfrm>
            <a:custGeom>
              <a:avLst/>
              <a:gdLst/>
              <a:ahLst/>
              <a:cxnLst/>
              <a:rect l="l" t="t" r="r" b="b"/>
              <a:pathLst>
                <a:path w="1622" h="1258" extrusionOk="0">
                  <a:moveTo>
                    <a:pt x="743" y="1"/>
                  </a:moveTo>
                  <a:cubicBezTo>
                    <a:pt x="538" y="1"/>
                    <a:pt x="277" y="154"/>
                    <a:pt x="183" y="322"/>
                  </a:cubicBezTo>
                  <a:cubicBezTo>
                    <a:pt x="1" y="778"/>
                    <a:pt x="298" y="1166"/>
                    <a:pt x="754" y="1258"/>
                  </a:cubicBezTo>
                  <a:cubicBezTo>
                    <a:pt x="959" y="1166"/>
                    <a:pt x="1325" y="1075"/>
                    <a:pt x="1439" y="892"/>
                  </a:cubicBezTo>
                  <a:cubicBezTo>
                    <a:pt x="1621" y="413"/>
                    <a:pt x="1325" y="25"/>
                    <a:pt x="868" y="25"/>
                  </a:cubicBezTo>
                  <a:cubicBezTo>
                    <a:pt x="831" y="8"/>
                    <a:pt x="788" y="1"/>
                    <a:pt x="74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1" name="Google Shape;2391;p33"/>
            <p:cNvSpPr/>
            <p:nvPr/>
          </p:nvSpPr>
          <p:spPr>
            <a:xfrm>
              <a:off x="5871190" y="4919823"/>
              <a:ext cx="27639" cy="27365"/>
            </a:xfrm>
            <a:custGeom>
              <a:avLst/>
              <a:gdLst/>
              <a:ahLst/>
              <a:cxnLst/>
              <a:rect l="l" t="t" r="r" b="b"/>
              <a:pathLst>
                <a:path w="1325" h="1312" extrusionOk="0">
                  <a:moveTo>
                    <a:pt x="677" y="0"/>
                  </a:moveTo>
                  <a:cubicBezTo>
                    <a:pt x="587" y="0"/>
                    <a:pt x="491" y="18"/>
                    <a:pt x="389" y="57"/>
                  </a:cubicBezTo>
                  <a:cubicBezTo>
                    <a:pt x="184" y="57"/>
                    <a:pt x="92" y="445"/>
                    <a:pt x="1" y="628"/>
                  </a:cubicBezTo>
                  <a:cubicBezTo>
                    <a:pt x="77" y="1106"/>
                    <a:pt x="363" y="1312"/>
                    <a:pt x="682" y="1312"/>
                  </a:cubicBezTo>
                  <a:cubicBezTo>
                    <a:pt x="743" y="1312"/>
                    <a:pt x="806" y="1304"/>
                    <a:pt x="868" y="1290"/>
                  </a:cubicBezTo>
                  <a:cubicBezTo>
                    <a:pt x="1051" y="1198"/>
                    <a:pt x="1325" y="810"/>
                    <a:pt x="1233" y="628"/>
                  </a:cubicBezTo>
                  <a:cubicBezTo>
                    <a:pt x="1233" y="250"/>
                    <a:pt x="1007" y="0"/>
                    <a:pt x="6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2" name="Google Shape;2392;p33"/>
            <p:cNvSpPr/>
            <p:nvPr/>
          </p:nvSpPr>
          <p:spPr>
            <a:xfrm>
              <a:off x="6055947" y="4920490"/>
              <a:ext cx="33334" cy="26239"/>
            </a:xfrm>
            <a:custGeom>
              <a:avLst/>
              <a:gdLst/>
              <a:ahLst/>
              <a:cxnLst/>
              <a:rect l="l" t="t" r="r" b="b"/>
              <a:pathLst>
                <a:path w="1598" h="1258" extrusionOk="0">
                  <a:moveTo>
                    <a:pt x="728" y="1"/>
                  </a:moveTo>
                  <a:cubicBezTo>
                    <a:pt x="531" y="1"/>
                    <a:pt x="257" y="154"/>
                    <a:pt x="183" y="322"/>
                  </a:cubicBezTo>
                  <a:cubicBezTo>
                    <a:pt x="0" y="778"/>
                    <a:pt x="274" y="1166"/>
                    <a:pt x="753" y="1258"/>
                  </a:cubicBezTo>
                  <a:cubicBezTo>
                    <a:pt x="936" y="1166"/>
                    <a:pt x="1324" y="1075"/>
                    <a:pt x="1415" y="892"/>
                  </a:cubicBezTo>
                  <a:cubicBezTo>
                    <a:pt x="1598" y="413"/>
                    <a:pt x="1324" y="25"/>
                    <a:pt x="845" y="25"/>
                  </a:cubicBezTo>
                  <a:cubicBezTo>
                    <a:pt x="811" y="8"/>
                    <a:pt x="771" y="1"/>
                    <a:pt x="72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3" name="Google Shape;2393;p33"/>
            <p:cNvSpPr/>
            <p:nvPr/>
          </p:nvSpPr>
          <p:spPr>
            <a:xfrm>
              <a:off x="6244021" y="4919093"/>
              <a:ext cx="31916" cy="27636"/>
            </a:xfrm>
            <a:custGeom>
              <a:avLst/>
              <a:gdLst/>
              <a:ahLst/>
              <a:cxnLst/>
              <a:rect l="l" t="t" r="r" b="b"/>
              <a:pathLst>
                <a:path w="1530" h="1325" extrusionOk="0">
                  <a:moveTo>
                    <a:pt x="571" y="1"/>
                  </a:moveTo>
                  <a:cubicBezTo>
                    <a:pt x="206" y="183"/>
                    <a:pt x="0" y="571"/>
                    <a:pt x="206" y="959"/>
                  </a:cubicBezTo>
                  <a:cubicBezTo>
                    <a:pt x="297" y="1142"/>
                    <a:pt x="685" y="1325"/>
                    <a:pt x="867" y="1325"/>
                  </a:cubicBezTo>
                  <a:cubicBezTo>
                    <a:pt x="1347" y="1142"/>
                    <a:pt x="1529" y="754"/>
                    <a:pt x="1256" y="389"/>
                  </a:cubicBezTo>
                  <a:cubicBezTo>
                    <a:pt x="1141" y="183"/>
                    <a:pt x="867" y="92"/>
                    <a:pt x="57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4" name="Google Shape;2394;p33"/>
            <p:cNvSpPr/>
            <p:nvPr/>
          </p:nvSpPr>
          <p:spPr>
            <a:xfrm>
              <a:off x="6434473" y="4919823"/>
              <a:ext cx="26200" cy="27365"/>
            </a:xfrm>
            <a:custGeom>
              <a:avLst/>
              <a:gdLst/>
              <a:ahLst/>
              <a:cxnLst/>
              <a:rect l="l" t="t" r="r" b="b"/>
              <a:pathLst>
                <a:path w="1256" h="1312" extrusionOk="0">
                  <a:moveTo>
                    <a:pt x="679" y="0"/>
                  </a:moveTo>
                  <a:cubicBezTo>
                    <a:pt x="588" y="0"/>
                    <a:pt x="490" y="18"/>
                    <a:pt x="388" y="57"/>
                  </a:cubicBezTo>
                  <a:cubicBezTo>
                    <a:pt x="206" y="57"/>
                    <a:pt x="114" y="445"/>
                    <a:pt x="0" y="628"/>
                  </a:cubicBezTo>
                  <a:cubicBezTo>
                    <a:pt x="0" y="1106"/>
                    <a:pt x="273" y="1312"/>
                    <a:pt x="644" y="1312"/>
                  </a:cubicBezTo>
                  <a:cubicBezTo>
                    <a:pt x="715" y="1312"/>
                    <a:pt x="790" y="1304"/>
                    <a:pt x="868" y="1290"/>
                  </a:cubicBezTo>
                  <a:cubicBezTo>
                    <a:pt x="1050" y="1198"/>
                    <a:pt x="1256" y="810"/>
                    <a:pt x="1256" y="628"/>
                  </a:cubicBezTo>
                  <a:cubicBezTo>
                    <a:pt x="1256" y="250"/>
                    <a:pt x="1015" y="0"/>
                    <a:pt x="67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5" name="Google Shape;2395;p33"/>
            <p:cNvSpPr/>
            <p:nvPr/>
          </p:nvSpPr>
          <p:spPr>
            <a:xfrm>
              <a:off x="6621107" y="4919176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02" y="1"/>
                  </a:moveTo>
                  <a:cubicBezTo>
                    <a:pt x="577" y="1"/>
                    <a:pt x="440" y="31"/>
                    <a:pt x="298" y="88"/>
                  </a:cubicBezTo>
                  <a:cubicBezTo>
                    <a:pt x="183" y="179"/>
                    <a:pt x="1" y="567"/>
                    <a:pt x="1" y="750"/>
                  </a:cubicBezTo>
                  <a:cubicBezTo>
                    <a:pt x="125" y="1077"/>
                    <a:pt x="346" y="1266"/>
                    <a:pt x="596" y="1266"/>
                  </a:cubicBezTo>
                  <a:cubicBezTo>
                    <a:pt x="713" y="1266"/>
                    <a:pt x="836" y="1225"/>
                    <a:pt x="959" y="1138"/>
                  </a:cubicBezTo>
                  <a:cubicBezTo>
                    <a:pt x="1142" y="1047"/>
                    <a:pt x="1233" y="659"/>
                    <a:pt x="1325" y="476"/>
                  </a:cubicBezTo>
                  <a:cubicBezTo>
                    <a:pt x="1199" y="147"/>
                    <a:pt x="977" y="1"/>
                    <a:pt x="70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6" name="Google Shape;2396;p33"/>
            <p:cNvSpPr/>
            <p:nvPr/>
          </p:nvSpPr>
          <p:spPr>
            <a:xfrm>
              <a:off x="6807762" y="4919176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23" y="1"/>
                  </a:moveTo>
                  <a:cubicBezTo>
                    <a:pt x="608" y="1"/>
                    <a:pt x="487" y="31"/>
                    <a:pt x="366" y="88"/>
                  </a:cubicBezTo>
                  <a:cubicBezTo>
                    <a:pt x="183" y="179"/>
                    <a:pt x="0" y="567"/>
                    <a:pt x="92" y="750"/>
                  </a:cubicBezTo>
                  <a:cubicBezTo>
                    <a:pt x="154" y="1077"/>
                    <a:pt x="397" y="1266"/>
                    <a:pt x="668" y="1266"/>
                  </a:cubicBezTo>
                  <a:cubicBezTo>
                    <a:pt x="795" y="1266"/>
                    <a:pt x="927" y="1225"/>
                    <a:pt x="1050" y="1138"/>
                  </a:cubicBezTo>
                  <a:cubicBezTo>
                    <a:pt x="1233" y="1047"/>
                    <a:pt x="1233" y="659"/>
                    <a:pt x="1324" y="476"/>
                  </a:cubicBezTo>
                  <a:cubicBezTo>
                    <a:pt x="1199" y="147"/>
                    <a:pt x="976" y="1"/>
                    <a:pt x="72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7" name="Google Shape;2397;p33"/>
            <p:cNvSpPr/>
            <p:nvPr/>
          </p:nvSpPr>
          <p:spPr>
            <a:xfrm>
              <a:off x="6998214" y="4918613"/>
              <a:ext cx="25720" cy="27407"/>
            </a:xfrm>
            <a:custGeom>
              <a:avLst/>
              <a:gdLst/>
              <a:ahLst/>
              <a:cxnLst/>
              <a:rect l="l" t="t" r="r" b="b"/>
              <a:pathLst>
                <a:path w="1233" h="1314" extrusionOk="0">
                  <a:moveTo>
                    <a:pt x="617" y="1"/>
                  </a:moveTo>
                  <a:cubicBezTo>
                    <a:pt x="255" y="1"/>
                    <a:pt x="0" y="194"/>
                    <a:pt x="0" y="594"/>
                  </a:cubicBezTo>
                  <a:cubicBezTo>
                    <a:pt x="0" y="777"/>
                    <a:pt x="183" y="1256"/>
                    <a:pt x="366" y="1256"/>
                  </a:cubicBezTo>
                  <a:cubicBezTo>
                    <a:pt x="448" y="1295"/>
                    <a:pt x="530" y="1313"/>
                    <a:pt x="610" y="1313"/>
                  </a:cubicBezTo>
                  <a:cubicBezTo>
                    <a:pt x="905" y="1313"/>
                    <a:pt x="1161" y="1063"/>
                    <a:pt x="1233" y="686"/>
                  </a:cubicBezTo>
                  <a:cubicBezTo>
                    <a:pt x="1142" y="503"/>
                    <a:pt x="1050" y="115"/>
                    <a:pt x="845" y="24"/>
                  </a:cubicBezTo>
                  <a:cubicBezTo>
                    <a:pt x="766" y="9"/>
                    <a:pt x="689" y="1"/>
                    <a:pt x="61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8" name="Google Shape;2398;p33"/>
            <p:cNvSpPr/>
            <p:nvPr/>
          </p:nvSpPr>
          <p:spPr>
            <a:xfrm>
              <a:off x="7182470" y="4920490"/>
              <a:ext cx="31937" cy="26239"/>
            </a:xfrm>
            <a:custGeom>
              <a:avLst/>
              <a:gdLst/>
              <a:ahLst/>
              <a:cxnLst/>
              <a:rect l="l" t="t" r="r" b="b"/>
              <a:pathLst>
                <a:path w="1531" h="1258" extrusionOk="0">
                  <a:moveTo>
                    <a:pt x="651" y="1"/>
                  </a:moveTo>
                  <a:cubicBezTo>
                    <a:pt x="447" y="1"/>
                    <a:pt x="185" y="154"/>
                    <a:pt x="92" y="322"/>
                  </a:cubicBezTo>
                  <a:cubicBezTo>
                    <a:pt x="1" y="778"/>
                    <a:pt x="206" y="1166"/>
                    <a:pt x="663" y="1258"/>
                  </a:cubicBezTo>
                  <a:cubicBezTo>
                    <a:pt x="959" y="1166"/>
                    <a:pt x="1348" y="1075"/>
                    <a:pt x="1348" y="892"/>
                  </a:cubicBezTo>
                  <a:cubicBezTo>
                    <a:pt x="1530" y="413"/>
                    <a:pt x="1233" y="25"/>
                    <a:pt x="777" y="25"/>
                  </a:cubicBezTo>
                  <a:cubicBezTo>
                    <a:pt x="740" y="8"/>
                    <a:pt x="697" y="1"/>
                    <a:pt x="65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9" name="Google Shape;2399;p33"/>
            <p:cNvSpPr/>
            <p:nvPr/>
          </p:nvSpPr>
          <p:spPr>
            <a:xfrm>
              <a:off x="7372922" y="4918613"/>
              <a:ext cx="25741" cy="27407"/>
            </a:xfrm>
            <a:custGeom>
              <a:avLst/>
              <a:gdLst/>
              <a:ahLst/>
              <a:cxnLst/>
              <a:rect l="l" t="t" r="r" b="b"/>
              <a:pathLst>
                <a:path w="1234" h="1314" extrusionOk="0">
                  <a:moveTo>
                    <a:pt x="671" y="1"/>
                  </a:moveTo>
                  <a:cubicBezTo>
                    <a:pt x="335" y="1"/>
                    <a:pt x="1" y="194"/>
                    <a:pt x="1" y="594"/>
                  </a:cubicBezTo>
                  <a:cubicBezTo>
                    <a:pt x="1" y="777"/>
                    <a:pt x="206" y="1256"/>
                    <a:pt x="389" y="1256"/>
                  </a:cubicBezTo>
                  <a:cubicBezTo>
                    <a:pt x="471" y="1295"/>
                    <a:pt x="553" y="1313"/>
                    <a:pt x="631" y="1313"/>
                  </a:cubicBezTo>
                  <a:cubicBezTo>
                    <a:pt x="920" y="1313"/>
                    <a:pt x="1162" y="1063"/>
                    <a:pt x="1234" y="686"/>
                  </a:cubicBezTo>
                  <a:cubicBezTo>
                    <a:pt x="1142" y="503"/>
                    <a:pt x="1051" y="115"/>
                    <a:pt x="868" y="24"/>
                  </a:cubicBezTo>
                  <a:cubicBezTo>
                    <a:pt x="804" y="9"/>
                    <a:pt x="737" y="1"/>
                    <a:pt x="67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0" name="Google Shape;2400;p33"/>
            <p:cNvSpPr/>
            <p:nvPr/>
          </p:nvSpPr>
          <p:spPr>
            <a:xfrm>
              <a:off x="7559578" y="4918613"/>
              <a:ext cx="27640" cy="27407"/>
            </a:xfrm>
            <a:custGeom>
              <a:avLst/>
              <a:gdLst/>
              <a:ahLst/>
              <a:cxnLst/>
              <a:rect l="l" t="t" r="r" b="b"/>
              <a:pathLst>
                <a:path w="1325" h="1314" extrusionOk="0">
                  <a:moveTo>
                    <a:pt x="730" y="1"/>
                  </a:moveTo>
                  <a:cubicBezTo>
                    <a:pt x="359" y="1"/>
                    <a:pt x="77" y="194"/>
                    <a:pt x="0" y="594"/>
                  </a:cubicBezTo>
                  <a:cubicBezTo>
                    <a:pt x="0" y="777"/>
                    <a:pt x="183" y="1256"/>
                    <a:pt x="388" y="1256"/>
                  </a:cubicBezTo>
                  <a:cubicBezTo>
                    <a:pt x="485" y="1295"/>
                    <a:pt x="575" y="1313"/>
                    <a:pt x="658" y="1313"/>
                  </a:cubicBezTo>
                  <a:cubicBezTo>
                    <a:pt x="966" y="1313"/>
                    <a:pt x="1181" y="1063"/>
                    <a:pt x="1324" y="686"/>
                  </a:cubicBezTo>
                  <a:cubicBezTo>
                    <a:pt x="1233" y="503"/>
                    <a:pt x="1142" y="115"/>
                    <a:pt x="959" y="24"/>
                  </a:cubicBezTo>
                  <a:cubicBezTo>
                    <a:pt x="880" y="9"/>
                    <a:pt x="803" y="1"/>
                    <a:pt x="73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1" name="Google Shape;2401;p33"/>
            <p:cNvSpPr/>
            <p:nvPr/>
          </p:nvSpPr>
          <p:spPr>
            <a:xfrm>
              <a:off x="7748131" y="4918634"/>
              <a:ext cx="25720" cy="27386"/>
            </a:xfrm>
            <a:custGeom>
              <a:avLst/>
              <a:gdLst/>
              <a:ahLst/>
              <a:cxnLst/>
              <a:rect l="l" t="t" r="r" b="b"/>
              <a:pathLst>
                <a:path w="1233" h="1313" extrusionOk="0">
                  <a:moveTo>
                    <a:pt x="552" y="0"/>
                  </a:moveTo>
                  <a:cubicBezTo>
                    <a:pt x="491" y="0"/>
                    <a:pt x="428" y="8"/>
                    <a:pt x="365" y="23"/>
                  </a:cubicBezTo>
                  <a:cubicBezTo>
                    <a:pt x="183" y="114"/>
                    <a:pt x="0" y="502"/>
                    <a:pt x="0" y="685"/>
                  </a:cubicBezTo>
                  <a:cubicBezTo>
                    <a:pt x="0" y="1062"/>
                    <a:pt x="227" y="1312"/>
                    <a:pt x="557" y="1312"/>
                  </a:cubicBezTo>
                  <a:cubicBezTo>
                    <a:pt x="646" y="1312"/>
                    <a:pt x="743" y="1294"/>
                    <a:pt x="845" y="1255"/>
                  </a:cubicBezTo>
                  <a:cubicBezTo>
                    <a:pt x="1050" y="1255"/>
                    <a:pt x="1142" y="867"/>
                    <a:pt x="1233" y="685"/>
                  </a:cubicBezTo>
                  <a:cubicBezTo>
                    <a:pt x="1156" y="206"/>
                    <a:pt x="871" y="0"/>
                    <a:pt x="55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2" name="Google Shape;2402;p33"/>
            <p:cNvSpPr/>
            <p:nvPr/>
          </p:nvSpPr>
          <p:spPr>
            <a:xfrm>
              <a:off x="5024149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27" y="0"/>
                  </a:moveTo>
                  <a:cubicBezTo>
                    <a:pt x="872" y="0"/>
                    <a:pt x="815" y="6"/>
                    <a:pt x="754" y="17"/>
                  </a:cubicBezTo>
                  <a:cubicBezTo>
                    <a:pt x="571" y="17"/>
                    <a:pt x="183" y="200"/>
                    <a:pt x="92" y="383"/>
                  </a:cubicBezTo>
                  <a:cubicBezTo>
                    <a:pt x="1" y="771"/>
                    <a:pt x="183" y="1250"/>
                    <a:pt x="571" y="1341"/>
                  </a:cubicBezTo>
                  <a:cubicBezTo>
                    <a:pt x="676" y="1375"/>
                    <a:pt x="767" y="1390"/>
                    <a:pt x="848" y="1390"/>
                  </a:cubicBezTo>
                  <a:cubicBezTo>
                    <a:pt x="1209" y="1390"/>
                    <a:pt x="1362" y="1088"/>
                    <a:pt x="1530" y="771"/>
                  </a:cubicBezTo>
                  <a:cubicBezTo>
                    <a:pt x="1530" y="272"/>
                    <a:pt x="1304" y="0"/>
                    <a:pt x="92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3" name="Google Shape;2403;p33"/>
            <p:cNvSpPr/>
            <p:nvPr/>
          </p:nvSpPr>
          <p:spPr>
            <a:xfrm>
              <a:off x="5212953" y="5012034"/>
              <a:ext cx="33585" cy="29451"/>
            </a:xfrm>
            <a:custGeom>
              <a:avLst/>
              <a:gdLst/>
              <a:ahLst/>
              <a:cxnLst/>
              <a:rect l="l" t="t" r="r" b="b"/>
              <a:pathLst>
                <a:path w="1610" h="1412" extrusionOk="0">
                  <a:moveTo>
                    <a:pt x="628" y="1"/>
                  </a:moveTo>
                  <a:cubicBezTo>
                    <a:pt x="198" y="1"/>
                    <a:pt x="0" y="263"/>
                    <a:pt x="80" y="680"/>
                  </a:cubicBezTo>
                  <a:cubicBezTo>
                    <a:pt x="80" y="954"/>
                    <a:pt x="262" y="1342"/>
                    <a:pt x="468" y="1342"/>
                  </a:cubicBezTo>
                  <a:cubicBezTo>
                    <a:pt x="561" y="1389"/>
                    <a:pt x="662" y="1412"/>
                    <a:pt x="763" y="1412"/>
                  </a:cubicBezTo>
                  <a:cubicBezTo>
                    <a:pt x="1053" y="1412"/>
                    <a:pt x="1336" y="1219"/>
                    <a:pt x="1404" y="863"/>
                  </a:cubicBezTo>
                  <a:cubicBezTo>
                    <a:pt x="1609" y="384"/>
                    <a:pt x="1221" y="110"/>
                    <a:pt x="833" y="18"/>
                  </a:cubicBezTo>
                  <a:cubicBezTo>
                    <a:pt x="760" y="7"/>
                    <a:pt x="691" y="1"/>
                    <a:pt x="62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4" name="Google Shape;2404;p33"/>
            <p:cNvSpPr/>
            <p:nvPr/>
          </p:nvSpPr>
          <p:spPr>
            <a:xfrm>
              <a:off x="5398878" y="5011241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68" y="0"/>
                  </a:moveTo>
                  <a:cubicBezTo>
                    <a:pt x="886" y="0"/>
                    <a:pt x="792" y="18"/>
                    <a:pt x="685" y="56"/>
                  </a:cubicBezTo>
                  <a:cubicBezTo>
                    <a:pt x="480" y="56"/>
                    <a:pt x="206" y="330"/>
                    <a:pt x="114" y="536"/>
                  </a:cubicBezTo>
                  <a:cubicBezTo>
                    <a:pt x="0" y="992"/>
                    <a:pt x="297" y="1380"/>
                    <a:pt x="776" y="1380"/>
                  </a:cubicBezTo>
                  <a:cubicBezTo>
                    <a:pt x="838" y="1392"/>
                    <a:pt x="896" y="1398"/>
                    <a:pt x="951" y="1398"/>
                  </a:cubicBezTo>
                  <a:cubicBezTo>
                    <a:pt x="1322" y="1398"/>
                    <a:pt x="1530" y="1136"/>
                    <a:pt x="1530" y="718"/>
                  </a:cubicBezTo>
                  <a:cubicBezTo>
                    <a:pt x="1455" y="329"/>
                    <a:pt x="1321" y="0"/>
                    <a:pt x="96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5" name="Google Shape;2405;p33"/>
            <p:cNvSpPr/>
            <p:nvPr/>
          </p:nvSpPr>
          <p:spPr>
            <a:xfrm>
              <a:off x="5585512" y="5012409"/>
              <a:ext cx="35733" cy="28846"/>
            </a:xfrm>
            <a:custGeom>
              <a:avLst/>
              <a:gdLst/>
              <a:ahLst/>
              <a:cxnLst/>
              <a:rect l="l" t="t" r="r" b="b"/>
              <a:pathLst>
                <a:path w="1713" h="1383" extrusionOk="0">
                  <a:moveTo>
                    <a:pt x="959" y="0"/>
                  </a:moveTo>
                  <a:cubicBezTo>
                    <a:pt x="663" y="0"/>
                    <a:pt x="297" y="183"/>
                    <a:pt x="297" y="366"/>
                  </a:cubicBezTo>
                  <a:cubicBezTo>
                    <a:pt x="1" y="754"/>
                    <a:pt x="183" y="1233"/>
                    <a:pt x="663" y="1324"/>
                  </a:cubicBezTo>
                  <a:cubicBezTo>
                    <a:pt x="747" y="1364"/>
                    <a:pt x="832" y="1382"/>
                    <a:pt x="914" y="1382"/>
                  </a:cubicBezTo>
                  <a:cubicBezTo>
                    <a:pt x="1210" y="1382"/>
                    <a:pt x="1478" y="1148"/>
                    <a:pt x="1621" y="845"/>
                  </a:cubicBezTo>
                  <a:cubicBezTo>
                    <a:pt x="1713" y="274"/>
                    <a:pt x="1325" y="0"/>
                    <a:pt x="95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6" name="Google Shape;2406;p33"/>
            <p:cNvSpPr/>
            <p:nvPr/>
          </p:nvSpPr>
          <p:spPr>
            <a:xfrm>
              <a:off x="5774066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27" y="0"/>
                  </a:moveTo>
                  <a:cubicBezTo>
                    <a:pt x="872" y="0"/>
                    <a:pt x="814" y="6"/>
                    <a:pt x="754" y="17"/>
                  </a:cubicBezTo>
                  <a:cubicBezTo>
                    <a:pt x="571" y="17"/>
                    <a:pt x="183" y="200"/>
                    <a:pt x="92" y="383"/>
                  </a:cubicBezTo>
                  <a:cubicBezTo>
                    <a:pt x="1" y="771"/>
                    <a:pt x="183" y="1250"/>
                    <a:pt x="662" y="1341"/>
                  </a:cubicBezTo>
                  <a:cubicBezTo>
                    <a:pt x="750" y="1375"/>
                    <a:pt x="831" y="1390"/>
                    <a:pt x="905" y="1390"/>
                  </a:cubicBezTo>
                  <a:cubicBezTo>
                    <a:pt x="1237" y="1390"/>
                    <a:pt x="1437" y="1088"/>
                    <a:pt x="1530" y="771"/>
                  </a:cubicBezTo>
                  <a:cubicBezTo>
                    <a:pt x="1530" y="272"/>
                    <a:pt x="1303" y="0"/>
                    <a:pt x="92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7" name="Google Shape;2407;p33"/>
            <p:cNvSpPr/>
            <p:nvPr/>
          </p:nvSpPr>
          <p:spPr>
            <a:xfrm>
              <a:off x="5960721" y="5011241"/>
              <a:ext cx="33334" cy="29159"/>
            </a:xfrm>
            <a:custGeom>
              <a:avLst/>
              <a:gdLst/>
              <a:ahLst/>
              <a:cxnLst/>
              <a:rect l="l" t="t" r="r" b="b"/>
              <a:pathLst>
                <a:path w="1598" h="1398" extrusionOk="0">
                  <a:moveTo>
                    <a:pt x="1036" y="0"/>
                  </a:moveTo>
                  <a:cubicBezTo>
                    <a:pt x="954" y="0"/>
                    <a:pt x="861" y="18"/>
                    <a:pt x="753" y="56"/>
                  </a:cubicBezTo>
                  <a:cubicBezTo>
                    <a:pt x="571" y="56"/>
                    <a:pt x="274" y="330"/>
                    <a:pt x="183" y="536"/>
                  </a:cubicBezTo>
                  <a:cubicBezTo>
                    <a:pt x="0" y="992"/>
                    <a:pt x="365" y="1380"/>
                    <a:pt x="753" y="1380"/>
                  </a:cubicBezTo>
                  <a:cubicBezTo>
                    <a:pt x="827" y="1392"/>
                    <a:pt x="894" y="1398"/>
                    <a:pt x="955" y="1398"/>
                  </a:cubicBezTo>
                  <a:cubicBezTo>
                    <a:pt x="1369" y="1398"/>
                    <a:pt x="1518" y="1136"/>
                    <a:pt x="1598" y="718"/>
                  </a:cubicBezTo>
                  <a:cubicBezTo>
                    <a:pt x="1524" y="329"/>
                    <a:pt x="1389" y="0"/>
                    <a:pt x="103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8" name="Google Shape;2408;p33"/>
            <p:cNvSpPr/>
            <p:nvPr/>
          </p:nvSpPr>
          <p:spPr>
            <a:xfrm>
              <a:off x="6148795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48" y="0"/>
                  </a:moveTo>
                  <a:cubicBezTo>
                    <a:pt x="894" y="0"/>
                    <a:pt x="837" y="6"/>
                    <a:pt x="776" y="17"/>
                  </a:cubicBezTo>
                  <a:cubicBezTo>
                    <a:pt x="571" y="17"/>
                    <a:pt x="206" y="200"/>
                    <a:pt x="114" y="383"/>
                  </a:cubicBezTo>
                  <a:cubicBezTo>
                    <a:pt x="0" y="771"/>
                    <a:pt x="206" y="1250"/>
                    <a:pt x="685" y="1341"/>
                  </a:cubicBezTo>
                  <a:cubicBezTo>
                    <a:pt x="768" y="1375"/>
                    <a:pt x="846" y="1390"/>
                    <a:pt x="919" y="1390"/>
                  </a:cubicBezTo>
                  <a:cubicBezTo>
                    <a:pt x="1243" y="1390"/>
                    <a:pt x="1455" y="1088"/>
                    <a:pt x="1529" y="771"/>
                  </a:cubicBezTo>
                  <a:cubicBezTo>
                    <a:pt x="1529" y="272"/>
                    <a:pt x="1320" y="0"/>
                    <a:pt x="94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9" name="Google Shape;2409;p33"/>
            <p:cNvSpPr/>
            <p:nvPr/>
          </p:nvSpPr>
          <p:spPr>
            <a:xfrm>
              <a:off x="6335429" y="5011241"/>
              <a:ext cx="33835" cy="29159"/>
            </a:xfrm>
            <a:custGeom>
              <a:avLst/>
              <a:gdLst/>
              <a:ahLst/>
              <a:cxnLst/>
              <a:rect l="l" t="t" r="r" b="b"/>
              <a:pathLst>
                <a:path w="1622" h="1398" extrusionOk="0">
                  <a:moveTo>
                    <a:pt x="1039" y="0"/>
                  </a:moveTo>
                  <a:cubicBezTo>
                    <a:pt x="956" y="0"/>
                    <a:pt x="861" y="18"/>
                    <a:pt x="754" y="56"/>
                  </a:cubicBezTo>
                  <a:cubicBezTo>
                    <a:pt x="571" y="56"/>
                    <a:pt x="297" y="330"/>
                    <a:pt x="183" y="536"/>
                  </a:cubicBezTo>
                  <a:cubicBezTo>
                    <a:pt x="1" y="992"/>
                    <a:pt x="389" y="1380"/>
                    <a:pt x="868" y="1380"/>
                  </a:cubicBezTo>
                  <a:cubicBezTo>
                    <a:pt x="927" y="1392"/>
                    <a:pt x="981" y="1398"/>
                    <a:pt x="1032" y="1398"/>
                  </a:cubicBezTo>
                  <a:cubicBezTo>
                    <a:pt x="1375" y="1398"/>
                    <a:pt x="1542" y="1136"/>
                    <a:pt x="1621" y="718"/>
                  </a:cubicBezTo>
                  <a:cubicBezTo>
                    <a:pt x="1547" y="329"/>
                    <a:pt x="1398" y="0"/>
                    <a:pt x="103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0" name="Google Shape;2410;p33"/>
            <p:cNvSpPr/>
            <p:nvPr/>
          </p:nvSpPr>
          <p:spPr>
            <a:xfrm>
              <a:off x="6523983" y="5011241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94" y="0"/>
                  </a:moveTo>
                  <a:cubicBezTo>
                    <a:pt x="923" y="0"/>
                    <a:pt x="844" y="18"/>
                    <a:pt x="754" y="56"/>
                  </a:cubicBezTo>
                  <a:cubicBezTo>
                    <a:pt x="480" y="56"/>
                    <a:pt x="183" y="330"/>
                    <a:pt x="183" y="536"/>
                  </a:cubicBezTo>
                  <a:cubicBezTo>
                    <a:pt x="0" y="992"/>
                    <a:pt x="274" y="1380"/>
                    <a:pt x="754" y="1380"/>
                  </a:cubicBezTo>
                  <a:cubicBezTo>
                    <a:pt x="815" y="1392"/>
                    <a:pt x="874" y="1398"/>
                    <a:pt x="929" y="1398"/>
                  </a:cubicBezTo>
                  <a:cubicBezTo>
                    <a:pt x="1304" y="1398"/>
                    <a:pt x="1530" y="1136"/>
                    <a:pt x="1530" y="718"/>
                  </a:cubicBezTo>
                  <a:cubicBezTo>
                    <a:pt x="1437" y="329"/>
                    <a:pt x="1299" y="0"/>
                    <a:pt x="99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1" name="Google Shape;2411;p33"/>
            <p:cNvSpPr/>
            <p:nvPr/>
          </p:nvSpPr>
          <p:spPr>
            <a:xfrm>
              <a:off x="6712536" y="5011012"/>
              <a:ext cx="33814" cy="29034"/>
            </a:xfrm>
            <a:custGeom>
              <a:avLst/>
              <a:gdLst/>
              <a:ahLst/>
              <a:cxnLst/>
              <a:rect l="l" t="t" r="r" b="b"/>
              <a:pathLst>
                <a:path w="1621" h="1392" extrusionOk="0">
                  <a:moveTo>
                    <a:pt x="819" y="0"/>
                  </a:moveTo>
                  <a:cubicBezTo>
                    <a:pt x="737" y="0"/>
                    <a:pt x="653" y="21"/>
                    <a:pt x="571" y="67"/>
                  </a:cubicBezTo>
                  <a:cubicBezTo>
                    <a:pt x="92" y="159"/>
                    <a:pt x="0" y="638"/>
                    <a:pt x="183" y="1117"/>
                  </a:cubicBezTo>
                  <a:cubicBezTo>
                    <a:pt x="274" y="1300"/>
                    <a:pt x="662" y="1391"/>
                    <a:pt x="845" y="1391"/>
                  </a:cubicBezTo>
                  <a:cubicBezTo>
                    <a:pt x="1324" y="1391"/>
                    <a:pt x="1621" y="1117"/>
                    <a:pt x="1507" y="547"/>
                  </a:cubicBezTo>
                  <a:cubicBezTo>
                    <a:pt x="1365" y="246"/>
                    <a:pt x="1101" y="0"/>
                    <a:pt x="81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2" name="Google Shape;2412;p33"/>
            <p:cNvSpPr/>
            <p:nvPr/>
          </p:nvSpPr>
          <p:spPr>
            <a:xfrm>
              <a:off x="6898691" y="5012034"/>
              <a:ext cx="31937" cy="29493"/>
            </a:xfrm>
            <a:custGeom>
              <a:avLst/>
              <a:gdLst/>
              <a:ahLst/>
              <a:cxnLst/>
              <a:rect l="l" t="t" r="r" b="b"/>
              <a:pathLst>
                <a:path w="1531" h="1414" extrusionOk="0">
                  <a:moveTo>
                    <a:pt x="857" y="1"/>
                  </a:moveTo>
                  <a:cubicBezTo>
                    <a:pt x="802" y="1"/>
                    <a:pt x="745" y="6"/>
                    <a:pt x="686" y="18"/>
                  </a:cubicBezTo>
                  <a:cubicBezTo>
                    <a:pt x="206" y="201"/>
                    <a:pt x="1" y="589"/>
                    <a:pt x="115" y="954"/>
                  </a:cubicBezTo>
                  <a:cubicBezTo>
                    <a:pt x="249" y="1239"/>
                    <a:pt x="543" y="1413"/>
                    <a:pt x="835" y="1413"/>
                  </a:cubicBezTo>
                  <a:cubicBezTo>
                    <a:pt x="940" y="1413"/>
                    <a:pt x="1045" y="1391"/>
                    <a:pt x="1142" y="1342"/>
                  </a:cubicBezTo>
                  <a:cubicBezTo>
                    <a:pt x="1348" y="1160"/>
                    <a:pt x="1530" y="863"/>
                    <a:pt x="1530" y="589"/>
                  </a:cubicBezTo>
                  <a:cubicBezTo>
                    <a:pt x="1451" y="252"/>
                    <a:pt x="1216" y="1"/>
                    <a:pt x="85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3" name="Google Shape;2413;p33"/>
            <p:cNvSpPr/>
            <p:nvPr/>
          </p:nvSpPr>
          <p:spPr>
            <a:xfrm>
              <a:off x="7085346" y="5012034"/>
              <a:ext cx="33835" cy="29493"/>
            </a:xfrm>
            <a:custGeom>
              <a:avLst/>
              <a:gdLst/>
              <a:ahLst/>
              <a:cxnLst/>
              <a:rect l="l" t="t" r="r" b="b"/>
              <a:pathLst>
                <a:path w="1622" h="1414" extrusionOk="0">
                  <a:moveTo>
                    <a:pt x="872" y="1"/>
                  </a:moveTo>
                  <a:cubicBezTo>
                    <a:pt x="807" y="1"/>
                    <a:pt x="737" y="6"/>
                    <a:pt x="662" y="18"/>
                  </a:cubicBezTo>
                  <a:cubicBezTo>
                    <a:pt x="297" y="201"/>
                    <a:pt x="0" y="589"/>
                    <a:pt x="183" y="954"/>
                  </a:cubicBezTo>
                  <a:cubicBezTo>
                    <a:pt x="334" y="1239"/>
                    <a:pt x="633" y="1413"/>
                    <a:pt x="925" y="1413"/>
                  </a:cubicBezTo>
                  <a:cubicBezTo>
                    <a:pt x="1031" y="1413"/>
                    <a:pt x="1136" y="1391"/>
                    <a:pt x="1233" y="1342"/>
                  </a:cubicBezTo>
                  <a:cubicBezTo>
                    <a:pt x="1438" y="1160"/>
                    <a:pt x="1621" y="863"/>
                    <a:pt x="1530" y="589"/>
                  </a:cubicBezTo>
                  <a:cubicBezTo>
                    <a:pt x="1530" y="252"/>
                    <a:pt x="1306" y="1"/>
                    <a:pt x="87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4" name="Google Shape;2414;p33"/>
            <p:cNvSpPr/>
            <p:nvPr/>
          </p:nvSpPr>
          <p:spPr>
            <a:xfrm>
              <a:off x="7273900" y="5012054"/>
              <a:ext cx="33585" cy="28992"/>
            </a:xfrm>
            <a:custGeom>
              <a:avLst/>
              <a:gdLst/>
              <a:ahLst/>
              <a:cxnLst/>
              <a:rect l="l" t="t" r="r" b="b"/>
              <a:pathLst>
                <a:path w="1610" h="1390" extrusionOk="0">
                  <a:moveTo>
                    <a:pt x="1018" y="0"/>
                  </a:moveTo>
                  <a:cubicBezTo>
                    <a:pt x="963" y="0"/>
                    <a:pt x="905" y="6"/>
                    <a:pt x="845" y="17"/>
                  </a:cubicBezTo>
                  <a:cubicBezTo>
                    <a:pt x="571" y="17"/>
                    <a:pt x="183" y="200"/>
                    <a:pt x="183" y="383"/>
                  </a:cubicBezTo>
                  <a:cubicBezTo>
                    <a:pt x="0" y="771"/>
                    <a:pt x="183" y="1250"/>
                    <a:pt x="662" y="1341"/>
                  </a:cubicBezTo>
                  <a:cubicBezTo>
                    <a:pt x="750" y="1375"/>
                    <a:pt x="830" y="1390"/>
                    <a:pt x="905" y="1390"/>
                  </a:cubicBezTo>
                  <a:cubicBezTo>
                    <a:pt x="1236" y="1390"/>
                    <a:pt x="1436" y="1088"/>
                    <a:pt x="1530" y="771"/>
                  </a:cubicBezTo>
                  <a:cubicBezTo>
                    <a:pt x="1609" y="272"/>
                    <a:pt x="1393" y="0"/>
                    <a:pt x="10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5" name="Google Shape;2415;p33"/>
            <p:cNvSpPr/>
            <p:nvPr/>
          </p:nvSpPr>
          <p:spPr>
            <a:xfrm>
              <a:off x="7462453" y="5011241"/>
              <a:ext cx="31436" cy="29159"/>
            </a:xfrm>
            <a:custGeom>
              <a:avLst/>
              <a:gdLst/>
              <a:ahLst/>
              <a:cxnLst/>
              <a:rect l="l" t="t" r="r" b="b"/>
              <a:pathLst>
                <a:path w="1507" h="1398" extrusionOk="0">
                  <a:moveTo>
                    <a:pt x="945" y="0"/>
                  </a:moveTo>
                  <a:cubicBezTo>
                    <a:pt x="863" y="0"/>
                    <a:pt x="769" y="18"/>
                    <a:pt x="662" y="56"/>
                  </a:cubicBezTo>
                  <a:cubicBezTo>
                    <a:pt x="479" y="56"/>
                    <a:pt x="183" y="330"/>
                    <a:pt x="91" y="536"/>
                  </a:cubicBezTo>
                  <a:cubicBezTo>
                    <a:pt x="0" y="992"/>
                    <a:pt x="274" y="1380"/>
                    <a:pt x="753" y="1380"/>
                  </a:cubicBezTo>
                  <a:cubicBezTo>
                    <a:pt x="815" y="1392"/>
                    <a:pt x="873" y="1398"/>
                    <a:pt x="928" y="1398"/>
                  </a:cubicBezTo>
                  <a:cubicBezTo>
                    <a:pt x="1299" y="1398"/>
                    <a:pt x="1507" y="1136"/>
                    <a:pt x="1507" y="718"/>
                  </a:cubicBezTo>
                  <a:cubicBezTo>
                    <a:pt x="1432" y="329"/>
                    <a:pt x="1298" y="0"/>
                    <a:pt x="945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6" name="Google Shape;2416;p33"/>
            <p:cNvSpPr/>
            <p:nvPr/>
          </p:nvSpPr>
          <p:spPr>
            <a:xfrm>
              <a:off x="7648608" y="5011012"/>
              <a:ext cx="33835" cy="29034"/>
            </a:xfrm>
            <a:custGeom>
              <a:avLst/>
              <a:gdLst/>
              <a:ahLst/>
              <a:cxnLst/>
              <a:rect l="l" t="t" r="r" b="b"/>
              <a:pathLst>
                <a:path w="1622" h="1392" extrusionOk="0">
                  <a:moveTo>
                    <a:pt x="880" y="0"/>
                  </a:moveTo>
                  <a:cubicBezTo>
                    <a:pt x="783" y="0"/>
                    <a:pt x="679" y="21"/>
                    <a:pt x="571" y="67"/>
                  </a:cubicBezTo>
                  <a:cubicBezTo>
                    <a:pt x="206" y="159"/>
                    <a:pt x="1" y="638"/>
                    <a:pt x="298" y="1117"/>
                  </a:cubicBezTo>
                  <a:cubicBezTo>
                    <a:pt x="389" y="1300"/>
                    <a:pt x="686" y="1391"/>
                    <a:pt x="959" y="1391"/>
                  </a:cubicBezTo>
                  <a:cubicBezTo>
                    <a:pt x="1347" y="1391"/>
                    <a:pt x="1621" y="1117"/>
                    <a:pt x="1621" y="547"/>
                  </a:cubicBezTo>
                  <a:cubicBezTo>
                    <a:pt x="1480" y="246"/>
                    <a:pt x="1215" y="0"/>
                    <a:pt x="88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417" name="Google Shape;2417;p33"/>
          <p:cNvSpPr/>
          <p:nvPr/>
        </p:nvSpPr>
        <p:spPr>
          <a:xfrm flipH="1">
            <a:off x="-379550" y="4938650"/>
            <a:ext cx="2016300" cy="321900"/>
          </a:xfrm>
          <a:prstGeom prst="round2DiagRect">
            <a:avLst>
              <a:gd name="adj1" fmla="val 16667"/>
              <a:gd name="adj2" fmla="val 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418" name="Google Shape;2418;p33"/>
          <p:cNvGrpSpPr/>
          <p:nvPr/>
        </p:nvGrpSpPr>
        <p:grpSpPr>
          <a:xfrm>
            <a:off x="749106" y="4323982"/>
            <a:ext cx="695586" cy="614618"/>
            <a:chOff x="1491900" y="512600"/>
            <a:chExt cx="971625" cy="858525"/>
          </a:xfrm>
        </p:grpSpPr>
        <p:sp>
          <p:nvSpPr>
            <p:cNvPr id="2419" name="Google Shape;2419;p33"/>
            <p:cNvSpPr/>
            <p:nvPr/>
          </p:nvSpPr>
          <p:spPr>
            <a:xfrm>
              <a:off x="1942500" y="938450"/>
              <a:ext cx="26200" cy="432675"/>
            </a:xfrm>
            <a:custGeom>
              <a:avLst/>
              <a:gdLst/>
              <a:ahLst/>
              <a:cxnLst/>
              <a:rect l="l" t="t" r="r" b="b"/>
              <a:pathLst>
                <a:path w="1048" h="17307" extrusionOk="0">
                  <a:moveTo>
                    <a:pt x="0" y="1"/>
                  </a:moveTo>
                  <a:lnTo>
                    <a:pt x="0" y="17306"/>
                  </a:lnTo>
                  <a:lnTo>
                    <a:pt x="1047" y="17306"/>
                  </a:lnTo>
                  <a:lnTo>
                    <a:pt x="1047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0" name="Google Shape;2420;p33"/>
            <p:cNvSpPr/>
            <p:nvPr/>
          </p:nvSpPr>
          <p:spPr>
            <a:xfrm>
              <a:off x="1871750" y="770875"/>
              <a:ext cx="166375" cy="203175"/>
            </a:xfrm>
            <a:custGeom>
              <a:avLst/>
              <a:gdLst/>
              <a:ahLst/>
              <a:cxnLst/>
              <a:rect l="l" t="t" r="r" b="b"/>
              <a:pathLst>
                <a:path w="6655" h="8127" extrusionOk="0">
                  <a:moveTo>
                    <a:pt x="3343" y="1"/>
                  </a:moveTo>
                  <a:cubicBezTo>
                    <a:pt x="3205" y="1"/>
                    <a:pt x="3068" y="73"/>
                    <a:pt x="2995" y="214"/>
                  </a:cubicBezTo>
                  <a:lnTo>
                    <a:pt x="2147" y="1819"/>
                  </a:lnTo>
                  <a:lnTo>
                    <a:pt x="650" y="539"/>
                  </a:lnTo>
                  <a:cubicBezTo>
                    <a:pt x="569" y="474"/>
                    <a:pt x="479" y="444"/>
                    <a:pt x="391" y="444"/>
                  </a:cubicBezTo>
                  <a:cubicBezTo>
                    <a:pt x="187" y="444"/>
                    <a:pt x="1" y="604"/>
                    <a:pt x="1" y="846"/>
                  </a:cubicBezTo>
                  <a:lnTo>
                    <a:pt x="1" y="4791"/>
                  </a:lnTo>
                  <a:cubicBezTo>
                    <a:pt x="1" y="6630"/>
                    <a:pt x="1481" y="8127"/>
                    <a:pt x="3319" y="8127"/>
                  </a:cubicBezTo>
                  <a:cubicBezTo>
                    <a:pt x="5158" y="8127"/>
                    <a:pt x="6655" y="6630"/>
                    <a:pt x="6655" y="4791"/>
                  </a:cubicBezTo>
                  <a:lnTo>
                    <a:pt x="6655" y="716"/>
                  </a:lnTo>
                  <a:cubicBezTo>
                    <a:pt x="6655" y="485"/>
                    <a:pt x="6458" y="330"/>
                    <a:pt x="6252" y="330"/>
                  </a:cubicBezTo>
                  <a:cubicBezTo>
                    <a:pt x="6152" y="330"/>
                    <a:pt x="6050" y="366"/>
                    <a:pt x="5967" y="448"/>
                  </a:cubicBezTo>
                  <a:lnTo>
                    <a:pt x="4691" y="1819"/>
                  </a:lnTo>
                  <a:lnTo>
                    <a:pt x="3678" y="197"/>
                  </a:lnTo>
                  <a:cubicBezTo>
                    <a:pt x="3601" y="65"/>
                    <a:pt x="3472" y="1"/>
                    <a:pt x="3343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1" name="Google Shape;2421;p33"/>
            <p:cNvSpPr/>
            <p:nvPr/>
          </p:nvSpPr>
          <p:spPr>
            <a:xfrm>
              <a:off x="1881275" y="866750"/>
              <a:ext cx="48275" cy="83400"/>
            </a:xfrm>
            <a:custGeom>
              <a:avLst/>
              <a:gdLst/>
              <a:ahLst/>
              <a:cxnLst/>
              <a:rect l="l" t="t" r="r" b="b"/>
              <a:pathLst>
                <a:path w="1931" h="3336" extrusionOk="0">
                  <a:moveTo>
                    <a:pt x="394" y="0"/>
                  </a:moveTo>
                  <a:cubicBezTo>
                    <a:pt x="178" y="0"/>
                    <a:pt x="1" y="182"/>
                    <a:pt x="1" y="381"/>
                  </a:cubicBezTo>
                  <a:lnTo>
                    <a:pt x="1" y="814"/>
                  </a:lnTo>
                  <a:cubicBezTo>
                    <a:pt x="1" y="1770"/>
                    <a:pt x="468" y="2687"/>
                    <a:pt x="1260" y="3262"/>
                  </a:cubicBezTo>
                  <a:cubicBezTo>
                    <a:pt x="1333" y="3319"/>
                    <a:pt x="1407" y="3336"/>
                    <a:pt x="1476" y="3336"/>
                  </a:cubicBezTo>
                  <a:cubicBezTo>
                    <a:pt x="1606" y="3336"/>
                    <a:pt x="1731" y="3284"/>
                    <a:pt x="1800" y="3176"/>
                  </a:cubicBezTo>
                  <a:cubicBezTo>
                    <a:pt x="1930" y="2994"/>
                    <a:pt x="1891" y="2760"/>
                    <a:pt x="1714" y="2635"/>
                  </a:cubicBezTo>
                  <a:cubicBezTo>
                    <a:pt x="1134" y="2220"/>
                    <a:pt x="775" y="1532"/>
                    <a:pt x="775" y="814"/>
                  </a:cubicBezTo>
                  <a:lnTo>
                    <a:pt x="775" y="381"/>
                  </a:lnTo>
                  <a:cubicBezTo>
                    <a:pt x="775" y="182"/>
                    <a:pt x="611" y="0"/>
                    <a:pt x="39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2" name="Google Shape;2422;p33"/>
            <p:cNvSpPr/>
            <p:nvPr/>
          </p:nvSpPr>
          <p:spPr>
            <a:xfrm>
              <a:off x="1881275" y="825325"/>
              <a:ext cx="19400" cy="32900"/>
            </a:xfrm>
            <a:custGeom>
              <a:avLst/>
              <a:gdLst/>
              <a:ahLst/>
              <a:cxnLst/>
              <a:rect l="l" t="t" r="r" b="b"/>
              <a:pathLst>
                <a:path w="776" h="1316" extrusionOk="0">
                  <a:moveTo>
                    <a:pt x="394" y="0"/>
                  </a:moveTo>
                  <a:cubicBezTo>
                    <a:pt x="178" y="0"/>
                    <a:pt x="1" y="182"/>
                    <a:pt x="1" y="377"/>
                  </a:cubicBezTo>
                  <a:lnTo>
                    <a:pt x="1" y="917"/>
                  </a:lnTo>
                  <a:cubicBezTo>
                    <a:pt x="1" y="1134"/>
                    <a:pt x="178" y="1315"/>
                    <a:pt x="394" y="1315"/>
                  </a:cubicBezTo>
                  <a:cubicBezTo>
                    <a:pt x="611" y="1315"/>
                    <a:pt x="775" y="1134"/>
                    <a:pt x="775" y="917"/>
                  </a:cubicBezTo>
                  <a:lnTo>
                    <a:pt x="775" y="377"/>
                  </a:lnTo>
                  <a:cubicBezTo>
                    <a:pt x="775" y="182"/>
                    <a:pt x="611" y="0"/>
                    <a:pt x="39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3" name="Google Shape;2423;p33"/>
            <p:cNvSpPr/>
            <p:nvPr/>
          </p:nvSpPr>
          <p:spPr>
            <a:xfrm>
              <a:off x="1964675" y="984175"/>
              <a:ext cx="140075" cy="122775"/>
            </a:xfrm>
            <a:custGeom>
              <a:avLst/>
              <a:gdLst/>
              <a:ahLst/>
              <a:cxnLst/>
              <a:rect l="l" t="t" r="r" b="b"/>
              <a:pathLst>
                <a:path w="5603" h="4911" extrusionOk="0">
                  <a:moveTo>
                    <a:pt x="4357" y="0"/>
                  </a:moveTo>
                  <a:cubicBezTo>
                    <a:pt x="3621" y="0"/>
                    <a:pt x="2707" y="91"/>
                    <a:pt x="1982" y="443"/>
                  </a:cubicBezTo>
                  <a:cubicBezTo>
                    <a:pt x="576" y="1144"/>
                    <a:pt x="0" y="3130"/>
                    <a:pt x="866" y="4298"/>
                  </a:cubicBezTo>
                  <a:cubicBezTo>
                    <a:pt x="883" y="4319"/>
                    <a:pt x="900" y="4337"/>
                    <a:pt x="918" y="4354"/>
                  </a:cubicBezTo>
                  <a:cubicBezTo>
                    <a:pt x="1336" y="4731"/>
                    <a:pt x="1896" y="4911"/>
                    <a:pt x="2473" y="4911"/>
                  </a:cubicBezTo>
                  <a:cubicBezTo>
                    <a:pt x="3385" y="4911"/>
                    <a:pt x="4340" y="4461"/>
                    <a:pt x="4846" y="3632"/>
                  </a:cubicBezTo>
                  <a:cubicBezTo>
                    <a:pt x="5603" y="2442"/>
                    <a:pt x="5603" y="603"/>
                    <a:pt x="5603" y="136"/>
                  </a:cubicBezTo>
                  <a:lnTo>
                    <a:pt x="5603" y="80"/>
                  </a:lnTo>
                  <a:lnTo>
                    <a:pt x="5551" y="80"/>
                  </a:lnTo>
                  <a:cubicBezTo>
                    <a:pt x="5352" y="50"/>
                    <a:pt x="4903" y="0"/>
                    <a:pt x="4357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4" name="Google Shape;2424;p33"/>
            <p:cNvSpPr/>
            <p:nvPr/>
          </p:nvSpPr>
          <p:spPr>
            <a:xfrm>
              <a:off x="2016900" y="992975"/>
              <a:ext cx="57250" cy="17525"/>
            </a:xfrm>
            <a:custGeom>
              <a:avLst/>
              <a:gdLst/>
              <a:ahLst/>
              <a:cxnLst/>
              <a:rect l="l" t="t" r="r" b="b"/>
              <a:pathLst>
                <a:path w="2290" h="701" extrusionOk="0">
                  <a:moveTo>
                    <a:pt x="2000" y="0"/>
                  </a:moveTo>
                  <a:cubicBezTo>
                    <a:pt x="1822" y="0"/>
                    <a:pt x="1641" y="17"/>
                    <a:pt x="1481" y="35"/>
                  </a:cubicBezTo>
                  <a:cubicBezTo>
                    <a:pt x="940" y="74"/>
                    <a:pt x="486" y="182"/>
                    <a:pt x="126" y="359"/>
                  </a:cubicBezTo>
                  <a:cubicBezTo>
                    <a:pt x="36" y="415"/>
                    <a:pt x="1" y="524"/>
                    <a:pt x="36" y="614"/>
                  </a:cubicBezTo>
                  <a:cubicBezTo>
                    <a:pt x="75" y="666"/>
                    <a:pt x="126" y="701"/>
                    <a:pt x="200" y="701"/>
                  </a:cubicBezTo>
                  <a:lnTo>
                    <a:pt x="217" y="701"/>
                  </a:lnTo>
                  <a:cubicBezTo>
                    <a:pt x="235" y="701"/>
                    <a:pt x="252" y="701"/>
                    <a:pt x="291" y="684"/>
                  </a:cubicBezTo>
                  <a:cubicBezTo>
                    <a:pt x="615" y="541"/>
                    <a:pt x="1009" y="433"/>
                    <a:pt x="1498" y="398"/>
                  </a:cubicBezTo>
                  <a:cubicBezTo>
                    <a:pt x="1658" y="377"/>
                    <a:pt x="1822" y="377"/>
                    <a:pt x="2000" y="377"/>
                  </a:cubicBezTo>
                  <a:lnTo>
                    <a:pt x="2091" y="377"/>
                  </a:lnTo>
                  <a:cubicBezTo>
                    <a:pt x="2199" y="377"/>
                    <a:pt x="2290" y="290"/>
                    <a:pt x="2290" y="199"/>
                  </a:cubicBezTo>
                  <a:cubicBezTo>
                    <a:pt x="2290" y="91"/>
                    <a:pt x="2199" y="17"/>
                    <a:pt x="2108" y="0"/>
                  </a:cubicBezTo>
                  <a:close/>
                </a:path>
              </a:pathLst>
            </a:custGeom>
            <a:solidFill>
              <a:srgbClr val="00D26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5" name="Google Shape;2425;p33"/>
            <p:cNvSpPr/>
            <p:nvPr/>
          </p:nvSpPr>
          <p:spPr>
            <a:xfrm>
              <a:off x="1806425" y="984175"/>
              <a:ext cx="140650" cy="122775"/>
            </a:xfrm>
            <a:custGeom>
              <a:avLst/>
              <a:gdLst/>
              <a:ahLst/>
              <a:cxnLst/>
              <a:rect l="l" t="t" r="r" b="b"/>
              <a:pathLst>
                <a:path w="5626" h="4911" extrusionOk="0">
                  <a:moveTo>
                    <a:pt x="1252" y="0"/>
                  </a:moveTo>
                  <a:cubicBezTo>
                    <a:pt x="705" y="0"/>
                    <a:pt x="256" y="50"/>
                    <a:pt x="57" y="80"/>
                  </a:cubicBezTo>
                  <a:lnTo>
                    <a:pt x="18" y="80"/>
                  </a:lnTo>
                  <a:lnTo>
                    <a:pt x="18" y="136"/>
                  </a:lnTo>
                  <a:cubicBezTo>
                    <a:pt x="1" y="603"/>
                    <a:pt x="1" y="2442"/>
                    <a:pt x="758" y="3632"/>
                  </a:cubicBezTo>
                  <a:cubicBezTo>
                    <a:pt x="1267" y="4461"/>
                    <a:pt x="2221" y="4911"/>
                    <a:pt x="3137" y="4911"/>
                  </a:cubicBezTo>
                  <a:cubicBezTo>
                    <a:pt x="3716" y="4911"/>
                    <a:pt x="4281" y="4731"/>
                    <a:pt x="4708" y="4354"/>
                  </a:cubicBezTo>
                  <a:cubicBezTo>
                    <a:pt x="4708" y="4337"/>
                    <a:pt x="4743" y="4319"/>
                    <a:pt x="4743" y="4298"/>
                  </a:cubicBezTo>
                  <a:cubicBezTo>
                    <a:pt x="5625" y="3130"/>
                    <a:pt x="5050" y="1144"/>
                    <a:pt x="3626" y="443"/>
                  </a:cubicBezTo>
                  <a:cubicBezTo>
                    <a:pt x="2902" y="91"/>
                    <a:pt x="1988" y="0"/>
                    <a:pt x="1252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6" name="Google Shape;2426;p33"/>
            <p:cNvSpPr/>
            <p:nvPr/>
          </p:nvSpPr>
          <p:spPr>
            <a:xfrm>
              <a:off x="1837575" y="992975"/>
              <a:ext cx="57250" cy="17525"/>
            </a:xfrm>
            <a:custGeom>
              <a:avLst/>
              <a:gdLst/>
              <a:ahLst/>
              <a:cxnLst/>
              <a:rect l="l" t="t" r="r" b="b"/>
              <a:pathLst>
                <a:path w="2290" h="701" extrusionOk="0">
                  <a:moveTo>
                    <a:pt x="178" y="0"/>
                  </a:moveTo>
                  <a:cubicBezTo>
                    <a:pt x="70" y="17"/>
                    <a:pt x="1" y="91"/>
                    <a:pt x="1" y="199"/>
                  </a:cubicBezTo>
                  <a:cubicBezTo>
                    <a:pt x="1" y="290"/>
                    <a:pt x="70" y="377"/>
                    <a:pt x="178" y="377"/>
                  </a:cubicBezTo>
                  <a:lnTo>
                    <a:pt x="269" y="377"/>
                  </a:lnTo>
                  <a:cubicBezTo>
                    <a:pt x="451" y="377"/>
                    <a:pt x="611" y="377"/>
                    <a:pt x="775" y="398"/>
                  </a:cubicBezTo>
                  <a:cubicBezTo>
                    <a:pt x="1260" y="433"/>
                    <a:pt x="1675" y="541"/>
                    <a:pt x="2000" y="684"/>
                  </a:cubicBezTo>
                  <a:cubicBezTo>
                    <a:pt x="2017" y="701"/>
                    <a:pt x="2034" y="701"/>
                    <a:pt x="2073" y="701"/>
                  </a:cubicBezTo>
                  <a:cubicBezTo>
                    <a:pt x="2142" y="701"/>
                    <a:pt x="2216" y="666"/>
                    <a:pt x="2233" y="614"/>
                  </a:cubicBezTo>
                  <a:cubicBezTo>
                    <a:pt x="2289" y="524"/>
                    <a:pt x="2251" y="415"/>
                    <a:pt x="2164" y="359"/>
                  </a:cubicBezTo>
                  <a:cubicBezTo>
                    <a:pt x="1783" y="182"/>
                    <a:pt x="1333" y="74"/>
                    <a:pt x="810" y="35"/>
                  </a:cubicBezTo>
                  <a:cubicBezTo>
                    <a:pt x="628" y="17"/>
                    <a:pt x="451" y="0"/>
                    <a:pt x="269" y="0"/>
                  </a:cubicBezTo>
                  <a:close/>
                </a:path>
              </a:pathLst>
            </a:custGeom>
            <a:solidFill>
              <a:srgbClr val="00D26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7" name="Google Shape;2427;p33"/>
            <p:cNvSpPr/>
            <p:nvPr/>
          </p:nvSpPr>
          <p:spPr>
            <a:xfrm>
              <a:off x="2214725" y="680600"/>
              <a:ext cx="21675" cy="676025"/>
            </a:xfrm>
            <a:custGeom>
              <a:avLst/>
              <a:gdLst/>
              <a:ahLst/>
              <a:cxnLst/>
              <a:rect l="l" t="t" r="r" b="b"/>
              <a:pathLst>
                <a:path w="867" h="27041" extrusionOk="0">
                  <a:moveTo>
                    <a:pt x="1" y="1"/>
                  </a:moveTo>
                  <a:lnTo>
                    <a:pt x="1" y="27040"/>
                  </a:lnTo>
                  <a:lnTo>
                    <a:pt x="866" y="27040"/>
                  </a:lnTo>
                  <a:lnTo>
                    <a:pt x="866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8" name="Google Shape;2428;p33"/>
            <p:cNvSpPr/>
            <p:nvPr/>
          </p:nvSpPr>
          <p:spPr>
            <a:xfrm>
              <a:off x="2205325" y="512600"/>
              <a:ext cx="89700" cy="131850"/>
            </a:xfrm>
            <a:custGeom>
              <a:avLst/>
              <a:gdLst/>
              <a:ahLst/>
              <a:cxnLst/>
              <a:rect l="l" t="t" r="r" b="b"/>
              <a:pathLst>
                <a:path w="3588" h="5274" extrusionOk="0">
                  <a:moveTo>
                    <a:pt x="2204" y="0"/>
                  </a:moveTo>
                  <a:cubicBezTo>
                    <a:pt x="1676" y="0"/>
                    <a:pt x="1189" y="349"/>
                    <a:pt x="1026" y="880"/>
                  </a:cubicBezTo>
                  <a:lnTo>
                    <a:pt x="178" y="3675"/>
                  </a:lnTo>
                  <a:cubicBezTo>
                    <a:pt x="1" y="4341"/>
                    <a:pt x="360" y="5029"/>
                    <a:pt x="1009" y="5228"/>
                  </a:cubicBezTo>
                  <a:cubicBezTo>
                    <a:pt x="1123" y="5258"/>
                    <a:pt x="1238" y="5273"/>
                    <a:pt x="1352" y="5273"/>
                  </a:cubicBezTo>
                  <a:cubicBezTo>
                    <a:pt x="1896" y="5273"/>
                    <a:pt x="2393" y="4934"/>
                    <a:pt x="2557" y="4397"/>
                  </a:cubicBezTo>
                  <a:lnTo>
                    <a:pt x="3388" y="1585"/>
                  </a:lnTo>
                  <a:cubicBezTo>
                    <a:pt x="3587" y="936"/>
                    <a:pt x="3206" y="253"/>
                    <a:pt x="2557" y="54"/>
                  </a:cubicBezTo>
                  <a:cubicBezTo>
                    <a:pt x="2440" y="17"/>
                    <a:pt x="2321" y="0"/>
                    <a:pt x="2204" y="0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9" name="Google Shape;2429;p33"/>
            <p:cNvSpPr/>
            <p:nvPr/>
          </p:nvSpPr>
          <p:spPr>
            <a:xfrm>
              <a:off x="2229125" y="555375"/>
              <a:ext cx="128075" cy="105950"/>
            </a:xfrm>
            <a:custGeom>
              <a:avLst/>
              <a:gdLst/>
              <a:ahLst/>
              <a:cxnLst/>
              <a:rect l="l" t="t" r="r" b="b"/>
              <a:pathLst>
                <a:path w="5123" h="4238" extrusionOk="0">
                  <a:moveTo>
                    <a:pt x="3719" y="1"/>
                  </a:moveTo>
                  <a:cubicBezTo>
                    <a:pt x="3459" y="1"/>
                    <a:pt x="3199" y="82"/>
                    <a:pt x="2977" y="250"/>
                  </a:cubicBezTo>
                  <a:lnTo>
                    <a:pt x="649" y="2020"/>
                  </a:lnTo>
                  <a:cubicBezTo>
                    <a:pt x="109" y="2435"/>
                    <a:pt x="0" y="3210"/>
                    <a:pt x="416" y="3751"/>
                  </a:cubicBezTo>
                  <a:cubicBezTo>
                    <a:pt x="660" y="4069"/>
                    <a:pt x="1029" y="4237"/>
                    <a:pt x="1401" y="4237"/>
                  </a:cubicBezTo>
                  <a:cubicBezTo>
                    <a:pt x="1662" y="4237"/>
                    <a:pt x="1924" y="4155"/>
                    <a:pt x="2146" y="3984"/>
                  </a:cubicBezTo>
                  <a:lnTo>
                    <a:pt x="4474" y="2219"/>
                  </a:lnTo>
                  <a:cubicBezTo>
                    <a:pt x="5015" y="1804"/>
                    <a:pt x="5123" y="1029"/>
                    <a:pt x="4707" y="488"/>
                  </a:cubicBezTo>
                  <a:cubicBezTo>
                    <a:pt x="4462" y="169"/>
                    <a:pt x="4092" y="1"/>
                    <a:pt x="3719" y="1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0" name="Google Shape;2430;p33"/>
            <p:cNvSpPr/>
            <p:nvPr/>
          </p:nvSpPr>
          <p:spPr>
            <a:xfrm>
              <a:off x="2242650" y="626075"/>
              <a:ext cx="135750" cy="63650"/>
            </a:xfrm>
            <a:custGeom>
              <a:avLst/>
              <a:gdLst/>
              <a:ahLst/>
              <a:cxnLst/>
              <a:rect l="l" t="t" r="r" b="b"/>
              <a:pathLst>
                <a:path w="5430" h="2546" extrusionOk="0">
                  <a:moveTo>
                    <a:pt x="4181" y="1"/>
                  </a:moveTo>
                  <a:cubicBezTo>
                    <a:pt x="4170" y="1"/>
                    <a:pt x="4160" y="1"/>
                    <a:pt x="4149" y="1"/>
                  </a:cubicBezTo>
                  <a:lnTo>
                    <a:pt x="1229" y="75"/>
                  </a:lnTo>
                  <a:cubicBezTo>
                    <a:pt x="541" y="92"/>
                    <a:pt x="0" y="650"/>
                    <a:pt x="22" y="1338"/>
                  </a:cubicBezTo>
                  <a:cubicBezTo>
                    <a:pt x="39" y="2011"/>
                    <a:pt x="597" y="2545"/>
                    <a:pt x="1266" y="2545"/>
                  </a:cubicBezTo>
                  <a:cubicBezTo>
                    <a:pt x="1277" y="2545"/>
                    <a:pt x="1287" y="2545"/>
                    <a:pt x="1298" y="2545"/>
                  </a:cubicBezTo>
                  <a:lnTo>
                    <a:pt x="4218" y="2471"/>
                  </a:lnTo>
                  <a:cubicBezTo>
                    <a:pt x="4906" y="2454"/>
                    <a:pt x="5430" y="1896"/>
                    <a:pt x="5430" y="1208"/>
                  </a:cubicBezTo>
                  <a:cubicBezTo>
                    <a:pt x="5408" y="535"/>
                    <a:pt x="4851" y="1"/>
                    <a:pt x="4181" y="1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1" name="Google Shape;2431;p33"/>
            <p:cNvSpPr/>
            <p:nvPr/>
          </p:nvSpPr>
          <p:spPr>
            <a:xfrm>
              <a:off x="2230525" y="656550"/>
              <a:ext cx="130250" cy="103625"/>
            </a:xfrm>
            <a:custGeom>
              <a:avLst/>
              <a:gdLst/>
              <a:ahLst/>
              <a:cxnLst/>
              <a:rect l="l" t="t" r="r" b="b"/>
              <a:pathLst>
                <a:path w="5210" h="4145" extrusionOk="0">
                  <a:moveTo>
                    <a:pt x="1400" y="1"/>
                  </a:moveTo>
                  <a:cubicBezTo>
                    <a:pt x="1009" y="1"/>
                    <a:pt x="622" y="187"/>
                    <a:pt x="377" y="530"/>
                  </a:cubicBezTo>
                  <a:cubicBezTo>
                    <a:pt x="1" y="1110"/>
                    <a:pt x="143" y="1867"/>
                    <a:pt x="701" y="2260"/>
                  </a:cubicBezTo>
                  <a:lnTo>
                    <a:pt x="3103" y="3922"/>
                  </a:lnTo>
                  <a:cubicBezTo>
                    <a:pt x="3317" y="4073"/>
                    <a:pt x="3563" y="4145"/>
                    <a:pt x="3807" y="4145"/>
                  </a:cubicBezTo>
                  <a:cubicBezTo>
                    <a:pt x="4199" y="4145"/>
                    <a:pt x="4588" y="3959"/>
                    <a:pt x="4833" y="3615"/>
                  </a:cubicBezTo>
                  <a:cubicBezTo>
                    <a:pt x="5210" y="3039"/>
                    <a:pt x="5067" y="2282"/>
                    <a:pt x="4509" y="1884"/>
                  </a:cubicBezTo>
                  <a:lnTo>
                    <a:pt x="2108" y="227"/>
                  </a:lnTo>
                  <a:cubicBezTo>
                    <a:pt x="1893" y="74"/>
                    <a:pt x="1645" y="1"/>
                    <a:pt x="1400" y="1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2" name="Google Shape;2432;p33"/>
            <p:cNvSpPr/>
            <p:nvPr/>
          </p:nvSpPr>
          <p:spPr>
            <a:xfrm>
              <a:off x="2207050" y="674925"/>
              <a:ext cx="93800" cy="130625"/>
            </a:xfrm>
            <a:custGeom>
              <a:avLst/>
              <a:gdLst/>
              <a:ahLst/>
              <a:cxnLst/>
              <a:rect l="l" t="t" r="r" b="b"/>
              <a:pathLst>
                <a:path w="3752" h="5225" extrusionOk="0">
                  <a:moveTo>
                    <a:pt x="1383" y="1"/>
                  </a:moveTo>
                  <a:cubicBezTo>
                    <a:pt x="1248" y="1"/>
                    <a:pt x="1110" y="22"/>
                    <a:pt x="974" y="67"/>
                  </a:cubicBezTo>
                  <a:cubicBezTo>
                    <a:pt x="325" y="301"/>
                    <a:pt x="1" y="1006"/>
                    <a:pt x="217" y="1655"/>
                  </a:cubicBezTo>
                  <a:lnTo>
                    <a:pt x="1191" y="4394"/>
                  </a:lnTo>
                  <a:cubicBezTo>
                    <a:pt x="1374" y="4904"/>
                    <a:pt x="1850" y="5224"/>
                    <a:pt x="2351" y="5224"/>
                  </a:cubicBezTo>
                  <a:cubicBezTo>
                    <a:pt x="2488" y="5224"/>
                    <a:pt x="2626" y="5201"/>
                    <a:pt x="2761" y="5151"/>
                  </a:cubicBezTo>
                  <a:cubicBezTo>
                    <a:pt x="3410" y="4935"/>
                    <a:pt x="3752" y="4229"/>
                    <a:pt x="3518" y="3580"/>
                  </a:cubicBezTo>
                  <a:lnTo>
                    <a:pt x="2562" y="825"/>
                  </a:lnTo>
                  <a:cubicBezTo>
                    <a:pt x="2377" y="311"/>
                    <a:pt x="1897" y="1"/>
                    <a:pt x="1383" y="1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3" name="Google Shape;2433;p33"/>
            <p:cNvSpPr/>
            <p:nvPr/>
          </p:nvSpPr>
          <p:spPr>
            <a:xfrm>
              <a:off x="2156125" y="675675"/>
              <a:ext cx="90225" cy="131675"/>
            </a:xfrm>
            <a:custGeom>
              <a:avLst/>
              <a:gdLst/>
              <a:ahLst/>
              <a:cxnLst/>
              <a:rect l="l" t="t" r="r" b="b"/>
              <a:pathLst>
                <a:path w="3609" h="5267" extrusionOk="0">
                  <a:moveTo>
                    <a:pt x="2217" y="0"/>
                  </a:moveTo>
                  <a:cubicBezTo>
                    <a:pt x="1688" y="0"/>
                    <a:pt x="1195" y="342"/>
                    <a:pt x="1047" y="885"/>
                  </a:cubicBezTo>
                  <a:lnTo>
                    <a:pt x="199" y="3680"/>
                  </a:lnTo>
                  <a:cubicBezTo>
                    <a:pt x="0" y="4329"/>
                    <a:pt x="381" y="5030"/>
                    <a:pt x="1030" y="5212"/>
                  </a:cubicBezTo>
                  <a:cubicBezTo>
                    <a:pt x="1153" y="5249"/>
                    <a:pt x="1277" y="5266"/>
                    <a:pt x="1398" y="5266"/>
                  </a:cubicBezTo>
                  <a:cubicBezTo>
                    <a:pt x="1932" y="5266"/>
                    <a:pt x="2416" y="4924"/>
                    <a:pt x="2579" y="4381"/>
                  </a:cubicBezTo>
                  <a:lnTo>
                    <a:pt x="3409" y="1586"/>
                  </a:lnTo>
                  <a:cubicBezTo>
                    <a:pt x="3608" y="937"/>
                    <a:pt x="3228" y="254"/>
                    <a:pt x="2579" y="55"/>
                  </a:cubicBezTo>
                  <a:cubicBezTo>
                    <a:pt x="2459" y="18"/>
                    <a:pt x="2337" y="0"/>
                    <a:pt x="2217" y="0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4" name="Google Shape;2434;p33"/>
            <p:cNvSpPr/>
            <p:nvPr/>
          </p:nvSpPr>
          <p:spPr>
            <a:xfrm>
              <a:off x="2093925" y="658600"/>
              <a:ext cx="128075" cy="106075"/>
            </a:xfrm>
            <a:custGeom>
              <a:avLst/>
              <a:gdLst/>
              <a:ahLst/>
              <a:cxnLst/>
              <a:rect l="l" t="t" r="r" b="b"/>
              <a:pathLst>
                <a:path w="5123" h="4243" extrusionOk="0">
                  <a:moveTo>
                    <a:pt x="3722" y="0"/>
                  </a:moveTo>
                  <a:cubicBezTo>
                    <a:pt x="3461" y="0"/>
                    <a:pt x="3199" y="82"/>
                    <a:pt x="2977" y="253"/>
                  </a:cubicBezTo>
                  <a:lnTo>
                    <a:pt x="649" y="2018"/>
                  </a:lnTo>
                  <a:cubicBezTo>
                    <a:pt x="109" y="2434"/>
                    <a:pt x="0" y="3208"/>
                    <a:pt x="416" y="3766"/>
                  </a:cubicBezTo>
                  <a:cubicBezTo>
                    <a:pt x="657" y="4080"/>
                    <a:pt x="1018" y="4242"/>
                    <a:pt x="1385" y="4242"/>
                  </a:cubicBezTo>
                  <a:cubicBezTo>
                    <a:pt x="1651" y="4242"/>
                    <a:pt x="1919" y="4157"/>
                    <a:pt x="2146" y="3983"/>
                  </a:cubicBezTo>
                  <a:lnTo>
                    <a:pt x="4474" y="2217"/>
                  </a:lnTo>
                  <a:cubicBezTo>
                    <a:pt x="5015" y="1802"/>
                    <a:pt x="5123" y="1028"/>
                    <a:pt x="4707" y="487"/>
                  </a:cubicBezTo>
                  <a:cubicBezTo>
                    <a:pt x="4463" y="168"/>
                    <a:pt x="4094" y="0"/>
                    <a:pt x="3722" y="0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5" name="Google Shape;2435;p33"/>
            <p:cNvSpPr/>
            <p:nvPr/>
          </p:nvSpPr>
          <p:spPr>
            <a:xfrm>
              <a:off x="2072825" y="630200"/>
              <a:ext cx="135675" cy="63525"/>
            </a:xfrm>
            <a:custGeom>
              <a:avLst/>
              <a:gdLst/>
              <a:ahLst/>
              <a:cxnLst/>
              <a:rect l="l" t="t" r="r" b="b"/>
              <a:pathLst>
                <a:path w="5427" h="2541" extrusionOk="0">
                  <a:moveTo>
                    <a:pt x="4177" y="0"/>
                  </a:moveTo>
                  <a:cubicBezTo>
                    <a:pt x="4167" y="0"/>
                    <a:pt x="4156" y="0"/>
                    <a:pt x="4145" y="0"/>
                  </a:cubicBezTo>
                  <a:lnTo>
                    <a:pt x="1225" y="70"/>
                  </a:lnTo>
                  <a:cubicBezTo>
                    <a:pt x="542" y="91"/>
                    <a:pt x="1" y="649"/>
                    <a:pt x="18" y="1333"/>
                  </a:cubicBezTo>
                  <a:cubicBezTo>
                    <a:pt x="35" y="2006"/>
                    <a:pt x="576" y="2540"/>
                    <a:pt x="1245" y="2540"/>
                  </a:cubicBezTo>
                  <a:cubicBezTo>
                    <a:pt x="1256" y="2540"/>
                    <a:pt x="1266" y="2540"/>
                    <a:pt x="1277" y="2540"/>
                  </a:cubicBezTo>
                  <a:lnTo>
                    <a:pt x="4197" y="2471"/>
                  </a:lnTo>
                  <a:cubicBezTo>
                    <a:pt x="4885" y="2449"/>
                    <a:pt x="5426" y="1891"/>
                    <a:pt x="5409" y="1207"/>
                  </a:cubicBezTo>
                  <a:cubicBezTo>
                    <a:pt x="5387" y="535"/>
                    <a:pt x="4846" y="0"/>
                    <a:pt x="4177" y="0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6" name="Google Shape;2436;p33"/>
            <p:cNvSpPr/>
            <p:nvPr/>
          </p:nvSpPr>
          <p:spPr>
            <a:xfrm>
              <a:off x="2090350" y="560000"/>
              <a:ext cx="130675" cy="103325"/>
            </a:xfrm>
            <a:custGeom>
              <a:avLst/>
              <a:gdLst/>
              <a:ahLst/>
              <a:cxnLst/>
              <a:rect l="l" t="t" r="r" b="b"/>
              <a:pathLst>
                <a:path w="5227" h="4133" extrusionOk="0">
                  <a:moveTo>
                    <a:pt x="1419" y="1"/>
                  </a:moveTo>
                  <a:cubicBezTo>
                    <a:pt x="1023" y="1"/>
                    <a:pt x="633" y="189"/>
                    <a:pt x="399" y="537"/>
                  </a:cubicBezTo>
                  <a:cubicBezTo>
                    <a:pt x="1" y="1095"/>
                    <a:pt x="143" y="1870"/>
                    <a:pt x="706" y="2250"/>
                  </a:cubicBezTo>
                  <a:lnTo>
                    <a:pt x="3120" y="3907"/>
                  </a:lnTo>
                  <a:cubicBezTo>
                    <a:pt x="3334" y="4060"/>
                    <a:pt x="3577" y="4132"/>
                    <a:pt x="3818" y="4132"/>
                  </a:cubicBezTo>
                  <a:cubicBezTo>
                    <a:pt x="4205" y="4132"/>
                    <a:pt x="4588" y="3944"/>
                    <a:pt x="4833" y="3600"/>
                  </a:cubicBezTo>
                  <a:cubicBezTo>
                    <a:pt x="5227" y="3042"/>
                    <a:pt x="5084" y="2268"/>
                    <a:pt x="4526" y="1870"/>
                  </a:cubicBezTo>
                  <a:lnTo>
                    <a:pt x="2112" y="213"/>
                  </a:lnTo>
                  <a:cubicBezTo>
                    <a:pt x="1900" y="69"/>
                    <a:pt x="1659" y="1"/>
                    <a:pt x="1419" y="1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7" name="Google Shape;2437;p33"/>
            <p:cNvSpPr/>
            <p:nvPr/>
          </p:nvSpPr>
          <p:spPr>
            <a:xfrm>
              <a:off x="2150275" y="514325"/>
              <a:ext cx="94225" cy="130825"/>
            </a:xfrm>
            <a:custGeom>
              <a:avLst/>
              <a:gdLst/>
              <a:ahLst/>
              <a:cxnLst/>
              <a:rect l="l" t="t" r="r" b="b"/>
              <a:pathLst>
                <a:path w="3769" h="5233" extrusionOk="0">
                  <a:moveTo>
                    <a:pt x="1412" y="0"/>
                  </a:moveTo>
                  <a:cubicBezTo>
                    <a:pt x="1273" y="0"/>
                    <a:pt x="1131" y="24"/>
                    <a:pt x="991" y="75"/>
                  </a:cubicBezTo>
                  <a:cubicBezTo>
                    <a:pt x="342" y="292"/>
                    <a:pt x="0" y="1010"/>
                    <a:pt x="234" y="1642"/>
                  </a:cubicBezTo>
                  <a:lnTo>
                    <a:pt x="1207" y="4402"/>
                  </a:lnTo>
                  <a:cubicBezTo>
                    <a:pt x="1378" y="4912"/>
                    <a:pt x="1850" y="5232"/>
                    <a:pt x="2360" y="5232"/>
                  </a:cubicBezTo>
                  <a:cubicBezTo>
                    <a:pt x="2498" y="5232"/>
                    <a:pt x="2639" y="5209"/>
                    <a:pt x="2778" y="5159"/>
                  </a:cubicBezTo>
                  <a:cubicBezTo>
                    <a:pt x="3427" y="4943"/>
                    <a:pt x="3769" y="4220"/>
                    <a:pt x="3535" y="3588"/>
                  </a:cubicBezTo>
                  <a:lnTo>
                    <a:pt x="2562" y="833"/>
                  </a:lnTo>
                  <a:cubicBezTo>
                    <a:pt x="2392" y="323"/>
                    <a:pt x="1921" y="0"/>
                    <a:pt x="1412" y="0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8" name="Google Shape;2438;p33"/>
            <p:cNvSpPr/>
            <p:nvPr/>
          </p:nvSpPr>
          <p:spPr>
            <a:xfrm>
              <a:off x="2205325" y="512600"/>
              <a:ext cx="89700" cy="131850"/>
            </a:xfrm>
            <a:custGeom>
              <a:avLst/>
              <a:gdLst/>
              <a:ahLst/>
              <a:cxnLst/>
              <a:rect l="l" t="t" r="r" b="b"/>
              <a:pathLst>
                <a:path w="3588" h="5274" extrusionOk="0">
                  <a:moveTo>
                    <a:pt x="2204" y="0"/>
                  </a:moveTo>
                  <a:cubicBezTo>
                    <a:pt x="1676" y="0"/>
                    <a:pt x="1189" y="349"/>
                    <a:pt x="1026" y="880"/>
                  </a:cubicBezTo>
                  <a:lnTo>
                    <a:pt x="178" y="3675"/>
                  </a:lnTo>
                  <a:cubicBezTo>
                    <a:pt x="1" y="4341"/>
                    <a:pt x="360" y="5029"/>
                    <a:pt x="1009" y="5228"/>
                  </a:cubicBezTo>
                  <a:cubicBezTo>
                    <a:pt x="1123" y="5258"/>
                    <a:pt x="1238" y="5273"/>
                    <a:pt x="1352" y="5273"/>
                  </a:cubicBezTo>
                  <a:cubicBezTo>
                    <a:pt x="1896" y="5273"/>
                    <a:pt x="2393" y="4934"/>
                    <a:pt x="2557" y="4397"/>
                  </a:cubicBezTo>
                  <a:lnTo>
                    <a:pt x="3388" y="1585"/>
                  </a:lnTo>
                  <a:cubicBezTo>
                    <a:pt x="3587" y="936"/>
                    <a:pt x="3206" y="253"/>
                    <a:pt x="2557" y="54"/>
                  </a:cubicBezTo>
                  <a:cubicBezTo>
                    <a:pt x="2440" y="17"/>
                    <a:pt x="2321" y="0"/>
                    <a:pt x="2204" y="0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9" name="Google Shape;2439;p33"/>
            <p:cNvSpPr/>
            <p:nvPr/>
          </p:nvSpPr>
          <p:spPr>
            <a:xfrm>
              <a:off x="2166925" y="607300"/>
              <a:ext cx="117275" cy="105200"/>
            </a:xfrm>
            <a:custGeom>
              <a:avLst/>
              <a:gdLst/>
              <a:ahLst/>
              <a:cxnLst/>
              <a:rect l="l" t="t" r="r" b="b"/>
              <a:pathLst>
                <a:path w="4691" h="4208" extrusionOk="0">
                  <a:moveTo>
                    <a:pt x="2364" y="1"/>
                  </a:moveTo>
                  <a:cubicBezTo>
                    <a:pt x="1451" y="1"/>
                    <a:pt x="614" y="591"/>
                    <a:pt x="347" y="1509"/>
                  </a:cubicBezTo>
                  <a:cubicBezTo>
                    <a:pt x="1" y="2608"/>
                    <a:pt x="632" y="3780"/>
                    <a:pt x="1753" y="4122"/>
                  </a:cubicBezTo>
                  <a:cubicBezTo>
                    <a:pt x="1952" y="4180"/>
                    <a:pt x="2152" y="4208"/>
                    <a:pt x="2349" y="4208"/>
                  </a:cubicBezTo>
                  <a:cubicBezTo>
                    <a:pt x="3255" y="4208"/>
                    <a:pt x="4085" y="3623"/>
                    <a:pt x="4366" y="2716"/>
                  </a:cubicBezTo>
                  <a:cubicBezTo>
                    <a:pt x="4690" y="1600"/>
                    <a:pt x="4059" y="428"/>
                    <a:pt x="2960" y="86"/>
                  </a:cubicBezTo>
                  <a:cubicBezTo>
                    <a:pt x="2761" y="28"/>
                    <a:pt x="2561" y="1"/>
                    <a:pt x="236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0" name="Google Shape;2440;p33"/>
            <p:cNvSpPr/>
            <p:nvPr/>
          </p:nvSpPr>
          <p:spPr>
            <a:xfrm>
              <a:off x="2227825" y="817125"/>
              <a:ext cx="231700" cy="176500"/>
            </a:xfrm>
            <a:custGeom>
              <a:avLst/>
              <a:gdLst/>
              <a:ahLst/>
              <a:cxnLst/>
              <a:rect l="l" t="t" r="r" b="b"/>
              <a:pathLst>
                <a:path w="9268" h="7060" extrusionOk="0">
                  <a:moveTo>
                    <a:pt x="7780" y="0"/>
                  </a:moveTo>
                  <a:cubicBezTo>
                    <a:pt x="6547" y="0"/>
                    <a:pt x="4745" y="205"/>
                    <a:pt x="2903" y="1137"/>
                  </a:cubicBezTo>
                  <a:cubicBezTo>
                    <a:pt x="0" y="2600"/>
                    <a:pt x="1424" y="5053"/>
                    <a:pt x="1805" y="5611"/>
                  </a:cubicBezTo>
                  <a:cubicBezTo>
                    <a:pt x="1805" y="5611"/>
                    <a:pt x="1822" y="5645"/>
                    <a:pt x="1839" y="5680"/>
                  </a:cubicBezTo>
                  <a:cubicBezTo>
                    <a:pt x="1874" y="5719"/>
                    <a:pt x="1891" y="5736"/>
                    <a:pt x="1891" y="5736"/>
                  </a:cubicBezTo>
                  <a:cubicBezTo>
                    <a:pt x="2172" y="6076"/>
                    <a:pt x="3099" y="7060"/>
                    <a:pt x="4320" y="7060"/>
                  </a:cubicBezTo>
                  <a:cubicBezTo>
                    <a:pt x="4981" y="7060"/>
                    <a:pt x="5729" y="6771"/>
                    <a:pt x="6507" y="5935"/>
                  </a:cubicBezTo>
                  <a:cubicBezTo>
                    <a:pt x="8653" y="3625"/>
                    <a:pt x="9159" y="960"/>
                    <a:pt x="9246" y="220"/>
                  </a:cubicBezTo>
                  <a:cubicBezTo>
                    <a:pt x="9246" y="220"/>
                    <a:pt x="9268" y="129"/>
                    <a:pt x="9268" y="112"/>
                  </a:cubicBezTo>
                  <a:lnTo>
                    <a:pt x="9177" y="95"/>
                  </a:lnTo>
                  <a:cubicBezTo>
                    <a:pt x="8921" y="57"/>
                    <a:pt x="8430" y="0"/>
                    <a:pt x="7780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1" name="Google Shape;2441;p33"/>
            <p:cNvSpPr/>
            <p:nvPr/>
          </p:nvSpPr>
          <p:spPr>
            <a:xfrm>
              <a:off x="2280500" y="835425"/>
              <a:ext cx="158250" cy="118850"/>
            </a:xfrm>
            <a:custGeom>
              <a:avLst/>
              <a:gdLst/>
              <a:ahLst/>
              <a:cxnLst/>
              <a:rect l="l" t="t" r="r" b="b"/>
              <a:pathLst>
                <a:path w="6330" h="4754" extrusionOk="0">
                  <a:moveTo>
                    <a:pt x="6231" y="0"/>
                  </a:moveTo>
                  <a:cubicBezTo>
                    <a:pt x="6211" y="0"/>
                    <a:pt x="6189" y="4"/>
                    <a:pt x="6166" y="12"/>
                  </a:cubicBezTo>
                  <a:lnTo>
                    <a:pt x="57" y="4606"/>
                  </a:lnTo>
                  <a:cubicBezTo>
                    <a:pt x="22" y="4623"/>
                    <a:pt x="0" y="4680"/>
                    <a:pt x="39" y="4714"/>
                  </a:cubicBezTo>
                  <a:cubicBezTo>
                    <a:pt x="57" y="4753"/>
                    <a:pt x="74" y="4753"/>
                    <a:pt x="109" y="4753"/>
                  </a:cubicBezTo>
                  <a:cubicBezTo>
                    <a:pt x="130" y="4753"/>
                    <a:pt x="147" y="4753"/>
                    <a:pt x="165" y="4732"/>
                  </a:cubicBezTo>
                  <a:lnTo>
                    <a:pt x="6274" y="154"/>
                  </a:lnTo>
                  <a:cubicBezTo>
                    <a:pt x="6313" y="120"/>
                    <a:pt x="6330" y="63"/>
                    <a:pt x="6295" y="29"/>
                  </a:cubicBezTo>
                  <a:cubicBezTo>
                    <a:pt x="6283" y="9"/>
                    <a:pt x="6260" y="0"/>
                    <a:pt x="623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2" name="Google Shape;2442;p33"/>
            <p:cNvSpPr/>
            <p:nvPr/>
          </p:nvSpPr>
          <p:spPr>
            <a:xfrm>
              <a:off x="2345400" y="851500"/>
              <a:ext cx="5975" cy="54525"/>
            </a:xfrm>
            <a:custGeom>
              <a:avLst/>
              <a:gdLst/>
              <a:ahLst/>
              <a:cxnLst/>
              <a:rect l="l" t="t" r="r" b="b"/>
              <a:pathLst>
                <a:path w="239" h="2181" extrusionOk="0">
                  <a:moveTo>
                    <a:pt x="165" y="0"/>
                  </a:moveTo>
                  <a:cubicBezTo>
                    <a:pt x="108" y="0"/>
                    <a:pt x="74" y="35"/>
                    <a:pt x="74" y="87"/>
                  </a:cubicBezTo>
                  <a:lnTo>
                    <a:pt x="0" y="2090"/>
                  </a:lnTo>
                  <a:cubicBezTo>
                    <a:pt x="0" y="2142"/>
                    <a:pt x="39" y="2181"/>
                    <a:pt x="91" y="2181"/>
                  </a:cubicBezTo>
                  <a:cubicBezTo>
                    <a:pt x="147" y="2181"/>
                    <a:pt x="182" y="2142"/>
                    <a:pt x="182" y="2090"/>
                  </a:cubicBezTo>
                  <a:lnTo>
                    <a:pt x="238" y="87"/>
                  </a:lnTo>
                  <a:cubicBezTo>
                    <a:pt x="238" y="35"/>
                    <a:pt x="199" y="0"/>
                    <a:pt x="165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3" name="Google Shape;2443;p33"/>
            <p:cNvSpPr/>
            <p:nvPr/>
          </p:nvSpPr>
          <p:spPr>
            <a:xfrm>
              <a:off x="2301275" y="884800"/>
              <a:ext cx="5850" cy="54550"/>
            </a:xfrm>
            <a:custGeom>
              <a:avLst/>
              <a:gdLst/>
              <a:ahLst/>
              <a:cxnLst/>
              <a:rect l="l" t="t" r="r" b="b"/>
              <a:pathLst>
                <a:path w="234" h="2182" extrusionOk="0">
                  <a:moveTo>
                    <a:pt x="143" y="1"/>
                  </a:moveTo>
                  <a:cubicBezTo>
                    <a:pt x="108" y="1"/>
                    <a:pt x="74" y="35"/>
                    <a:pt x="56" y="74"/>
                  </a:cubicBezTo>
                  <a:lnTo>
                    <a:pt x="0" y="2090"/>
                  </a:lnTo>
                  <a:cubicBezTo>
                    <a:pt x="0" y="2129"/>
                    <a:pt x="35" y="2181"/>
                    <a:pt x="91" y="2181"/>
                  </a:cubicBezTo>
                  <a:cubicBezTo>
                    <a:pt x="126" y="2181"/>
                    <a:pt x="164" y="2147"/>
                    <a:pt x="164" y="2090"/>
                  </a:cubicBezTo>
                  <a:lnTo>
                    <a:pt x="234" y="92"/>
                  </a:lnTo>
                  <a:cubicBezTo>
                    <a:pt x="234" y="35"/>
                    <a:pt x="199" y="1"/>
                    <a:pt x="143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4" name="Google Shape;2444;p33"/>
            <p:cNvSpPr/>
            <p:nvPr/>
          </p:nvSpPr>
          <p:spPr>
            <a:xfrm>
              <a:off x="2345400" y="901900"/>
              <a:ext cx="53675" cy="16675"/>
            </a:xfrm>
            <a:custGeom>
              <a:avLst/>
              <a:gdLst/>
              <a:ahLst/>
              <a:cxnLst/>
              <a:rect l="l" t="t" r="r" b="b"/>
              <a:pathLst>
                <a:path w="2147" h="667" extrusionOk="0">
                  <a:moveTo>
                    <a:pt x="130" y="0"/>
                  </a:moveTo>
                  <a:cubicBezTo>
                    <a:pt x="74" y="0"/>
                    <a:pt x="39" y="18"/>
                    <a:pt x="22" y="74"/>
                  </a:cubicBezTo>
                  <a:cubicBezTo>
                    <a:pt x="0" y="108"/>
                    <a:pt x="39" y="165"/>
                    <a:pt x="74" y="165"/>
                  </a:cubicBezTo>
                  <a:lnTo>
                    <a:pt x="2021" y="667"/>
                  </a:lnTo>
                  <a:lnTo>
                    <a:pt x="2038" y="667"/>
                  </a:lnTo>
                  <a:cubicBezTo>
                    <a:pt x="2077" y="667"/>
                    <a:pt x="2112" y="649"/>
                    <a:pt x="2129" y="615"/>
                  </a:cubicBezTo>
                  <a:cubicBezTo>
                    <a:pt x="2146" y="558"/>
                    <a:pt x="2112" y="524"/>
                    <a:pt x="2055" y="506"/>
                  </a:cubicBezTo>
                  <a:lnTo>
                    <a:pt x="130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5" name="Google Shape;2445;p33"/>
            <p:cNvSpPr/>
            <p:nvPr/>
          </p:nvSpPr>
          <p:spPr>
            <a:xfrm>
              <a:off x="2301275" y="935150"/>
              <a:ext cx="53225" cy="16850"/>
            </a:xfrm>
            <a:custGeom>
              <a:avLst/>
              <a:gdLst/>
              <a:ahLst/>
              <a:cxnLst/>
              <a:rect l="l" t="t" r="r" b="b"/>
              <a:pathLst>
                <a:path w="2129" h="674" extrusionOk="0">
                  <a:moveTo>
                    <a:pt x="85" y="1"/>
                  </a:moveTo>
                  <a:cubicBezTo>
                    <a:pt x="53" y="1"/>
                    <a:pt x="17" y="31"/>
                    <a:pt x="17" y="59"/>
                  </a:cubicBezTo>
                  <a:cubicBezTo>
                    <a:pt x="0" y="115"/>
                    <a:pt x="17" y="150"/>
                    <a:pt x="74" y="167"/>
                  </a:cubicBezTo>
                  <a:lnTo>
                    <a:pt x="2020" y="673"/>
                  </a:lnTo>
                  <a:lnTo>
                    <a:pt x="2038" y="673"/>
                  </a:lnTo>
                  <a:cubicBezTo>
                    <a:pt x="2072" y="673"/>
                    <a:pt x="2111" y="656"/>
                    <a:pt x="2129" y="617"/>
                  </a:cubicBezTo>
                  <a:cubicBezTo>
                    <a:pt x="2129" y="565"/>
                    <a:pt x="2111" y="509"/>
                    <a:pt x="2055" y="509"/>
                  </a:cubicBezTo>
                  <a:lnTo>
                    <a:pt x="108" y="7"/>
                  </a:lnTo>
                  <a:cubicBezTo>
                    <a:pt x="101" y="3"/>
                    <a:pt x="94" y="1"/>
                    <a:pt x="8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6" name="Google Shape;2446;p33"/>
            <p:cNvSpPr/>
            <p:nvPr/>
          </p:nvSpPr>
          <p:spPr>
            <a:xfrm>
              <a:off x="2353500" y="827600"/>
              <a:ext cx="64925" cy="20675"/>
            </a:xfrm>
            <a:custGeom>
              <a:avLst/>
              <a:gdLst/>
              <a:ahLst/>
              <a:cxnLst/>
              <a:rect l="l" t="t" r="r" b="b"/>
              <a:pathLst>
                <a:path w="2597" h="827" extrusionOk="0">
                  <a:moveTo>
                    <a:pt x="1" y="0"/>
                  </a:moveTo>
                  <a:lnTo>
                    <a:pt x="1" y="826"/>
                  </a:lnTo>
                  <a:lnTo>
                    <a:pt x="2597" y="826"/>
                  </a:lnTo>
                  <a:lnTo>
                    <a:pt x="2597" y="0"/>
                  </a:lnTo>
                  <a:close/>
                </a:path>
              </a:pathLst>
            </a:custGeom>
            <a:solidFill>
              <a:srgbClr val="00D26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7" name="Google Shape;2447;p33"/>
            <p:cNvSpPr/>
            <p:nvPr/>
          </p:nvSpPr>
          <p:spPr>
            <a:xfrm>
              <a:off x="2057050" y="1151150"/>
              <a:ext cx="156425" cy="104125"/>
            </a:xfrm>
            <a:custGeom>
              <a:avLst/>
              <a:gdLst/>
              <a:ahLst/>
              <a:cxnLst/>
              <a:rect l="l" t="t" r="r" b="b"/>
              <a:pathLst>
                <a:path w="6257" h="4165" extrusionOk="0">
                  <a:moveTo>
                    <a:pt x="2709" y="1"/>
                  </a:moveTo>
                  <a:cubicBezTo>
                    <a:pt x="1395" y="1"/>
                    <a:pt x="390" y="374"/>
                    <a:pt x="69" y="522"/>
                  </a:cubicBezTo>
                  <a:cubicBezTo>
                    <a:pt x="69" y="522"/>
                    <a:pt x="17" y="539"/>
                    <a:pt x="0" y="539"/>
                  </a:cubicBezTo>
                  <a:lnTo>
                    <a:pt x="35" y="613"/>
                  </a:lnTo>
                  <a:cubicBezTo>
                    <a:pt x="216" y="1063"/>
                    <a:pt x="973" y="2668"/>
                    <a:pt x="2704" y="3767"/>
                  </a:cubicBezTo>
                  <a:cubicBezTo>
                    <a:pt x="3153" y="4053"/>
                    <a:pt x="3546" y="4165"/>
                    <a:pt x="3886" y="4165"/>
                  </a:cubicBezTo>
                  <a:cubicBezTo>
                    <a:pt x="4896" y="4165"/>
                    <a:pt x="5435" y="3182"/>
                    <a:pt x="5568" y="2884"/>
                  </a:cubicBezTo>
                  <a:cubicBezTo>
                    <a:pt x="5568" y="2884"/>
                    <a:pt x="5585" y="2867"/>
                    <a:pt x="5585" y="2849"/>
                  </a:cubicBezTo>
                  <a:cubicBezTo>
                    <a:pt x="5607" y="2810"/>
                    <a:pt x="5607" y="2793"/>
                    <a:pt x="5607" y="2793"/>
                  </a:cubicBezTo>
                  <a:cubicBezTo>
                    <a:pt x="5750" y="2378"/>
                    <a:pt x="6256" y="595"/>
                    <a:pt x="4179" y="163"/>
                  </a:cubicBezTo>
                  <a:cubicBezTo>
                    <a:pt x="3662" y="46"/>
                    <a:pt x="3167" y="1"/>
                    <a:pt x="2709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8" name="Google Shape;2448;p33"/>
            <p:cNvSpPr/>
            <p:nvPr/>
          </p:nvSpPr>
          <p:spPr>
            <a:xfrm>
              <a:off x="2072300" y="1169850"/>
              <a:ext cx="119975" cy="51575"/>
            </a:xfrm>
            <a:custGeom>
              <a:avLst/>
              <a:gdLst/>
              <a:ahLst/>
              <a:cxnLst/>
              <a:rect l="l" t="t" r="r" b="b"/>
              <a:pathLst>
                <a:path w="4799" h="2063" extrusionOk="0">
                  <a:moveTo>
                    <a:pt x="99" y="1"/>
                  </a:moveTo>
                  <a:cubicBezTo>
                    <a:pt x="67" y="1"/>
                    <a:pt x="35" y="21"/>
                    <a:pt x="22" y="64"/>
                  </a:cubicBezTo>
                  <a:cubicBezTo>
                    <a:pt x="0" y="98"/>
                    <a:pt x="22" y="155"/>
                    <a:pt x="74" y="172"/>
                  </a:cubicBezTo>
                  <a:lnTo>
                    <a:pt x="4673" y="2062"/>
                  </a:lnTo>
                  <a:lnTo>
                    <a:pt x="4707" y="2062"/>
                  </a:lnTo>
                  <a:cubicBezTo>
                    <a:pt x="4742" y="2062"/>
                    <a:pt x="4781" y="2045"/>
                    <a:pt x="4781" y="2011"/>
                  </a:cubicBezTo>
                  <a:cubicBezTo>
                    <a:pt x="4798" y="1976"/>
                    <a:pt x="4781" y="1920"/>
                    <a:pt x="4742" y="1902"/>
                  </a:cubicBezTo>
                  <a:lnTo>
                    <a:pt x="130" y="7"/>
                  </a:lnTo>
                  <a:cubicBezTo>
                    <a:pt x="120" y="3"/>
                    <a:pt x="110" y="1"/>
                    <a:pt x="99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9" name="Google Shape;2449;p33"/>
            <p:cNvSpPr/>
            <p:nvPr/>
          </p:nvSpPr>
          <p:spPr>
            <a:xfrm>
              <a:off x="2110150" y="1197375"/>
              <a:ext cx="33875" cy="20050"/>
            </a:xfrm>
            <a:custGeom>
              <a:avLst/>
              <a:gdLst/>
              <a:ahLst/>
              <a:cxnLst/>
              <a:rect l="l" t="t" r="r" b="b"/>
              <a:pathLst>
                <a:path w="1355" h="802" extrusionOk="0">
                  <a:moveTo>
                    <a:pt x="1243" y="1"/>
                  </a:moveTo>
                  <a:cubicBezTo>
                    <a:pt x="1232" y="1"/>
                    <a:pt x="1221" y="4"/>
                    <a:pt x="1212" y="10"/>
                  </a:cubicBezTo>
                  <a:lnTo>
                    <a:pt x="57" y="637"/>
                  </a:lnTo>
                  <a:cubicBezTo>
                    <a:pt x="22" y="659"/>
                    <a:pt x="0" y="711"/>
                    <a:pt x="39" y="767"/>
                  </a:cubicBezTo>
                  <a:cubicBezTo>
                    <a:pt x="39" y="784"/>
                    <a:pt x="74" y="801"/>
                    <a:pt x="108" y="801"/>
                  </a:cubicBezTo>
                  <a:lnTo>
                    <a:pt x="147" y="801"/>
                  </a:lnTo>
                  <a:lnTo>
                    <a:pt x="1281" y="152"/>
                  </a:lnTo>
                  <a:cubicBezTo>
                    <a:pt x="1337" y="135"/>
                    <a:pt x="1354" y="79"/>
                    <a:pt x="1320" y="44"/>
                  </a:cubicBezTo>
                  <a:cubicBezTo>
                    <a:pt x="1304" y="19"/>
                    <a:pt x="1273" y="1"/>
                    <a:pt x="1243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0" name="Google Shape;2450;p33"/>
            <p:cNvSpPr/>
            <p:nvPr/>
          </p:nvSpPr>
          <p:spPr>
            <a:xfrm>
              <a:off x="2143575" y="1210900"/>
              <a:ext cx="33775" cy="20475"/>
            </a:xfrm>
            <a:custGeom>
              <a:avLst/>
              <a:gdLst/>
              <a:ahLst/>
              <a:cxnLst/>
              <a:rect l="l" t="t" r="r" b="b"/>
              <a:pathLst>
                <a:path w="1351" h="819" extrusionOk="0">
                  <a:moveTo>
                    <a:pt x="1240" y="1"/>
                  </a:moveTo>
                  <a:cubicBezTo>
                    <a:pt x="1228" y="1"/>
                    <a:pt x="1217" y="3"/>
                    <a:pt x="1207" y="9"/>
                  </a:cubicBezTo>
                  <a:lnTo>
                    <a:pt x="52" y="658"/>
                  </a:lnTo>
                  <a:cubicBezTo>
                    <a:pt x="17" y="676"/>
                    <a:pt x="0" y="728"/>
                    <a:pt x="35" y="767"/>
                  </a:cubicBezTo>
                  <a:cubicBezTo>
                    <a:pt x="35" y="801"/>
                    <a:pt x="69" y="818"/>
                    <a:pt x="108" y="818"/>
                  </a:cubicBezTo>
                  <a:cubicBezTo>
                    <a:pt x="126" y="818"/>
                    <a:pt x="126" y="801"/>
                    <a:pt x="143" y="801"/>
                  </a:cubicBezTo>
                  <a:lnTo>
                    <a:pt x="1281" y="170"/>
                  </a:lnTo>
                  <a:cubicBezTo>
                    <a:pt x="1333" y="152"/>
                    <a:pt x="1350" y="96"/>
                    <a:pt x="1315" y="44"/>
                  </a:cubicBezTo>
                  <a:cubicBezTo>
                    <a:pt x="1303" y="19"/>
                    <a:pt x="1270" y="1"/>
                    <a:pt x="1240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1" name="Google Shape;2451;p33"/>
            <p:cNvSpPr/>
            <p:nvPr/>
          </p:nvSpPr>
          <p:spPr>
            <a:xfrm>
              <a:off x="2130050" y="1165850"/>
              <a:ext cx="13975" cy="35775"/>
            </a:xfrm>
            <a:custGeom>
              <a:avLst/>
              <a:gdLst/>
              <a:ahLst/>
              <a:cxnLst/>
              <a:rect l="l" t="t" r="r" b="b"/>
              <a:pathLst>
                <a:path w="559" h="1431" extrusionOk="0">
                  <a:moveTo>
                    <a:pt x="100" y="1"/>
                  </a:moveTo>
                  <a:cubicBezTo>
                    <a:pt x="90" y="1"/>
                    <a:pt x="79" y="3"/>
                    <a:pt x="70" y="7"/>
                  </a:cubicBezTo>
                  <a:cubicBezTo>
                    <a:pt x="18" y="7"/>
                    <a:pt x="0" y="59"/>
                    <a:pt x="0" y="115"/>
                  </a:cubicBezTo>
                  <a:lnTo>
                    <a:pt x="377" y="1357"/>
                  </a:lnTo>
                  <a:cubicBezTo>
                    <a:pt x="377" y="1396"/>
                    <a:pt x="416" y="1431"/>
                    <a:pt x="450" y="1431"/>
                  </a:cubicBezTo>
                  <a:cubicBezTo>
                    <a:pt x="468" y="1431"/>
                    <a:pt x="468" y="1413"/>
                    <a:pt x="485" y="1413"/>
                  </a:cubicBezTo>
                  <a:cubicBezTo>
                    <a:pt x="524" y="1413"/>
                    <a:pt x="558" y="1357"/>
                    <a:pt x="541" y="1305"/>
                  </a:cubicBezTo>
                  <a:lnTo>
                    <a:pt x="178" y="59"/>
                  </a:lnTo>
                  <a:cubicBezTo>
                    <a:pt x="165" y="20"/>
                    <a:pt x="132" y="1"/>
                    <a:pt x="100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2" name="Google Shape;2452;p33"/>
            <p:cNvSpPr/>
            <p:nvPr/>
          </p:nvSpPr>
          <p:spPr>
            <a:xfrm>
              <a:off x="2163350" y="1179425"/>
              <a:ext cx="14000" cy="35725"/>
            </a:xfrm>
            <a:custGeom>
              <a:avLst/>
              <a:gdLst/>
              <a:ahLst/>
              <a:cxnLst/>
              <a:rect l="l" t="t" r="r" b="b"/>
              <a:pathLst>
                <a:path w="560" h="1429" extrusionOk="0">
                  <a:moveTo>
                    <a:pt x="95" y="1"/>
                  </a:moveTo>
                  <a:cubicBezTo>
                    <a:pt x="88" y="1"/>
                    <a:pt x="81" y="2"/>
                    <a:pt x="74" y="5"/>
                  </a:cubicBezTo>
                  <a:cubicBezTo>
                    <a:pt x="18" y="22"/>
                    <a:pt x="1" y="57"/>
                    <a:pt x="1" y="113"/>
                  </a:cubicBezTo>
                  <a:lnTo>
                    <a:pt x="382" y="1377"/>
                  </a:lnTo>
                  <a:cubicBezTo>
                    <a:pt x="382" y="1411"/>
                    <a:pt x="416" y="1429"/>
                    <a:pt x="451" y="1429"/>
                  </a:cubicBezTo>
                  <a:lnTo>
                    <a:pt x="490" y="1429"/>
                  </a:lnTo>
                  <a:cubicBezTo>
                    <a:pt x="524" y="1411"/>
                    <a:pt x="559" y="1355"/>
                    <a:pt x="542" y="1320"/>
                  </a:cubicBezTo>
                  <a:lnTo>
                    <a:pt x="183" y="57"/>
                  </a:lnTo>
                  <a:cubicBezTo>
                    <a:pt x="168" y="29"/>
                    <a:pt x="128" y="1"/>
                    <a:pt x="9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3" name="Google Shape;2453;p33"/>
            <p:cNvSpPr/>
            <p:nvPr/>
          </p:nvSpPr>
          <p:spPr>
            <a:xfrm>
              <a:off x="2076400" y="1181800"/>
              <a:ext cx="30200" cy="35625"/>
            </a:xfrm>
            <a:custGeom>
              <a:avLst/>
              <a:gdLst/>
              <a:ahLst/>
              <a:cxnLst/>
              <a:rect l="l" t="t" r="r" b="b"/>
              <a:pathLst>
                <a:path w="1208" h="1425" extrusionOk="0">
                  <a:moveTo>
                    <a:pt x="234" y="1"/>
                  </a:moveTo>
                  <a:cubicBezTo>
                    <a:pt x="199" y="1"/>
                    <a:pt x="161" y="18"/>
                    <a:pt x="126" y="36"/>
                  </a:cubicBezTo>
                  <a:cubicBezTo>
                    <a:pt x="35" y="92"/>
                    <a:pt x="0" y="217"/>
                    <a:pt x="52" y="308"/>
                  </a:cubicBezTo>
                  <a:cubicBezTo>
                    <a:pt x="269" y="685"/>
                    <a:pt x="541" y="1044"/>
                    <a:pt x="831" y="1368"/>
                  </a:cubicBezTo>
                  <a:cubicBezTo>
                    <a:pt x="883" y="1407"/>
                    <a:pt x="939" y="1424"/>
                    <a:pt x="991" y="1424"/>
                  </a:cubicBezTo>
                  <a:cubicBezTo>
                    <a:pt x="1026" y="1424"/>
                    <a:pt x="1082" y="1407"/>
                    <a:pt x="1117" y="1368"/>
                  </a:cubicBezTo>
                  <a:cubicBezTo>
                    <a:pt x="1156" y="1351"/>
                    <a:pt x="1173" y="1334"/>
                    <a:pt x="1173" y="1299"/>
                  </a:cubicBezTo>
                  <a:cubicBezTo>
                    <a:pt x="1208" y="1225"/>
                    <a:pt x="1190" y="1134"/>
                    <a:pt x="1134" y="1083"/>
                  </a:cubicBezTo>
                  <a:cubicBezTo>
                    <a:pt x="848" y="793"/>
                    <a:pt x="615" y="451"/>
                    <a:pt x="416" y="109"/>
                  </a:cubicBezTo>
                  <a:cubicBezTo>
                    <a:pt x="360" y="36"/>
                    <a:pt x="308" y="1"/>
                    <a:pt x="234" y="1"/>
                  </a:cubicBezTo>
                  <a:close/>
                </a:path>
              </a:pathLst>
            </a:custGeom>
            <a:solidFill>
              <a:srgbClr val="00D26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4" name="Google Shape;2454;p33"/>
            <p:cNvSpPr/>
            <p:nvPr/>
          </p:nvSpPr>
          <p:spPr>
            <a:xfrm>
              <a:off x="1671225" y="680600"/>
              <a:ext cx="21675" cy="676025"/>
            </a:xfrm>
            <a:custGeom>
              <a:avLst/>
              <a:gdLst/>
              <a:ahLst/>
              <a:cxnLst/>
              <a:rect l="l" t="t" r="r" b="b"/>
              <a:pathLst>
                <a:path w="867" h="27041" extrusionOk="0">
                  <a:moveTo>
                    <a:pt x="1" y="1"/>
                  </a:moveTo>
                  <a:lnTo>
                    <a:pt x="1" y="27040"/>
                  </a:lnTo>
                  <a:lnTo>
                    <a:pt x="866" y="27040"/>
                  </a:lnTo>
                  <a:lnTo>
                    <a:pt x="866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5" name="Google Shape;2455;p33"/>
            <p:cNvSpPr/>
            <p:nvPr/>
          </p:nvSpPr>
          <p:spPr>
            <a:xfrm>
              <a:off x="1666250" y="635800"/>
              <a:ext cx="69050" cy="101225"/>
            </a:xfrm>
            <a:custGeom>
              <a:avLst/>
              <a:gdLst/>
              <a:ahLst/>
              <a:cxnLst/>
              <a:rect l="l" t="t" r="r" b="b"/>
              <a:pathLst>
                <a:path w="2762" h="4049" extrusionOk="0">
                  <a:moveTo>
                    <a:pt x="1688" y="0"/>
                  </a:moveTo>
                  <a:cubicBezTo>
                    <a:pt x="1291" y="0"/>
                    <a:pt x="913" y="266"/>
                    <a:pt x="797" y="676"/>
                  </a:cubicBezTo>
                  <a:lnTo>
                    <a:pt x="148" y="2822"/>
                  </a:lnTo>
                  <a:cubicBezTo>
                    <a:pt x="1" y="3328"/>
                    <a:pt x="291" y="3848"/>
                    <a:pt x="797" y="4012"/>
                  </a:cubicBezTo>
                  <a:cubicBezTo>
                    <a:pt x="881" y="4037"/>
                    <a:pt x="967" y="4049"/>
                    <a:pt x="1052" y="4049"/>
                  </a:cubicBezTo>
                  <a:cubicBezTo>
                    <a:pt x="1458" y="4049"/>
                    <a:pt x="1847" y="3781"/>
                    <a:pt x="1965" y="3363"/>
                  </a:cubicBezTo>
                  <a:lnTo>
                    <a:pt x="2614" y="1217"/>
                  </a:lnTo>
                  <a:cubicBezTo>
                    <a:pt x="2761" y="711"/>
                    <a:pt x="2471" y="192"/>
                    <a:pt x="1965" y="45"/>
                  </a:cubicBezTo>
                  <a:cubicBezTo>
                    <a:pt x="1874" y="14"/>
                    <a:pt x="1780" y="0"/>
                    <a:pt x="1688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6" name="Google Shape;2456;p33"/>
            <p:cNvSpPr/>
            <p:nvPr/>
          </p:nvSpPr>
          <p:spPr>
            <a:xfrm>
              <a:off x="1684750" y="668550"/>
              <a:ext cx="98225" cy="81450"/>
            </a:xfrm>
            <a:custGeom>
              <a:avLst/>
              <a:gdLst/>
              <a:ahLst/>
              <a:cxnLst/>
              <a:rect l="l" t="t" r="r" b="b"/>
              <a:pathLst>
                <a:path w="3929" h="3258" extrusionOk="0">
                  <a:moveTo>
                    <a:pt x="2859" y="1"/>
                  </a:moveTo>
                  <a:cubicBezTo>
                    <a:pt x="2660" y="1"/>
                    <a:pt x="2459" y="64"/>
                    <a:pt x="2289" y="197"/>
                  </a:cubicBezTo>
                  <a:lnTo>
                    <a:pt x="507" y="1564"/>
                  </a:lnTo>
                  <a:cubicBezTo>
                    <a:pt x="91" y="1871"/>
                    <a:pt x="1" y="2468"/>
                    <a:pt x="325" y="2884"/>
                  </a:cubicBezTo>
                  <a:cubicBezTo>
                    <a:pt x="506" y="3126"/>
                    <a:pt x="795" y="3257"/>
                    <a:pt x="1085" y="3257"/>
                  </a:cubicBezTo>
                  <a:cubicBezTo>
                    <a:pt x="1287" y="3257"/>
                    <a:pt x="1489" y="3194"/>
                    <a:pt x="1658" y="3061"/>
                  </a:cubicBezTo>
                  <a:lnTo>
                    <a:pt x="3444" y="1711"/>
                  </a:lnTo>
                  <a:cubicBezTo>
                    <a:pt x="3860" y="1387"/>
                    <a:pt x="3929" y="790"/>
                    <a:pt x="3604" y="374"/>
                  </a:cubicBezTo>
                  <a:cubicBezTo>
                    <a:pt x="3426" y="132"/>
                    <a:pt x="3145" y="1"/>
                    <a:pt x="285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7" name="Google Shape;2457;p33"/>
            <p:cNvSpPr/>
            <p:nvPr/>
          </p:nvSpPr>
          <p:spPr>
            <a:xfrm>
              <a:off x="1695125" y="722975"/>
              <a:ext cx="104075" cy="48725"/>
            </a:xfrm>
            <a:custGeom>
              <a:avLst/>
              <a:gdLst/>
              <a:ahLst/>
              <a:cxnLst/>
              <a:rect l="l" t="t" r="r" b="b"/>
              <a:pathLst>
                <a:path w="4163" h="1949" extrusionOk="0">
                  <a:moveTo>
                    <a:pt x="3221" y="1"/>
                  </a:moveTo>
                  <a:cubicBezTo>
                    <a:pt x="3211" y="1"/>
                    <a:pt x="3200" y="1"/>
                    <a:pt x="3189" y="1"/>
                  </a:cubicBezTo>
                  <a:lnTo>
                    <a:pt x="940" y="58"/>
                  </a:lnTo>
                  <a:cubicBezTo>
                    <a:pt x="416" y="75"/>
                    <a:pt x="1" y="508"/>
                    <a:pt x="18" y="1031"/>
                  </a:cubicBezTo>
                  <a:cubicBezTo>
                    <a:pt x="35" y="1540"/>
                    <a:pt x="451" y="1949"/>
                    <a:pt x="960" y="1949"/>
                  </a:cubicBezTo>
                  <a:cubicBezTo>
                    <a:pt x="971" y="1949"/>
                    <a:pt x="981" y="1949"/>
                    <a:pt x="992" y="1948"/>
                  </a:cubicBezTo>
                  <a:lnTo>
                    <a:pt x="3228" y="1896"/>
                  </a:lnTo>
                  <a:cubicBezTo>
                    <a:pt x="3752" y="1896"/>
                    <a:pt x="4163" y="1464"/>
                    <a:pt x="4163" y="923"/>
                  </a:cubicBezTo>
                  <a:cubicBezTo>
                    <a:pt x="4146" y="410"/>
                    <a:pt x="3730" y="1"/>
                    <a:pt x="322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8" name="Google Shape;2458;p33"/>
            <p:cNvSpPr/>
            <p:nvPr/>
          </p:nvSpPr>
          <p:spPr>
            <a:xfrm>
              <a:off x="1685625" y="746500"/>
              <a:ext cx="100075" cy="79250"/>
            </a:xfrm>
            <a:custGeom>
              <a:avLst/>
              <a:gdLst/>
              <a:ahLst/>
              <a:cxnLst/>
              <a:rect l="l" t="t" r="r" b="b"/>
              <a:pathLst>
                <a:path w="4003" h="3170" extrusionOk="0">
                  <a:moveTo>
                    <a:pt x="1093" y="1"/>
                  </a:moveTo>
                  <a:cubicBezTo>
                    <a:pt x="788" y="1"/>
                    <a:pt x="489" y="144"/>
                    <a:pt x="307" y="415"/>
                  </a:cubicBezTo>
                  <a:cubicBezTo>
                    <a:pt x="0" y="847"/>
                    <a:pt x="108" y="1423"/>
                    <a:pt x="541" y="1730"/>
                  </a:cubicBezTo>
                  <a:lnTo>
                    <a:pt x="2380" y="3010"/>
                  </a:lnTo>
                  <a:cubicBezTo>
                    <a:pt x="2542" y="3118"/>
                    <a:pt x="2727" y="3169"/>
                    <a:pt x="2912" y="3169"/>
                  </a:cubicBezTo>
                  <a:cubicBezTo>
                    <a:pt x="3219" y="3169"/>
                    <a:pt x="3525" y="3026"/>
                    <a:pt x="3717" y="2755"/>
                  </a:cubicBezTo>
                  <a:cubicBezTo>
                    <a:pt x="4002" y="2323"/>
                    <a:pt x="3894" y="1747"/>
                    <a:pt x="3461" y="1440"/>
                  </a:cubicBezTo>
                  <a:lnTo>
                    <a:pt x="1623" y="159"/>
                  </a:lnTo>
                  <a:cubicBezTo>
                    <a:pt x="1460" y="52"/>
                    <a:pt x="1276" y="1"/>
                    <a:pt x="1093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9" name="Google Shape;2459;p33"/>
            <p:cNvSpPr/>
            <p:nvPr/>
          </p:nvSpPr>
          <p:spPr>
            <a:xfrm>
              <a:off x="1667675" y="760350"/>
              <a:ext cx="72050" cy="100475"/>
            </a:xfrm>
            <a:custGeom>
              <a:avLst/>
              <a:gdLst/>
              <a:ahLst/>
              <a:cxnLst/>
              <a:rect l="l" t="t" r="r" b="b"/>
              <a:pathLst>
                <a:path w="2882" h="4019" extrusionOk="0">
                  <a:moveTo>
                    <a:pt x="1066" y="0"/>
                  </a:moveTo>
                  <a:cubicBezTo>
                    <a:pt x="963" y="0"/>
                    <a:pt x="859" y="18"/>
                    <a:pt x="757" y="55"/>
                  </a:cubicBezTo>
                  <a:cubicBezTo>
                    <a:pt x="251" y="237"/>
                    <a:pt x="0" y="778"/>
                    <a:pt x="177" y="1267"/>
                  </a:cubicBezTo>
                  <a:lnTo>
                    <a:pt x="917" y="3374"/>
                  </a:lnTo>
                  <a:cubicBezTo>
                    <a:pt x="1062" y="3777"/>
                    <a:pt x="1435" y="4019"/>
                    <a:pt x="1826" y="4019"/>
                  </a:cubicBezTo>
                  <a:cubicBezTo>
                    <a:pt x="1926" y="4019"/>
                    <a:pt x="2026" y="4003"/>
                    <a:pt x="2124" y="3971"/>
                  </a:cubicBezTo>
                  <a:cubicBezTo>
                    <a:pt x="2613" y="3789"/>
                    <a:pt x="2881" y="3248"/>
                    <a:pt x="2704" y="2759"/>
                  </a:cubicBezTo>
                  <a:lnTo>
                    <a:pt x="1964" y="635"/>
                  </a:lnTo>
                  <a:cubicBezTo>
                    <a:pt x="1821" y="249"/>
                    <a:pt x="1453" y="0"/>
                    <a:pt x="1066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0" name="Google Shape;2460;p33"/>
            <p:cNvSpPr/>
            <p:nvPr/>
          </p:nvSpPr>
          <p:spPr>
            <a:xfrm>
              <a:off x="1628825" y="760800"/>
              <a:ext cx="69050" cy="101525"/>
            </a:xfrm>
            <a:custGeom>
              <a:avLst/>
              <a:gdLst/>
              <a:ahLst/>
              <a:cxnLst/>
              <a:rect l="l" t="t" r="r" b="b"/>
              <a:pathLst>
                <a:path w="2762" h="4061" extrusionOk="0">
                  <a:moveTo>
                    <a:pt x="1708" y="1"/>
                  </a:moveTo>
                  <a:cubicBezTo>
                    <a:pt x="1294" y="1"/>
                    <a:pt x="915" y="271"/>
                    <a:pt x="797" y="686"/>
                  </a:cubicBezTo>
                  <a:lnTo>
                    <a:pt x="148" y="2832"/>
                  </a:lnTo>
                  <a:cubicBezTo>
                    <a:pt x="1" y="3338"/>
                    <a:pt x="291" y="3862"/>
                    <a:pt x="797" y="4022"/>
                  </a:cubicBezTo>
                  <a:cubicBezTo>
                    <a:pt x="882" y="4048"/>
                    <a:pt x="969" y="4060"/>
                    <a:pt x="1056" y="4060"/>
                  </a:cubicBezTo>
                  <a:cubicBezTo>
                    <a:pt x="1460" y="4060"/>
                    <a:pt x="1848" y="3790"/>
                    <a:pt x="1969" y="3373"/>
                  </a:cubicBezTo>
                  <a:lnTo>
                    <a:pt x="2618" y="1227"/>
                  </a:lnTo>
                  <a:cubicBezTo>
                    <a:pt x="2761" y="725"/>
                    <a:pt x="2471" y="202"/>
                    <a:pt x="1969" y="37"/>
                  </a:cubicBezTo>
                  <a:cubicBezTo>
                    <a:pt x="1882" y="13"/>
                    <a:pt x="1794" y="1"/>
                    <a:pt x="1708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1" name="Google Shape;2461;p33"/>
            <p:cNvSpPr/>
            <p:nvPr/>
          </p:nvSpPr>
          <p:spPr>
            <a:xfrm>
              <a:off x="1581125" y="747850"/>
              <a:ext cx="98250" cy="81525"/>
            </a:xfrm>
            <a:custGeom>
              <a:avLst/>
              <a:gdLst/>
              <a:ahLst/>
              <a:cxnLst/>
              <a:rect l="l" t="t" r="r" b="b"/>
              <a:pathLst>
                <a:path w="3930" h="3261" extrusionOk="0">
                  <a:moveTo>
                    <a:pt x="2840" y="0"/>
                  </a:moveTo>
                  <a:cubicBezTo>
                    <a:pt x="2642" y="0"/>
                    <a:pt x="2442" y="64"/>
                    <a:pt x="2272" y="196"/>
                  </a:cubicBezTo>
                  <a:lnTo>
                    <a:pt x="485" y="1550"/>
                  </a:lnTo>
                  <a:cubicBezTo>
                    <a:pt x="70" y="1875"/>
                    <a:pt x="1" y="2468"/>
                    <a:pt x="308" y="2883"/>
                  </a:cubicBezTo>
                  <a:cubicBezTo>
                    <a:pt x="500" y="3128"/>
                    <a:pt x="785" y="3261"/>
                    <a:pt x="1073" y="3261"/>
                  </a:cubicBezTo>
                  <a:cubicBezTo>
                    <a:pt x="1271" y="3261"/>
                    <a:pt x="1471" y="3197"/>
                    <a:pt x="1641" y="3065"/>
                  </a:cubicBezTo>
                  <a:lnTo>
                    <a:pt x="3423" y="1710"/>
                  </a:lnTo>
                  <a:cubicBezTo>
                    <a:pt x="3838" y="1386"/>
                    <a:pt x="3929" y="793"/>
                    <a:pt x="3605" y="378"/>
                  </a:cubicBezTo>
                  <a:cubicBezTo>
                    <a:pt x="3413" y="132"/>
                    <a:pt x="3127" y="0"/>
                    <a:pt x="284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2" name="Google Shape;2462;p33"/>
            <p:cNvSpPr/>
            <p:nvPr/>
          </p:nvSpPr>
          <p:spPr>
            <a:xfrm>
              <a:off x="1564900" y="726125"/>
              <a:ext cx="104075" cy="48725"/>
            </a:xfrm>
            <a:custGeom>
              <a:avLst/>
              <a:gdLst/>
              <a:ahLst/>
              <a:cxnLst/>
              <a:rect l="l" t="t" r="r" b="b"/>
              <a:pathLst>
                <a:path w="4163" h="1949" extrusionOk="0">
                  <a:moveTo>
                    <a:pt x="3204" y="0"/>
                  </a:moveTo>
                  <a:cubicBezTo>
                    <a:pt x="3193" y="0"/>
                    <a:pt x="3183" y="1"/>
                    <a:pt x="3172" y="1"/>
                  </a:cubicBezTo>
                  <a:lnTo>
                    <a:pt x="935" y="57"/>
                  </a:lnTo>
                  <a:cubicBezTo>
                    <a:pt x="416" y="74"/>
                    <a:pt x="1" y="507"/>
                    <a:pt x="1" y="1031"/>
                  </a:cubicBezTo>
                  <a:cubicBezTo>
                    <a:pt x="18" y="1543"/>
                    <a:pt x="433" y="1948"/>
                    <a:pt x="943" y="1948"/>
                  </a:cubicBezTo>
                  <a:cubicBezTo>
                    <a:pt x="953" y="1948"/>
                    <a:pt x="964" y="1948"/>
                    <a:pt x="974" y="1948"/>
                  </a:cubicBezTo>
                  <a:lnTo>
                    <a:pt x="3207" y="1896"/>
                  </a:lnTo>
                  <a:cubicBezTo>
                    <a:pt x="3748" y="1879"/>
                    <a:pt x="4163" y="1446"/>
                    <a:pt x="4146" y="922"/>
                  </a:cubicBezTo>
                  <a:cubicBezTo>
                    <a:pt x="4129" y="409"/>
                    <a:pt x="3713" y="0"/>
                    <a:pt x="3204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3" name="Google Shape;2463;p33"/>
            <p:cNvSpPr/>
            <p:nvPr/>
          </p:nvSpPr>
          <p:spPr>
            <a:xfrm>
              <a:off x="1578425" y="672225"/>
              <a:ext cx="100075" cy="79175"/>
            </a:xfrm>
            <a:custGeom>
              <a:avLst/>
              <a:gdLst/>
              <a:ahLst/>
              <a:cxnLst/>
              <a:rect l="l" t="t" r="r" b="b"/>
              <a:pathLst>
                <a:path w="4003" h="3167" extrusionOk="0">
                  <a:moveTo>
                    <a:pt x="1071" y="0"/>
                  </a:moveTo>
                  <a:cubicBezTo>
                    <a:pt x="773" y="0"/>
                    <a:pt x="475" y="143"/>
                    <a:pt x="286" y="409"/>
                  </a:cubicBezTo>
                  <a:cubicBezTo>
                    <a:pt x="1" y="842"/>
                    <a:pt x="109" y="1439"/>
                    <a:pt x="542" y="1724"/>
                  </a:cubicBezTo>
                  <a:lnTo>
                    <a:pt x="2380" y="3005"/>
                  </a:lnTo>
                  <a:cubicBezTo>
                    <a:pt x="2543" y="3114"/>
                    <a:pt x="2729" y="3167"/>
                    <a:pt x="2913" y="3167"/>
                  </a:cubicBezTo>
                  <a:cubicBezTo>
                    <a:pt x="3217" y="3167"/>
                    <a:pt x="3515" y="3023"/>
                    <a:pt x="3695" y="2754"/>
                  </a:cubicBezTo>
                  <a:cubicBezTo>
                    <a:pt x="4003" y="2339"/>
                    <a:pt x="3894" y="1742"/>
                    <a:pt x="3462" y="1439"/>
                  </a:cubicBezTo>
                  <a:lnTo>
                    <a:pt x="1606" y="175"/>
                  </a:lnTo>
                  <a:cubicBezTo>
                    <a:pt x="1445" y="57"/>
                    <a:pt x="1258" y="0"/>
                    <a:pt x="107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4" name="Google Shape;2464;p33"/>
            <p:cNvSpPr/>
            <p:nvPr/>
          </p:nvSpPr>
          <p:spPr>
            <a:xfrm>
              <a:off x="1624400" y="637075"/>
              <a:ext cx="72050" cy="100450"/>
            </a:xfrm>
            <a:custGeom>
              <a:avLst/>
              <a:gdLst/>
              <a:ahLst/>
              <a:cxnLst/>
              <a:rect l="l" t="t" r="r" b="b"/>
              <a:pathLst>
                <a:path w="2882" h="4018" extrusionOk="0">
                  <a:moveTo>
                    <a:pt x="1058" y="0"/>
                  </a:moveTo>
                  <a:cubicBezTo>
                    <a:pt x="958" y="0"/>
                    <a:pt x="857" y="16"/>
                    <a:pt x="758" y="50"/>
                  </a:cubicBezTo>
                  <a:cubicBezTo>
                    <a:pt x="251" y="227"/>
                    <a:pt x="0" y="768"/>
                    <a:pt x="178" y="1274"/>
                  </a:cubicBezTo>
                  <a:lnTo>
                    <a:pt x="918" y="3386"/>
                  </a:lnTo>
                  <a:cubicBezTo>
                    <a:pt x="1047" y="3767"/>
                    <a:pt x="1421" y="4018"/>
                    <a:pt x="1811" y="4018"/>
                  </a:cubicBezTo>
                  <a:cubicBezTo>
                    <a:pt x="1916" y="4018"/>
                    <a:pt x="2022" y="3999"/>
                    <a:pt x="2125" y="3961"/>
                  </a:cubicBezTo>
                  <a:cubicBezTo>
                    <a:pt x="2614" y="3797"/>
                    <a:pt x="2882" y="3256"/>
                    <a:pt x="2704" y="2754"/>
                  </a:cubicBezTo>
                  <a:lnTo>
                    <a:pt x="1965" y="643"/>
                  </a:lnTo>
                  <a:cubicBezTo>
                    <a:pt x="1820" y="243"/>
                    <a:pt x="1448" y="0"/>
                    <a:pt x="1058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5" name="Google Shape;2465;p33"/>
            <p:cNvSpPr/>
            <p:nvPr/>
          </p:nvSpPr>
          <p:spPr>
            <a:xfrm>
              <a:off x="1666250" y="635800"/>
              <a:ext cx="69050" cy="101225"/>
            </a:xfrm>
            <a:custGeom>
              <a:avLst/>
              <a:gdLst/>
              <a:ahLst/>
              <a:cxnLst/>
              <a:rect l="l" t="t" r="r" b="b"/>
              <a:pathLst>
                <a:path w="2762" h="4049" extrusionOk="0">
                  <a:moveTo>
                    <a:pt x="1688" y="0"/>
                  </a:moveTo>
                  <a:cubicBezTo>
                    <a:pt x="1291" y="0"/>
                    <a:pt x="913" y="266"/>
                    <a:pt x="797" y="676"/>
                  </a:cubicBezTo>
                  <a:lnTo>
                    <a:pt x="148" y="2822"/>
                  </a:lnTo>
                  <a:cubicBezTo>
                    <a:pt x="1" y="3328"/>
                    <a:pt x="291" y="3848"/>
                    <a:pt x="797" y="4012"/>
                  </a:cubicBezTo>
                  <a:cubicBezTo>
                    <a:pt x="881" y="4037"/>
                    <a:pt x="967" y="4049"/>
                    <a:pt x="1052" y="4049"/>
                  </a:cubicBezTo>
                  <a:cubicBezTo>
                    <a:pt x="1458" y="4049"/>
                    <a:pt x="1847" y="3781"/>
                    <a:pt x="1965" y="3363"/>
                  </a:cubicBezTo>
                  <a:lnTo>
                    <a:pt x="2614" y="1217"/>
                  </a:lnTo>
                  <a:cubicBezTo>
                    <a:pt x="2761" y="711"/>
                    <a:pt x="2471" y="192"/>
                    <a:pt x="1965" y="45"/>
                  </a:cubicBezTo>
                  <a:cubicBezTo>
                    <a:pt x="1874" y="14"/>
                    <a:pt x="1780" y="0"/>
                    <a:pt x="1688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6" name="Google Shape;2466;p33"/>
            <p:cNvSpPr/>
            <p:nvPr/>
          </p:nvSpPr>
          <p:spPr>
            <a:xfrm>
              <a:off x="1636950" y="708700"/>
              <a:ext cx="90225" cy="80475"/>
            </a:xfrm>
            <a:custGeom>
              <a:avLst/>
              <a:gdLst/>
              <a:ahLst/>
              <a:cxnLst/>
              <a:rect l="l" t="t" r="r" b="b"/>
              <a:pathLst>
                <a:path w="3609" h="3219" extrusionOk="0">
                  <a:moveTo>
                    <a:pt x="1811" y="0"/>
                  </a:moveTo>
                  <a:cubicBezTo>
                    <a:pt x="1107" y="0"/>
                    <a:pt x="462" y="454"/>
                    <a:pt x="256" y="1148"/>
                  </a:cubicBezTo>
                  <a:cubicBezTo>
                    <a:pt x="0" y="1996"/>
                    <a:pt x="489" y="2900"/>
                    <a:pt x="1337" y="3151"/>
                  </a:cubicBezTo>
                  <a:cubicBezTo>
                    <a:pt x="1495" y="3197"/>
                    <a:pt x="1653" y="3219"/>
                    <a:pt x="1809" y="3219"/>
                  </a:cubicBezTo>
                  <a:cubicBezTo>
                    <a:pt x="2509" y="3219"/>
                    <a:pt x="3148" y="2777"/>
                    <a:pt x="3353" y="2069"/>
                  </a:cubicBezTo>
                  <a:cubicBezTo>
                    <a:pt x="3609" y="1221"/>
                    <a:pt x="3120" y="322"/>
                    <a:pt x="2272" y="66"/>
                  </a:cubicBezTo>
                  <a:cubicBezTo>
                    <a:pt x="2118" y="22"/>
                    <a:pt x="1963" y="0"/>
                    <a:pt x="1811" y="0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7" name="Google Shape;2467;p33"/>
            <p:cNvSpPr/>
            <p:nvPr/>
          </p:nvSpPr>
          <p:spPr>
            <a:xfrm>
              <a:off x="1491900" y="1060600"/>
              <a:ext cx="182050" cy="121175"/>
            </a:xfrm>
            <a:custGeom>
              <a:avLst/>
              <a:gdLst/>
              <a:ahLst/>
              <a:cxnLst/>
              <a:rect l="l" t="t" r="r" b="b"/>
              <a:pathLst>
                <a:path w="7282" h="4847" extrusionOk="0">
                  <a:moveTo>
                    <a:pt x="3169" y="1"/>
                  </a:moveTo>
                  <a:cubicBezTo>
                    <a:pt x="1629" y="1"/>
                    <a:pt x="460" y="431"/>
                    <a:pt x="70" y="592"/>
                  </a:cubicBezTo>
                  <a:cubicBezTo>
                    <a:pt x="70" y="592"/>
                    <a:pt x="18" y="631"/>
                    <a:pt x="1" y="631"/>
                  </a:cubicBezTo>
                  <a:lnTo>
                    <a:pt x="18" y="700"/>
                  </a:lnTo>
                  <a:cubicBezTo>
                    <a:pt x="234" y="1223"/>
                    <a:pt x="1117" y="3101"/>
                    <a:pt x="3137" y="4377"/>
                  </a:cubicBezTo>
                  <a:cubicBezTo>
                    <a:pt x="3661" y="4716"/>
                    <a:pt x="4120" y="4847"/>
                    <a:pt x="4516" y="4847"/>
                  </a:cubicBezTo>
                  <a:cubicBezTo>
                    <a:pt x="5686" y="4847"/>
                    <a:pt x="6311" y="3701"/>
                    <a:pt x="6473" y="3352"/>
                  </a:cubicBezTo>
                  <a:cubicBezTo>
                    <a:pt x="6473" y="3352"/>
                    <a:pt x="6490" y="3335"/>
                    <a:pt x="6508" y="3296"/>
                  </a:cubicBezTo>
                  <a:cubicBezTo>
                    <a:pt x="6508" y="3279"/>
                    <a:pt x="6525" y="3261"/>
                    <a:pt x="6525" y="3261"/>
                  </a:cubicBezTo>
                  <a:cubicBezTo>
                    <a:pt x="6689" y="2777"/>
                    <a:pt x="7282" y="700"/>
                    <a:pt x="4868" y="181"/>
                  </a:cubicBezTo>
                  <a:cubicBezTo>
                    <a:pt x="4269" y="52"/>
                    <a:pt x="3697" y="1"/>
                    <a:pt x="3169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8" name="Google Shape;2468;p33"/>
            <p:cNvSpPr/>
            <p:nvPr/>
          </p:nvSpPr>
          <p:spPr>
            <a:xfrm>
              <a:off x="1509850" y="1082525"/>
              <a:ext cx="138900" cy="59625"/>
            </a:xfrm>
            <a:custGeom>
              <a:avLst/>
              <a:gdLst/>
              <a:ahLst/>
              <a:cxnLst/>
              <a:rect l="l" t="t" r="r" b="b"/>
              <a:pathLst>
                <a:path w="5556" h="2385" extrusionOk="0">
                  <a:moveTo>
                    <a:pt x="108" y="0"/>
                  </a:moveTo>
                  <a:cubicBezTo>
                    <a:pt x="74" y="0"/>
                    <a:pt x="37" y="29"/>
                    <a:pt x="22" y="61"/>
                  </a:cubicBezTo>
                  <a:cubicBezTo>
                    <a:pt x="1" y="96"/>
                    <a:pt x="22" y="147"/>
                    <a:pt x="74" y="169"/>
                  </a:cubicBezTo>
                  <a:lnTo>
                    <a:pt x="5430" y="2367"/>
                  </a:lnTo>
                  <a:cubicBezTo>
                    <a:pt x="5430" y="2384"/>
                    <a:pt x="5448" y="2384"/>
                    <a:pt x="5465" y="2384"/>
                  </a:cubicBezTo>
                  <a:cubicBezTo>
                    <a:pt x="5500" y="2384"/>
                    <a:pt x="5517" y="2367"/>
                    <a:pt x="5539" y="2332"/>
                  </a:cubicBezTo>
                  <a:cubicBezTo>
                    <a:pt x="5556" y="2276"/>
                    <a:pt x="5539" y="2241"/>
                    <a:pt x="5500" y="2224"/>
                  </a:cubicBezTo>
                  <a:lnTo>
                    <a:pt x="131" y="5"/>
                  </a:lnTo>
                  <a:cubicBezTo>
                    <a:pt x="124" y="2"/>
                    <a:pt x="116" y="0"/>
                    <a:pt x="10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9" name="Google Shape;2469;p33"/>
            <p:cNvSpPr/>
            <p:nvPr/>
          </p:nvSpPr>
          <p:spPr>
            <a:xfrm>
              <a:off x="1554100" y="1114475"/>
              <a:ext cx="38300" cy="22700"/>
            </a:xfrm>
            <a:custGeom>
              <a:avLst/>
              <a:gdLst/>
              <a:ahLst/>
              <a:cxnLst/>
              <a:rect l="l" t="t" r="r" b="b"/>
              <a:pathLst>
                <a:path w="1532" h="908" extrusionOk="0">
                  <a:moveTo>
                    <a:pt x="1420" y="1"/>
                  </a:moveTo>
                  <a:cubicBezTo>
                    <a:pt x="1409" y="1"/>
                    <a:pt x="1398" y="3"/>
                    <a:pt x="1389" y="7"/>
                  </a:cubicBezTo>
                  <a:lnTo>
                    <a:pt x="52" y="747"/>
                  </a:lnTo>
                  <a:cubicBezTo>
                    <a:pt x="18" y="782"/>
                    <a:pt x="0" y="816"/>
                    <a:pt x="18" y="873"/>
                  </a:cubicBezTo>
                  <a:cubicBezTo>
                    <a:pt x="35" y="890"/>
                    <a:pt x="70" y="907"/>
                    <a:pt x="108" y="907"/>
                  </a:cubicBezTo>
                  <a:lnTo>
                    <a:pt x="143" y="907"/>
                  </a:lnTo>
                  <a:lnTo>
                    <a:pt x="1476" y="167"/>
                  </a:lnTo>
                  <a:cubicBezTo>
                    <a:pt x="1515" y="133"/>
                    <a:pt x="1532" y="98"/>
                    <a:pt x="1497" y="42"/>
                  </a:cubicBezTo>
                  <a:cubicBezTo>
                    <a:pt x="1481" y="17"/>
                    <a:pt x="1449" y="1"/>
                    <a:pt x="1420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0" name="Google Shape;2470;p33"/>
            <p:cNvSpPr/>
            <p:nvPr/>
          </p:nvSpPr>
          <p:spPr>
            <a:xfrm>
              <a:off x="1592825" y="1130425"/>
              <a:ext cx="38300" cy="22975"/>
            </a:xfrm>
            <a:custGeom>
              <a:avLst/>
              <a:gdLst/>
              <a:ahLst/>
              <a:cxnLst/>
              <a:rect l="l" t="t" r="r" b="b"/>
              <a:pathLst>
                <a:path w="1532" h="919" extrusionOk="0">
                  <a:moveTo>
                    <a:pt x="1432" y="0"/>
                  </a:moveTo>
                  <a:cubicBezTo>
                    <a:pt x="1416" y="0"/>
                    <a:pt x="1401" y="6"/>
                    <a:pt x="1389" y="18"/>
                  </a:cubicBezTo>
                  <a:lnTo>
                    <a:pt x="56" y="758"/>
                  </a:lnTo>
                  <a:cubicBezTo>
                    <a:pt x="17" y="775"/>
                    <a:pt x="0" y="827"/>
                    <a:pt x="17" y="866"/>
                  </a:cubicBezTo>
                  <a:cubicBezTo>
                    <a:pt x="35" y="901"/>
                    <a:pt x="74" y="918"/>
                    <a:pt x="108" y="918"/>
                  </a:cubicBezTo>
                  <a:cubicBezTo>
                    <a:pt x="108" y="918"/>
                    <a:pt x="126" y="901"/>
                    <a:pt x="143" y="901"/>
                  </a:cubicBezTo>
                  <a:lnTo>
                    <a:pt x="1480" y="161"/>
                  </a:lnTo>
                  <a:cubicBezTo>
                    <a:pt x="1514" y="144"/>
                    <a:pt x="1532" y="92"/>
                    <a:pt x="1514" y="53"/>
                  </a:cubicBezTo>
                  <a:cubicBezTo>
                    <a:pt x="1492" y="19"/>
                    <a:pt x="1461" y="0"/>
                    <a:pt x="1432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1" name="Google Shape;2471;p33"/>
            <p:cNvSpPr/>
            <p:nvPr/>
          </p:nvSpPr>
          <p:spPr>
            <a:xfrm>
              <a:off x="1577025" y="1077650"/>
              <a:ext cx="15375" cy="41025"/>
            </a:xfrm>
            <a:custGeom>
              <a:avLst/>
              <a:gdLst/>
              <a:ahLst/>
              <a:cxnLst/>
              <a:rect l="l" t="t" r="r" b="b"/>
              <a:pathLst>
                <a:path w="615" h="1641" extrusionOk="0">
                  <a:moveTo>
                    <a:pt x="57" y="1"/>
                  </a:moveTo>
                  <a:cubicBezTo>
                    <a:pt x="18" y="18"/>
                    <a:pt x="0" y="74"/>
                    <a:pt x="0" y="109"/>
                  </a:cubicBezTo>
                  <a:lnTo>
                    <a:pt x="433" y="1571"/>
                  </a:lnTo>
                  <a:cubicBezTo>
                    <a:pt x="450" y="1606"/>
                    <a:pt x="472" y="1640"/>
                    <a:pt x="524" y="1640"/>
                  </a:cubicBezTo>
                  <a:lnTo>
                    <a:pt x="541" y="1640"/>
                  </a:lnTo>
                  <a:cubicBezTo>
                    <a:pt x="580" y="1623"/>
                    <a:pt x="615" y="1571"/>
                    <a:pt x="598" y="1532"/>
                  </a:cubicBezTo>
                  <a:lnTo>
                    <a:pt x="165" y="74"/>
                  </a:lnTo>
                  <a:cubicBezTo>
                    <a:pt x="165" y="18"/>
                    <a:pt x="109" y="1"/>
                    <a:pt x="5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2" name="Google Shape;2472;p33"/>
            <p:cNvSpPr/>
            <p:nvPr/>
          </p:nvSpPr>
          <p:spPr>
            <a:xfrm>
              <a:off x="1615850" y="1093775"/>
              <a:ext cx="15275" cy="40700"/>
            </a:xfrm>
            <a:custGeom>
              <a:avLst/>
              <a:gdLst/>
              <a:ahLst/>
              <a:cxnLst/>
              <a:rect l="l" t="t" r="r" b="b"/>
              <a:pathLst>
                <a:path w="611" h="1628" extrusionOk="0">
                  <a:moveTo>
                    <a:pt x="92" y="0"/>
                  </a:moveTo>
                  <a:cubicBezTo>
                    <a:pt x="84" y="0"/>
                    <a:pt x="77" y="1"/>
                    <a:pt x="70" y="5"/>
                  </a:cubicBezTo>
                  <a:cubicBezTo>
                    <a:pt x="18" y="22"/>
                    <a:pt x="1" y="61"/>
                    <a:pt x="1" y="113"/>
                  </a:cubicBezTo>
                  <a:lnTo>
                    <a:pt x="433" y="1575"/>
                  </a:lnTo>
                  <a:cubicBezTo>
                    <a:pt x="451" y="1610"/>
                    <a:pt x="485" y="1627"/>
                    <a:pt x="520" y="1627"/>
                  </a:cubicBezTo>
                  <a:lnTo>
                    <a:pt x="541" y="1627"/>
                  </a:lnTo>
                  <a:cubicBezTo>
                    <a:pt x="576" y="1610"/>
                    <a:pt x="611" y="1575"/>
                    <a:pt x="593" y="1519"/>
                  </a:cubicBezTo>
                  <a:lnTo>
                    <a:pt x="161" y="61"/>
                  </a:lnTo>
                  <a:cubicBezTo>
                    <a:pt x="161" y="29"/>
                    <a:pt x="126" y="0"/>
                    <a:pt x="92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3" name="Google Shape;2473;p33"/>
            <p:cNvSpPr/>
            <p:nvPr/>
          </p:nvSpPr>
          <p:spPr>
            <a:xfrm>
              <a:off x="1513975" y="1096150"/>
              <a:ext cx="35175" cy="41450"/>
            </a:xfrm>
            <a:custGeom>
              <a:avLst/>
              <a:gdLst/>
              <a:ahLst/>
              <a:cxnLst/>
              <a:rect l="l" t="t" r="r" b="b"/>
              <a:pathLst>
                <a:path w="1407" h="1658" extrusionOk="0">
                  <a:moveTo>
                    <a:pt x="0" y="0"/>
                  </a:moveTo>
                  <a:lnTo>
                    <a:pt x="0" y="1657"/>
                  </a:lnTo>
                  <a:lnTo>
                    <a:pt x="1406" y="1657"/>
                  </a:lnTo>
                  <a:lnTo>
                    <a:pt x="1406" y="0"/>
                  </a:lnTo>
                  <a:close/>
                </a:path>
              </a:pathLst>
            </a:custGeom>
            <a:solidFill>
              <a:srgbClr val="00D26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4" name="Google Shape;2474;p33"/>
            <p:cNvSpPr/>
            <p:nvPr/>
          </p:nvSpPr>
          <p:spPr>
            <a:xfrm>
              <a:off x="1694700" y="866250"/>
              <a:ext cx="119425" cy="100650"/>
            </a:xfrm>
            <a:custGeom>
              <a:avLst/>
              <a:gdLst/>
              <a:ahLst/>
              <a:cxnLst/>
              <a:rect l="l" t="t" r="r" b="b"/>
              <a:pathLst>
                <a:path w="4777" h="4026" extrusionOk="0">
                  <a:moveTo>
                    <a:pt x="4582" y="0"/>
                  </a:moveTo>
                  <a:cubicBezTo>
                    <a:pt x="4052" y="0"/>
                    <a:pt x="2732" y="109"/>
                    <a:pt x="1459" y="959"/>
                  </a:cubicBezTo>
                  <a:cubicBezTo>
                    <a:pt x="1" y="1932"/>
                    <a:pt x="918" y="3140"/>
                    <a:pt x="1173" y="3412"/>
                  </a:cubicBezTo>
                  <a:cubicBezTo>
                    <a:pt x="1173" y="3412"/>
                    <a:pt x="1173" y="3429"/>
                    <a:pt x="1190" y="3447"/>
                  </a:cubicBezTo>
                  <a:cubicBezTo>
                    <a:pt x="1208" y="3464"/>
                    <a:pt x="1225" y="3464"/>
                    <a:pt x="1225" y="3464"/>
                  </a:cubicBezTo>
                  <a:cubicBezTo>
                    <a:pt x="1376" y="3615"/>
                    <a:pt x="1859" y="4026"/>
                    <a:pt x="2447" y="4026"/>
                  </a:cubicBezTo>
                  <a:cubicBezTo>
                    <a:pt x="2839" y="4026"/>
                    <a:pt x="3277" y="3844"/>
                    <a:pt x="3695" y="3282"/>
                  </a:cubicBezTo>
                  <a:cubicBezTo>
                    <a:pt x="4686" y="1915"/>
                    <a:pt x="4777" y="453"/>
                    <a:pt x="4777" y="59"/>
                  </a:cubicBezTo>
                  <a:lnTo>
                    <a:pt x="4777" y="3"/>
                  </a:lnTo>
                  <a:lnTo>
                    <a:pt x="4721" y="3"/>
                  </a:lnTo>
                  <a:cubicBezTo>
                    <a:pt x="4684" y="1"/>
                    <a:pt x="4637" y="0"/>
                    <a:pt x="4582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5" name="Google Shape;2475;p33"/>
            <p:cNvSpPr/>
            <p:nvPr/>
          </p:nvSpPr>
          <p:spPr>
            <a:xfrm>
              <a:off x="1726725" y="875100"/>
              <a:ext cx="78425" cy="75050"/>
            </a:xfrm>
            <a:custGeom>
              <a:avLst/>
              <a:gdLst/>
              <a:ahLst/>
              <a:cxnLst/>
              <a:rect l="l" t="t" r="r" b="b"/>
              <a:pathLst>
                <a:path w="3137" h="3002" extrusionOk="0">
                  <a:moveTo>
                    <a:pt x="3054" y="0"/>
                  </a:moveTo>
                  <a:cubicBezTo>
                    <a:pt x="3032" y="0"/>
                    <a:pt x="3009" y="10"/>
                    <a:pt x="2990" y="30"/>
                  </a:cubicBezTo>
                  <a:lnTo>
                    <a:pt x="35" y="2859"/>
                  </a:lnTo>
                  <a:cubicBezTo>
                    <a:pt x="0" y="2894"/>
                    <a:pt x="0" y="2950"/>
                    <a:pt x="18" y="2985"/>
                  </a:cubicBezTo>
                  <a:cubicBezTo>
                    <a:pt x="35" y="3002"/>
                    <a:pt x="69" y="3002"/>
                    <a:pt x="87" y="3002"/>
                  </a:cubicBezTo>
                  <a:cubicBezTo>
                    <a:pt x="108" y="3002"/>
                    <a:pt x="126" y="3002"/>
                    <a:pt x="143" y="2985"/>
                  </a:cubicBezTo>
                  <a:lnTo>
                    <a:pt x="3098" y="138"/>
                  </a:lnTo>
                  <a:cubicBezTo>
                    <a:pt x="3137" y="116"/>
                    <a:pt x="3137" y="64"/>
                    <a:pt x="3115" y="30"/>
                  </a:cubicBezTo>
                  <a:cubicBezTo>
                    <a:pt x="3098" y="10"/>
                    <a:pt x="3076" y="0"/>
                    <a:pt x="3054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6" name="Google Shape;2476;p33"/>
            <p:cNvSpPr/>
            <p:nvPr/>
          </p:nvSpPr>
          <p:spPr>
            <a:xfrm>
              <a:off x="1755500" y="889350"/>
              <a:ext cx="6825" cy="31075"/>
            </a:xfrm>
            <a:custGeom>
              <a:avLst/>
              <a:gdLst/>
              <a:ahLst/>
              <a:cxnLst/>
              <a:rect l="l" t="t" r="r" b="b"/>
              <a:pathLst>
                <a:path w="273" h="1243" extrusionOk="0">
                  <a:moveTo>
                    <a:pt x="74" y="0"/>
                  </a:moveTo>
                  <a:cubicBezTo>
                    <a:pt x="39" y="0"/>
                    <a:pt x="0" y="35"/>
                    <a:pt x="0" y="87"/>
                  </a:cubicBezTo>
                  <a:lnTo>
                    <a:pt x="91" y="1151"/>
                  </a:lnTo>
                  <a:cubicBezTo>
                    <a:pt x="108" y="1207"/>
                    <a:pt x="147" y="1242"/>
                    <a:pt x="182" y="1242"/>
                  </a:cubicBezTo>
                  <a:lnTo>
                    <a:pt x="199" y="1242"/>
                  </a:lnTo>
                  <a:cubicBezTo>
                    <a:pt x="234" y="1242"/>
                    <a:pt x="273" y="1190"/>
                    <a:pt x="273" y="1151"/>
                  </a:cubicBezTo>
                  <a:lnTo>
                    <a:pt x="182" y="70"/>
                  </a:lnTo>
                  <a:cubicBezTo>
                    <a:pt x="164" y="35"/>
                    <a:pt x="126" y="0"/>
                    <a:pt x="74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7" name="Google Shape;2477;p33"/>
            <p:cNvSpPr/>
            <p:nvPr/>
          </p:nvSpPr>
          <p:spPr>
            <a:xfrm>
              <a:off x="1733850" y="909575"/>
              <a:ext cx="7275" cy="31175"/>
            </a:xfrm>
            <a:custGeom>
              <a:avLst/>
              <a:gdLst/>
              <a:ahLst/>
              <a:cxnLst/>
              <a:rect l="l" t="t" r="r" b="b"/>
              <a:pathLst>
                <a:path w="291" h="1247" extrusionOk="0">
                  <a:moveTo>
                    <a:pt x="92" y="0"/>
                  </a:moveTo>
                  <a:cubicBezTo>
                    <a:pt x="40" y="18"/>
                    <a:pt x="1" y="57"/>
                    <a:pt x="1" y="109"/>
                  </a:cubicBezTo>
                  <a:lnTo>
                    <a:pt x="109" y="1173"/>
                  </a:lnTo>
                  <a:cubicBezTo>
                    <a:pt x="109" y="1225"/>
                    <a:pt x="148" y="1246"/>
                    <a:pt x="200" y="1246"/>
                  </a:cubicBezTo>
                  <a:cubicBezTo>
                    <a:pt x="256" y="1246"/>
                    <a:pt x="291" y="1208"/>
                    <a:pt x="273" y="1156"/>
                  </a:cubicBezTo>
                  <a:lnTo>
                    <a:pt x="182" y="91"/>
                  </a:lnTo>
                  <a:cubicBezTo>
                    <a:pt x="182" y="35"/>
                    <a:pt x="126" y="0"/>
                    <a:pt x="92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8" name="Google Shape;2478;p33"/>
            <p:cNvSpPr/>
            <p:nvPr/>
          </p:nvSpPr>
          <p:spPr>
            <a:xfrm>
              <a:off x="1757750" y="916225"/>
              <a:ext cx="31625" cy="7750"/>
            </a:xfrm>
            <a:custGeom>
              <a:avLst/>
              <a:gdLst/>
              <a:ahLst/>
              <a:cxnLst/>
              <a:rect l="l" t="t" r="r" b="b"/>
              <a:pathLst>
                <a:path w="1265" h="310" extrusionOk="0">
                  <a:moveTo>
                    <a:pt x="81" y="1"/>
                  </a:moveTo>
                  <a:cubicBezTo>
                    <a:pt x="44" y="1"/>
                    <a:pt x="18" y="34"/>
                    <a:pt x="18" y="76"/>
                  </a:cubicBezTo>
                  <a:cubicBezTo>
                    <a:pt x="1" y="115"/>
                    <a:pt x="36" y="167"/>
                    <a:pt x="92" y="167"/>
                  </a:cubicBezTo>
                  <a:lnTo>
                    <a:pt x="1156" y="310"/>
                  </a:lnTo>
                  <a:lnTo>
                    <a:pt x="1173" y="310"/>
                  </a:lnTo>
                  <a:cubicBezTo>
                    <a:pt x="1208" y="310"/>
                    <a:pt x="1247" y="275"/>
                    <a:pt x="1247" y="241"/>
                  </a:cubicBezTo>
                  <a:cubicBezTo>
                    <a:pt x="1264" y="184"/>
                    <a:pt x="1225" y="150"/>
                    <a:pt x="1173" y="150"/>
                  </a:cubicBezTo>
                  <a:lnTo>
                    <a:pt x="109" y="7"/>
                  </a:lnTo>
                  <a:cubicBezTo>
                    <a:pt x="99" y="3"/>
                    <a:pt x="89" y="1"/>
                    <a:pt x="81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9" name="Google Shape;2479;p33"/>
            <p:cNvSpPr/>
            <p:nvPr/>
          </p:nvSpPr>
          <p:spPr>
            <a:xfrm>
              <a:off x="1736550" y="936625"/>
              <a:ext cx="31175" cy="8125"/>
            </a:xfrm>
            <a:custGeom>
              <a:avLst/>
              <a:gdLst/>
              <a:ahLst/>
              <a:cxnLst/>
              <a:rect l="l" t="t" r="r" b="b"/>
              <a:pathLst>
                <a:path w="1247" h="325" extrusionOk="0">
                  <a:moveTo>
                    <a:pt x="92" y="0"/>
                  </a:moveTo>
                  <a:cubicBezTo>
                    <a:pt x="57" y="0"/>
                    <a:pt x="1" y="35"/>
                    <a:pt x="1" y="74"/>
                  </a:cubicBezTo>
                  <a:cubicBezTo>
                    <a:pt x="1" y="126"/>
                    <a:pt x="40" y="164"/>
                    <a:pt x="74" y="182"/>
                  </a:cubicBezTo>
                  <a:lnTo>
                    <a:pt x="1139" y="325"/>
                  </a:lnTo>
                  <a:lnTo>
                    <a:pt x="1156" y="325"/>
                  </a:lnTo>
                  <a:cubicBezTo>
                    <a:pt x="1191" y="325"/>
                    <a:pt x="1230" y="290"/>
                    <a:pt x="1247" y="234"/>
                  </a:cubicBezTo>
                  <a:cubicBezTo>
                    <a:pt x="1247" y="199"/>
                    <a:pt x="1208" y="143"/>
                    <a:pt x="1173" y="143"/>
                  </a:cubicBezTo>
                  <a:lnTo>
                    <a:pt x="92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0" name="Google Shape;2480;p33"/>
            <p:cNvSpPr/>
            <p:nvPr/>
          </p:nvSpPr>
          <p:spPr>
            <a:xfrm>
              <a:off x="1759175" y="873550"/>
              <a:ext cx="34625" cy="13975"/>
            </a:xfrm>
            <a:custGeom>
              <a:avLst/>
              <a:gdLst/>
              <a:ahLst/>
              <a:cxnLst/>
              <a:rect l="l" t="t" r="r" b="b"/>
              <a:pathLst>
                <a:path w="1385" h="559" extrusionOk="0">
                  <a:moveTo>
                    <a:pt x="1190" y="1"/>
                  </a:moveTo>
                  <a:cubicBezTo>
                    <a:pt x="826" y="35"/>
                    <a:pt x="467" y="126"/>
                    <a:pt x="126" y="234"/>
                  </a:cubicBezTo>
                  <a:cubicBezTo>
                    <a:pt x="35" y="269"/>
                    <a:pt x="0" y="360"/>
                    <a:pt x="35" y="451"/>
                  </a:cubicBezTo>
                  <a:cubicBezTo>
                    <a:pt x="35" y="485"/>
                    <a:pt x="52" y="503"/>
                    <a:pt x="69" y="524"/>
                  </a:cubicBezTo>
                  <a:cubicBezTo>
                    <a:pt x="87" y="542"/>
                    <a:pt x="143" y="559"/>
                    <a:pt x="195" y="559"/>
                  </a:cubicBezTo>
                  <a:lnTo>
                    <a:pt x="251" y="559"/>
                  </a:lnTo>
                  <a:cubicBezTo>
                    <a:pt x="558" y="451"/>
                    <a:pt x="883" y="377"/>
                    <a:pt x="1225" y="343"/>
                  </a:cubicBezTo>
                  <a:cubicBezTo>
                    <a:pt x="1315" y="325"/>
                    <a:pt x="1385" y="234"/>
                    <a:pt x="1367" y="144"/>
                  </a:cubicBezTo>
                  <a:cubicBezTo>
                    <a:pt x="1367" y="53"/>
                    <a:pt x="1276" y="1"/>
                    <a:pt x="1207" y="1"/>
                  </a:cubicBezTo>
                  <a:close/>
                </a:path>
              </a:pathLst>
            </a:custGeom>
            <a:solidFill>
              <a:srgbClr val="00D26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1" name="Google Shape;2481;p33"/>
            <p:cNvSpPr/>
            <p:nvPr/>
          </p:nvSpPr>
          <p:spPr>
            <a:xfrm>
              <a:off x="2276925" y="1224100"/>
              <a:ext cx="186600" cy="132525"/>
            </a:xfrm>
            <a:custGeom>
              <a:avLst/>
              <a:gdLst/>
              <a:ahLst/>
              <a:cxnLst/>
              <a:rect l="l" t="t" r="r" b="b"/>
              <a:pathLst>
                <a:path w="7464" h="5301" extrusionOk="0">
                  <a:moveTo>
                    <a:pt x="3875" y="0"/>
                  </a:moveTo>
                  <a:cubicBezTo>
                    <a:pt x="3864" y="0"/>
                    <a:pt x="3853" y="0"/>
                    <a:pt x="3842" y="1"/>
                  </a:cubicBezTo>
                  <a:cubicBezTo>
                    <a:pt x="3211" y="22"/>
                    <a:pt x="2705" y="541"/>
                    <a:pt x="2722" y="1190"/>
                  </a:cubicBezTo>
                  <a:lnTo>
                    <a:pt x="2761" y="2705"/>
                  </a:lnTo>
                  <a:lnTo>
                    <a:pt x="2272" y="1986"/>
                  </a:lnTo>
                  <a:cubicBezTo>
                    <a:pt x="2058" y="1659"/>
                    <a:pt x="1696" y="1481"/>
                    <a:pt x="1326" y="1481"/>
                  </a:cubicBezTo>
                  <a:cubicBezTo>
                    <a:pt x="1104" y="1481"/>
                    <a:pt x="880" y="1545"/>
                    <a:pt x="684" y="1679"/>
                  </a:cubicBezTo>
                  <a:cubicBezTo>
                    <a:pt x="143" y="2021"/>
                    <a:pt x="1" y="2744"/>
                    <a:pt x="360" y="3267"/>
                  </a:cubicBezTo>
                  <a:lnTo>
                    <a:pt x="1731" y="5300"/>
                  </a:lnTo>
                  <a:lnTo>
                    <a:pt x="5227" y="5283"/>
                  </a:lnTo>
                  <a:lnTo>
                    <a:pt x="6940" y="3769"/>
                  </a:lnTo>
                  <a:cubicBezTo>
                    <a:pt x="7429" y="3354"/>
                    <a:pt x="7464" y="2635"/>
                    <a:pt x="7048" y="2146"/>
                  </a:cubicBezTo>
                  <a:cubicBezTo>
                    <a:pt x="6821" y="1891"/>
                    <a:pt x="6499" y="1759"/>
                    <a:pt x="6176" y="1759"/>
                  </a:cubicBezTo>
                  <a:cubicBezTo>
                    <a:pt x="5908" y="1759"/>
                    <a:pt x="5640" y="1850"/>
                    <a:pt x="5426" y="2038"/>
                  </a:cubicBezTo>
                  <a:lnTo>
                    <a:pt x="5067" y="2363"/>
                  </a:lnTo>
                  <a:lnTo>
                    <a:pt x="5032" y="1121"/>
                  </a:lnTo>
                  <a:cubicBezTo>
                    <a:pt x="5011" y="500"/>
                    <a:pt x="4509" y="0"/>
                    <a:pt x="3875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4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7" name="Google Shape;437;p8"/>
          <p:cNvSpPr txBox="1">
            <a:spLocks noGrp="1"/>
          </p:cNvSpPr>
          <p:nvPr>
            <p:ph type="title"/>
          </p:nvPr>
        </p:nvSpPr>
        <p:spPr>
          <a:xfrm>
            <a:off x="646425" y="973675"/>
            <a:ext cx="5815500" cy="1848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70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grpSp>
        <p:nvGrpSpPr>
          <p:cNvPr id="438" name="Google Shape;438;p8"/>
          <p:cNvGrpSpPr/>
          <p:nvPr/>
        </p:nvGrpSpPr>
        <p:grpSpPr>
          <a:xfrm>
            <a:off x="3325236" y="4670938"/>
            <a:ext cx="5557953" cy="122913"/>
            <a:chOff x="3325236" y="4670938"/>
            <a:chExt cx="5557953" cy="122913"/>
          </a:xfrm>
        </p:grpSpPr>
        <p:grpSp>
          <p:nvGrpSpPr>
            <p:cNvPr id="439" name="Google Shape;439;p8"/>
            <p:cNvGrpSpPr/>
            <p:nvPr/>
          </p:nvGrpSpPr>
          <p:grpSpPr>
            <a:xfrm>
              <a:off x="6133486" y="4670938"/>
              <a:ext cx="2749703" cy="122913"/>
              <a:chOff x="5024149" y="4918613"/>
              <a:chExt cx="2749703" cy="122913"/>
            </a:xfrm>
          </p:grpSpPr>
          <p:sp>
            <p:nvSpPr>
              <p:cNvPr id="440" name="Google Shape;440;p8"/>
              <p:cNvSpPr/>
              <p:nvPr/>
            </p:nvSpPr>
            <p:spPr>
              <a:xfrm>
                <a:off x="5121294" y="4919510"/>
                <a:ext cx="27619" cy="26802"/>
              </a:xfrm>
              <a:custGeom>
                <a:avLst/>
                <a:gdLst/>
                <a:ahLst/>
                <a:cxnLst/>
                <a:rect l="l" t="t" r="r" b="b"/>
                <a:pathLst>
                  <a:path w="1324" h="1285" extrusionOk="0">
                    <a:moveTo>
                      <a:pt x="690" y="1"/>
                    </a:moveTo>
                    <a:cubicBezTo>
                      <a:pt x="379" y="1"/>
                      <a:pt x="134" y="175"/>
                      <a:pt x="0" y="460"/>
                    </a:cubicBezTo>
                    <a:cubicBezTo>
                      <a:pt x="0" y="643"/>
                      <a:pt x="183" y="1031"/>
                      <a:pt x="297" y="1213"/>
                    </a:cubicBezTo>
                    <a:cubicBezTo>
                      <a:pt x="418" y="1262"/>
                      <a:pt x="528" y="1284"/>
                      <a:pt x="629" y="1284"/>
                    </a:cubicBezTo>
                    <a:cubicBezTo>
                      <a:pt x="909" y="1284"/>
                      <a:pt x="1123" y="1110"/>
                      <a:pt x="1324" y="825"/>
                    </a:cubicBezTo>
                    <a:cubicBezTo>
                      <a:pt x="1233" y="551"/>
                      <a:pt x="1141" y="163"/>
                      <a:pt x="1050" y="72"/>
                    </a:cubicBezTo>
                    <a:cubicBezTo>
                      <a:pt x="923" y="24"/>
                      <a:pt x="802" y="1"/>
                      <a:pt x="690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1" name="Google Shape;441;p8"/>
              <p:cNvSpPr/>
              <p:nvPr/>
            </p:nvSpPr>
            <p:spPr>
              <a:xfrm>
                <a:off x="5307928" y="4919510"/>
                <a:ext cx="27639" cy="26802"/>
              </a:xfrm>
              <a:custGeom>
                <a:avLst/>
                <a:gdLst/>
                <a:ahLst/>
                <a:cxnLst/>
                <a:rect l="l" t="t" r="r" b="b"/>
                <a:pathLst>
                  <a:path w="1325" h="1285" extrusionOk="0">
                    <a:moveTo>
                      <a:pt x="731" y="1"/>
                    </a:moveTo>
                    <a:cubicBezTo>
                      <a:pt x="435" y="1"/>
                      <a:pt x="159" y="175"/>
                      <a:pt x="92" y="460"/>
                    </a:cubicBezTo>
                    <a:cubicBezTo>
                      <a:pt x="1" y="643"/>
                      <a:pt x="183" y="1031"/>
                      <a:pt x="366" y="1213"/>
                    </a:cubicBezTo>
                    <a:cubicBezTo>
                      <a:pt x="469" y="1262"/>
                      <a:pt x="572" y="1284"/>
                      <a:pt x="671" y="1284"/>
                    </a:cubicBezTo>
                    <a:cubicBezTo>
                      <a:pt x="945" y="1284"/>
                      <a:pt x="1190" y="1110"/>
                      <a:pt x="1324" y="825"/>
                    </a:cubicBezTo>
                    <a:cubicBezTo>
                      <a:pt x="1233" y="551"/>
                      <a:pt x="1233" y="163"/>
                      <a:pt x="1051" y="72"/>
                    </a:cubicBezTo>
                    <a:cubicBezTo>
                      <a:pt x="948" y="24"/>
                      <a:pt x="838" y="1"/>
                      <a:pt x="731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2" name="Google Shape;442;p8"/>
              <p:cNvSpPr/>
              <p:nvPr/>
            </p:nvSpPr>
            <p:spPr>
              <a:xfrm>
                <a:off x="5496482" y="4919823"/>
                <a:ext cx="25720" cy="27365"/>
              </a:xfrm>
              <a:custGeom>
                <a:avLst/>
                <a:gdLst/>
                <a:ahLst/>
                <a:cxnLst/>
                <a:rect l="l" t="t" r="r" b="b"/>
                <a:pathLst>
                  <a:path w="1233" h="1312" extrusionOk="0">
                    <a:moveTo>
                      <a:pt x="656" y="0"/>
                    </a:moveTo>
                    <a:cubicBezTo>
                      <a:pt x="565" y="0"/>
                      <a:pt x="467" y="18"/>
                      <a:pt x="366" y="57"/>
                    </a:cubicBezTo>
                    <a:cubicBezTo>
                      <a:pt x="183" y="57"/>
                      <a:pt x="92" y="445"/>
                      <a:pt x="0" y="628"/>
                    </a:cubicBezTo>
                    <a:cubicBezTo>
                      <a:pt x="77" y="1106"/>
                      <a:pt x="346" y="1312"/>
                      <a:pt x="660" y="1312"/>
                    </a:cubicBezTo>
                    <a:cubicBezTo>
                      <a:pt x="720" y="1312"/>
                      <a:pt x="782" y="1304"/>
                      <a:pt x="845" y="1290"/>
                    </a:cubicBezTo>
                    <a:cubicBezTo>
                      <a:pt x="1028" y="1198"/>
                      <a:pt x="1233" y="810"/>
                      <a:pt x="1233" y="628"/>
                    </a:cubicBezTo>
                    <a:cubicBezTo>
                      <a:pt x="1233" y="250"/>
                      <a:pt x="992" y="0"/>
                      <a:pt x="656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3" name="Google Shape;443;p8"/>
              <p:cNvSpPr/>
              <p:nvPr/>
            </p:nvSpPr>
            <p:spPr>
              <a:xfrm>
                <a:off x="5680738" y="4920490"/>
                <a:ext cx="33835" cy="26239"/>
              </a:xfrm>
              <a:custGeom>
                <a:avLst/>
                <a:gdLst/>
                <a:ahLst/>
                <a:cxnLst/>
                <a:rect l="l" t="t" r="r" b="b"/>
                <a:pathLst>
                  <a:path w="1622" h="1258" extrusionOk="0">
                    <a:moveTo>
                      <a:pt x="743" y="1"/>
                    </a:moveTo>
                    <a:cubicBezTo>
                      <a:pt x="538" y="1"/>
                      <a:pt x="277" y="154"/>
                      <a:pt x="183" y="322"/>
                    </a:cubicBezTo>
                    <a:cubicBezTo>
                      <a:pt x="1" y="778"/>
                      <a:pt x="298" y="1166"/>
                      <a:pt x="754" y="1258"/>
                    </a:cubicBezTo>
                    <a:cubicBezTo>
                      <a:pt x="959" y="1166"/>
                      <a:pt x="1325" y="1075"/>
                      <a:pt x="1439" y="892"/>
                    </a:cubicBezTo>
                    <a:cubicBezTo>
                      <a:pt x="1621" y="413"/>
                      <a:pt x="1325" y="25"/>
                      <a:pt x="868" y="25"/>
                    </a:cubicBezTo>
                    <a:cubicBezTo>
                      <a:pt x="831" y="8"/>
                      <a:pt x="788" y="1"/>
                      <a:pt x="743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4" name="Google Shape;444;p8"/>
              <p:cNvSpPr/>
              <p:nvPr/>
            </p:nvSpPr>
            <p:spPr>
              <a:xfrm>
                <a:off x="5871190" y="4919823"/>
                <a:ext cx="27639" cy="27365"/>
              </a:xfrm>
              <a:custGeom>
                <a:avLst/>
                <a:gdLst/>
                <a:ahLst/>
                <a:cxnLst/>
                <a:rect l="l" t="t" r="r" b="b"/>
                <a:pathLst>
                  <a:path w="1325" h="1312" extrusionOk="0">
                    <a:moveTo>
                      <a:pt x="677" y="0"/>
                    </a:moveTo>
                    <a:cubicBezTo>
                      <a:pt x="587" y="0"/>
                      <a:pt x="491" y="18"/>
                      <a:pt x="389" y="57"/>
                    </a:cubicBezTo>
                    <a:cubicBezTo>
                      <a:pt x="184" y="57"/>
                      <a:pt x="92" y="445"/>
                      <a:pt x="1" y="628"/>
                    </a:cubicBezTo>
                    <a:cubicBezTo>
                      <a:pt x="77" y="1106"/>
                      <a:pt x="363" y="1312"/>
                      <a:pt x="682" y="1312"/>
                    </a:cubicBezTo>
                    <a:cubicBezTo>
                      <a:pt x="743" y="1312"/>
                      <a:pt x="806" y="1304"/>
                      <a:pt x="868" y="1290"/>
                    </a:cubicBezTo>
                    <a:cubicBezTo>
                      <a:pt x="1051" y="1198"/>
                      <a:pt x="1325" y="810"/>
                      <a:pt x="1233" y="628"/>
                    </a:cubicBezTo>
                    <a:cubicBezTo>
                      <a:pt x="1233" y="250"/>
                      <a:pt x="1007" y="0"/>
                      <a:pt x="677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5" name="Google Shape;445;p8"/>
              <p:cNvSpPr/>
              <p:nvPr/>
            </p:nvSpPr>
            <p:spPr>
              <a:xfrm>
                <a:off x="6055947" y="4920490"/>
                <a:ext cx="33334" cy="26239"/>
              </a:xfrm>
              <a:custGeom>
                <a:avLst/>
                <a:gdLst/>
                <a:ahLst/>
                <a:cxnLst/>
                <a:rect l="l" t="t" r="r" b="b"/>
                <a:pathLst>
                  <a:path w="1598" h="1258" extrusionOk="0">
                    <a:moveTo>
                      <a:pt x="728" y="1"/>
                    </a:moveTo>
                    <a:cubicBezTo>
                      <a:pt x="531" y="1"/>
                      <a:pt x="257" y="154"/>
                      <a:pt x="183" y="322"/>
                    </a:cubicBezTo>
                    <a:cubicBezTo>
                      <a:pt x="0" y="778"/>
                      <a:pt x="274" y="1166"/>
                      <a:pt x="753" y="1258"/>
                    </a:cubicBezTo>
                    <a:cubicBezTo>
                      <a:pt x="936" y="1166"/>
                      <a:pt x="1324" y="1075"/>
                      <a:pt x="1415" y="892"/>
                    </a:cubicBezTo>
                    <a:cubicBezTo>
                      <a:pt x="1598" y="413"/>
                      <a:pt x="1324" y="25"/>
                      <a:pt x="845" y="25"/>
                    </a:cubicBezTo>
                    <a:cubicBezTo>
                      <a:pt x="811" y="8"/>
                      <a:pt x="771" y="1"/>
                      <a:pt x="728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6" name="Google Shape;446;p8"/>
              <p:cNvSpPr/>
              <p:nvPr/>
            </p:nvSpPr>
            <p:spPr>
              <a:xfrm>
                <a:off x="6244021" y="4919093"/>
                <a:ext cx="31916" cy="27636"/>
              </a:xfrm>
              <a:custGeom>
                <a:avLst/>
                <a:gdLst/>
                <a:ahLst/>
                <a:cxnLst/>
                <a:rect l="l" t="t" r="r" b="b"/>
                <a:pathLst>
                  <a:path w="1530" h="1325" extrusionOk="0">
                    <a:moveTo>
                      <a:pt x="571" y="1"/>
                    </a:moveTo>
                    <a:cubicBezTo>
                      <a:pt x="206" y="183"/>
                      <a:pt x="0" y="571"/>
                      <a:pt x="206" y="959"/>
                    </a:cubicBezTo>
                    <a:cubicBezTo>
                      <a:pt x="297" y="1142"/>
                      <a:pt x="685" y="1325"/>
                      <a:pt x="867" y="1325"/>
                    </a:cubicBezTo>
                    <a:cubicBezTo>
                      <a:pt x="1347" y="1142"/>
                      <a:pt x="1529" y="754"/>
                      <a:pt x="1256" y="389"/>
                    </a:cubicBezTo>
                    <a:cubicBezTo>
                      <a:pt x="1141" y="183"/>
                      <a:pt x="867" y="92"/>
                      <a:pt x="571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7" name="Google Shape;447;p8"/>
              <p:cNvSpPr/>
              <p:nvPr/>
            </p:nvSpPr>
            <p:spPr>
              <a:xfrm>
                <a:off x="6434473" y="4919823"/>
                <a:ext cx="26200" cy="27365"/>
              </a:xfrm>
              <a:custGeom>
                <a:avLst/>
                <a:gdLst/>
                <a:ahLst/>
                <a:cxnLst/>
                <a:rect l="l" t="t" r="r" b="b"/>
                <a:pathLst>
                  <a:path w="1256" h="1312" extrusionOk="0">
                    <a:moveTo>
                      <a:pt x="679" y="0"/>
                    </a:moveTo>
                    <a:cubicBezTo>
                      <a:pt x="588" y="0"/>
                      <a:pt x="490" y="18"/>
                      <a:pt x="388" y="57"/>
                    </a:cubicBezTo>
                    <a:cubicBezTo>
                      <a:pt x="206" y="57"/>
                      <a:pt x="114" y="445"/>
                      <a:pt x="0" y="628"/>
                    </a:cubicBezTo>
                    <a:cubicBezTo>
                      <a:pt x="0" y="1106"/>
                      <a:pt x="273" y="1312"/>
                      <a:pt x="644" y="1312"/>
                    </a:cubicBezTo>
                    <a:cubicBezTo>
                      <a:pt x="715" y="1312"/>
                      <a:pt x="790" y="1304"/>
                      <a:pt x="868" y="1290"/>
                    </a:cubicBezTo>
                    <a:cubicBezTo>
                      <a:pt x="1050" y="1198"/>
                      <a:pt x="1256" y="810"/>
                      <a:pt x="1256" y="628"/>
                    </a:cubicBezTo>
                    <a:cubicBezTo>
                      <a:pt x="1256" y="250"/>
                      <a:pt x="1015" y="0"/>
                      <a:pt x="679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8" name="Google Shape;448;p8"/>
              <p:cNvSpPr/>
              <p:nvPr/>
            </p:nvSpPr>
            <p:spPr>
              <a:xfrm>
                <a:off x="6621107" y="4919176"/>
                <a:ext cx="27640" cy="26406"/>
              </a:xfrm>
              <a:custGeom>
                <a:avLst/>
                <a:gdLst/>
                <a:ahLst/>
                <a:cxnLst/>
                <a:rect l="l" t="t" r="r" b="b"/>
                <a:pathLst>
                  <a:path w="1325" h="1266" extrusionOk="0">
                    <a:moveTo>
                      <a:pt x="702" y="1"/>
                    </a:moveTo>
                    <a:cubicBezTo>
                      <a:pt x="577" y="1"/>
                      <a:pt x="440" y="31"/>
                      <a:pt x="298" y="88"/>
                    </a:cubicBezTo>
                    <a:cubicBezTo>
                      <a:pt x="183" y="179"/>
                      <a:pt x="1" y="567"/>
                      <a:pt x="1" y="750"/>
                    </a:cubicBezTo>
                    <a:cubicBezTo>
                      <a:pt x="125" y="1077"/>
                      <a:pt x="346" y="1266"/>
                      <a:pt x="596" y="1266"/>
                    </a:cubicBezTo>
                    <a:cubicBezTo>
                      <a:pt x="713" y="1266"/>
                      <a:pt x="836" y="1225"/>
                      <a:pt x="959" y="1138"/>
                    </a:cubicBezTo>
                    <a:cubicBezTo>
                      <a:pt x="1142" y="1047"/>
                      <a:pt x="1233" y="659"/>
                      <a:pt x="1325" y="476"/>
                    </a:cubicBezTo>
                    <a:cubicBezTo>
                      <a:pt x="1199" y="147"/>
                      <a:pt x="977" y="1"/>
                      <a:pt x="702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9" name="Google Shape;449;p8"/>
              <p:cNvSpPr/>
              <p:nvPr/>
            </p:nvSpPr>
            <p:spPr>
              <a:xfrm>
                <a:off x="6807762" y="4919176"/>
                <a:ext cx="27640" cy="26406"/>
              </a:xfrm>
              <a:custGeom>
                <a:avLst/>
                <a:gdLst/>
                <a:ahLst/>
                <a:cxnLst/>
                <a:rect l="l" t="t" r="r" b="b"/>
                <a:pathLst>
                  <a:path w="1325" h="1266" extrusionOk="0">
                    <a:moveTo>
                      <a:pt x="723" y="1"/>
                    </a:moveTo>
                    <a:cubicBezTo>
                      <a:pt x="608" y="1"/>
                      <a:pt x="487" y="31"/>
                      <a:pt x="366" y="88"/>
                    </a:cubicBezTo>
                    <a:cubicBezTo>
                      <a:pt x="183" y="179"/>
                      <a:pt x="0" y="567"/>
                      <a:pt x="92" y="750"/>
                    </a:cubicBezTo>
                    <a:cubicBezTo>
                      <a:pt x="154" y="1077"/>
                      <a:pt x="397" y="1266"/>
                      <a:pt x="668" y="1266"/>
                    </a:cubicBezTo>
                    <a:cubicBezTo>
                      <a:pt x="795" y="1266"/>
                      <a:pt x="927" y="1225"/>
                      <a:pt x="1050" y="1138"/>
                    </a:cubicBezTo>
                    <a:cubicBezTo>
                      <a:pt x="1233" y="1047"/>
                      <a:pt x="1233" y="659"/>
                      <a:pt x="1324" y="476"/>
                    </a:cubicBezTo>
                    <a:cubicBezTo>
                      <a:pt x="1199" y="147"/>
                      <a:pt x="976" y="1"/>
                      <a:pt x="723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0" name="Google Shape;450;p8"/>
              <p:cNvSpPr/>
              <p:nvPr/>
            </p:nvSpPr>
            <p:spPr>
              <a:xfrm>
                <a:off x="6998214" y="4918613"/>
                <a:ext cx="25720" cy="27407"/>
              </a:xfrm>
              <a:custGeom>
                <a:avLst/>
                <a:gdLst/>
                <a:ahLst/>
                <a:cxnLst/>
                <a:rect l="l" t="t" r="r" b="b"/>
                <a:pathLst>
                  <a:path w="1233" h="1314" extrusionOk="0">
                    <a:moveTo>
                      <a:pt x="617" y="1"/>
                    </a:moveTo>
                    <a:cubicBezTo>
                      <a:pt x="255" y="1"/>
                      <a:pt x="0" y="194"/>
                      <a:pt x="0" y="594"/>
                    </a:cubicBezTo>
                    <a:cubicBezTo>
                      <a:pt x="0" y="777"/>
                      <a:pt x="183" y="1256"/>
                      <a:pt x="366" y="1256"/>
                    </a:cubicBezTo>
                    <a:cubicBezTo>
                      <a:pt x="448" y="1295"/>
                      <a:pt x="530" y="1313"/>
                      <a:pt x="610" y="1313"/>
                    </a:cubicBezTo>
                    <a:cubicBezTo>
                      <a:pt x="905" y="1313"/>
                      <a:pt x="1161" y="1063"/>
                      <a:pt x="1233" y="686"/>
                    </a:cubicBezTo>
                    <a:cubicBezTo>
                      <a:pt x="1142" y="503"/>
                      <a:pt x="1050" y="115"/>
                      <a:pt x="845" y="24"/>
                    </a:cubicBezTo>
                    <a:cubicBezTo>
                      <a:pt x="766" y="9"/>
                      <a:pt x="689" y="1"/>
                      <a:pt x="617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1" name="Google Shape;451;p8"/>
              <p:cNvSpPr/>
              <p:nvPr/>
            </p:nvSpPr>
            <p:spPr>
              <a:xfrm>
                <a:off x="7182470" y="4920490"/>
                <a:ext cx="31937" cy="26239"/>
              </a:xfrm>
              <a:custGeom>
                <a:avLst/>
                <a:gdLst/>
                <a:ahLst/>
                <a:cxnLst/>
                <a:rect l="l" t="t" r="r" b="b"/>
                <a:pathLst>
                  <a:path w="1531" h="1258" extrusionOk="0">
                    <a:moveTo>
                      <a:pt x="651" y="1"/>
                    </a:moveTo>
                    <a:cubicBezTo>
                      <a:pt x="447" y="1"/>
                      <a:pt x="185" y="154"/>
                      <a:pt x="92" y="322"/>
                    </a:cubicBezTo>
                    <a:cubicBezTo>
                      <a:pt x="1" y="778"/>
                      <a:pt x="206" y="1166"/>
                      <a:pt x="663" y="1258"/>
                    </a:cubicBezTo>
                    <a:cubicBezTo>
                      <a:pt x="959" y="1166"/>
                      <a:pt x="1348" y="1075"/>
                      <a:pt x="1348" y="892"/>
                    </a:cubicBezTo>
                    <a:cubicBezTo>
                      <a:pt x="1530" y="413"/>
                      <a:pt x="1233" y="25"/>
                      <a:pt x="777" y="25"/>
                    </a:cubicBezTo>
                    <a:cubicBezTo>
                      <a:pt x="740" y="8"/>
                      <a:pt x="697" y="1"/>
                      <a:pt x="651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2" name="Google Shape;452;p8"/>
              <p:cNvSpPr/>
              <p:nvPr/>
            </p:nvSpPr>
            <p:spPr>
              <a:xfrm>
                <a:off x="7372922" y="4918613"/>
                <a:ext cx="25741" cy="27407"/>
              </a:xfrm>
              <a:custGeom>
                <a:avLst/>
                <a:gdLst/>
                <a:ahLst/>
                <a:cxnLst/>
                <a:rect l="l" t="t" r="r" b="b"/>
                <a:pathLst>
                  <a:path w="1234" h="1314" extrusionOk="0">
                    <a:moveTo>
                      <a:pt x="671" y="1"/>
                    </a:moveTo>
                    <a:cubicBezTo>
                      <a:pt x="335" y="1"/>
                      <a:pt x="1" y="194"/>
                      <a:pt x="1" y="594"/>
                    </a:cubicBezTo>
                    <a:cubicBezTo>
                      <a:pt x="1" y="777"/>
                      <a:pt x="206" y="1256"/>
                      <a:pt x="389" y="1256"/>
                    </a:cubicBezTo>
                    <a:cubicBezTo>
                      <a:pt x="471" y="1295"/>
                      <a:pt x="553" y="1313"/>
                      <a:pt x="631" y="1313"/>
                    </a:cubicBezTo>
                    <a:cubicBezTo>
                      <a:pt x="920" y="1313"/>
                      <a:pt x="1162" y="1063"/>
                      <a:pt x="1234" y="686"/>
                    </a:cubicBezTo>
                    <a:cubicBezTo>
                      <a:pt x="1142" y="503"/>
                      <a:pt x="1051" y="115"/>
                      <a:pt x="868" y="24"/>
                    </a:cubicBezTo>
                    <a:cubicBezTo>
                      <a:pt x="804" y="9"/>
                      <a:pt x="737" y="1"/>
                      <a:pt x="671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3" name="Google Shape;453;p8"/>
              <p:cNvSpPr/>
              <p:nvPr/>
            </p:nvSpPr>
            <p:spPr>
              <a:xfrm>
                <a:off x="7559578" y="4918613"/>
                <a:ext cx="27640" cy="27407"/>
              </a:xfrm>
              <a:custGeom>
                <a:avLst/>
                <a:gdLst/>
                <a:ahLst/>
                <a:cxnLst/>
                <a:rect l="l" t="t" r="r" b="b"/>
                <a:pathLst>
                  <a:path w="1325" h="1314" extrusionOk="0">
                    <a:moveTo>
                      <a:pt x="730" y="1"/>
                    </a:moveTo>
                    <a:cubicBezTo>
                      <a:pt x="359" y="1"/>
                      <a:pt x="77" y="194"/>
                      <a:pt x="0" y="594"/>
                    </a:cubicBezTo>
                    <a:cubicBezTo>
                      <a:pt x="0" y="777"/>
                      <a:pt x="183" y="1256"/>
                      <a:pt x="388" y="1256"/>
                    </a:cubicBezTo>
                    <a:cubicBezTo>
                      <a:pt x="485" y="1295"/>
                      <a:pt x="575" y="1313"/>
                      <a:pt x="658" y="1313"/>
                    </a:cubicBezTo>
                    <a:cubicBezTo>
                      <a:pt x="966" y="1313"/>
                      <a:pt x="1181" y="1063"/>
                      <a:pt x="1324" y="686"/>
                    </a:cubicBezTo>
                    <a:cubicBezTo>
                      <a:pt x="1233" y="503"/>
                      <a:pt x="1142" y="115"/>
                      <a:pt x="959" y="24"/>
                    </a:cubicBezTo>
                    <a:cubicBezTo>
                      <a:pt x="880" y="9"/>
                      <a:pt x="803" y="1"/>
                      <a:pt x="730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4" name="Google Shape;454;p8"/>
              <p:cNvSpPr/>
              <p:nvPr/>
            </p:nvSpPr>
            <p:spPr>
              <a:xfrm>
                <a:off x="7748131" y="4918634"/>
                <a:ext cx="25720" cy="27386"/>
              </a:xfrm>
              <a:custGeom>
                <a:avLst/>
                <a:gdLst/>
                <a:ahLst/>
                <a:cxnLst/>
                <a:rect l="l" t="t" r="r" b="b"/>
                <a:pathLst>
                  <a:path w="1233" h="1313" extrusionOk="0">
                    <a:moveTo>
                      <a:pt x="552" y="0"/>
                    </a:moveTo>
                    <a:cubicBezTo>
                      <a:pt x="491" y="0"/>
                      <a:pt x="428" y="8"/>
                      <a:pt x="365" y="23"/>
                    </a:cubicBezTo>
                    <a:cubicBezTo>
                      <a:pt x="183" y="114"/>
                      <a:pt x="0" y="502"/>
                      <a:pt x="0" y="685"/>
                    </a:cubicBezTo>
                    <a:cubicBezTo>
                      <a:pt x="0" y="1062"/>
                      <a:pt x="227" y="1312"/>
                      <a:pt x="557" y="1312"/>
                    </a:cubicBezTo>
                    <a:cubicBezTo>
                      <a:pt x="646" y="1312"/>
                      <a:pt x="743" y="1294"/>
                      <a:pt x="845" y="1255"/>
                    </a:cubicBezTo>
                    <a:cubicBezTo>
                      <a:pt x="1050" y="1255"/>
                      <a:pt x="1142" y="867"/>
                      <a:pt x="1233" y="685"/>
                    </a:cubicBezTo>
                    <a:cubicBezTo>
                      <a:pt x="1156" y="206"/>
                      <a:pt x="871" y="0"/>
                      <a:pt x="552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5" name="Google Shape;455;p8"/>
              <p:cNvSpPr/>
              <p:nvPr/>
            </p:nvSpPr>
            <p:spPr>
              <a:xfrm>
                <a:off x="5024149" y="5012054"/>
                <a:ext cx="31916" cy="28992"/>
              </a:xfrm>
              <a:custGeom>
                <a:avLst/>
                <a:gdLst/>
                <a:ahLst/>
                <a:cxnLst/>
                <a:rect l="l" t="t" r="r" b="b"/>
                <a:pathLst>
                  <a:path w="1530" h="1390" extrusionOk="0">
                    <a:moveTo>
                      <a:pt x="927" y="0"/>
                    </a:moveTo>
                    <a:cubicBezTo>
                      <a:pt x="872" y="0"/>
                      <a:pt x="815" y="6"/>
                      <a:pt x="754" y="17"/>
                    </a:cubicBezTo>
                    <a:cubicBezTo>
                      <a:pt x="571" y="17"/>
                      <a:pt x="183" y="200"/>
                      <a:pt x="92" y="383"/>
                    </a:cubicBezTo>
                    <a:cubicBezTo>
                      <a:pt x="1" y="771"/>
                      <a:pt x="183" y="1250"/>
                      <a:pt x="571" y="1341"/>
                    </a:cubicBezTo>
                    <a:cubicBezTo>
                      <a:pt x="676" y="1375"/>
                      <a:pt x="767" y="1390"/>
                      <a:pt x="848" y="1390"/>
                    </a:cubicBezTo>
                    <a:cubicBezTo>
                      <a:pt x="1209" y="1390"/>
                      <a:pt x="1362" y="1088"/>
                      <a:pt x="1530" y="771"/>
                    </a:cubicBezTo>
                    <a:cubicBezTo>
                      <a:pt x="1530" y="272"/>
                      <a:pt x="1304" y="0"/>
                      <a:pt x="927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6" name="Google Shape;456;p8"/>
              <p:cNvSpPr/>
              <p:nvPr/>
            </p:nvSpPr>
            <p:spPr>
              <a:xfrm>
                <a:off x="5212953" y="5012034"/>
                <a:ext cx="33585" cy="29451"/>
              </a:xfrm>
              <a:custGeom>
                <a:avLst/>
                <a:gdLst/>
                <a:ahLst/>
                <a:cxnLst/>
                <a:rect l="l" t="t" r="r" b="b"/>
                <a:pathLst>
                  <a:path w="1610" h="1412" extrusionOk="0">
                    <a:moveTo>
                      <a:pt x="628" y="1"/>
                    </a:moveTo>
                    <a:cubicBezTo>
                      <a:pt x="198" y="1"/>
                      <a:pt x="0" y="263"/>
                      <a:pt x="80" y="680"/>
                    </a:cubicBezTo>
                    <a:cubicBezTo>
                      <a:pt x="80" y="954"/>
                      <a:pt x="262" y="1342"/>
                      <a:pt x="468" y="1342"/>
                    </a:cubicBezTo>
                    <a:cubicBezTo>
                      <a:pt x="561" y="1389"/>
                      <a:pt x="662" y="1412"/>
                      <a:pt x="763" y="1412"/>
                    </a:cubicBezTo>
                    <a:cubicBezTo>
                      <a:pt x="1053" y="1412"/>
                      <a:pt x="1336" y="1219"/>
                      <a:pt x="1404" y="863"/>
                    </a:cubicBezTo>
                    <a:cubicBezTo>
                      <a:pt x="1609" y="384"/>
                      <a:pt x="1221" y="110"/>
                      <a:pt x="833" y="18"/>
                    </a:cubicBezTo>
                    <a:cubicBezTo>
                      <a:pt x="760" y="7"/>
                      <a:pt x="691" y="1"/>
                      <a:pt x="628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7" name="Google Shape;457;p8"/>
              <p:cNvSpPr/>
              <p:nvPr/>
            </p:nvSpPr>
            <p:spPr>
              <a:xfrm>
                <a:off x="5398878" y="5011241"/>
                <a:ext cx="31916" cy="29159"/>
              </a:xfrm>
              <a:custGeom>
                <a:avLst/>
                <a:gdLst/>
                <a:ahLst/>
                <a:cxnLst/>
                <a:rect l="l" t="t" r="r" b="b"/>
                <a:pathLst>
                  <a:path w="1530" h="1398" extrusionOk="0">
                    <a:moveTo>
                      <a:pt x="968" y="0"/>
                    </a:moveTo>
                    <a:cubicBezTo>
                      <a:pt x="886" y="0"/>
                      <a:pt x="792" y="18"/>
                      <a:pt x="685" y="56"/>
                    </a:cubicBezTo>
                    <a:cubicBezTo>
                      <a:pt x="480" y="56"/>
                      <a:pt x="206" y="330"/>
                      <a:pt x="114" y="536"/>
                    </a:cubicBezTo>
                    <a:cubicBezTo>
                      <a:pt x="0" y="992"/>
                      <a:pt x="297" y="1380"/>
                      <a:pt x="776" y="1380"/>
                    </a:cubicBezTo>
                    <a:cubicBezTo>
                      <a:pt x="838" y="1392"/>
                      <a:pt x="896" y="1398"/>
                      <a:pt x="951" y="1398"/>
                    </a:cubicBezTo>
                    <a:cubicBezTo>
                      <a:pt x="1322" y="1398"/>
                      <a:pt x="1530" y="1136"/>
                      <a:pt x="1530" y="718"/>
                    </a:cubicBezTo>
                    <a:cubicBezTo>
                      <a:pt x="1455" y="329"/>
                      <a:pt x="1321" y="0"/>
                      <a:pt x="968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8" name="Google Shape;458;p8"/>
              <p:cNvSpPr/>
              <p:nvPr/>
            </p:nvSpPr>
            <p:spPr>
              <a:xfrm>
                <a:off x="5585512" y="5012409"/>
                <a:ext cx="35733" cy="28846"/>
              </a:xfrm>
              <a:custGeom>
                <a:avLst/>
                <a:gdLst/>
                <a:ahLst/>
                <a:cxnLst/>
                <a:rect l="l" t="t" r="r" b="b"/>
                <a:pathLst>
                  <a:path w="1713" h="1383" extrusionOk="0">
                    <a:moveTo>
                      <a:pt x="959" y="0"/>
                    </a:moveTo>
                    <a:cubicBezTo>
                      <a:pt x="663" y="0"/>
                      <a:pt x="297" y="183"/>
                      <a:pt x="297" y="366"/>
                    </a:cubicBezTo>
                    <a:cubicBezTo>
                      <a:pt x="1" y="754"/>
                      <a:pt x="183" y="1233"/>
                      <a:pt x="663" y="1324"/>
                    </a:cubicBezTo>
                    <a:cubicBezTo>
                      <a:pt x="747" y="1364"/>
                      <a:pt x="832" y="1382"/>
                      <a:pt x="914" y="1382"/>
                    </a:cubicBezTo>
                    <a:cubicBezTo>
                      <a:pt x="1210" y="1382"/>
                      <a:pt x="1478" y="1148"/>
                      <a:pt x="1621" y="845"/>
                    </a:cubicBezTo>
                    <a:cubicBezTo>
                      <a:pt x="1713" y="274"/>
                      <a:pt x="1325" y="0"/>
                      <a:pt x="959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9" name="Google Shape;459;p8"/>
              <p:cNvSpPr/>
              <p:nvPr/>
            </p:nvSpPr>
            <p:spPr>
              <a:xfrm>
                <a:off x="5774066" y="5012054"/>
                <a:ext cx="31916" cy="28992"/>
              </a:xfrm>
              <a:custGeom>
                <a:avLst/>
                <a:gdLst/>
                <a:ahLst/>
                <a:cxnLst/>
                <a:rect l="l" t="t" r="r" b="b"/>
                <a:pathLst>
                  <a:path w="1530" h="1390" extrusionOk="0">
                    <a:moveTo>
                      <a:pt x="927" y="0"/>
                    </a:moveTo>
                    <a:cubicBezTo>
                      <a:pt x="872" y="0"/>
                      <a:pt x="814" y="6"/>
                      <a:pt x="754" y="17"/>
                    </a:cubicBezTo>
                    <a:cubicBezTo>
                      <a:pt x="571" y="17"/>
                      <a:pt x="183" y="200"/>
                      <a:pt x="92" y="383"/>
                    </a:cubicBezTo>
                    <a:cubicBezTo>
                      <a:pt x="1" y="771"/>
                      <a:pt x="183" y="1250"/>
                      <a:pt x="662" y="1341"/>
                    </a:cubicBezTo>
                    <a:cubicBezTo>
                      <a:pt x="750" y="1375"/>
                      <a:pt x="831" y="1390"/>
                      <a:pt x="905" y="1390"/>
                    </a:cubicBezTo>
                    <a:cubicBezTo>
                      <a:pt x="1237" y="1390"/>
                      <a:pt x="1437" y="1088"/>
                      <a:pt x="1530" y="771"/>
                    </a:cubicBezTo>
                    <a:cubicBezTo>
                      <a:pt x="1530" y="272"/>
                      <a:pt x="1303" y="0"/>
                      <a:pt x="927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0" name="Google Shape;460;p8"/>
              <p:cNvSpPr/>
              <p:nvPr/>
            </p:nvSpPr>
            <p:spPr>
              <a:xfrm>
                <a:off x="5960721" y="5011241"/>
                <a:ext cx="33334" cy="29159"/>
              </a:xfrm>
              <a:custGeom>
                <a:avLst/>
                <a:gdLst/>
                <a:ahLst/>
                <a:cxnLst/>
                <a:rect l="l" t="t" r="r" b="b"/>
                <a:pathLst>
                  <a:path w="1598" h="1398" extrusionOk="0">
                    <a:moveTo>
                      <a:pt x="1036" y="0"/>
                    </a:moveTo>
                    <a:cubicBezTo>
                      <a:pt x="954" y="0"/>
                      <a:pt x="861" y="18"/>
                      <a:pt x="753" y="56"/>
                    </a:cubicBezTo>
                    <a:cubicBezTo>
                      <a:pt x="571" y="56"/>
                      <a:pt x="274" y="330"/>
                      <a:pt x="183" y="536"/>
                    </a:cubicBezTo>
                    <a:cubicBezTo>
                      <a:pt x="0" y="992"/>
                      <a:pt x="365" y="1380"/>
                      <a:pt x="753" y="1380"/>
                    </a:cubicBezTo>
                    <a:cubicBezTo>
                      <a:pt x="827" y="1392"/>
                      <a:pt x="894" y="1398"/>
                      <a:pt x="955" y="1398"/>
                    </a:cubicBezTo>
                    <a:cubicBezTo>
                      <a:pt x="1369" y="1398"/>
                      <a:pt x="1518" y="1136"/>
                      <a:pt x="1598" y="718"/>
                    </a:cubicBezTo>
                    <a:cubicBezTo>
                      <a:pt x="1524" y="329"/>
                      <a:pt x="1389" y="0"/>
                      <a:pt x="1036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1" name="Google Shape;461;p8"/>
              <p:cNvSpPr/>
              <p:nvPr/>
            </p:nvSpPr>
            <p:spPr>
              <a:xfrm>
                <a:off x="6148795" y="5012054"/>
                <a:ext cx="31916" cy="28992"/>
              </a:xfrm>
              <a:custGeom>
                <a:avLst/>
                <a:gdLst/>
                <a:ahLst/>
                <a:cxnLst/>
                <a:rect l="l" t="t" r="r" b="b"/>
                <a:pathLst>
                  <a:path w="1530" h="1390" extrusionOk="0">
                    <a:moveTo>
                      <a:pt x="948" y="0"/>
                    </a:moveTo>
                    <a:cubicBezTo>
                      <a:pt x="894" y="0"/>
                      <a:pt x="837" y="6"/>
                      <a:pt x="776" y="17"/>
                    </a:cubicBezTo>
                    <a:cubicBezTo>
                      <a:pt x="571" y="17"/>
                      <a:pt x="206" y="200"/>
                      <a:pt x="114" y="383"/>
                    </a:cubicBezTo>
                    <a:cubicBezTo>
                      <a:pt x="0" y="771"/>
                      <a:pt x="206" y="1250"/>
                      <a:pt x="685" y="1341"/>
                    </a:cubicBezTo>
                    <a:cubicBezTo>
                      <a:pt x="768" y="1375"/>
                      <a:pt x="846" y="1390"/>
                      <a:pt x="919" y="1390"/>
                    </a:cubicBezTo>
                    <a:cubicBezTo>
                      <a:pt x="1243" y="1390"/>
                      <a:pt x="1455" y="1088"/>
                      <a:pt x="1529" y="771"/>
                    </a:cubicBezTo>
                    <a:cubicBezTo>
                      <a:pt x="1529" y="272"/>
                      <a:pt x="1320" y="0"/>
                      <a:pt x="948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2" name="Google Shape;462;p8"/>
              <p:cNvSpPr/>
              <p:nvPr/>
            </p:nvSpPr>
            <p:spPr>
              <a:xfrm>
                <a:off x="6335429" y="5011241"/>
                <a:ext cx="33835" cy="29159"/>
              </a:xfrm>
              <a:custGeom>
                <a:avLst/>
                <a:gdLst/>
                <a:ahLst/>
                <a:cxnLst/>
                <a:rect l="l" t="t" r="r" b="b"/>
                <a:pathLst>
                  <a:path w="1622" h="1398" extrusionOk="0">
                    <a:moveTo>
                      <a:pt x="1039" y="0"/>
                    </a:moveTo>
                    <a:cubicBezTo>
                      <a:pt x="956" y="0"/>
                      <a:pt x="861" y="18"/>
                      <a:pt x="754" y="56"/>
                    </a:cubicBezTo>
                    <a:cubicBezTo>
                      <a:pt x="571" y="56"/>
                      <a:pt x="297" y="330"/>
                      <a:pt x="183" y="536"/>
                    </a:cubicBezTo>
                    <a:cubicBezTo>
                      <a:pt x="1" y="992"/>
                      <a:pt x="389" y="1380"/>
                      <a:pt x="868" y="1380"/>
                    </a:cubicBezTo>
                    <a:cubicBezTo>
                      <a:pt x="927" y="1392"/>
                      <a:pt x="981" y="1398"/>
                      <a:pt x="1032" y="1398"/>
                    </a:cubicBezTo>
                    <a:cubicBezTo>
                      <a:pt x="1375" y="1398"/>
                      <a:pt x="1542" y="1136"/>
                      <a:pt x="1621" y="718"/>
                    </a:cubicBezTo>
                    <a:cubicBezTo>
                      <a:pt x="1547" y="329"/>
                      <a:pt x="1398" y="0"/>
                      <a:pt x="1039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3" name="Google Shape;463;p8"/>
              <p:cNvSpPr/>
              <p:nvPr/>
            </p:nvSpPr>
            <p:spPr>
              <a:xfrm>
                <a:off x="6523983" y="5011241"/>
                <a:ext cx="31916" cy="29159"/>
              </a:xfrm>
              <a:custGeom>
                <a:avLst/>
                <a:gdLst/>
                <a:ahLst/>
                <a:cxnLst/>
                <a:rect l="l" t="t" r="r" b="b"/>
                <a:pathLst>
                  <a:path w="1530" h="1398" extrusionOk="0">
                    <a:moveTo>
                      <a:pt x="994" y="0"/>
                    </a:moveTo>
                    <a:cubicBezTo>
                      <a:pt x="923" y="0"/>
                      <a:pt x="844" y="18"/>
                      <a:pt x="754" y="56"/>
                    </a:cubicBezTo>
                    <a:cubicBezTo>
                      <a:pt x="480" y="56"/>
                      <a:pt x="183" y="330"/>
                      <a:pt x="183" y="536"/>
                    </a:cubicBezTo>
                    <a:cubicBezTo>
                      <a:pt x="0" y="992"/>
                      <a:pt x="274" y="1380"/>
                      <a:pt x="754" y="1380"/>
                    </a:cubicBezTo>
                    <a:cubicBezTo>
                      <a:pt x="815" y="1392"/>
                      <a:pt x="874" y="1398"/>
                      <a:pt x="929" y="1398"/>
                    </a:cubicBezTo>
                    <a:cubicBezTo>
                      <a:pt x="1304" y="1398"/>
                      <a:pt x="1530" y="1136"/>
                      <a:pt x="1530" y="718"/>
                    </a:cubicBezTo>
                    <a:cubicBezTo>
                      <a:pt x="1437" y="329"/>
                      <a:pt x="1299" y="0"/>
                      <a:pt x="994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4" name="Google Shape;464;p8"/>
              <p:cNvSpPr/>
              <p:nvPr/>
            </p:nvSpPr>
            <p:spPr>
              <a:xfrm>
                <a:off x="6712536" y="5011012"/>
                <a:ext cx="33814" cy="29034"/>
              </a:xfrm>
              <a:custGeom>
                <a:avLst/>
                <a:gdLst/>
                <a:ahLst/>
                <a:cxnLst/>
                <a:rect l="l" t="t" r="r" b="b"/>
                <a:pathLst>
                  <a:path w="1621" h="1392" extrusionOk="0">
                    <a:moveTo>
                      <a:pt x="819" y="0"/>
                    </a:moveTo>
                    <a:cubicBezTo>
                      <a:pt x="737" y="0"/>
                      <a:pt x="653" y="21"/>
                      <a:pt x="571" y="67"/>
                    </a:cubicBezTo>
                    <a:cubicBezTo>
                      <a:pt x="92" y="159"/>
                      <a:pt x="0" y="638"/>
                      <a:pt x="183" y="1117"/>
                    </a:cubicBezTo>
                    <a:cubicBezTo>
                      <a:pt x="274" y="1300"/>
                      <a:pt x="662" y="1391"/>
                      <a:pt x="845" y="1391"/>
                    </a:cubicBezTo>
                    <a:cubicBezTo>
                      <a:pt x="1324" y="1391"/>
                      <a:pt x="1621" y="1117"/>
                      <a:pt x="1507" y="547"/>
                    </a:cubicBezTo>
                    <a:cubicBezTo>
                      <a:pt x="1365" y="246"/>
                      <a:pt x="1101" y="0"/>
                      <a:pt x="819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5" name="Google Shape;465;p8"/>
              <p:cNvSpPr/>
              <p:nvPr/>
            </p:nvSpPr>
            <p:spPr>
              <a:xfrm>
                <a:off x="6898691" y="5012034"/>
                <a:ext cx="31937" cy="29493"/>
              </a:xfrm>
              <a:custGeom>
                <a:avLst/>
                <a:gdLst/>
                <a:ahLst/>
                <a:cxnLst/>
                <a:rect l="l" t="t" r="r" b="b"/>
                <a:pathLst>
                  <a:path w="1531" h="1414" extrusionOk="0">
                    <a:moveTo>
                      <a:pt x="857" y="1"/>
                    </a:moveTo>
                    <a:cubicBezTo>
                      <a:pt x="802" y="1"/>
                      <a:pt x="745" y="6"/>
                      <a:pt x="686" y="18"/>
                    </a:cubicBezTo>
                    <a:cubicBezTo>
                      <a:pt x="206" y="201"/>
                      <a:pt x="1" y="589"/>
                      <a:pt x="115" y="954"/>
                    </a:cubicBezTo>
                    <a:cubicBezTo>
                      <a:pt x="249" y="1239"/>
                      <a:pt x="543" y="1413"/>
                      <a:pt x="835" y="1413"/>
                    </a:cubicBezTo>
                    <a:cubicBezTo>
                      <a:pt x="940" y="1413"/>
                      <a:pt x="1045" y="1391"/>
                      <a:pt x="1142" y="1342"/>
                    </a:cubicBezTo>
                    <a:cubicBezTo>
                      <a:pt x="1348" y="1160"/>
                      <a:pt x="1530" y="863"/>
                      <a:pt x="1530" y="589"/>
                    </a:cubicBezTo>
                    <a:cubicBezTo>
                      <a:pt x="1451" y="252"/>
                      <a:pt x="1216" y="1"/>
                      <a:pt x="857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6" name="Google Shape;466;p8"/>
              <p:cNvSpPr/>
              <p:nvPr/>
            </p:nvSpPr>
            <p:spPr>
              <a:xfrm>
                <a:off x="7085346" y="5012034"/>
                <a:ext cx="33835" cy="29493"/>
              </a:xfrm>
              <a:custGeom>
                <a:avLst/>
                <a:gdLst/>
                <a:ahLst/>
                <a:cxnLst/>
                <a:rect l="l" t="t" r="r" b="b"/>
                <a:pathLst>
                  <a:path w="1622" h="1414" extrusionOk="0">
                    <a:moveTo>
                      <a:pt x="872" y="1"/>
                    </a:moveTo>
                    <a:cubicBezTo>
                      <a:pt x="807" y="1"/>
                      <a:pt x="737" y="6"/>
                      <a:pt x="662" y="18"/>
                    </a:cubicBezTo>
                    <a:cubicBezTo>
                      <a:pt x="297" y="201"/>
                      <a:pt x="0" y="589"/>
                      <a:pt x="183" y="954"/>
                    </a:cubicBezTo>
                    <a:cubicBezTo>
                      <a:pt x="334" y="1239"/>
                      <a:pt x="633" y="1413"/>
                      <a:pt x="925" y="1413"/>
                    </a:cubicBezTo>
                    <a:cubicBezTo>
                      <a:pt x="1031" y="1413"/>
                      <a:pt x="1136" y="1391"/>
                      <a:pt x="1233" y="1342"/>
                    </a:cubicBezTo>
                    <a:cubicBezTo>
                      <a:pt x="1438" y="1160"/>
                      <a:pt x="1621" y="863"/>
                      <a:pt x="1530" y="589"/>
                    </a:cubicBezTo>
                    <a:cubicBezTo>
                      <a:pt x="1530" y="252"/>
                      <a:pt x="1306" y="1"/>
                      <a:pt x="872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7" name="Google Shape;467;p8"/>
              <p:cNvSpPr/>
              <p:nvPr/>
            </p:nvSpPr>
            <p:spPr>
              <a:xfrm>
                <a:off x="7273900" y="5012054"/>
                <a:ext cx="33585" cy="28992"/>
              </a:xfrm>
              <a:custGeom>
                <a:avLst/>
                <a:gdLst/>
                <a:ahLst/>
                <a:cxnLst/>
                <a:rect l="l" t="t" r="r" b="b"/>
                <a:pathLst>
                  <a:path w="1610" h="1390" extrusionOk="0">
                    <a:moveTo>
                      <a:pt x="1018" y="0"/>
                    </a:moveTo>
                    <a:cubicBezTo>
                      <a:pt x="963" y="0"/>
                      <a:pt x="905" y="6"/>
                      <a:pt x="845" y="17"/>
                    </a:cubicBezTo>
                    <a:cubicBezTo>
                      <a:pt x="571" y="17"/>
                      <a:pt x="183" y="200"/>
                      <a:pt x="183" y="383"/>
                    </a:cubicBezTo>
                    <a:cubicBezTo>
                      <a:pt x="0" y="771"/>
                      <a:pt x="183" y="1250"/>
                      <a:pt x="662" y="1341"/>
                    </a:cubicBezTo>
                    <a:cubicBezTo>
                      <a:pt x="750" y="1375"/>
                      <a:pt x="830" y="1390"/>
                      <a:pt x="905" y="1390"/>
                    </a:cubicBezTo>
                    <a:cubicBezTo>
                      <a:pt x="1236" y="1390"/>
                      <a:pt x="1436" y="1088"/>
                      <a:pt x="1530" y="771"/>
                    </a:cubicBezTo>
                    <a:cubicBezTo>
                      <a:pt x="1609" y="272"/>
                      <a:pt x="1393" y="0"/>
                      <a:pt x="1018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8" name="Google Shape;468;p8"/>
              <p:cNvSpPr/>
              <p:nvPr/>
            </p:nvSpPr>
            <p:spPr>
              <a:xfrm>
                <a:off x="7462453" y="5011241"/>
                <a:ext cx="31436" cy="29159"/>
              </a:xfrm>
              <a:custGeom>
                <a:avLst/>
                <a:gdLst/>
                <a:ahLst/>
                <a:cxnLst/>
                <a:rect l="l" t="t" r="r" b="b"/>
                <a:pathLst>
                  <a:path w="1507" h="1398" extrusionOk="0">
                    <a:moveTo>
                      <a:pt x="945" y="0"/>
                    </a:moveTo>
                    <a:cubicBezTo>
                      <a:pt x="863" y="0"/>
                      <a:pt x="769" y="18"/>
                      <a:pt x="662" y="56"/>
                    </a:cubicBezTo>
                    <a:cubicBezTo>
                      <a:pt x="479" y="56"/>
                      <a:pt x="183" y="330"/>
                      <a:pt x="91" y="536"/>
                    </a:cubicBezTo>
                    <a:cubicBezTo>
                      <a:pt x="0" y="992"/>
                      <a:pt x="274" y="1380"/>
                      <a:pt x="753" y="1380"/>
                    </a:cubicBezTo>
                    <a:cubicBezTo>
                      <a:pt x="815" y="1392"/>
                      <a:pt x="873" y="1398"/>
                      <a:pt x="928" y="1398"/>
                    </a:cubicBezTo>
                    <a:cubicBezTo>
                      <a:pt x="1299" y="1398"/>
                      <a:pt x="1507" y="1136"/>
                      <a:pt x="1507" y="718"/>
                    </a:cubicBezTo>
                    <a:cubicBezTo>
                      <a:pt x="1432" y="329"/>
                      <a:pt x="1298" y="0"/>
                      <a:pt x="945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9" name="Google Shape;469;p8"/>
              <p:cNvSpPr/>
              <p:nvPr/>
            </p:nvSpPr>
            <p:spPr>
              <a:xfrm>
                <a:off x="7648608" y="5011012"/>
                <a:ext cx="33835" cy="29034"/>
              </a:xfrm>
              <a:custGeom>
                <a:avLst/>
                <a:gdLst/>
                <a:ahLst/>
                <a:cxnLst/>
                <a:rect l="l" t="t" r="r" b="b"/>
                <a:pathLst>
                  <a:path w="1622" h="1392" extrusionOk="0">
                    <a:moveTo>
                      <a:pt x="880" y="0"/>
                    </a:moveTo>
                    <a:cubicBezTo>
                      <a:pt x="783" y="0"/>
                      <a:pt x="679" y="21"/>
                      <a:pt x="571" y="67"/>
                    </a:cubicBezTo>
                    <a:cubicBezTo>
                      <a:pt x="206" y="159"/>
                      <a:pt x="1" y="638"/>
                      <a:pt x="298" y="1117"/>
                    </a:cubicBezTo>
                    <a:cubicBezTo>
                      <a:pt x="389" y="1300"/>
                      <a:pt x="686" y="1391"/>
                      <a:pt x="959" y="1391"/>
                    </a:cubicBezTo>
                    <a:cubicBezTo>
                      <a:pt x="1347" y="1391"/>
                      <a:pt x="1621" y="1117"/>
                      <a:pt x="1621" y="547"/>
                    </a:cubicBezTo>
                    <a:cubicBezTo>
                      <a:pt x="1480" y="246"/>
                      <a:pt x="1215" y="0"/>
                      <a:pt x="880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70" name="Google Shape;470;p8"/>
            <p:cNvGrpSpPr/>
            <p:nvPr/>
          </p:nvGrpSpPr>
          <p:grpSpPr>
            <a:xfrm>
              <a:off x="3325236" y="4670938"/>
              <a:ext cx="2749703" cy="122913"/>
              <a:chOff x="5024149" y="4918613"/>
              <a:chExt cx="2749703" cy="122913"/>
            </a:xfrm>
          </p:grpSpPr>
          <p:sp>
            <p:nvSpPr>
              <p:cNvPr id="471" name="Google Shape;471;p8"/>
              <p:cNvSpPr/>
              <p:nvPr/>
            </p:nvSpPr>
            <p:spPr>
              <a:xfrm>
                <a:off x="5121294" y="4919510"/>
                <a:ext cx="27619" cy="26802"/>
              </a:xfrm>
              <a:custGeom>
                <a:avLst/>
                <a:gdLst/>
                <a:ahLst/>
                <a:cxnLst/>
                <a:rect l="l" t="t" r="r" b="b"/>
                <a:pathLst>
                  <a:path w="1324" h="1285" extrusionOk="0">
                    <a:moveTo>
                      <a:pt x="690" y="1"/>
                    </a:moveTo>
                    <a:cubicBezTo>
                      <a:pt x="379" y="1"/>
                      <a:pt x="134" y="175"/>
                      <a:pt x="0" y="460"/>
                    </a:cubicBezTo>
                    <a:cubicBezTo>
                      <a:pt x="0" y="643"/>
                      <a:pt x="183" y="1031"/>
                      <a:pt x="297" y="1213"/>
                    </a:cubicBezTo>
                    <a:cubicBezTo>
                      <a:pt x="418" y="1262"/>
                      <a:pt x="528" y="1284"/>
                      <a:pt x="629" y="1284"/>
                    </a:cubicBezTo>
                    <a:cubicBezTo>
                      <a:pt x="909" y="1284"/>
                      <a:pt x="1123" y="1110"/>
                      <a:pt x="1324" y="825"/>
                    </a:cubicBezTo>
                    <a:cubicBezTo>
                      <a:pt x="1233" y="551"/>
                      <a:pt x="1141" y="163"/>
                      <a:pt x="1050" y="72"/>
                    </a:cubicBezTo>
                    <a:cubicBezTo>
                      <a:pt x="923" y="24"/>
                      <a:pt x="802" y="1"/>
                      <a:pt x="690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2" name="Google Shape;472;p8"/>
              <p:cNvSpPr/>
              <p:nvPr/>
            </p:nvSpPr>
            <p:spPr>
              <a:xfrm>
                <a:off x="5307928" y="4919510"/>
                <a:ext cx="27639" cy="26802"/>
              </a:xfrm>
              <a:custGeom>
                <a:avLst/>
                <a:gdLst/>
                <a:ahLst/>
                <a:cxnLst/>
                <a:rect l="l" t="t" r="r" b="b"/>
                <a:pathLst>
                  <a:path w="1325" h="1285" extrusionOk="0">
                    <a:moveTo>
                      <a:pt x="731" y="1"/>
                    </a:moveTo>
                    <a:cubicBezTo>
                      <a:pt x="435" y="1"/>
                      <a:pt x="159" y="175"/>
                      <a:pt x="92" y="460"/>
                    </a:cubicBezTo>
                    <a:cubicBezTo>
                      <a:pt x="1" y="643"/>
                      <a:pt x="183" y="1031"/>
                      <a:pt x="366" y="1213"/>
                    </a:cubicBezTo>
                    <a:cubicBezTo>
                      <a:pt x="469" y="1262"/>
                      <a:pt x="572" y="1284"/>
                      <a:pt x="671" y="1284"/>
                    </a:cubicBezTo>
                    <a:cubicBezTo>
                      <a:pt x="945" y="1284"/>
                      <a:pt x="1190" y="1110"/>
                      <a:pt x="1324" y="825"/>
                    </a:cubicBezTo>
                    <a:cubicBezTo>
                      <a:pt x="1233" y="551"/>
                      <a:pt x="1233" y="163"/>
                      <a:pt x="1051" y="72"/>
                    </a:cubicBezTo>
                    <a:cubicBezTo>
                      <a:pt x="948" y="24"/>
                      <a:pt x="838" y="1"/>
                      <a:pt x="731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3" name="Google Shape;473;p8"/>
              <p:cNvSpPr/>
              <p:nvPr/>
            </p:nvSpPr>
            <p:spPr>
              <a:xfrm>
                <a:off x="5496482" y="4919823"/>
                <a:ext cx="25720" cy="27365"/>
              </a:xfrm>
              <a:custGeom>
                <a:avLst/>
                <a:gdLst/>
                <a:ahLst/>
                <a:cxnLst/>
                <a:rect l="l" t="t" r="r" b="b"/>
                <a:pathLst>
                  <a:path w="1233" h="1312" extrusionOk="0">
                    <a:moveTo>
                      <a:pt x="656" y="0"/>
                    </a:moveTo>
                    <a:cubicBezTo>
                      <a:pt x="565" y="0"/>
                      <a:pt x="467" y="18"/>
                      <a:pt x="366" y="57"/>
                    </a:cubicBezTo>
                    <a:cubicBezTo>
                      <a:pt x="183" y="57"/>
                      <a:pt x="92" y="445"/>
                      <a:pt x="0" y="628"/>
                    </a:cubicBezTo>
                    <a:cubicBezTo>
                      <a:pt x="77" y="1106"/>
                      <a:pt x="346" y="1312"/>
                      <a:pt x="660" y="1312"/>
                    </a:cubicBezTo>
                    <a:cubicBezTo>
                      <a:pt x="720" y="1312"/>
                      <a:pt x="782" y="1304"/>
                      <a:pt x="845" y="1290"/>
                    </a:cubicBezTo>
                    <a:cubicBezTo>
                      <a:pt x="1028" y="1198"/>
                      <a:pt x="1233" y="810"/>
                      <a:pt x="1233" y="628"/>
                    </a:cubicBezTo>
                    <a:cubicBezTo>
                      <a:pt x="1233" y="250"/>
                      <a:pt x="992" y="0"/>
                      <a:pt x="656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4" name="Google Shape;474;p8"/>
              <p:cNvSpPr/>
              <p:nvPr/>
            </p:nvSpPr>
            <p:spPr>
              <a:xfrm>
                <a:off x="5680738" y="4920490"/>
                <a:ext cx="33835" cy="26239"/>
              </a:xfrm>
              <a:custGeom>
                <a:avLst/>
                <a:gdLst/>
                <a:ahLst/>
                <a:cxnLst/>
                <a:rect l="l" t="t" r="r" b="b"/>
                <a:pathLst>
                  <a:path w="1622" h="1258" extrusionOk="0">
                    <a:moveTo>
                      <a:pt x="743" y="1"/>
                    </a:moveTo>
                    <a:cubicBezTo>
                      <a:pt x="538" y="1"/>
                      <a:pt x="277" y="154"/>
                      <a:pt x="183" y="322"/>
                    </a:cubicBezTo>
                    <a:cubicBezTo>
                      <a:pt x="1" y="778"/>
                      <a:pt x="298" y="1166"/>
                      <a:pt x="754" y="1258"/>
                    </a:cubicBezTo>
                    <a:cubicBezTo>
                      <a:pt x="959" y="1166"/>
                      <a:pt x="1325" y="1075"/>
                      <a:pt x="1439" y="892"/>
                    </a:cubicBezTo>
                    <a:cubicBezTo>
                      <a:pt x="1621" y="413"/>
                      <a:pt x="1325" y="25"/>
                      <a:pt x="868" y="25"/>
                    </a:cubicBezTo>
                    <a:cubicBezTo>
                      <a:pt x="831" y="8"/>
                      <a:pt x="788" y="1"/>
                      <a:pt x="743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5" name="Google Shape;475;p8"/>
              <p:cNvSpPr/>
              <p:nvPr/>
            </p:nvSpPr>
            <p:spPr>
              <a:xfrm>
                <a:off x="5871190" y="4919823"/>
                <a:ext cx="27639" cy="27365"/>
              </a:xfrm>
              <a:custGeom>
                <a:avLst/>
                <a:gdLst/>
                <a:ahLst/>
                <a:cxnLst/>
                <a:rect l="l" t="t" r="r" b="b"/>
                <a:pathLst>
                  <a:path w="1325" h="1312" extrusionOk="0">
                    <a:moveTo>
                      <a:pt x="677" y="0"/>
                    </a:moveTo>
                    <a:cubicBezTo>
                      <a:pt x="587" y="0"/>
                      <a:pt x="491" y="18"/>
                      <a:pt x="389" y="57"/>
                    </a:cubicBezTo>
                    <a:cubicBezTo>
                      <a:pt x="184" y="57"/>
                      <a:pt x="92" y="445"/>
                      <a:pt x="1" y="628"/>
                    </a:cubicBezTo>
                    <a:cubicBezTo>
                      <a:pt x="77" y="1106"/>
                      <a:pt x="363" y="1312"/>
                      <a:pt x="682" y="1312"/>
                    </a:cubicBezTo>
                    <a:cubicBezTo>
                      <a:pt x="743" y="1312"/>
                      <a:pt x="806" y="1304"/>
                      <a:pt x="868" y="1290"/>
                    </a:cubicBezTo>
                    <a:cubicBezTo>
                      <a:pt x="1051" y="1198"/>
                      <a:pt x="1325" y="810"/>
                      <a:pt x="1233" y="628"/>
                    </a:cubicBezTo>
                    <a:cubicBezTo>
                      <a:pt x="1233" y="250"/>
                      <a:pt x="1007" y="0"/>
                      <a:pt x="677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6" name="Google Shape;476;p8"/>
              <p:cNvSpPr/>
              <p:nvPr/>
            </p:nvSpPr>
            <p:spPr>
              <a:xfrm>
                <a:off x="6055947" y="4920490"/>
                <a:ext cx="33334" cy="26239"/>
              </a:xfrm>
              <a:custGeom>
                <a:avLst/>
                <a:gdLst/>
                <a:ahLst/>
                <a:cxnLst/>
                <a:rect l="l" t="t" r="r" b="b"/>
                <a:pathLst>
                  <a:path w="1598" h="1258" extrusionOk="0">
                    <a:moveTo>
                      <a:pt x="728" y="1"/>
                    </a:moveTo>
                    <a:cubicBezTo>
                      <a:pt x="531" y="1"/>
                      <a:pt x="257" y="154"/>
                      <a:pt x="183" y="322"/>
                    </a:cubicBezTo>
                    <a:cubicBezTo>
                      <a:pt x="0" y="778"/>
                      <a:pt x="274" y="1166"/>
                      <a:pt x="753" y="1258"/>
                    </a:cubicBezTo>
                    <a:cubicBezTo>
                      <a:pt x="936" y="1166"/>
                      <a:pt x="1324" y="1075"/>
                      <a:pt x="1415" y="892"/>
                    </a:cubicBezTo>
                    <a:cubicBezTo>
                      <a:pt x="1598" y="413"/>
                      <a:pt x="1324" y="25"/>
                      <a:pt x="845" y="25"/>
                    </a:cubicBezTo>
                    <a:cubicBezTo>
                      <a:pt x="811" y="8"/>
                      <a:pt x="771" y="1"/>
                      <a:pt x="728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7" name="Google Shape;477;p8"/>
              <p:cNvSpPr/>
              <p:nvPr/>
            </p:nvSpPr>
            <p:spPr>
              <a:xfrm>
                <a:off x="6244021" y="4919093"/>
                <a:ext cx="31916" cy="27636"/>
              </a:xfrm>
              <a:custGeom>
                <a:avLst/>
                <a:gdLst/>
                <a:ahLst/>
                <a:cxnLst/>
                <a:rect l="l" t="t" r="r" b="b"/>
                <a:pathLst>
                  <a:path w="1530" h="1325" extrusionOk="0">
                    <a:moveTo>
                      <a:pt x="571" y="1"/>
                    </a:moveTo>
                    <a:cubicBezTo>
                      <a:pt x="206" y="183"/>
                      <a:pt x="0" y="571"/>
                      <a:pt x="206" y="959"/>
                    </a:cubicBezTo>
                    <a:cubicBezTo>
                      <a:pt x="297" y="1142"/>
                      <a:pt x="685" y="1325"/>
                      <a:pt x="867" y="1325"/>
                    </a:cubicBezTo>
                    <a:cubicBezTo>
                      <a:pt x="1347" y="1142"/>
                      <a:pt x="1529" y="754"/>
                      <a:pt x="1256" y="389"/>
                    </a:cubicBezTo>
                    <a:cubicBezTo>
                      <a:pt x="1141" y="183"/>
                      <a:pt x="867" y="92"/>
                      <a:pt x="571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8" name="Google Shape;478;p8"/>
              <p:cNvSpPr/>
              <p:nvPr/>
            </p:nvSpPr>
            <p:spPr>
              <a:xfrm>
                <a:off x="6434473" y="4919823"/>
                <a:ext cx="26200" cy="27365"/>
              </a:xfrm>
              <a:custGeom>
                <a:avLst/>
                <a:gdLst/>
                <a:ahLst/>
                <a:cxnLst/>
                <a:rect l="l" t="t" r="r" b="b"/>
                <a:pathLst>
                  <a:path w="1256" h="1312" extrusionOk="0">
                    <a:moveTo>
                      <a:pt x="679" y="0"/>
                    </a:moveTo>
                    <a:cubicBezTo>
                      <a:pt x="588" y="0"/>
                      <a:pt x="490" y="18"/>
                      <a:pt x="388" y="57"/>
                    </a:cubicBezTo>
                    <a:cubicBezTo>
                      <a:pt x="206" y="57"/>
                      <a:pt x="114" y="445"/>
                      <a:pt x="0" y="628"/>
                    </a:cubicBezTo>
                    <a:cubicBezTo>
                      <a:pt x="0" y="1106"/>
                      <a:pt x="273" y="1312"/>
                      <a:pt x="644" y="1312"/>
                    </a:cubicBezTo>
                    <a:cubicBezTo>
                      <a:pt x="715" y="1312"/>
                      <a:pt x="790" y="1304"/>
                      <a:pt x="868" y="1290"/>
                    </a:cubicBezTo>
                    <a:cubicBezTo>
                      <a:pt x="1050" y="1198"/>
                      <a:pt x="1256" y="810"/>
                      <a:pt x="1256" y="628"/>
                    </a:cubicBezTo>
                    <a:cubicBezTo>
                      <a:pt x="1256" y="250"/>
                      <a:pt x="1015" y="0"/>
                      <a:pt x="679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9" name="Google Shape;479;p8"/>
              <p:cNvSpPr/>
              <p:nvPr/>
            </p:nvSpPr>
            <p:spPr>
              <a:xfrm>
                <a:off x="6621107" y="4919176"/>
                <a:ext cx="27640" cy="26406"/>
              </a:xfrm>
              <a:custGeom>
                <a:avLst/>
                <a:gdLst/>
                <a:ahLst/>
                <a:cxnLst/>
                <a:rect l="l" t="t" r="r" b="b"/>
                <a:pathLst>
                  <a:path w="1325" h="1266" extrusionOk="0">
                    <a:moveTo>
                      <a:pt x="702" y="1"/>
                    </a:moveTo>
                    <a:cubicBezTo>
                      <a:pt x="577" y="1"/>
                      <a:pt x="440" y="31"/>
                      <a:pt x="298" y="88"/>
                    </a:cubicBezTo>
                    <a:cubicBezTo>
                      <a:pt x="183" y="179"/>
                      <a:pt x="1" y="567"/>
                      <a:pt x="1" y="750"/>
                    </a:cubicBezTo>
                    <a:cubicBezTo>
                      <a:pt x="125" y="1077"/>
                      <a:pt x="346" y="1266"/>
                      <a:pt x="596" y="1266"/>
                    </a:cubicBezTo>
                    <a:cubicBezTo>
                      <a:pt x="713" y="1266"/>
                      <a:pt x="836" y="1225"/>
                      <a:pt x="959" y="1138"/>
                    </a:cubicBezTo>
                    <a:cubicBezTo>
                      <a:pt x="1142" y="1047"/>
                      <a:pt x="1233" y="659"/>
                      <a:pt x="1325" y="476"/>
                    </a:cubicBezTo>
                    <a:cubicBezTo>
                      <a:pt x="1199" y="147"/>
                      <a:pt x="977" y="1"/>
                      <a:pt x="702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0" name="Google Shape;480;p8"/>
              <p:cNvSpPr/>
              <p:nvPr/>
            </p:nvSpPr>
            <p:spPr>
              <a:xfrm>
                <a:off x="6807762" y="4919176"/>
                <a:ext cx="27640" cy="26406"/>
              </a:xfrm>
              <a:custGeom>
                <a:avLst/>
                <a:gdLst/>
                <a:ahLst/>
                <a:cxnLst/>
                <a:rect l="l" t="t" r="r" b="b"/>
                <a:pathLst>
                  <a:path w="1325" h="1266" extrusionOk="0">
                    <a:moveTo>
                      <a:pt x="723" y="1"/>
                    </a:moveTo>
                    <a:cubicBezTo>
                      <a:pt x="608" y="1"/>
                      <a:pt x="487" y="31"/>
                      <a:pt x="366" y="88"/>
                    </a:cubicBezTo>
                    <a:cubicBezTo>
                      <a:pt x="183" y="179"/>
                      <a:pt x="0" y="567"/>
                      <a:pt x="92" y="750"/>
                    </a:cubicBezTo>
                    <a:cubicBezTo>
                      <a:pt x="154" y="1077"/>
                      <a:pt x="397" y="1266"/>
                      <a:pt x="668" y="1266"/>
                    </a:cubicBezTo>
                    <a:cubicBezTo>
                      <a:pt x="795" y="1266"/>
                      <a:pt x="927" y="1225"/>
                      <a:pt x="1050" y="1138"/>
                    </a:cubicBezTo>
                    <a:cubicBezTo>
                      <a:pt x="1233" y="1047"/>
                      <a:pt x="1233" y="659"/>
                      <a:pt x="1324" y="476"/>
                    </a:cubicBezTo>
                    <a:cubicBezTo>
                      <a:pt x="1199" y="147"/>
                      <a:pt x="976" y="1"/>
                      <a:pt x="723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1" name="Google Shape;481;p8"/>
              <p:cNvSpPr/>
              <p:nvPr/>
            </p:nvSpPr>
            <p:spPr>
              <a:xfrm>
                <a:off x="6998214" y="4918613"/>
                <a:ext cx="25720" cy="27407"/>
              </a:xfrm>
              <a:custGeom>
                <a:avLst/>
                <a:gdLst/>
                <a:ahLst/>
                <a:cxnLst/>
                <a:rect l="l" t="t" r="r" b="b"/>
                <a:pathLst>
                  <a:path w="1233" h="1314" extrusionOk="0">
                    <a:moveTo>
                      <a:pt x="617" y="1"/>
                    </a:moveTo>
                    <a:cubicBezTo>
                      <a:pt x="255" y="1"/>
                      <a:pt x="0" y="194"/>
                      <a:pt x="0" y="594"/>
                    </a:cubicBezTo>
                    <a:cubicBezTo>
                      <a:pt x="0" y="777"/>
                      <a:pt x="183" y="1256"/>
                      <a:pt x="366" y="1256"/>
                    </a:cubicBezTo>
                    <a:cubicBezTo>
                      <a:pt x="448" y="1295"/>
                      <a:pt x="530" y="1313"/>
                      <a:pt x="610" y="1313"/>
                    </a:cubicBezTo>
                    <a:cubicBezTo>
                      <a:pt x="905" y="1313"/>
                      <a:pt x="1161" y="1063"/>
                      <a:pt x="1233" y="686"/>
                    </a:cubicBezTo>
                    <a:cubicBezTo>
                      <a:pt x="1142" y="503"/>
                      <a:pt x="1050" y="115"/>
                      <a:pt x="845" y="24"/>
                    </a:cubicBezTo>
                    <a:cubicBezTo>
                      <a:pt x="766" y="9"/>
                      <a:pt x="689" y="1"/>
                      <a:pt x="617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2" name="Google Shape;482;p8"/>
              <p:cNvSpPr/>
              <p:nvPr/>
            </p:nvSpPr>
            <p:spPr>
              <a:xfrm>
                <a:off x="7182470" y="4920490"/>
                <a:ext cx="31937" cy="26239"/>
              </a:xfrm>
              <a:custGeom>
                <a:avLst/>
                <a:gdLst/>
                <a:ahLst/>
                <a:cxnLst/>
                <a:rect l="l" t="t" r="r" b="b"/>
                <a:pathLst>
                  <a:path w="1531" h="1258" extrusionOk="0">
                    <a:moveTo>
                      <a:pt x="651" y="1"/>
                    </a:moveTo>
                    <a:cubicBezTo>
                      <a:pt x="447" y="1"/>
                      <a:pt x="185" y="154"/>
                      <a:pt x="92" y="322"/>
                    </a:cubicBezTo>
                    <a:cubicBezTo>
                      <a:pt x="1" y="778"/>
                      <a:pt x="206" y="1166"/>
                      <a:pt x="663" y="1258"/>
                    </a:cubicBezTo>
                    <a:cubicBezTo>
                      <a:pt x="959" y="1166"/>
                      <a:pt x="1348" y="1075"/>
                      <a:pt x="1348" y="892"/>
                    </a:cubicBezTo>
                    <a:cubicBezTo>
                      <a:pt x="1530" y="413"/>
                      <a:pt x="1233" y="25"/>
                      <a:pt x="777" y="25"/>
                    </a:cubicBezTo>
                    <a:cubicBezTo>
                      <a:pt x="740" y="8"/>
                      <a:pt x="697" y="1"/>
                      <a:pt x="651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3" name="Google Shape;483;p8"/>
              <p:cNvSpPr/>
              <p:nvPr/>
            </p:nvSpPr>
            <p:spPr>
              <a:xfrm>
                <a:off x="7372922" y="4918613"/>
                <a:ext cx="25741" cy="27407"/>
              </a:xfrm>
              <a:custGeom>
                <a:avLst/>
                <a:gdLst/>
                <a:ahLst/>
                <a:cxnLst/>
                <a:rect l="l" t="t" r="r" b="b"/>
                <a:pathLst>
                  <a:path w="1234" h="1314" extrusionOk="0">
                    <a:moveTo>
                      <a:pt x="671" y="1"/>
                    </a:moveTo>
                    <a:cubicBezTo>
                      <a:pt x="335" y="1"/>
                      <a:pt x="1" y="194"/>
                      <a:pt x="1" y="594"/>
                    </a:cubicBezTo>
                    <a:cubicBezTo>
                      <a:pt x="1" y="777"/>
                      <a:pt x="206" y="1256"/>
                      <a:pt x="389" y="1256"/>
                    </a:cubicBezTo>
                    <a:cubicBezTo>
                      <a:pt x="471" y="1295"/>
                      <a:pt x="553" y="1313"/>
                      <a:pt x="631" y="1313"/>
                    </a:cubicBezTo>
                    <a:cubicBezTo>
                      <a:pt x="920" y="1313"/>
                      <a:pt x="1162" y="1063"/>
                      <a:pt x="1234" y="686"/>
                    </a:cubicBezTo>
                    <a:cubicBezTo>
                      <a:pt x="1142" y="503"/>
                      <a:pt x="1051" y="115"/>
                      <a:pt x="868" y="24"/>
                    </a:cubicBezTo>
                    <a:cubicBezTo>
                      <a:pt x="804" y="9"/>
                      <a:pt x="737" y="1"/>
                      <a:pt x="671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4" name="Google Shape;484;p8"/>
              <p:cNvSpPr/>
              <p:nvPr/>
            </p:nvSpPr>
            <p:spPr>
              <a:xfrm>
                <a:off x="7559578" y="4918613"/>
                <a:ext cx="27640" cy="27407"/>
              </a:xfrm>
              <a:custGeom>
                <a:avLst/>
                <a:gdLst/>
                <a:ahLst/>
                <a:cxnLst/>
                <a:rect l="l" t="t" r="r" b="b"/>
                <a:pathLst>
                  <a:path w="1325" h="1314" extrusionOk="0">
                    <a:moveTo>
                      <a:pt x="730" y="1"/>
                    </a:moveTo>
                    <a:cubicBezTo>
                      <a:pt x="359" y="1"/>
                      <a:pt x="77" y="194"/>
                      <a:pt x="0" y="594"/>
                    </a:cubicBezTo>
                    <a:cubicBezTo>
                      <a:pt x="0" y="777"/>
                      <a:pt x="183" y="1256"/>
                      <a:pt x="388" y="1256"/>
                    </a:cubicBezTo>
                    <a:cubicBezTo>
                      <a:pt x="485" y="1295"/>
                      <a:pt x="575" y="1313"/>
                      <a:pt x="658" y="1313"/>
                    </a:cubicBezTo>
                    <a:cubicBezTo>
                      <a:pt x="966" y="1313"/>
                      <a:pt x="1181" y="1063"/>
                      <a:pt x="1324" y="686"/>
                    </a:cubicBezTo>
                    <a:cubicBezTo>
                      <a:pt x="1233" y="503"/>
                      <a:pt x="1142" y="115"/>
                      <a:pt x="959" y="24"/>
                    </a:cubicBezTo>
                    <a:cubicBezTo>
                      <a:pt x="880" y="9"/>
                      <a:pt x="803" y="1"/>
                      <a:pt x="730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5" name="Google Shape;485;p8"/>
              <p:cNvSpPr/>
              <p:nvPr/>
            </p:nvSpPr>
            <p:spPr>
              <a:xfrm>
                <a:off x="7748131" y="4918634"/>
                <a:ext cx="25720" cy="27386"/>
              </a:xfrm>
              <a:custGeom>
                <a:avLst/>
                <a:gdLst/>
                <a:ahLst/>
                <a:cxnLst/>
                <a:rect l="l" t="t" r="r" b="b"/>
                <a:pathLst>
                  <a:path w="1233" h="1313" extrusionOk="0">
                    <a:moveTo>
                      <a:pt x="552" y="0"/>
                    </a:moveTo>
                    <a:cubicBezTo>
                      <a:pt x="491" y="0"/>
                      <a:pt x="428" y="8"/>
                      <a:pt x="365" y="23"/>
                    </a:cubicBezTo>
                    <a:cubicBezTo>
                      <a:pt x="183" y="114"/>
                      <a:pt x="0" y="502"/>
                      <a:pt x="0" y="685"/>
                    </a:cubicBezTo>
                    <a:cubicBezTo>
                      <a:pt x="0" y="1062"/>
                      <a:pt x="227" y="1312"/>
                      <a:pt x="557" y="1312"/>
                    </a:cubicBezTo>
                    <a:cubicBezTo>
                      <a:pt x="646" y="1312"/>
                      <a:pt x="743" y="1294"/>
                      <a:pt x="845" y="1255"/>
                    </a:cubicBezTo>
                    <a:cubicBezTo>
                      <a:pt x="1050" y="1255"/>
                      <a:pt x="1142" y="867"/>
                      <a:pt x="1233" y="685"/>
                    </a:cubicBezTo>
                    <a:cubicBezTo>
                      <a:pt x="1156" y="206"/>
                      <a:pt x="871" y="0"/>
                      <a:pt x="552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6" name="Google Shape;486;p8"/>
              <p:cNvSpPr/>
              <p:nvPr/>
            </p:nvSpPr>
            <p:spPr>
              <a:xfrm>
                <a:off x="5024149" y="5012054"/>
                <a:ext cx="31916" cy="28992"/>
              </a:xfrm>
              <a:custGeom>
                <a:avLst/>
                <a:gdLst/>
                <a:ahLst/>
                <a:cxnLst/>
                <a:rect l="l" t="t" r="r" b="b"/>
                <a:pathLst>
                  <a:path w="1530" h="1390" extrusionOk="0">
                    <a:moveTo>
                      <a:pt x="927" y="0"/>
                    </a:moveTo>
                    <a:cubicBezTo>
                      <a:pt x="872" y="0"/>
                      <a:pt x="815" y="6"/>
                      <a:pt x="754" y="17"/>
                    </a:cubicBezTo>
                    <a:cubicBezTo>
                      <a:pt x="571" y="17"/>
                      <a:pt x="183" y="200"/>
                      <a:pt x="92" y="383"/>
                    </a:cubicBezTo>
                    <a:cubicBezTo>
                      <a:pt x="1" y="771"/>
                      <a:pt x="183" y="1250"/>
                      <a:pt x="571" y="1341"/>
                    </a:cubicBezTo>
                    <a:cubicBezTo>
                      <a:pt x="676" y="1375"/>
                      <a:pt x="767" y="1390"/>
                      <a:pt x="848" y="1390"/>
                    </a:cubicBezTo>
                    <a:cubicBezTo>
                      <a:pt x="1209" y="1390"/>
                      <a:pt x="1362" y="1088"/>
                      <a:pt x="1530" y="771"/>
                    </a:cubicBezTo>
                    <a:cubicBezTo>
                      <a:pt x="1530" y="272"/>
                      <a:pt x="1304" y="0"/>
                      <a:pt x="927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7" name="Google Shape;487;p8"/>
              <p:cNvSpPr/>
              <p:nvPr/>
            </p:nvSpPr>
            <p:spPr>
              <a:xfrm>
                <a:off x="5212953" y="5012034"/>
                <a:ext cx="33585" cy="29451"/>
              </a:xfrm>
              <a:custGeom>
                <a:avLst/>
                <a:gdLst/>
                <a:ahLst/>
                <a:cxnLst/>
                <a:rect l="l" t="t" r="r" b="b"/>
                <a:pathLst>
                  <a:path w="1610" h="1412" extrusionOk="0">
                    <a:moveTo>
                      <a:pt x="628" y="1"/>
                    </a:moveTo>
                    <a:cubicBezTo>
                      <a:pt x="198" y="1"/>
                      <a:pt x="0" y="263"/>
                      <a:pt x="80" y="680"/>
                    </a:cubicBezTo>
                    <a:cubicBezTo>
                      <a:pt x="80" y="954"/>
                      <a:pt x="262" y="1342"/>
                      <a:pt x="468" y="1342"/>
                    </a:cubicBezTo>
                    <a:cubicBezTo>
                      <a:pt x="561" y="1389"/>
                      <a:pt x="662" y="1412"/>
                      <a:pt x="763" y="1412"/>
                    </a:cubicBezTo>
                    <a:cubicBezTo>
                      <a:pt x="1053" y="1412"/>
                      <a:pt x="1336" y="1219"/>
                      <a:pt x="1404" y="863"/>
                    </a:cubicBezTo>
                    <a:cubicBezTo>
                      <a:pt x="1609" y="384"/>
                      <a:pt x="1221" y="110"/>
                      <a:pt x="833" y="18"/>
                    </a:cubicBezTo>
                    <a:cubicBezTo>
                      <a:pt x="760" y="7"/>
                      <a:pt x="691" y="1"/>
                      <a:pt x="628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8" name="Google Shape;488;p8"/>
              <p:cNvSpPr/>
              <p:nvPr/>
            </p:nvSpPr>
            <p:spPr>
              <a:xfrm>
                <a:off x="5398878" y="5011241"/>
                <a:ext cx="31916" cy="29159"/>
              </a:xfrm>
              <a:custGeom>
                <a:avLst/>
                <a:gdLst/>
                <a:ahLst/>
                <a:cxnLst/>
                <a:rect l="l" t="t" r="r" b="b"/>
                <a:pathLst>
                  <a:path w="1530" h="1398" extrusionOk="0">
                    <a:moveTo>
                      <a:pt x="968" y="0"/>
                    </a:moveTo>
                    <a:cubicBezTo>
                      <a:pt x="886" y="0"/>
                      <a:pt x="792" y="18"/>
                      <a:pt x="685" y="56"/>
                    </a:cubicBezTo>
                    <a:cubicBezTo>
                      <a:pt x="480" y="56"/>
                      <a:pt x="206" y="330"/>
                      <a:pt x="114" y="536"/>
                    </a:cubicBezTo>
                    <a:cubicBezTo>
                      <a:pt x="0" y="992"/>
                      <a:pt x="297" y="1380"/>
                      <a:pt x="776" y="1380"/>
                    </a:cubicBezTo>
                    <a:cubicBezTo>
                      <a:pt x="838" y="1392"/>
                      <a:pt x="896" y="1398"/>
                      <a:pt x="951" y="1398"/>
                    </a:cubicBezTo>
                    <a:cubicBezTo>
                      <a:pt x="1322" y="1398"/>
                      <a:pt x="1530" y="1136"/>
                      <a:pt x="1530" y="718"/>
                    </a:cubicBezTo>
                    <a:cubicBezTo>
                      <a:pt x="1455" y="329"/>
                      <a:pt x="1321" y="0"/>
                      <a:pt x="968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9" name="Google Shape;489;p8"/>
              <p:cNvSpPr/>
              <p:nvPr/>
            </p:nvSpPr>
            <p:spPr>
              <a:xfrm>
                <a:off x="5585512" y="5012409"/>
                <a:ext cx="35733" cy="28846"/>
              </a:xfrm>
              <a:custGeom>
                <a:avLst/>
                <a:gdLst/>
                <a:ahLst/>
                <a:cxnLst/>
                <a:rect l="l" t="t" r="r" b="b"/>
                <a:pathLst>
                  <a:path w="1713" h="1383" extrusionOk="0">
                    <a:moveTo>
                      <a:pt x="959" y="0"/>
                    </a:moveTo>
                    <a:cubicBezTo>
                      <a:pt x="663" y="0"/>
                      <a:pt x="297" y="183"/>
                      <a:pt x="297" y="366"/>
                    </a:cubicBezTo>
                    <a:cubicBezTo>
                      <a:pt x="1" y="754"/>
                      <a:pt x="183" y="1233"/>
                      <a:pt x="663" y="1324"/>
                    </a:cubicBezTo>
                    <a:cubicBezTo>
                      <a:pt x="747" y="1364"/>
                      <a:pt x="832" y="1382"/>
                      <a:pt x="914" y="1382"/>
                    </a:cubicBezTo>
                    <a:cubicBezTo>
                      <a:pt x="1210" y="1382"/>
                      <a:pt x="1478" y="1148"/>
                      <a:pt x="1621" y="845"/>
                    </a:cubicBezTo>
                    <a:cubicBezTo>
                      <a:pt x="1713" y="274"/>
                      <a:pt x="1325" y="0"/>
                      <a:pt x="959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0" name="Google Shape;490;p8"/>
              <p:cNvSpPr/>
              <p:nvPr/>
            </p:nvSpPr>
            <p:spPr>
              <a:xfrm>
                <a:off x="5774066" y="5012054"/>
                <a:ext cx="31916" cy="28992"/>
              </a:xfrm>
              <a:custGeom>
                <a:avLst/>
                <a:gdLst/>
                <a:ahLst/>
                <a:cxnLst/>
                <a:rect l="l" t="t" r="r" b="b"/>
                <a:pathLst>
                  <a:path w="1530" h="1390" extrusionOk="0">
                    <a:moveTo>
                      <a:pt x="927" y="0"/>
                    </a:moveTo>
                    <a:cubicBezTo>
                      <a:pt x="872" y="0"/>
                      <a:pt x="814" y="6"/>
                      <a:pt x="754" y="17"/>
                    </a:cubicBezTo>
                    <a:cubicBezTo>
                      <a:pt x="571" y="17"/>
                      <a:pt x="183" y="200"/>
                      <a:pt x="92" y="383"/>
                    </a:cubicBezTo>
                    <a:cubicBezTo>
                      <a:pt x="1" y="771"/>
                      <a:pt x="183" y="1250"/>
                      <a:pt x="662" y="1341"/>
                    </a:cubicBezTo>
                    <a:cubicBezTo>
                      <a:pt x="750" y="1375"/>
                      <a:pt x="831" y="1390"/>
                      <a:pt x="905" y="1390"/>
                    </a:cubicBezTo>
                    <a:cubicBezTo>
                      <a:pt x="1237" y="1390"/>
                      <a:pt x="1437" y="1088"/>
                      <a:pt x="1530" y="771"/>
                    </a:cubicBezTo>
                    <a:cubicBezTo>
                      <a:pt x="1530" y="272"/>
                      <a:pt x="1303" y="0"/>
                      <a:pt x="927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1" name="Google Shape;491;p8"/>
              <p:cNvSpPr/>
              <p:nvPr/>
            </p:nvSpPr>
            <p:spPr>
              <a:xfrm>
                <a:off x="5960721" y="5011241"/>
                <a:ext cx="33334" cy="29159"/>
              </a:xfrm>
              <a:custGeom>
                <a:avLst/>
                <a:gdLst/>
                <a:ahLst/>
                <a:cxnLst/>
                <a:rect l="l" t="t" r="r" b="b"/>
                <a:pathLst>
                  <a:path w="1598" h="1398" extrusionOk="0">
                    <a:moveTo>
                      <a:pt x="1036" y="0"/>
                    </a:moveTo>
                    <a:cubicBezTo>
                      <a:pt x="954" y="0"/>
                      <a:pt x="861" y="18"/>
                      <a:pt x="753" y="56"/>
                    </a:cubicBezTo>
                    <a:cubicBezTo>
                      <a:pt x="571" y="56"/>
                      <a:pt x="274" y="330"/>
                      <a:pt x="183" y="536"/>
                    </a:cubicBezTo>
                    <a:cubicBezTo>
                      <a:pt x="0" y="992"/>
                      <a:pt x="365" y="1380"/>
                      <a:pt x="753" y="1380"/>
                    </a:cubicBezTo>
                    <a:cubicBezTo>
                      <a:pt x="827" y="1392"/>
                      <a:pt x="894" y="1398"/>
                      <a:pt x="955" y="1398"/>
                    </a:cubicBezTo>
                    <a:cubicBezTo>
                      <a:pt x="1369" y="1398"/>
                      <a:pt x="1518" y="1136"/>
                      <a:pt x="1598" y="718"/>
                    </a:cubicBezTo>
                    <a:cubicBezTo>
                      <a:pt x="1524" y="329"/>
                      <a:pt x="1389" y="0"/>
                      <a:pt x="1036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2" name="Google Shape;492;p8"/>
              <p:cNvSpPr/>
              <p:nvPr/>
            </p:nvSpPr>
            <p:spPr>
              <a:xfrm>
                <a:off x="6148795" y="5012054"/>
                <a:ext cx="31916" cy="28992"/>
              </a:xfrm>
              <a:custGeom>
                <a:avLst/>
                <a:gdLst/>
                <a:ahLst/>
                <a:cxnLst/>
                <a:rect l="l" t="t" r="r" b="b"/>
                <a:pathLst>
                  <a:path w="1530" h="1390" extrusionOk="0">
                    <a:moveTo>
                      <a:pt x="948" y="0"/>
                    </a:moveTo>
                    <a:cubicBezTo>
                      <a:pt x="894" y="0"/>
                      <a:pt x="837" y="6"/>
                      <a:pt x="776" y="17"/>
                    </a:cubicBezTo>
                    <a:cubicBezTo>
                      <a:pt x="571" y="17"/>
                      <a:pt x="206" y="200"/>
                      <a:pt x="114" y="383"/>
                    </a:cubicBezTo>
                    <a:cubicBezTo>
                      <a:pt x="0" y="771"/>
                      <a:pt x="206" y="1250"/>
                      <a:pt x="685" y="1341"/>
                    </a:cubicBezTo>
                    <a:cubicBezTo>
                      <a:pt x="768" y="1375"/>
                      <a:pt x="846" y="1390"/>
                      <a:pt x="919" y="1390"/>
                    </a:cubicBezTo>
                    <a:cubicBezTo>
                      <a:pt x="1243" y="1390"/>
                      <a:pt x="1455" y="1088"/>
                      <a:pt x="1529" y="771"/>
                    </a:cubicBezTo>
                    <a:cubicBezTo>
                      <a:pt x="1529" y="272"/>
                      <a:pt x="1320" y="0"/>
                      <a:pt x="948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3" name="Google Shape;493;p8"/>
              <p:cNvSpPr/>
              <p:nvPr/>
            </p:nvSpPr>
            <p:spPr>
              <a:xfrm>
                <a:off x="6335429" y="5011241"/>
                <a:ext cx="33835" cy="29159"/>
              </a:xfrm>
              <a:custGeom>
                <a:avLst/>
                <a:gdLst/>
                <a:ahLst/>
                <a:cxnLst/>
                <a:rect l="l" t="t" r="r" b="b"/>
                <a:pathLst>
                  <a:path w="1622" h="1398" extrusionOk="0">
                    <a:moveTo>
                      <a:pt x="1039" y="0"/>
                    </a:moveTo>
                    <a:cubicBezTo>
                      <a:pt x="956" y="0"/>
                      <a:pt x="861" y="18"/>
                      <a:pt x="754" y="56"/>
                    </a:cubicBezTo>
                    <a:cubicBezTo>
                      <a:pt x="571" y="56"/>
                      <a:pt x="297" y="330"/>
                      <a:pt x="183" y="536"/>
                    </a:cubicBezTo>
                    <a:cubicBezTo>
                      <a:pt x="1" y="992"/>
                      <a:pt x="389" y="1380"/>
                      <a:pt x="868" y="1380"/>
                    </a:cubicBezTo>
                    <a:cubicBezTo>
                      <a:pt x="927" y="1392"/>
                      <a:pt x="981" y="1398"/>
                      <a:pt x="1032" y="1398"/>
                    </a:cubicBezTo>
                    <a:cubicBezTo>
                      <a:pt x="1375" y="1398"/>
                      <a:pt x="1542" y="1136"/>
                      <a:pt x="1621" y="718"/>
                    </a:cubicBezTo>
                    <a:cubicBezTo>
                      <a:pt x="1547" y="329"/>
                      <a:pt x="1398" y="0"/>
                      <a:pt x="1039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4" name="Google Shape;494;p8"/>
              <p:cNvSpPr/>
              <p:nvPr/>
            </p:nvSpPr>
            <p:spPr>
              <a:xfrm>
                <a:off x="6523983" y="5011241"/>
                <a:ext cx="31916" cy="29159"/>
              </a:xfrm>
              <a:custGeom>
                <a:avLst/>
                <a:gdLst/>
                <a:ahLst/>
                <a:cxnLst/>
                <a:rect l="l" t="t" r="r" b="b"/>
                <a:pathLst>
                  <a:path w="1530" h="1398" extrusionOk="0">
                    <a:moveTo>
                      <a:pt x="994" y="0"/>
                    </a:moveTo>
                    <a:cubicBezTo>
                      <a:pt x="923" y="0"/>
                      <a:pt x="844" y="18"/>
                      <a:pt x="754" y="56"/>
                    </a:cubicBezTo>
                    <a:cubicBezTo>
                      <a:pt x="480" y="56"/>
                      <a:pt x="183" y="330"/>
                      <a:pt x="183" y="536"/>
                    </a:cubicBezTo>
                    <a:cubicBezTo>
                      <a:pt x="0" y="992"/>
                      <a:pt x="274" y="1380"/>
                      <a:pt x="754" y="1380"/>
                    </a:cubicBezTo>
                    <a:cubicBezTo>
                      <a:pt x="815" y="1392"/>
                      <a:pt x="874" y="1398"/>
                      <a:pt x="929" y="1398"/>
                    </a:cubicBezTo>
                    <a:cubicBezTo>
                      <a:pt x="1304" y="1398"/>
                      <a:pt x="1530" y="1136"/>
                      <a:pt x="1530" y="718"/>
                    </a:cubicBezTo>
                    <a:cubicBezTo>
                      <a:pt x="1437" y="329"/>
                      <a:pt x="1299" y="0"/>
                      <a:pt x="994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5" name="Google Shape;495;p8"/>
              <p:cNvSpPr/>
              <p:nvPr/>
            </p:nvSpPr>
            <p:spPr>
              <a:xfrm>
                <a:off x="6712536" y="5011012"/>
                <a:ext cx="33814" cy="29034"/>
              </a:xfrm>
              <a:custGeom>
                <a:avLst/>
                <a:gdLst/>
                <a:ahLst/>
                <a:cxnLst/>
                <a:rect l="l" t="t" r="r" b="b"/>
                <a:pathLst>
                  <a:path w="1621" h="1392" extrusionOk="0">
                    <a:moveTo>
                      <a:pt x="819" y="0"/>
                    </a:moveTo>
                    <a:cubicBezTo>
                      <a:pt x="737" y="0"/>
                      <a:pt x="653" y="21"/>
                      <a:pt x="571" y="67"/>
                    </a:cubicBezTo>
                    <a:cubicBezTo>
                      <a:pt x="92" y="159"/>
                      <a:pt x="0" y="638"/>
                      <a:pt x="183" y="1117"/>
                    </a:cubicBezTo>
                    <a:cubicBezTo>
                      <a:pt x="274" y="1300"/>
                      <a:pt x="662" y="1391"/>
                      <a:pt x="845" y="1391"/>
                    </a:cubicBezTo>
                    <a:cubicBezTo>
                      <a:pt x="1324" y="1391"/>
                      <a:pt x="1621" y="1117"/>
                      <a:pt x="1507" y="547"/>
                    </a:cubicBezTo>
                    <a:cubicBezTo>
                      <a:pt x="1365" y="246"/>
                      <a:pt x="1101" y="0"/>
                      <a:pt x="819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6" name="Google Shape;496;p8"/>
              <p:cNvSpPr/>
              <p:nvPr/>
            </p:nvSpPr>
            <p:spPr>
              <a:xfrm>
                <a:off x="6898691" y="5012034"/>
                <a:ext cx="31937" cy="29493"/>
              </a:xfrm>
              <a:custGeom>
                <a:avLst/>
                <a:gdLst/>
                <a:ahLst/>
                <a:cxnLst/>
                <a:rect l="l" t="t" r="r" b="b"/>
                <a:pathLst>
                  <a:path w="1531" h="1414" extrusionOk="0">
                    <a:moveTo>
                      <a:pt x="857" y="1"/>
                    </a:moveTo>
                    <a:cubicBezTo>
                      <a:pt x="802" y="1"/>
                      <a:pt x="745" y="6"/>
                      <a:pt x="686" y="18"/>
                    </a:cubicBezTo>
                    <a:cubicBezTo>
                      <a:pt x="206" y="201"/>
                      <a:pt x="1" y="589"/>
                      <a:pt x="115" y="954"/>
                    </a:cubicBezTo>
                    <a:cubicBezTo>
                      <a:pt x="249" y="1239"/>
                      <a:pt x="543" y="1413"/>
                      <a:pt x="835" y="1413"/>
                    </a:cubicBezTo>
                    <a:cubicBezTo>
                      <a:pt x="940" y="1413"/>
                      <a:pt x="1045" y="1391"/>
                      <a:pt x="1142" y="1342"/>
                    </a:cubicBezTo>
                    <a:cubicBezTo>
                      <a:pt x="1348" y="1160"/>
                      <a:pt x="1530" y="863"/>
                      <a:pt x="1530" y="589"/>
                    </a:cubicBezTo>
                    <a:cubicBezTo>
                      <a:pt x="1451" y="252"/>
                      <a:pt x="1216" y="1"/>
                      <a:pt x="857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7" name="Google Shape;497;p8"/>
              <p:cNvSpPr/>
              <p:nvPr/>
            </p:nvSpPr>
            <p:spPr>
              <a:xfrm>
                <a:off x="7085346" y="5012034"/>
                <a:ext cx="33835" cy="29493"/>
              </a:xfrm>
              <a:custGeom>
                <a:avLst/>
                <a:gdLst/>
                <a:ahLst/>
                <a:cxnLst/>
                <a:rect l="l" t="t" r="r" b="b"/>
                <a:pathLst>
                  <a:path w="1622" h="1414" extrusionOk="0">
                    <a:moveTo>
                      <a:pt x="872" y="1"/>
                    </a:moveTo>
                    <a:cubicBezTo>
                      <a:pt x="807" y="1"/>
                      <a:pt x="737" y="6"/>
                      <a:pt x="662" y="18"/>
                    </a:cubicBezTo>
                    <a:cubicBezTo>
                      <a:pt x="297" y="201"/>
                      <a:pt x="0" y="589"/>
                      <a:pt x="183" y="954"/>
                    </a:cubicBezTo>
                    <a:cubicBezTo>
                      <a:pt x="334" y="1239"/>
                      <a:pt x="633" y="1413"/>
                      <a:pt x="925" y="1413"/>
                    </a:cubicBezTo>
                    <a:cubicBezTo>
                      <a:pt x="1031" y="1413"/>
                      <a:pt x="1136" y="1391"/>
                      <a:pt x="1233" y="1342"/>
                    </a:cubicBezTo>
                    <a:cubicBezTo>
                      <a:pt x="1438" y="1160"/>
                      <a:pt x="1621" y="863"/>
                      <a:pt x="1530" y="589"/>
                    </a:cubicBezTo>
                    <a:cubicBezTo>
                      <a:pt x="1530" y="252"/>
                      <a:pt x="1306" y="1"/>
                      <a:pt x="872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8" name="Google Shape;498;p8"/>
              <p:cNvSpPr/>
              <p:nvPr/>
            </p:nvSpPr>
            <p:spPr>
              <a:xfrm>
                <a:off x="7273900" y="5012054"/>
                <a:ext cx="33585" cy="28992"/>
              </a:xfrm>
              <a:custGeom>
                <a:avLst/>
                <a:gdLst/>
                <a:ahLst/>
                <a:cxnLst/>
                <a:rect l="l" t="t" r="r" b="b"/>
                <a:pathLst>
                  <a:path w="1610" h="1390" extrusionOk="0">
                    <a:moveTo>
                      <a:pt x="1018" y="0"/>
                    </a:moveTo>
                    <a:cubicBezTo>
                      <a:pt x="963" y="0"/>
                      <a:pt x="905" y="6"/>
                      <a:pt x="845" y="17"/>
                    </a:cubicBezTo>
                    <a:cubicBezTo>
                      <a:pt x="571" y="17"/>
                      <a:pt x="183" y="200"/>
                      <a:pt x="183" y="383"/>
                    </a:cubicBezTo>
                    <a:cubicBezTo>
                      <a:pt x="0" y="771"/>
                      <a:pt x="183" y="1250"/>
                      <a:pt x="662" y="1341"/>
                    </a:cubicBezTo>
                    <a:cubicBezTo>
                      <a:pt x="750" y="1375"/>
                      <a:pt x="830" y="1390"/>
                      <a:pt x="905" y="1390"/>
                    </a:cubicBezTo>
                    <a:cubicBezTo>
                      <a:pt x="1236" y="1390"/>
                      <a:pt x="1436" y="1088"/>
                      <a:pt x="1530" y="771"/>
                    </a:cubicBezTo>
                    <a:cubicBezTo>
                      <a:pt x="1609" y="272"/>
                      <a:pt x="1393" y="0"/>
                      <a:pt x="1018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9" name="Google Shape;499;p8"/>
              <p:cNvSpPr/>
              <p:nvPr/>
            </p:nvSpPr>
            <p:spPr>
              <a:xfrm>
                <a:off x="7462453" y="5011241"/>
                <a:ext cx="31436" cy="29159"/>
              </a:xfrm>
              <a:custGeom>
                <a:avLst/>
                <a:gdLst/>
                <a:ahLst/>
                <a:cxnLst/>
                <a:rect l="l" t="t" r="r" b="b"/>
                <a:pathLst>
                  <a:path w="1507" h="1398" extrusionOk="0">
                    <a:moveTo>
                      <a:pt x="945" y="0"/>
                    </a:moveTo>
                    <a:cubicBezTo>
                      <a:pt x="863" y="0"/>
                      <a:pt x="769" y="18"/>
                      <a:pt x="662" y="56"/>
                    </a:cubicBezTo>
                    <a:cubicBezTo>
                      <a:pt x="479" y="56"/>
                      <a:pt x="183" y="330"/>
                      <a:pt x="91" y="536"/>
                    </a:cubicBezTo>
                    <a:cubicBezTo>
                      <a:pt x="0" y="992"/>
                      <a:pt x="274" y="1380"/>
                      <a:pt x="753" y="1380"/>
                    </a:cubicBezTo>
                    <a:cubicBezTo>
                      <a:pt x="815" y="1392"/>
                      <a:pt x="873" y="1398"/>
                      <a:pt x="928" y="1398"/>
                    </a:cubicBezTo>
                    <a:cubicBezTo>
                      <a:pt x="1299" y="1398"/>
                      <a:pt x="1507" y="1136"/>
                      <a:pt x="1507" y="718"/>
                    </a:cubicBezTo>
                    <a:cubicBezTo>
                      <a:pt x="1432" y="329"/>
                      <a:pt x="1298" y="0"/>
                      <a:pt x="945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0" name="Google Shape;500;p8"/>
              <p:cNvSpPr/>
              <p:nvPr/>
            </p:nvSpPr>
            <p:spPr>
              <a:xfrm>
                <a:off x="7648608" y="5011012"/>
                <a:ext cx="33835" cy="29034"/>
              </a:xfrm>
              <a:custGeom>
                <a:avLst/>
                <a:gdLst/>
                <a:ahLst/>
                <a:cxnLst/>
                <a:rect l="l" t="t" r="r" b="b"/>
                <a:pathLst>
                  <a:path w="1622" h="1392" extrusionOk="0">
                    <a:moveTo>
                      <a:pt x="880" y="0"/>
                    </a:moveTo>
                    <a:cubicBezTo>
                      <a:pt x="783" y="0"/>
                      <a:pt x="679" y="21"/>
                      <a:pt x="571" y="67"/>
                    </a:cubicBezTo>
                    <a:cubicBezTo>
                      <a:pt x="206" y="159"/>
                      <a:pt x="1" y="638"/>
                      <a:pt x="298" y="1117"/>
                    </a:cubicBezTo>
                    <a:cubicBezTo>
                      <a:pt x="389" y="1300"/>
                      <a:pt x="686" y="1391"/>
                      <a:pt x="959" y="1391"/>
                    </a:cubicBezTo>
                    <a:cubicBezTo>
                      <a:pt x="1347" y="1391"/>
                      <a:pt x="1621" y="1117"/>
                      <a:pt x="1621" y="547"/>
                    </a:cubicBezTo>
                    <a:cubicBezTo>
                      <a:pt x="1480" y="246"/>
                      <a:pt x="1215" y="0"/>
                      <a:pt x="880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501" name="Google Shape;501;p8"/>
          <p:cNvSpPr/>
          <p:nvPr/>
        </p:nvSpPr>
        <p:spPr>
          <a:xfrm>
            <a:off x="3325225" y="4950300"/>
            <a:ext cx="6004800" cy="1064400"/>
          </a:xfrm>
          <a:prstGeom prst="round2DiagRect">
            <a:avLst>
              <a:gd name="adj1" fmla="val 16667"/>
              <a:gd name="adj2" fmla="val 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5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8" name="Google Shape;508;p11"/>
          <p:cNvSpPr txBox="1">
            <a:spLocks noGrp="1"/>
          </p:cNvSpPr>
          <p:nvPr>
            <p:ph type="title" hasCustomPrompt="1"/>
          </p:nvPr>
        </p:nvSpPr>
        <p:spPr>
          <a:xfrm>
            <a:off x="1284000" y="539500"/>
            <a:ext cx="6576000" cy="852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6700">
                <a:solidFill>
                  <a:schemeClr val="dk2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9600"/>
            </a:lvl2pPr>
            <a:lvl3pPr lvl="2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9600"/>
            </a:lvl3pPr>
            <a:lvl4pPr lvl="3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9600"/>
            </a:lvl4pPr>
            <a:lvl5pPr lvl="4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9600"/>
            </a:lvl5pPr>
            <a:lvl6pPr lvl="5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9600"/>
            </a:lvl6pPr>
            <a:lvl7pPr lvl="6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9600"/>
            </a:lvl7pPr>
            <a:lvl8pPr lvl="7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9600"/>
            </a:lvl8pPr>
            <a:lvl9pPr lvl="8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9600"/>
            </a:lvl9pPr>
          </a:lstStyle>
          <a:p>
            <a:r>
              <a:t>xx%</a:t>
            </a:r>
          </a:p>
        </p:txBody>
      </p:sp>
      <p:sp>
        <p:nvSpPr>
          <p:cNvPr id="509" name="Google Shape;509;p11"/>
          <p:cNvSpPr txBox="1">
            <a:spLocks noGrp="1"/>
          </p:cNvSpPr>
          <p:nvPr>
            <p:ph type="subTitle" idx="1"/>
          </p:nvPr>
        </p:nvSpPr>
        <p:spPr>
          <a:xfrm>
            <a:off x="1284000" y="1481625"/>
            <a:ext cx="6576000" cy="497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latin typeface="Kumbh Sans"/>
                <a:ea typeface="Kumbh Sans"/>
                <a:cs typeface="Kumbh Sans"/>
                <a:sym typeface="Kumbh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510" name="Google Shape;510;p11"/>
          <p:cNvGrpSpPr/>
          <p:nvPr/>
        </p:nvGrpSpPr>
        <p:grpSpPr>
          <a:xfrm>
            <a:off x="3197149" y="4734913"/>
            <a:ext cx="2749703" cy="122913"/>
            <a:chOff x="5024149" y="4918613"/>
            <a:chExt cx="2749703" cy="122913"/>
          </a:xfrm>
        </p:grpSpPr>
        <p:sp>
          <p:nvSpPr>
            <p:cNvPr id="511" name="Google Shape;511;p11"/>
            <p:cNvSpPr/>
            <p:nvPr/>
          </p:nvSpPr>
          <p:spPr>
            <a:xfrm>
              <a:off x="5121294" y="4919510"/>
              <a:ext cx="27619" cy="26802"/>
            </a:xfrm>
            <a:custGeom>
              <a:avLst/>
              <a:gdLst/>
              <a:ahLst/>
              <a:cxnLst/>
              <a:rect l="l" t="t" r="r" b="b"/>
              <a:pathLst>
                <a:path w="1324" h="1285" extrusionOk="0">
                  <a:moveTo>
                    <a:pt x="690" y="1"/>
                  </a:moveTo>
                  <a:cubicBezTo>
                    <a:pt x="379" y="1"/>
                    <a:pt x="134" y="175"/>
                    <a:pt x="0" y="460"/>
                  </a:cubicBezTo>
                  <a:cubicBezTo>
                    <a:pt x="0" y="643"/>
                    <a:pt x="183" y="1031"/>
                    <a:pt x="297" y="1213"/>
                  </a:cubicBezTo>
                  <a:cubicBezTo>
                    <a:pt x="418" y="1262"/>
                    <a:pt x="528" y="1284"/>
                    <a:pt x="629" y="1284"/>
                  </a:cubicBezTo>
                  <a:cubicBezTo>
                    <a:pt x="909" y="1284"/>
                    <a:pt x="1123" y="1110"/>
                    <a:pt x="1324" y="825"/>
                  </a:cubicBezTo>
                  <a:cubicBezTo>
                    <a:pt x="1233" y="551"/>
                    <a:pt x="1141" y="163"/>
                    <a:pt x="1050" y="72"/>
                  </a:cubicBezTo>
                  <a:cubicBezTo>
                    <a:pt x="923" y="24"/>
                    <a:pt x="802" y="1"/>
                    <a:pt x="69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11"/>
            <p:cNvSpPr/>
            <p:nvPr/>
          </p:nvSpPr>
          <p:spPr>
            <a:xfrm>
              <a:off x="5307928" y="4919510"/>
              <a:ext cx="27639" cy="26802"/>
            </a:xfrm>
            <a:custGeom>
              <a:avLst/>
              <a:gdLst/>
              <a:ahLst/>
              <a:cxnLst/>
              <a:rect l="l" t="t" r="r" b="b"/>
              <a:pathLst>
                <a:path w="1325" h="1285" extrusionOk="0">
                  <a:moveTo>
                    <a:pt x="731" y="1"/>
                  </a:moveTo>
                  <a:cubicBezTo>
                    <a:pt x="435" y="1"/>
                    <a:pt x="159" y="175"/>
                    <a:pt x="92" y="460"/>
                  </a:cubicBezTo>
                  <a:cubicBezTo>
                    <a:pt x="1" y="643"/>
                    <a:pt x="183" y="1031"/>
                    <a:pt x="366" y="1213"/>
                  </a:cubicBezTo>
                  <a:cubicBezTo>
                    <a:pt x="469" y="1262"/>
                    <a:pt x="572" y="1284"/>
                    <a:pt x="671" y="1284"/>
                  </a:cubicBezTo>
                  <a:cubicBezTo>
                    <a:pt x="945" y="1284"/>
                    <a:pt x="1190" y="1110"/>
                    <a:pt x="1324" y="825"/>
                  </a:cubicBezTo>
                  <a:cubicBezTo>
                    <a:pt x="1233" y="551"/>
                    <a:pt x="1233" y="163"/>
                    <a:pt x="1051" y="72"/>
                  </a:cubicBezTo>
                  <a:cubicBezTo>
                    <a:pt x="948" y="24"/>
                    <a:pt x="838" y="1"/>
                    <a:pt x="73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11"/>
            <p:cNvSpPr/>
            <p:nvPr/>
          </p:nvSpPr>
          <p:spPr>
            <a:xfrm>
              <a:off x="5496482" y="4919823"/>
              <a:ext cx="25720" cy="27365"/>
            </a:xfrm>
            <a:custGeom>
              <a:avLst/>
              <a:gdLst/>
              <a:ahLst/>
              <a:cxnLst/>
              <a:rect l="l" t="t" r="r" b="b"/>
              <a:pathLst>
                <a:path w="1233" h="1312" extrusionOk="0">
                  <a:moveTo>
                    <a:pt x="656" y="0"/>
                  </a:moveTo>
                  <a:cubicBezTo>
                    <a:pt x="565" y="0"/>
                    <a:pt x="467" y="18"/>
                    <a:pt x="366" y="57"/>
                  </a:cubicBezTo>
                  <a:cubicBezTo>
                    <a:pt x="183" y="57"/>
                    <a:pt x="92" y="445"/>
                    <a:pt x="0" y="628"/>
                  </a:cubicBezTo>
                  <a:cubicBezTo>
                    <a:pt x="77" y="1106"/>
                    <a:pt x="346" y="1312"/>
                    <a:pt x="660" y="1312"/>
                  </a:cubicBezTo>
                  <a:cubicBezTo>
                    <a:pt x="720" y="1312"/>
                    <a:pt x="782" y="1304"/>
                    <a:pt x="845" y="1290"/>
                  </a:cubicBezTo>
                  <a:cubicBezTo>
                    <a:pt x="1028" y="1198"/>
                    <a:pt x="1233" y="810"/>
                    <a:pt x="1233" y="628"/>
                  </a:cubicBezTo>
                  <a:cubicBezTo>
                    <a:pt x="1233" y="250"/>
                    <a:pt x="992" y="0"/>
                    <a:pt x="65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11"/>
            <p:cNvSpPr/>
            <p:nvPr/>
          </p:nvSpPr>
          <p:spPr>
            <a:xfrm>
              <a:off x="5680738" y="4920490"/>
              <a:ext cx="33835" cy="26239"/>
            </a:xfrm>
            <a:custGeom>
              <a:avLst/>
              <a:gdLst/>
              <a:ahLst/>
              <a:cxnLst/>
              <a:rect l="l" t="t" r="r" b="b"/>
              <a:pathLst>
                <a:path w="1622" h="1258" extrusionOk="0">
                  <a:moveTo>
                    <a:pt x="743" y="1"/>
                  </a:moveTo>
                  <a:cubicBezTo>
                    <a:pt x="538" y="1"/>
                    <a:pt x="277" y="154"/>
                    <a:pt x="183" y="322"/>
                  </a:cubicBezTo>
                  <a:cubicBezTo>
                    <a:pt x="1" y="778"/>
                    <a:pt x="298" y="1166"/>
                    <a:pt x="754" y="1258"/>
                  </a:cubicBezTo>
                  <a:cubicBezTo>
                    <a:pt x="959" y="1166"/>
                    <a:pt x="1325" y="1075"/>
                    <a:pt x="1439" y="892"/>
                  </a:cubicBezTo>
                  <a:cubicBezTo>
                    <a:pt x="1621" y="413"/>
                    <a:pt x="1325" y="25"/>
                    <a:pt x="868" y="25"/>
                  </a:cubicBezTo>
                  <a:cubicBezTo>
                    <a:pt x="831" y="8"/>
                    <a:pt x="788" y="1"/>
                    <a:pt x="74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11"/>
            <p:cNvSpPr/>
            <p:nvPr/>
          </p:nvSpPr>
          <p:spPr>
            <a:xfrm>
              <a:off x="5871190" y="4919823"/>
              <a:ext cx="27639" cy="27365"/>
            </a:xfrm>
            <a:custGeom>
              <a:avLst/>
              <a:gdLst/>
              <a:ahLst/>
              <a:cxnLst/>
              <a:rect l="l" t="t" r="r" b="b"/>
              <a:pathLst>
                <a:path w="1325" h="1312" extrusionOk="0">
                  <a:moveTo>
                    <a:pt x="677" y="0"/>
                  </a:moveTo>
                  <a:cubicBezTo>
                    <a:pt x="587" y="0"/>
                    <a:pt x="491" y="18"/>
                    <a:pt x="389" y="57"/>
                  </a:cubicBezTo>
                  <a:cubicBezTo>
                    <a:pt x="184" y="57"/>
                    <a:pt x="92" y="445"/>
                    <a:pt x="1" y="628"/>
                  </a:cubicBezTo>
                  <a:cubicBezTo>
                    <a:pt x="77" y="1106"/>
                    <a:pt x="363" y="1312"/>
                    <a:pt x="682" y="1312"/>
                  </a:cubicBezTo>
                  <a:cubicBezTo>
                    <a:pt x="743" y="1312"/>
                    <a:pt x="806" y="1304"/>
                    <a:pt x="868" y="1290"/>
                  </a:cubicBezTo>
                  <a:cubicBezTo>
                    <a:pt x="1051" y="1198"/>
                    <a:pt x="1325" y="810"/>
                    <a:pt x="1233" y="628"/>
                  </a:cubicBezTo>
                  <a:cubicBezTo>
                    <a:pt x="1233" y="250"/>
                    <a:pt x="1007" y="0"/>
                    <a:pt x="6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11"/>
            <p:cNvSpPr/>
            <p:nvPr/>
          </p:nvSpPr>
          <p:spPr>
            <a:xfrm>
              <a:off x="6055947" y="4920490"/>
              <a:ext cx="33334" cy="26239"/>
            </a:xfrm>
            <a:custGeom>
              <a:avLst/>
              <a:gdLst/>
              <a:ahLst/>
              <a:cxnLst/>
              <a:rect l="l" t="t" r="r" b="b"/>
              <a:pathLst>
                <a:path w="1598" h="1258" extrusionOk="0">
                  <a:moveTo>
                    <a:pt x="728" y="1"/>
                  </a:moveTo>
                  <a:cubicBezTo>
                    <a:pt x="531" y="1"/>
                    <a:pt x="257" y="154"/>
                    <a:pt x="183" y="322"/>
                  </a:cubicBezTo>
                  <a:cubicBezTo>
                    <a:pt x="0" y="778"/>
                    <a:pt x="274" y="1166"/>
                    <a:pt x="753" y="1258"/>
                  </a:cubicBezTo>
                  <a:cubicBezTo>
                    <a:pt x="936" y="1166"/>
                    <a:pt x="1324" y="1075"/>
                    <a:pt x="1415" y="892"/>
                  </a:cubicBezTo>
                  <a:cubicBezTo>
                    <a:pt x="1598" y="413"/>
                    <a:pt x="1324" y="25"/>
                    <a:pt x="845" y="25"/>
                  </a:cubicBezTo>
                  <a:cubicBezTo>
                    <a:pt x="811" y="8"/>
                    <a:pt x="771" y="1"/>
                    <a:pt x="72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11"/>
            <p:cNvSpPr/>
            <p:nvPr/>
          </p:nvSpPr>
          <p:spPr>
            <a:xfrm>
              <a:off x="6244021" y="4919093"/>
              <a:ext cx="31916" cy="27636"/>
            </a:xfrm>
            <a:custGeom>
              <a:avLst/>
              <a:gdLst/>
              <a:ahLst/>
              <a:cxnLst/>
              <a:rect l="l" t="t" r="r" b="b"/>
              <a:pathLst>
                <a:path w="1530" h="1325" extrusionOk="0">
                  <a:moveTo>
                    <a:pt x="571" y="1"/>
                  </a:moveTo>
                  <a:cubicBezTo>
                    <a:pt x="206" y="183"/>
                    <a:pt x="0" y="571"/>
                    <a:pt x="206" y="959"/>
                  </a:cubicBezTo>
                  <a:cubicBezTo>
                    <a:pt x="297" y="1142"/>
                    <a:pt x="685" y="1325"/>
                    <a:pt x="867" y="1325"/>
                  </a:cubicBezTo>
                  <a:cubicBezTo>
                    <a:pt x="1347" y="1142"/>
                    <a:pt x="1529" y="754"/>
                    <a:pt x="1256" y="389"/>
                  </a:cubicBezTo>
                  <a:cubicBezTo>
                    <a:pt x="1141" y="183"/>
                    <a:pt x="867" y="92"/>
                    <a:pt x="57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11"/>
            <p:cNvSpPr/>
            <p:nvPr/>
          </p:nvSpPr>
          <p:spPr>
            <a:xfrm>
              <a:off x="6434473" y="4919823"/>
              <a:ext cx="26200" cy="27365"/>
            </a:xfrm>
            <a:custGeom>
              <a:avLst/>
              <a:gdLst/>
              <a:ahLst/>
              <a:cxnLst/>
              <a:rect l="l" t="t" r="r" b="b"/>
              <a:pathLst>
                <a:path w="1256" h="1312" extrusionOk="0">
                  <a:moveTo>
                    <a:pt x="679" y="0"/>
                  </a:moveTo>
                  <a:cubicBezTo>
                    <a:pt x="588" y="0"/>
                    <a:pt x="490" y="18"/>
                    <a:pt x="388" y="57"/>
                  </a:cubicBezTo>
                  <a:cubicBezTo>
                    <a:pt x="206" y="57"/>
                    <a:pt x="114" y="445"/>
                    <a:pt x="0" y="628"/>
                  </a:cubicBezTo>
                  <a:cubicBezTo>
                    <a:pt x="0" y="1106"/>
                    <a:pt x="273" y="1312"/>
                    <a:pt x="644" y="1312"/>
                  </a:cubicBezTo>
                  <a:cubicBezTo>
                    <a:pt x="715" y="1312"/>
                    <a:pt x="790" y="1304"/>
                    <a:pt x="868" y="1290"/>
                  </a:cubicBezTo>
                  <a:cubicBezTo>
                    <a:pt x="1050" y="1198"/>
                    <a:pt x="1256" y="810"/>
                    <a:pt x="1256" y="628"/>
                  </a:cubicBezTo>
                  <a:cubicBezTo>
                    <a:pt x="1256" y="250"/>
                    <a:pt x="1015" y="0"/>
                    <a:pt x="67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11"/>
            <p:cNvSpPr/>
            <p:nvPr/>
          </p:nvSpPr>
          <p:spPr>
            <a:xfrm>
              <a:off x="6621107" y="4919176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02" y="1"/>
                  </a:moveTo>
                  <a:cubicBezTo>
                    <a:pt x="577" y="1"/>
                    <a:pt x="440" y="31"/>
                    <a:pt x="298" y="88"/>
                  </a:cubicBezTo>
                  <a:cubicBezTo>
                    <a:pt x="183" y="179"/>
                    <a:pt x="1" y="567"/>
                    <a:pt x="1" y="750"/>
                  </a:cubicBezTo>
                  <a:cubicBezTo>
                    <a:pt x="125" y="1077"/>
                    <a:pt x="346" y="1266"/>
                    <a:pt x="596" y="1266"/>
                  </a:cubicBezTo>
                  <a:cubicBezTo>
                    <a:pt x="713" y="1266"/>
                    <a:pt x="836" y="1225"/>
                    <a:pt x="959" y="1138"/>
                  </a:cubicBezTo>
                  <a:cubicBezTo>
                    <a:pt x="1142" y="1047"/>
                    <a:pt x="1233" y="659"/>
                    <a:pt x="1325" y="476"/>
                  </a:cubicBezTo>
                  <a:cubicBezTo>
                    <a:pt x="1199" y="147"/>
                    <a:pt x="977" y="1"/>
                    <a:pt x="70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11"/>
            <p:cNvSpPr/>
            <p:nvPr/>
          </p:nvSpPr>
          <p:spPr>
            <a:xfrm>
              <a:off x="6807762" y="4919176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23" y="1"/>
                  </a:moveTo>
                  <a:cubicBezTo>
                    <a:pt x="608" y="1"/>
                    <a:pt x="487" y="31"/>
                    <a:pt x="366" y="88"/>
                  </a:cubicBezTo>
                  <a:cubicBezTo>
                    <a:pt x="183" y="179"/>
                    <a:pt x="0" y="567"/>
                    <a:pt x="92" y="750"/>
                  </a:cubicBezTo>
                  <a:cubicBezTo>
                    <a:pt x="154" y="1077"/>
                    <a:pt x="397" y="1266"/>
                    <a:pt x="668" y="1266"/>
                  </a:cubicBezTo>
                  <a:cubicBezTo>
                    <a:pt x="795" y="1266"/>
                    <a:pt x="927" y="1225"/>
                    <a:pt x="1050" y="1138"/>
                  </a:cubicBezTo>
                  <a:cubicBezTo>
                    <a:pt x="1233" y="1047"/>
                    <a:pt x="1233" y="659"/>
                    <a:pt x="1324" y="476"/>
                  </a:cubicBezTo>
                  <a:cubicBezTo>
                    <a:pt x="1199" y="147"/>
                    <a:pt x="976" y="1"/>
                    <a:pt x="72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11"/>
            <p:cNvSpPr/>
            <p:nvPr/>
          </p:nvSpPr>
          <p:spPr>
            <a:xfrm>
              <a:off x="6998214" y="4918613"/>
              <a:ext cx="25720" cy="27407"/>
            </a:xfrm>
            <a:custGeom>
              <a:avLst/>
              <a:gdLst/>
              <a:ahLst/>
              <a:cxnLst/>
              <a:rect l="l" t="t" r="r" b="b"/>
              <a:pathLst>
                <a:path w="1233" h="1314" extrusionOk="0">
                  <a:moveTo>
                    <a:pt x="617" y="1"/>
                  </a:moveTo>
                  <a:cubicBezTo>
                    <a:pt x="255" y="1"/>
                    <a:pt x="0" y="194"/>
                    <a:pt x="0" y="594"/>
                  </a:cubicBezTo>
                  <a:cubicBezTo>
                    <a:pt x="0" y="777"/>
                    <a:pt x="183" y="1256"/>
                    <a:pt x="366" y="1256"/>
                  </a:cubicBezTo>
                  <a:cubicBezTo>
                    <a:pt x="448" y="1295"/>
                    <a:pt x="530" y="1313"/>
                    <a:pt x="610" y="1313"/>
                  </a:cubicBezTo>
                  <a:cubicBezTo>
                    <a:pt x="905" y="1313"/>
                    <a:pt x="1161" y="1063"/>
                    <a:pt x="1233" y="686"/>
                  </a:cubicBezTo>
                  <a:cubicBezTo>
                    <a:pt x="1142" y="503"/>
                    <a:pt x="1050" y="115"/>
                    <a:pt x="845" y="24"/>
                  </a:cubicBezTo>
                  <a:cubicBezTo>
                    <a:pt x="766" y="9"/>
                    <a:pt x="689" y="1"/>
                    <a:pt x="61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11"/>
            <p:cNvSpPr/>
            <p:nvPr/>
          </p:nvSpPr>
          <p:spPr>
            <a:xfrm>
              <a:off x="7182470" y="4920490"/>
              <a:ext cx="31937" cy="26239"/>
            </a:xfrm>
            <a:custGeom>
              <a:avLst/>
              <a:gdLst/>
              <a:ahLst/>
              <a:cxnLst/>
              <a:rect l="l" t="t" r="r" b="b"/>
              <a:pathLst>
                <a:path w="1531" h="1258" extrusionOk="0">
                  <a:moveTo>
                    <a:pt x="651" y="1"/>
                  </a:moveTo>
                  <a:cubicBezTo>
                    <a:pt x="447" y="1"/>
                    <a:pt x="185" y="154"/>
                    <a:pt x="92" y="322"/>
                  </a:cubicBezTo>
                  <a:cubicBezTo>
                    <a:pt x="1" y="778"/>
                    <a:pt x="206" y="1166"/>
                    <a:pt x="663" y="1258"/>
                  </a:cubicBezTo>
                  <a:cubicBezTo>
                    <a:pt x="959" y="1166"/>
                    <a:pt x="1348" y="1075"/>
                    <a:pt x="1348" y="892"/>
                  </a:cubicBezTo>
                  <a:cubicBezTo>
                    <a:pt x="1530" y="413"/>
                    <a:pt x="1233" y="25"/>
                    <a:pt x="777" y="25"/>
                  </a:cubicBezTo>
                  <a:cubicBezTo>
                    <a:pt x="740" y="8"/>
                    <a:pt x="697" y="1"/>
                    <a:pt x="65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11"/>
            <p:cNvSpPr/>
            <p:nvPr/>
          </p:nvSpPr>
          <p:spPr>
            <a:xfrm>
              <a:off x="7372922" y="4918613"/>
              <a:ext cx="25741" cy="27407"/>
            </a:xfrm>
            <a:custGeom>
              <a:avLst/>
              <a:gdLst/>
              <a:ahLst/>
              <a:cxnLst/>
              <a:rect l="l" t="t" r="r" b="b"/>
              <a:pathLst>
                <a:path w="1234" h="1314" extrusionOk="0">
                  <a:moveTo>
                    <a:pt x="671" y="1"/>
                  </a:moveTo>
                  <a:cubicBezTo>
                    <a:pt x="335" y="1"/>
                    <a:pt x="1" y="194"/>
                    <a:pt x="1" y="594"/>
                  </a:cubicBezTo>
                  <a:cubicBezTo>
                    <a:pt x="1" y="777"/>
                    <a:pt x="206" y="1256"/>
                    <a:pt x="389" y="1256"/>
                  </a:cubicBezTo>
                  <a:cubicBezTo>
                    <a:pt x="471" y="1295"/>
                    <a:pt x="553" y="1313"/>
                    <a:pt x="631" y="1313"/>
                  </a:cubicBezTo>
                  <a:cubicBezTo>
                    <a:pt x="920" y="1313"/>
                    <a:pt x="1162" y="1063"/>
                    <a:pt x="1234" y="686"/>
                  </a:cubicBezTo>
                  <a:cubicBezTo>
                    <a:pt x="1142" y="503"/>
                    <a:pt x="1051" y="115"/>
                    <a:pt x="868" y="24"/>
                  </a:cubicBezTo>
                  <a:cubicBezTo>
                    <a:pt x="804" y="9"/>
                    <a:pt x="737" y="1"/>
                    <a:pt x="67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11"/>
            <p:cNvSpPr/>
            <p:nvPr/>
          </p:nvSpPr>
          <p:spPr>
            <a:xfrm>
              <a:off x="7559578" y="4918613"/>
              <a:ext cx="27640" cy="27407"/>
            </a:xfrm>
            <a:custGeom>
              <a:avLst/>
              <a:gdLst/>
              <a:ahLst/>
              <a:cxnLst/>
              <a:rect l="l" t="t" r="r" b="b"/>
              <a:pathLst>
                <a:path w="1325" h="1314" extrusionOk="0">
                  <a:moveTo>
                    <a:pt x="730" y="1"/>
                  </a:moveTo>
                  <a:cubicBezTo>
                    <a:pt x="359" y="1"/>
                    <a:pt x="77" y="194"/>
                    <a:pt x="0" y="594"/>
                  </a:cubicBezTo>
                  <a:cubicBezTo>
                    <a:pt x="0" y="777"/>
                    <a:pt x="183" y="1256"/>
                    <a:pt x="388" y="1256"/>
                  </a:cubicBezTo>
                  <a:cubicBezTo>
                    <a:pt x="485" y="1295"/>
                    <a:pt x="575" y="1313"/>
                    <a:pt x="658" y="1313"/>
                  </a:cubicBezTo>
                  <a:cubicBezTo>
                    <a:pt x="966" y="1313"/>
                    <a:pt x="1181" y="1063"/>
                    <a:pt x="1324" y="686"/>
                  </a:cubicBezTo>
                  <a:cubicBezTo>
                    <a:pt x="1233" y="503"/>
                    <a:pt x="1142" y="115"/>
                    <a:pt x="959" y="24"/>
                  </a:cubicBezTo>
                  <a:cubicBezTo>
                    <a:pt x="880" y="9"/>
                    <a:pt x="803" y="1"/>
                    <a:pt x="73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11"/>
            <p:cNvSpPr/>
            <p:nvPr/>
          </p:nvSpPr>
          <p:spPr>
            <a:xfrm>
              <a:off x="7748131" y="4918634"/>
              <a:ext cx="25720" cy="27386"/>
            </a:xfrm>
            <a:custGeom>
              <a:avLst/>
              <a:gdLst/>
              <a:ahLst/>
              <a:cxnLst/>
              <a:rect l="l" t="t" r="r" b="b"/>
              <a:pathLst>
                <a:path w="1233" h="1313" extrusionOk="0">
                  <a:moveTo>
                    <a:pt x="552" y="0"/>
                  </a:moveTo>
                  <a:cubicBezTo>
                    <a:pt x="491" y="0"/>
                    <a:pt x="428" y="8"/>
                    <a:pt x="365" y="23"/>
                  </a:cubicBezTo>
                  <a:cubicBezTo>
                    <a:pt x="183" y="114"/>
                    <a:pt x="0" y="502"/>
                    <a:pt x="0" y="685"/>
                  </a:cubicBezTo>
                  <a:cubicBezTo>
                    <a:pt x="0" y="1062"/>
                    <a:pt x="227" y="1312"/>
                    <a:pt x="557" y="1312"/>
                  </a:cubicBezTo>
                  <a:cubicBezTo>
                    <a:pt x="646" y="1312"/>
                    <a:pt x="743" y="1294"/>
                    <a:pt x="845" y="1255"/>
                  </a:cubicBezTo>
                  <a:cubicBezTo>
                    <a:pt x="1050" y="1255"/>
                    <a:pt x="1142" y="867"/>
                    <a:pt x="1233" y="685"/>
                  </a:cubicBezTo>
                  <a:cubicBezTo>
                    <a:pt x="1156" y="206"/>
                    <a:pt x="871" y="0"/>
                    <a:pt x="55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11"/>
            <p:cNvSpPr/>
            <p:nvPr/>
          </p:nvSpPr>
          <p:spPr>
            <a:xfrm>
              <a:off x="5024149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27" y="0"/>
                  </a:moveTo>
                  <a:cubicBezTo>
                    <a:pt x="872" y="0"/>
                    <a:pt x="815" y="6"/>
                    <a:pt x="754" y="17"/>
                  </a:cubicBezTo>
                  <a:cubicBezTo>
                    <a:pt x="571" y="17"/>
                    <a:pt x="183" y="200"/>
                    <a:pt x="92" y="383"/>
                  </a:cubicBezTo>
                  <a:cubicBezTo>
                    <a:pt x="1" y="771"/>
                    <a:pt x="183" y="1250"/>
                    <a:pt x="571" y="1341"/>
                  </a:cubicBezTo>
                  <a:cubicBezTo>
                    <a:pt x="676" y="1375"/>
                    <a:pt x="767" y="1390"/>
                    <a:pt x="848" y="1390"/>
                  </a:cubicBezTo>
                  <a:cubicBezTo>
                    <a:pt x="1209" y="1390"/>
                    <a:pt x="1362" y="1088"/>
                    <a:pt x="1530" y="771"/>
                  </a:cubicBezTo>
                  <a:cubicBezTo>
                    <a:pt x="1530" y="272"/>
                    <a:pt x="1304" y="0"/>
                    <a:pt x="92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11"/>
            <p:cNvSpPr/>
            <p:nvPr/>
          </p:nvSpPr>
          <p:spPr>
            <a:xfrm>
              <a:off x="5212953" y="5012034"/>
              <a:ext cx="33585" cy="29451"/>
            </a:xfrm>
            <a:custGeom>
              <a:avLst/>
              <a:gdLst/>
              <a:ahLst/>
              <a:cxnLst/>
              <a:rect l="l" t="t" r="r" b="b"/>
              <a:pathLst>
                <a:path w="1610" h="1412" extrusionOk="0">
                  <a:moveTo>
                    <a:pt x="628" y="1"/>
                  </a:moveTo>
                  <a:cubicBezTo>
                    <a:pt x="198" y="1"/>
                    <a:pt x="0" y="263"/>
                    <a:pt x="80" y="680"/>
                  </a:cubicBezTo>
                  <a:cubicBezTo>
                    <a:pt x="80" y="954"/>
                    <a:pt x="262" y="1342"/>
                    <a:pt x="468" y="1342"/>
                  </a:cubicBezTo>
                  <a:cubicBezTo>
                    <a:pt x="561" y="1389"/>
                    <a:pt x="662" y="1412"/>
                    <a:pt x="763" y="1412"/>
                  </a:cubicBezTo>
                  <a:cubicBezTo>
                    <a:pt x="1053" y="1412"/>
                    <a:pt x="1336" y="1219"/>
                    <a:pt x="1404" y="863"/>
                  </a:cubicBezTo>
                  <a:cubicBezTo>
                    <a:pt x="1609" y="384"/>
                    <a:pt x="1221" y="110"/>
                    <a:pt x="833" y="18"/>
                  </a:cubicBezTo>
                  <a:cubicBezTo>
                    <a:pt x="760" y="7"/>
                    <a:pt x="691" y="1"/>
                    <a:pt x="62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" name="Google Shape;528;p11"/>
            <p:cNvSpPr/>
            <p:nvPr/>
          </p:nvSpPr>
          <p:spPr>
            <a:xfrm>
              <a:off x="5398878" y="5011241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68" y="0"/>
                  </a:moveTo>
                  <a:cubicBezTo>
                    <a:pt x="886" y="0"/>
                    <a:pt x="792" y="18"/>
                    <a:pt x="685" y="56"/>
                  </a:cubicBezTo>
                  <a:cubicBezTo>
                    <a:pt x="480" y="56"/>
                    <a:pt x="206" y="330"/>
                    <a:pt x="114" y="536"/>
                  </a:cubicBezTo>
                  <a:cubicBezTo>
                    <a:pt x="0" y="992"/>
                    <a:pt x="297" y="1380"/>
                    <a:pt x="776" y="1380"/>
                  </a:cubicBezTo>
                  <a:cubicBezTo>
                    <a:pt x="838" y="1392"/>
                    <a:pt x="896" y="1398"/>
                    <a:pt x="951" y="1398"/>
                  </a:cubicBezTo>
                  <a:cubicBezTo>
                    <a:pt x="1322" y="1398"/>
                    <a:pt x="1530" y="1136"/>
                    <a:pt x="1530" y="718"/>
                  </a:cubicBezTo>
                  <a:cubicBezTo>
                    <a:pt x="1455" y="329"/>
                    <a:pt x="1321" y="0"/>
                    <a:pt x="96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" name="Google Shape;529;p11"/>
            <p:cNvSpPr/>
            <p:nvPr/>
          </p:nvSpPr>
          <p:spPr>
            <a:xfrm>
              <a:off x="5585512" y="5012409"/>
              <a:ext cx="35733" cy="28846"/>
            </a:xfrm>
            <a:custGeom>
              <a:avLst/>
              <a:gdLst/>
              <a:ahLst/>
              <a:cxnLst/>
              <a:rect l="l" t="t" r="r" b="b"/>
              <a:pathLst>
                <a:path w="1713" h="1383" extrusionOk="0">
                  <a:moveTo>
                    <a:pt x="959" y="0"/>
                  </a:moveTo>
                  <a:cubicBezTo>
                    <a:pt x="663" y="0"/>
                    <a:pt x="297" y="183"/>
                    <a:pt x="297" y="366"/>
                  </a:cubicBezTo>
                  <a:cubicBezTo>
                    <a:pt x="1" y="754"/>
                    <a:pt x="183" y="1233"/>
                    <a:pt x="663" y="1324"/>
                  </a:cubicBezTo>
                  <a:cubicBezTo>
                    <a:pt x="747" y="1364"/>
                    <a:pt x="832" y="1382"/>
                    <a:pt x="914" y="1382"/>
                  </a:cubicBezTo>
                  <a:cubicBezTo>
                    <a:pt x="1210" y="1382"/>
                    <a:pt x="1478" y="1148"/>
                    <a:pt x="1621" y="845"/>
                  </a:cubicBezTo>
                  <a:cubicBezTo>
                    <a:pt x="1713" y="274"/>
                    <a:pt x="1325" y="0"/>
                    <a:pt x="95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11"/>
            <p:cNvSpPr/>
            <p:nvPr/>
          </p:nvSpPr>
          <p:spPr>
            <a:xfrm>
              <a:off x="5774066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27" y="0"/>
                  </a:moveTo>
                  <a:cubicBezTo>
                    <a:pt x="872" y="0"/>
                    <a:pt x="814" y="6"/>
                    <a:pt x="754" y="17"/>
                  </a:cubicBezTo>
                  <a:cubicBezTo>
                    <a:pt x="571" y="17"/>
                    <a:pt x="183" y="200"/>
                    <a:pt x="92" y="383"/>
                  </a:cubicBezTo>
                  <a:cubicBezTo>
                    <a:pt x="1" y="771"/>
                    <a:pt x="183" y="1250"/>
                    <a:pt x="662" y="1341"/>
                  </a:cubicBezTo>
                  <a:cubicBezTo>
                    <a:pt x="750" y="1375"/>
                    <a:pt x="831" y="1390"/>
                    <a:pt x="905" y="1390"/>
                  </a:cubicBezTo>
                  <a:cubicBezTo>
                    <a:pt x="1237" y="1390"/>
                    <a:pt x="1437" y="1088"/>
                    <a:pt x="1530" y="771"/>
                  </a:cubicBezTo>
                  <a:cubicBezTo>
                    <a:pt x="1530" y="272"/>
                    <a:pt x="1303" y="0"/>
                    <a:pt x="92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11"/>
            <p:cNvSpPr/>
            <p:nvPr/>
          </p:nvSpPr>
          <p:spPr>
            <a:xfrm>
              <a:off x="5960721" y="5011241"/>
              <a:ext cx="33334" cy="29159"/>
            </a:xfrm>
            <a:custGeom>
              <a:avLst/>
              <a:gdLst/>
              <a:ahLst/>
              <a:cxnLst/>
              <a:rect l="l" t="t" r="r" b="b"/>
              <a:pathLst>
                <a:path w="1598" h="1398" extrusionOk="0">
                  <a:moveTo>
                    <a:pt x="1036" y="0"/>
                  </a:moveTo>
                  <a:cubicBezTo>
                    <a:pt x="954" y="0"/>
                    <a:pt x="861" y="18"/>
                    <a:pt x="753" y="56"/>
                  </a:cubicBezTo>
                  <a:cubicBezTo>
                    <a:pt x="571" y="56"/>
                    <a:pt x="274" y="330"/>
                    <a:pt x="183" y="536"/>
                  </a:cubicBezTo>
                  <a:cubicBezTo>
                    <a:pt x="0" y="992"/>
                    <a:pt x="365" y="1380"/>
                    <a:pt x="753" y="1380"/>
                  </a:cubicBezTo>
                  <a:cubicBezTo>
                    <a:pt x="827" y="1392"/>
                    <a:pt x="894" y="1398"/>
                    <a:pt x="955" y="1398"/>
                  </a:cubicBezTo>
                  <a:cubicBezTo>
                    <a:pt x="1369" y="1398"/>
                    <a:pt x="1518" y="1136"/>
                    <a:pt x="1598" y="718"/>
                  </a:cubicBezTo>
                  <a:cubicBezTo>
                    <a:pt x="1524" y="329"/>
                    <a:pt x="1389" y="0"/>
                    <a:pt x="103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11"/>
            <p:cNvSpPr/>
            <p:nvPr/>
          </p:nvSpPr>
          <p:spPr>
            <a:xfrm>
              <a:off x="6148795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48" y="0"/>
                  </a:moveTo>
                  <a:cubicBezTo>
                    <a:pt x="894" y="0"/>
                    <a:pt x="837" y="6"/>
                    <a:pt x="776" y="17"/>
                  </a:cubicBezTo>
                  <a:cubicBezTo>
                    <a:pt x="571" y="17"/>
                    <a:pt x="206" y="200"/>
                    <a:pt x="114" y="383"/>
                  </a:cubicBezTo>
                  <a:cubicBezTo>
                    <a:pt x="0" y="771"/>
                    <a:pt x="206" y="1250"/>
                    <a:pt x="685" y="1341"/>
                  </a:cubicBezTo>
                  <a:cubicBezTo>
                    <a:pt x="768" y="1375"/>
                    <a:pt x="846" y="1390"/>
                    <a:pt x="919" y="1390"/>
                  </a:cubicBezTo>
                  <a:cubicBezTo>
                    <a:pt x="1243" y="1390"/>
                    <a:pt x="1455" y="1088"/>
                    <a:pt x="1529" y="771"/>
                  </a:cubicBezTo>
                  <a:cubicBezTo>
                    <a:pt x="1529" y="272"/>
                    <a:pt x="1320" y="0"/>
                    <a:pt x="94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11"/>
            <p:cNvSpPr/>
            <p:nvPr/>
          </p:nvSpPr>
          <p:spPr>
            <a:xfrm>
              <a:off x="6335429" y="5011241"/>
              <a:ext cx="33835" cy="29159"/>
            </a:xfrm>
            <a:custGeom>
              <a:avLst/>
              <a:gdLst/>
              <a:ahLst/>
              <a:cxnLst/>
              <a:rect l="l" t="t" r="r" b="b"/>
              <a:pathLst>
                <a:path w="1622" h="1398" extrusionOk="0">
                  <a:moveTo>
                    <a:pt x="1039" y="0"/>
                  </a:moveTo>
                  <a:cubicBezTo>
                    <a:pt x="956" y="0"/>
                    <a:pt x="861" y="18"/>
                    <a:pt x="754" y="56"/>
                  </a:cubicBezTo>
                  <a:cubicBezTo>
                    <a:pt x="571" y="56"/>
                    <a:pt x="297" y="330"/>
                    <a:pt x="183" y="536"/>
                  </a:cubicBezTo>
                  <a:cubicBezTo>
                    <a:pt x="1" y="992"/>
                    <a:pt x="389" y="1380"/>
                    <a:pt x="868" y="1380"/>
                  </a:cubicBezTo>
                  <a:cubicBezTo>
                    <a:pt x="927" y="1392"/>
                    <a:pt x="981" y="1398"/>
                    <a:pt x="1032" y="1398"/>
                  </a:cubicBezTo>
                  <a:cubicBezTo>
                    <a:pt x="1375" y="1398"/>
                    <a:pt x="1542" y="1136"/>
                    <a:pt x="1621" y="718"/>
                  </a:cubicBezTo>
                  <a:cubicBezTo>
                    <a:pt x="1547" y="329"/>
                    <a:pt x="1398" y="0"/>
                    <a:pt x="103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" name="Google Shape;534;p11"/>
            <p:cNvSpPr/>
            <p:nvPr/>
          </p:nvSpPr>
          <p:spPr>
            <a:xfrm>
              <a:off x="6523983" y="5011241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94" y="0"/>
                  </a:moveTo>
                  <a:cubicBezTo>
                    <a:pt x="923" y="0"/>
                    <a:pt x="844" y="18"/>
                    <a:pt x="754" y="56"/>
                  </a:cubicBezTo>
                  <a:cubicBezTo>
                    <a:pt x="480" y="56"/>
                    <a:pt x="183" y="330"/>
                    <a:pt x="183" y="536"/>
                  </a:cubicBezTo>
                  <a:cubicBezTo>
                    <a:pt x="0" y="992"/>
                    <a:pt x="274" y="1380"/>
                    <a:pt x="754" y="1380"/>
                  </a:cubicBezTo>
                  <a:cubicBezTo>
                    <a:pt x="815" y="1392"/>
                    <a:pt x="874" y="1398"/>
                    <a:pt x="929" y="1398"/>
                  </a:cubicBezTo>
                  <a:cubicBezTo>
                    <a:pt x="1304" y="1398"/>
                    <a:pt x="1530" y="1136"/>
                    <a:pt x="1530" y="718"/>
                  </a:cubicBezTo>
                  <a:cubicBezTo>
                    <a:pt x="1437" y="329"/>
                    <a:pt x="1299" y="0"/>
                    <a:pt x="99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" name="Google Shape;535;p11"/>
            <p:cNvSpPr/>
            <p:nvPr/>
          </p:nvSpPr>
          <p:spPr>
            <a:xfrm>
              <a:off x="6712536" y="5011012"/>
              <a:ext cx="33814" cy="29034"/>
            </a:xfrm>
            <a:custGeom>
              <a:avLst/>
              <a:gdLst/>
              <a:ahLst/>
              <a:cxnLst/>
              <a:rect l="l" t="t" r="r" b="b"/>
              <a:pathLst>
                <a:path w="1621" h="1392" extrusionOk="0">
                  <a:moveTo>
                    <a:pt x="819" y="0"/>
                  </a:moveTo>
                  <a:cubicBezTo>
                    <a:pt x="737" y="0"/>
                    <a:pt x="653" y="21"/>
                    <a:pt x="571" y="67"/>
                  </a:cubicBezTo>
                  <a:cubicBezTo>
                    <a:pt x="92" y="159"/>
                    <a:pt x="0" y="638"/>
                    <a:pt x="183" y="1117"/>
                  </a:cubicBezTo>
                  <a:cubicBezTo>
                    <a:pt x="274" y="1300"/>
                    <a:pt x="662" y="1391"/>
                    <a:pt x="845" y="1391"/>
                  </a:cubicBezTo>
                  <a:cubicBezTo>
                    <a:pt x="1324" y="1391"/>
                    <a:pt x="1621" y="1117"/>
                    <a:pt x="1507" y="547"/>
                  </a:cubicBezTo>
                  <a:cubicBezTo>
                    <a:pt x="1365" y="246"/>
                    <a:pt x="1101" y="0"/>
                    <a:pt x="81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" name="Google Shape;536;p11"/>
            <p:cNvSpPr/>
            <p:nvPr/>
          </p:nvSpPr>
          <p:spPr>
            <a:xfrm>
              <a:off x="6898691" y="5012034"/>
              <a:ext cx="31937" cy="29493"/>
            </a:xfrm>
            <a:custGeom>
              <a:avLst/>
              <a:gdLst/>
              <a:ahLst/>
              <a:cxnLst/>
              <a:rect l="l" t="t" r="r" b="b"/>
              <a:pathLst>
                <a:path w="1531" h="1414" extrusionOk="0">
                  <a:moveTo>
                    <a:pt x="857" y="1"/>
                  </a:moveTo>
                  <a:cubicBezTo>
                    <a:pt x="802" y="1"/>
                    <a:pt x="745" y="6"/>
                    <a:pt x="686" y="18"/>
                  </a:cubicBezTo>
                  <a:cubicBezTo>
                    <a:pt x="206" y="201"/>
                    <a:pt x="1" y="589"/>
                    <a:pt x="115" y="954"/>
                  </a:cubicBezTo>
                  <a:cubicBezTo>
                    <a:pt x="249" y="1239"/>
                    <a:pt x="543" y="1413"/>
                    <a:pt x="835" y="1413"/>
                  </a:cubicBezTo>
                  <a:cubicBezTo>
                    <a:pt x="940" y="1413"/>
                    <a:pt x="1045" y="1391"/>
                    <a:pt x="1142" y="1342"/>
                  </a:cubicBezTo>
                  <a:cubicBezTo>
                    <a:pt x="1348" y="1160"/>
                    <a:pt x="1530" y="863"/>
                    <a:pt x="1530" y="589"/>
                  </a:cubicBezTo>
                  <a:cubicBezTo>
                    <a:pt x="1451" y="252"/>
                    <a:pt x="1216" y="1"/>
                    <a:pt x="85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" name="Google Shape;537;p11"/>
            <p:cNvSpPr/>
            <p:nvPr/>
          </p:nvSpPr>
          <p:spPr>
            <a:xfrm>
              <a:off x="7085346" y="5012034"/>
              <a:ext cx="33835" cy="29493"/>
            </a:xfrm>
            <a:custGeom>
              <a:avLst/>
              <a:gdLst/>
              <a:ahLst/>
              <a:cxnLst/>
              <a:rect l="l" t="t" r="r" b="b"/>
              <a:pathLst>
                <a:path w="1622" h="1414" extrusionOk="0">
                  <a:moveTo>
                    <a:pt x="872" y="1"/>
                  </a:moveTo>
                  <a:cubicBezTo>
                    <a:pt x="807" y="1"/>
                    <a:pt x="737" y="6"/>
                    <a:pt x="662" y="18"/>
                  </a:cubicBezTo>
                  <a:cubicBezTo>
                    <a:pt x="297" y="201"/>
                    <a:pt x="0" y="589"/>
                    <a:pt x="183" y="954"/>
                  </a:cubicBezTo>
                  <a:cubicBezTo>
                    <a:pt x="334" y="1239"/>
                    <a:pt x="633" y="1413"/>
                    <a:pt x="925" y="1413"/>
                  </a:cubicBezTo>
                  <a:cubicBezTo>
                    <a:pt x="1031" y="1413"/>
                    <a:pt x="1136" y="1391"/>
                    <a:pt x="1233" y="1342"/>
                  </a:cubicBezTo>
                  <a:cubicBezTo>
                    <a:pt x="1438" y="1160"/>
                    <a:pt x="1621" y="863"/>
                    <a:pt x="1530" y="589"/>
                  </a:cubicBezTo>
                  <a:cubicBezTo>
                    <a:pt x="1530" y="252"/>
                    <a:pt x="1306" y="1"/>
                    <a:pt x="87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" name="Google Shape;538;p11"/>
            <p:cNvSpPr/>
            <p:nvPr/>
          </p:nvSpPr>
          <p:spPr>
            <a:xfrm>
              <a:off x="7273900" y="5012054"/>
              <a:ext cx="33585" cy="28992"/>
            </a:xfrm>
            <a:custGeom>
              <a:avLst/>
              <a:gdLst/>
              <a:ahLst/>
              <a:cxnLst/>
              <a:rect l="l" t="t" r="r" b="b"/>
              <a:pathLst>
                <a:path w="1610" h="1390" extrusionOk="0">
                  <a:moveTo>
                    <a:pt x="1018" y="0"/>
                  </a:moveTo>
                  <a:cubicBezTo>
                    <a:pt x="963" y="0"/>
                    <a:pt x="905" y="6"/>
                    <a:pt x="845" y="17"/>
                  </a:cubicBezTo>
                  <a:cubicBezTo>
                    <a:pt x="571" y="17"/>
                    <a:pt x="183" y="200"/>
                    <a:pt x="183" y="383"/>
                  </a:cubicBezTo>
                  <a:cubicBezTo>
                    <a:pt x="0" y="771"/>
                    <a:pt x="183" y="1250"/>
                    <a:pt x="662" y="1341"/>
                  </a:cubicBezTo>
                  <a:cubicBezTo>
                    <a:pt x="750" y="1375"/>
                    <a:pt x="830" y="1390"/>
                    <a:pt x="905" y="1390"/>
                  </a:cubicBezTo>
                  <a:cubicBezTo>
                    <a:pt x="1236" y="1390"/>
                    <a:pt x="1436" y="1088"/>
                    <a:pt x="1530" y="771"/>
                  </a:cubicBezTo>
                  <a:cubicBezTo>
                    <a:pt x="1609" y="272"/>
                    <a:pt x="1393" y="0"/>
                    <a:pt x="10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" name="Google Shape;539;p11"/>
            <p:cNvSpPr/>
            <p:nvPr/>
          </p:nvSpPr>
          <p:spPr>
            <a:xfrm>
              <a:off x="7462453" y="5011241"/>
              <a:ext cx="31436" cy="29159"/>
            </a:xfrm>
            <a:custGeom>
              <a:avLst/>
              <a:gdLst/>
              <a:ahLst/>
              <a:cxnLst/>
              <a:rect l="l" t="t" r="r" b="b"/>
              <a:pathLst>
                <a:path w="1507" h="1398" extrusionOk="0">
                  <a:moveTo>
                    <a:pt x="945" y="0"/>
                  </a:moveTo>
                  <a:cubicBezTo>
                    <a:pt x="863" y="0"/>
                    <a:pt x="769" y="18"/>
                    <a:pt x="662" y="56"/>
                  </a:cubicBezTo>
                  <a:cubicBezTo>
                    <a:pt x="479" y="56"/>
                    <a:pt x="183" y="330"/>
                    <a:pt x="91" y="536"/>
                  </a:cubicBezTo>
                  <a:cubicBezTo>
                    <a:pt x="0" y="992"/>
                    <a:pt x="274" y="1380"/>
                    <a:pt x="753" y="1380"/>
                  </a:cubicBezTo>
                  <a:cubicBezTo>
                    <a:pt x="815" y="1392"/>
                    <a:pt x="873" y="1398"/>
                    <a:pt x="928" y="1398"/>
                  </a:cubicBezTo>
                  <a:cubicBezTo>
                    <a:pt x="1299" y="1398"/>
                    <a:pt x="1507" y="1136"/>
                    <a:pt x="1507" y="718"/>
                  </a:cubicBezTo>
                  <a:cubicBezTo>
                    <a:pt x="1432" y="329"/>
                    <a:pt x="1298" y="0"/>
                    <a:pt x="945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" name="Google Shape;540;p11"/>
            <p:cNvSpPr/>
            <p:nvPr/>
          </p:nvSpPr>
          <p:spPr>
            <a:xfrm>
              <a:off x="7648608" y="5011012"/>
              <a:ext cx="33835" cy="29034"/>
            </a:xfrm>
            <a:custGeom>
              <a:avLst/>
              <a:gdLst/>
              <a:ahLst/>
              <a:cxnLst/>
              <a:rect l="l" t="t" r="r" b="b"/>
              <a:pathLst>
                <a:path w="1622" h="1392" extrusionOk="0">
                  <a:moveTo>
                    <a:pt x="880" y="0"/>
                  </a:moveTo>
                  <a:cubicBezTo>
                    <a:pt x="783" y="0"/>
                    <a:pt x="679" y="21"/>
                    <a:pt x="571" y="67"/>
                  </a:cubicBezTo>
                  <a:cubicBezTo>
                    <a:pt x="206" y="159"/>
                    <a:pt x="1" y="638"/>
                    <a:pt x="298" y="1117"/>
                  </a:cubicBezTo>
                  <a:cubicBezTo>
                    <a:pt x="389" y="1300"/>
                    <a:pt x="686" y="1391"/>
                    <a:pt x="959" y="1391"/>
                  </a:cubicBezTo>
                  <a:cubicBezTo>
                    <a:pt x="1347" y="1391"/>
                    <a:pt x="1621" y="1117"/>
                    <a:pt x="1621" y="547"/>
                  </a:cubicBezTo>
                  <a:cubicBezTo>
                    <a:pt x="1480" y="246"/>
                    <a:pt x="1215" y="0"/>
                    <a:pt x="88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solidFill>
          <a:schemeClr val="dk1"/>
        </a:solidFill>
        <a:effectLst/>
      </p:bgPr>
    </p:bg>
    <p:spTree>
      <p:nvGrpSpPr>
        <p:cNvPr id="1" name="Shape 54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1">
  <p:cSld name="CUSTOM_4">
    <p:spTree>
      <p:nvGrpSpPr>
        <p:cNvPr id="1" name="Shape 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2" name="Google Shape;712;p16"/>
          <p:cNvSpPr txBox="1">
            <a:spLocks noGrp="1"/>
          </p:cNvSpPr>
          <p:nvPr>
            <p:ph type="title"/>
          </p:nvPr>
        </p:nvSpPr>
        <p:spPr>
          <a:xfrm>
            <a:off x="720000" y="1287450"/>
            <a:ext cx="3773400" cy="608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713" name="Google Shape;713;p16"/>
          <p:cNvSpPr txBox="1">
            <a:spLocks noGrp="1"/>
          </p:cNvSpPr>
          <p:nvPr>
            <p:ph type="subTitle" idx="1"/>
          </p:nvPr>
        </p:nvSpPr>
        <p:spPr>
          <a:xfrm>
            <a:off x="720000" y="1893775"/>
            <a:ext cx="2979900" cy="1030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Kumbh Sans"/>
                <a:ea typeface="Kumbh Sans"/>
                <a:cs typeface="Kumbh Sans"/>
                <a:sym typeface="Kumbh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4" name="Google Shape;714;p16"/>
          <p:cNvSpPr/>
          <p:nvPr/>
        </p:nvSpPr>
        <p:spPr>
          <a:xfrm flipH="1">
            <a:off x="-94100" y="4938650"/>
            <a:ext cx="2061900" cy="461700"/>
          </a:xfrm>
          <a:prstGeom prst="round2DiagRect">
            <a:avLst>
              <a:gd name="adj1" fmla="val 16667"/>
              <a:gd name="adj2" fmla="val 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715" name="Google Shape;715;p16"/>
          <p:cNvGrpSpPr/>
          <p:nvPr/>
        </p:nvGrpSpPr>
        <p:grpSpPr>
          <a:xfrm>
            <a:off x="2096449" y="4938638"/>
            <a:ext cx="2749703" cy="122913"/>
            <a:chOff x="5024149" y="4918613"/>
            <a:chExt cx="2749703" cy="122913"/>
          </a:xfrm>
        </p:grpSpPr>
        <p:sp>
          <p:nvSpPr>
            <p:cNvPr id="716" name="Google Shape;716;p16"/>
            <p:cNvSpPr/>
            <p:nvPr/>
          </p:nvSpPr>
          <p:spPr>
            <a:xfrm>
              <a:off x="5121294" y="4919510"/>
              <a:ext cx="27619" cy="26802"/>
            </a:xfrm>
            <a:custGeom>
              <a:avLst/>
              <a:gdLst/>
              <a:ahLst/>
              <a:cxnLst/>
              <a:rect l="l" t="t" r="r" b="b"/>
              <a:pathLst>
                <a:path w="1324" h="1285" extrusionOk="0">
                  <a:moveTo>
                    <a:pt x="690" y="1"/>
                  </a:moveTo>
                  <a:cubicBezTo>
                    <a:pt x="379" y="1"/>
                    <a:pt x="134" y="175"/>
                    <a:pt x="0" y="460"/>
                  </a:cubicBezTo>
                  <a:cubicBezTo>
                    <a:pt x="0" y="643"/>
                    <a:pt x="183" y="1031"/>
                    <a:pt x="297" y="1213"/>
                  </a:cubicBezTo>
                  <a:cubicBezTo>
                    <a:pt x="418" y="1262"/>
                    <a:pt x="528" y="1284"/>
                    <a:pt x="629" y="1284"/>
                  </a:cubicBezTo>
                  <a:cubicBezTo>
                    <a:pt x="909" y="1284"/>
                    <a:pt x="1123" y="1110"/>
                    <a:pt x="1324" y="825"/>
                  </a:cubicBezTo>
                  <a:cubicBezTo>
                    <a:pt x="1233" y="551"/>
                    <a:pt x="1141" y="163"/>
                    <a:pt x="1050" y="72"/>
                  </a:cubicBezTo>
                  <a:cubicBezTo>
                    <a:pt x="923" y="24"/>
                    <a:pt x="802" y="1"/>
                    <a:pt x="69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" name="Google Shape;717;p16"/>
            <p:cNvSpPr/>
            <p:nvPr/>
          </p:nvSpPr>
          <p:spPr>
            <a:xfrm>
              <a:off x="5307928" y="4919510"/>
              <a:ext cx="27639" cy="26802"/>
            </a:xfrm>
            <a:custGeom>
              <a:avLst/>
              <a:gdLst/>
              <a:ahLst/>
              <a:cxnLst/>
              <a:rect l="l" t="t" r="r" b="b"/>
              <a:pathLst>
                <a:path w="1325" h="1285" extrusionOk="0">
                  <a:moveTo>
                    <a:pt x="731" y="1"/>
                  </a:moveTo>
                  <a:cubicBezTo>
                    <a:pt x="435" y="1"/>
                    <a:pt x="159" y="175"/>
                    <a:pt x="92" y="460"/>
                  </a:cubicBezTo>
                  <a:cubicBezTo>
                    <a:pt x="1" y="643"/>
                    <a:pt x="183" y="1031"/>
                    <a:pt x="366" y="1213"/>
                  </a:cubicBezTo>
                  <a:cubicBezTo>
                    <a:pt x="469" y="1262"/>
                    <a:pt x="572" y="1284"/>
                    <a:pt x="671" y="1284"/>
                  </a:cubicBezTo>
                  <a:cubicBezTo>
                    <a:pt x="945" y="1284"/>
                    <a:pt x="1190" y="1110"/>
                    <a:pt x="1324" y="825"/>
                  </a:cubicBezTo>
                  <a:cubicBezTo>
                    <a:pt x="1233" y="551"/>
                    <a:pt x="1233" y="163"/>
                    <a:pt x="1051" y="72"/>
                  </a:cubicBezTo>
                  <a:cubicBezTo>
                    <a:pt x="948" y="24"/>
                    <a:pt x="838" y="1"/>
                    <a:pt x="73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" name="Google Shape;718;p16"/>
            <p:cNvSpPr/>
            <p:nvPr/>
          </p:nvSpPr>
          <p:spPr>
            <a:xfrm>
              <a:off x="5496482" y="4919823"/>
              <a:ext cx="25720" cy="27365"/>
            </a:xfrm>
            <a:custGeom>
              <a:avLst/>
              <a:gdLst/>
              <a:ahLst/>
              <a:cxnLst/>
              <a:rect l="l" t="t" r="r" b="b"/>
              <a:pathLst>
                <a:path w="1233" h="1312" extrusionOk="0">
                  <a:moveTo>
                    <a:pt x="656" y="0"/>
                  </a:moveTo>
                  <a:cubicBezTo>
                    <a:pt x="565" y="0"/>
                    <a:pt x="467" y="18"/>
                    <a:pt x="366" y="57"/>
                  </a:cubicBezTo>
                  <a:cubicBezTo>
                    <a:pt x="183" y="57"/>
                    <a:pt x="92" y="445"/>
                    <a:pt x="0" y="628"/>
                  </a:cubicBezTo>
                  <a:cubicBezTo>
                    <a:pt x="77" y="1106"/>
                    <a:pt x="346" y="1312"/>
                    <a:pt x="660" y="1312"/>
                  </a:cubicBezTo>
                  <a:cubicBezTo>
                    <a:pt x="720" y="1312"/>
                    <a:pt x="782" y="1304"/>
                    <a:pt x="845" y="1290"/>
                  </a:cubicBezTo>
                  <a:cubicBezTo>
                    <a:pt x="1028" y="1198"/>
                    <a:pt x="1233" y="810"/>
                    <a:pt x="1233" y="628"/>
                  </a:cubicBezTo>
                  <a:cubicBezTo>
                    <a:pt x="1233" y="250"/>
                    <a:pt x="992" y="0"/>
                    <a:pt x="65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" name="Google Shape;719;p16"/>
            <p:cNvSpPr/>
            <p:nvPr/>
          </p:nvSpPr>
          <p:spPr>
            <a:xfrm>
              <a:off x="5680738" y="4920490"/>
              <a:ext cx="33835" cy="26239"/>
            </a:xfrm>
            <a:custGeom>
              <a:avLst/>
              <a:gdLst/>
              <a:ahLst/>
              <a:cxnLst/>
              <a:rect l="l" t="t" r="r" b="b"/>
              <a:pathLst>
                <a:path w="1622" h="1258" extrusionOk="0">
                  <a:moveTo>
                    <a:pt x="743" y="1"/>
                  </a:moveTo>
                  <a:cubicBezTo>
                    <a:pt x="538" y="1"/>
                    <a:pt x="277" y="154"/>
                    <a:pt x="183" y="322"/>
                  </a:cubicBezTo>
                  <a:cubicBezTo>
                    <a:pt x="1" y="778"/>
                    <a:pt x="298" y="1166"/>
                    <a:pt x="754" y="1258"/>
                  </a:cubicBezTo>
                  <a:cubicBezTo>
                    <a:pt x="959" y="1166"/>
                    <a:pt x="1325" y="1075"/>
                    <a:pt x="1439" y="892"/>
                  </a:cubicBezTo>
                  <a:cubicBezTo>
                    <a:pt x="1621" y="413"/>
                    <a:pt x="1325" y="25"/>
                    <a:pt x="868" y="25"/>
                  </a:cubicBezTo>
                  <a:cubicBezTo>
                    <a:pt x="831" y="8"/>
                    <a:pt x="788" y="1"/>
                    <a:pt x="74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" name="Google Shape;720;p16"/>
            <p:cNvSpPr/>
            <p:nvPr/>
          </p:nvSpPr>
          <p:spPr>
            <a:xfrm>
              <a:off x="5871190" y="4919823"/>
              <a:ext cx="27639" cy="27365"/>
            </a:xfrm>
            <a:custGeom>
              <a:avLst/>
              <a:gdLst/>
              <a:ahLst/>
              <a:cxnLst/>
              <a:rect l="l" t="t" r="r" b="b"/>
              <a:pathLst>
                <a:path w="1325" h="1312" extrusionOk="0">
                  <a:moveTo>
                    <a:pt x="677" y="0"/>
                  </a:moveTo>
                  <a:cubicBezTo>
                    <a:pt x="587" y="0"/>
                    <a:pt x="491" y="18"/>
                    <a:pt x="389" y="57"/>
                  </a:cubicBezTo>
                  <a:cubicBezTo>
                    <a:pt x="184" y="57"/>
                    <a:pt x="92" y="445"/>
                    <a:pt x="1" y="628"/>
                  </a:cubicBezTo>
                  <a:cubicBezTo>
                    <a:pt x="77" y="1106"/>
                    <a:pt x="363" y="1312"/>
                    <a:pt x="682" y="1312"/>
                  </a:cubicBezTo>
                  <a:cubicBezTo>
                    <a:pt x="743" y="1312"/>
                    <a:pt x="806" y="1304"/>
                    <a:pt x="868" y="1290"/>
                  </a:cubicBezTo>
                  <a:cubicBezTo>
                    <a:pt x="1051" y="1198"/>
                    <a:pt x="1325" y="810"/>
                    <a:pt x="1233" y="628"/>
                  </a:cubicBezTo>
                  <a:cubicBezTo>
                    <a:pt x="1233" y="250"/>
                    <a:pt x="1007" y="0"/>
                    <a:pt x="6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" name="Google Shape;721;p16"/>
            <p:cNvSpPr/>
            <p:nvPr/>
          </p:nvSpPr>
          <p:spPr>
            <a:xfrm>
              <a:off x="6055947" y="4920490"/>
              <a:ext cx="33334" cy="26239"/>
            </a:xfrm>
            <a:custGeom>
              <a:avLst/>
              <a:gdLst/>
              <a:ahLst/>
              <a:cxnLst/>
              <a:rect l="l" t="t" r="r" b="b"/>
              <a:pathLst>
                <a:path w="1598" h="1258" extrusionOk="0">
                  <a:moveTo>
                    <a:pt x="728" y="1"/>
                  </a:moveTo>
                  <a:cubicBezTo>
                    <a:pt x="531" y="1"/>
                    <a:pt x="257" y="154"/>
                    <a:pt x="183" y="322"/>
                  </a:cubicBezTo>
                  <a:cubicBezTo>
                    <a:pt x="0" y="778"/>
                    <a:pt x="274" y="1166"/>
                    <a:pt x="753" y="1258"/>
                  </a:cubicBezTo>
                  <a:cubicBezTo>
                    <a:pt x="936" y="1166"/>
                    <a:pt x="1324" y="1075"/>
                    <a:pt x="1415" y="892"/>
                  </a:cubicBezTo>
                  <a:cubicBezTo>
                    <a:pt x="1598" y="413"/>
                    <a:pt x="1324" y="25"/>
                    <a:pt x="845" y="25"/>
                  </a:cubicBezTo>
                  <a:cubicBezTo>
                    <a:pt x="811" y="8"/>
                    <a:pt x="771" y="1"/>
                    <a:pt x="72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" name="Google Shape;722;p16"/>
            <p:cNvSpPr/>
            <p:nvPr/>
          </p:nvSpPr>
          <p:spPr>
            <a:xfrm>
              <a:off x="6244021" y="4919093"/>
              <a:ext cx="31916" cy="27636"/>
            </a:xfrm>
            <a:custGeom>
              <a:avLst/>
              <a:gdLst/>
              <a:ahLst/>
              <a:cxnLst/>
              <a:rect l="l" t="t" r="r" b="b"/>
              <a:pathLst>
                <a:path w="1530" h="1325" extrusionOk="0">
                  <a:moveTo>
                    <a:pt x="571" y="1"/>
                  </a:moveTo>
                  <a:cubicBezTo>
                    <a:pt x="206" y="183"/>
                    <a:pt x="0" y="571"/>
                    <a:pt x="206" y="959"/>
                  </a:cubicBezTo>
                  <a:cubicBezTo>
                    <a:pt x="297" y="1142"/>
                    <a:pt x="685" y="1325"/>
                    <a:pt x="867" y="1325"/>
                  </a:cubicBezTo>
                  <a:cubicBezTo>
                    <a:pt x="1347" y="1142"/>
                    <a:pt x="1529" y="754"/>
                    <a:pt x="1256" y="389"/>
                  </a:cubicBezTo>
                  <a:cubicBezTo>
                    <a:pt x="1141" y="183"/>
                    <a:pt x="867" y="92"/>
                    <a:pt x="57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" name="Google Shape;723;p16"/>
            <p:cNvSpPr/>
            <p:nvPr/>
          </p:nvSpPr>
          <p:spPr>
            <a:xfrm>
              <a:off x="6434473" y="4919823"/>
              <a:ext cx="26200" cy="27365"/>
            </a:xfrm>
            <a:custGeom>
              <a:avLst/>
              <a:gdLst/>
              <a:ahLst/>
              <a:cxnLst/>
              <a:rect l="l" t="t" r="r" b="b"/>
              <a:pathLst>
                <a:path w="1256" h="1312" extrusionOk="0">
                  <a:moveTo>
                    <a:pt x="679" y="0"/>
                  </a:moveTo>
                  <a:cubicBezTo>
                    <a:pt x="588" y="0"/>
                    <a:pt x="490" y="18"/>
                    <a:pt x="388" y="57"/>
                  </a:cubicBezTo>
                  <a:cubicBezTo>
                    <a:pt x="206" y="57"/>
                    <a:pt x="114" y="445"/>
                    <a:pt x="0" y="628"/>
                  </a:cubicBezTo>
                  <a:cubicBezTo>
                    <a:pt x="0" y="1106"/>
                    <a:pt x="273" y="1312"/>
                    <a:pt x="644" y="1312"/>
                  </a:cubicBezTo>
                  <a:cubicBezTo>
                    <a:pt x="715" y="1312"/>
                    <a:pt x="790" y="1304"/>
                    <a:pt x="868" y="1290"/>
                  </a:cubicBezTo>
                  <a:cubicBezTo>
                    <a:pt x="1050" y="1198"/>
                    <a:pt x="1256" y="810"/>
                    <a:pt x="1256" y="628"/>
                  </a:cubicBezTo>
                  <a:cubicBezTo>
                    <a:pt x="1256" y="250"/>
                    <a:pt x="1015" y="0"/>
                    <a:pt x="67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" name="Google Shape;724;p16"/>
            <p:cNvSpPr/>
            <p:nvPr/>
          </p:nvSpPr>
          <p:spPr>
            <a:xfrm>
              <a:off x="6621107" y="4919176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02" y="1"/>
                  </a:moveTo>
                  <a:cubicBezTo>
                    <a:pt x="577" y="1"/>
                    <a:pt x="440" y="31"/>
                    <a:pt x="298" y="88"/>
                  </a:cubicBezTo>
                  <a:cubicBezTo>
                    <a:pt x="183" y="179"/>
                    <a:pt x="1" y="567"/>
                    <a:pt x="1" y="750"/>
                  </a:cubicBezTo>
                  <a:cubicBezTo>
                    <a:pt x="125" y="1077"/>
                    <a:pt x="346" y="1266"/>
                    <a:pt x="596" y="1266"/>
                  </a:cubicBezTo>
                  <a:cubicBezTo>
                    <a:pt x="713" y="1266"/>
                    <a:pt x="836" y="1225"/>
                    <a:pt x="959" y="1138"/>
                  </a:cubicBezTo>
                  <a:cubicBezTo>
                    <a:pt x="1142" y="1047"/>
                    <a:pt x="1233" y="659"/>
                    <a:pt x="1325" y="476"/>
                  </a:cubicBezTo>
                  <a:cubicBezTo>
                    <a:pt x="1199" y="147"/>
                    <a:pt x="977" y="1"/>
                    <a:pt x="70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" name="Google Shape;725;p16"/>
            <p:cNvSpPr/>
            <p:nvPr/>
          </p:nvSpPr>
          <p:spPr>
            <a:xfrm>
              <a:off x="6807762" y="4919176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23" y="1"/>
                  </a:moveTo>
                  <a:cubicBezTo>
                    <a:pt x="608" y="1"/>
                    <a:pt x="487" y="31"/>
                    <a:pt x="366" y="88"/>
                  </a:cubicBezTo>
                  <a:cubicBezTo>
                    <a:pt x="183" y="179"/>
                    <a:pt x="0" y="567"/>
                    <a:pt x="92" y="750"/>
                  </a:cubicBezTo>
                  <a:cubicBezTo>
                    <a:pt x="154" y="1077"/>
                    <a:pt x="397" y="1266"/>
                    <a:pt x="668" y="1266"/>
                  </a:cubicBezTo>
                  <a:cubicBezTo>
                    <a:pt x="795" y="1266"/>
                    <a:pt x="927" y="1225"/>
                    <a:pt x="1050" y="1138"/>
                  </a:cubicBezTo>
                  <a:cubicBezTo>
                    <a:pt x="1233" y="1047"/>
                    <a:pt x="1233" y="659"/>
                    <a:pt x="1324" y="476"/>
                  </a:cubicBezTo>
                  <a:cubicBezTo>
                    <a:pt x="1199" y="147"/>
                    <a:pt x="976" y="1"/>
                    <a:pt x="72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" name="Google Shape;726;p16"/>
            <p:cNvSpPr/>
            <p:nvPr/>
          </p:nvSpPr>
          <p:spPr>
            <a:xfrm>
              <a:off x="6998214" y="4918613"/>
              <a:ext cx="25720" cy="27407"/>
            </a:xfrm>
            <a:custGeom>
              <a:avLst/>
              <a:gdLst/>
              <a:ahLst/>
              <a:cxnLst/>
              <a:rect l="l" t="t" r="r" b="b"/>
              <a:pathLst>
                <a:path w="1233" h="1314" extrusionOk="0">
                  <a:moveTo>
                    <a:pt x="617" y="1"/>
                  </a:moveTo>
                  <a:cubicBezTo>
                    <a:pt x="255" y="1"/>
                    <a:pt x="0" y="194"/>
                    <a:pt x="0" y="594"/>
                  </a:cubicBezTo>
                  <a:cubicBezTo>
                    <a:pt x="0" y="777"/>
                    <a:pt x="183" y="1256"/>
                    <a:pt x="366" y="1256"/>
                  </a:cubicBezTo>
                  <a:cubicBezTo>
                    <a:pt x="448" y="1295"/>
                    <a:pt x="530" y="1313"/>
                    <a:pt x="610" y="1313"/>
                  </a:cubicBezTo>
                  <a:cubicBezTo>
                    <a:pt x="905" y="1313"/>
                    <a:pt x="1161" y="1063"/>
                    <a:pt x="1233" y="686"/>
                  </a:cubicBezTo>
                  <a:cubicBezTo>
                    <a:pt x="1142" y="503"/>
                    <a:pt x="1050" y="115"/>
                    <a:pt x="845" y="24"/>
                  </a:cubicBezTo>
                  <a:cubicBezTo>
                    <a:pt x="766" y="9"/>
                    <a:pt x="689" y="1"/>
                    <a:pt x="61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" name="Google Shape;727;p16"/>
            <p:cNvSpPr/>
            <p:nvPr/>
          </p:nvSpPr>
          <p:spPr>
            <a:xfrm>
              <a:off x="7182470" y="4920490"/>
              <a:ext cx="31937" cy="26239"/>
            </a:xfrm>
            <a:custGeom>
              <a:avLst/>
              <a:gdLst/>
              <a:ahLst/>
              <a:cxnLst/>
              <a:rect l="l" t="t" r="r" b="b"/>
              <a:pathLst>
                <a:path w="1531" h="1258" extrusionOk="0">
                  <a:moveTo>
                    <a:pt x="651" y="1"/>
                  </a:moveTo>
                  <a:cubicBezTo>
                    <a:pt x="447" y="1"/>
                    <a:pt x="185" y="154"/>
                    <a:pt x="92" y="322"/>
                  </a:cubicBezTo>
                  <a:cubicBezTo>
                    <a:pt x="1" y="778"/>
                    <a:pt x="206" y="1166"/>
                    <a:pt x="663" y="1258"/>
                  </a:cubicBezTo>
                  <a:cubicBezTo>
                    <a:pt x="959" y="1166"/>
                    <a:pt x="1348" y="1075"/>
                    <a:pt x="1348" y="892"/>
                  </a:cubicBezTo>
                  <a:cubicBezTo>
                    <a:pt x="1530" y="413"/>
                    <a:pt x="1233" y="25"/>
                    <a:pt x="777" y="25"/>
                  </a:cubicBezTo>
                  <a:cubicBezTo>
                    <a:pt x="740" y="8"/>
                    <a:pt x="697" y="1"/>
                    <a:pt x="65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" name="Google Shape;728;p16"/>
            <p:cNvSpPr/>
            <p:nvPr/>
          </p:nvSpPr>
          <p:spPr>
            <a:xfrm>
              <a:off x="7372922" y="4918613"/>
              <a:ext cx="25741" cy="27407"/>
            </a:xfrm>
            <a:custGeom>
              <a:avLst/>
              <a:gdLst/>
              <a:ahLst/>
              <a:cxnLst/>
              <a:rect l="l" t="t" r="r" b="b"/>
              <a:pathLst>
                <a:path w="1234" h="1314" extrusionOk="0">
                  <a:moveTo>
                    <a:pt x="671" y="1"/>
                  </a:moveTo>
                  <a:cubicBezTo>
                    <a:pt x="335" y="1"/>
                    <a:pt x="1" y="194"/>
                    <a:pt x="1" y="594"/>
                  </a:cubicBezTo>
                  <a:cubicBezTo>
                    <a:pt x="1" y="777"/>
                    <a:pt x="206" y="1256"/>
                    <a:pt x="389" y="1256"/>
                  </a:cubicBezTo>
                  <a:cubicBezTo>
                    <a:pt x="471" y="1295"/>
                    <a:pt x="553" y="1313"/>
                    <a:pt x="631" y="1313"/>
                  </a:cubicBezTo>
                  <a:cubicBezTo>
                    <a:pt x="920" y="1313"/>
                    <a:pt x="1162" y="1063"/>
                    <a:pt x="1234" y="686"/>
                  </a:cubicBezTo>
                  <a:cubicBezTo>
                    <a:pt x="1142" y="503"/>
                    <a:pt x="1051" y="115"/>
                    <a:pt x="868" y="24"/>
                  </a:cubicBezTo>
                  <a:cubicBezTo>
                    <a:pt x="804" y="9"/>
                    <a:pt x="737" y="1"/>
                    <a:pt x="67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" name="Google Shape;729;p16"/>
            <p:cNvSpPr/>
            <p:nvPr/>
          </p:nvSpPr>
          <p:spPr>
            <a:xfrm>
              <a:off x="7559578" y="4918613"/>
              <a:ext cx="27640" cy="27407"/>
            </a:xfrm>
            <a:custGeom>
              <a:avLst/>
              <a:gdLst/>
              <a:ahLst/>
              <a:cxnLst/>
              <a:rect l="l" t="t" r="r" b="b"/>
              <a:pathLst>
                <a:path w="1325" h="1314" extrusionOk="0">
                  <a:moveTo>
                    <a:pt x="730" y="1"/>
                  </a:moveTo>
                  <a:cubicBezTo>
                    <a:pt x="359" y="1"/>
                    <a:pt x="77" y="194"/>
                    <a:pt x="0" y="594"/>
                  </a:cubicBezTo>
                  <a:cubicBezTo>
                    <a:pt x="0" y="777"/>
                    <a:pt x="183" y="1256"/>
                    <a:pt x="388" y="1256"/>
                  </a:cubicBezTo>
                  <a:cubicBezTo>
                    <a:pt x="485" y="1295"/>
                    <a:pt x="575" y="1313"/>
                    <a:pt x="658" y="1313"/>
                  </a:cubicBezTo>
                  <a:cubicBezTo>
                    <a:pt x="966" y="1313"/>
                    <a:pt x="1181" y="1063"/>
                    <a:pt x="1324" y="686"/>
                  </a:cubicBezTo>
                  <a:cubicBezTo>
                    <a:pt x="1233" y="503"/>
                    <a:pt x="1142" y="115"/>
                    <a:pt x="959" y="24"/>
                  </a:cubicBezTo>
                  <a:cubicBezTo>
                    <a:pt x="880" y="9"/>
                    <a:pt x="803" y="1"/>
                    <a:pt x="73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" name="Google Shape;730;p16"/>
            <p:cNvSpPr/>
            <p:nvPr/>
          </p:nvSpPr>
          <p:spPr>
            <a:xfrm>
              <a:off x="7748131" y="4918634"/>
              <a:ext cx="25720" cy="27386"/>
            </a:xfrm>
            <a:custGeom>
              <a:avLst/>
              <a:gdLst/>
              <a:ahLst/>
              <a:cxnLst/>
              <a:rect l="l" t="t" r="r" b="b"/>
              <a:pathLst>
                <a:path w="1233" h="1313" extrusionOk="0">
                  <a:moveTo>
                    <a:pt x="552" y="0"/>
                  </a:moveTo>
                  <a:cubicBezTo>
                    <a:pt x="491" y="0"/>
                    <a:pt x="428" y="8"/>
                    <a:pt x="365" y="23"/>
                  </a:cubicBezTo>
                  <a:cubicBezTo>
                    <a:pt x="183" y="114"/>
                    <a:pt x="0" y="502"/>
                    <a:pt x="0" y="685"/>
                  </a:cubicBezTo>
                  <a:cubicBezTo>
                    <a:pt x="0" y="1062"/>
                    <a:pt x="227" y="1312"/>
                    <a:pt x="557" y="1312"/>
                  </a:cubicBezTo>
                  <a:cubicBezTo>
                    <a:pt x="646" y="1312"/>
                    <a:pt x="743" y="1294"/>
                    <a:pt x="845" y="1255"/>
                  </a:cubicBezTo>
                  <a:cubicBezTo>
                    <a:pt x="1050" y="1255"/>
                    <a:pt x="1142" y="867"/>
                    <a:pt x="1233" y="685"/>
                  </a:cubicBezTo>
                  <a:cubicBezTo>
                    <a:pt x="1156" y="206"/>
                    <a:pt x="871" y="0"/>
                    <a:pt x="55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" name="Google Shape;731;p16"/>
            <p:cNvSpPr/>
            <p:nvPr/>
          </p:nvSpPr>
          <p:spPr>
            <a:xfrm>
              <a:off x="5024149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27" y="0"/>
                  </a:moveTo>
                  <a:cubicBezTo>
                    <a:pt x="872" y="0"/>
                    <a:pt x="815" y="6"/>
                    <a:pt x="754" y="17"/>
                  </a:cubicBezTo>
                  <a:cubicBezTo>
                    <a:pt x="571" y="17"/>
                    <a:pt x="183" y="200"/>
                    <a:pt x="92" y="383"/>
                  </a:cubicBezTo>
                  <a:cubicBezTo>
                    <a:pt x="1" y="771"/>
                    <a:pt x="183" y="1250"/>
                    <a:pt x="571" y="1341"/>
                  </a:cubicBezTo>
                  <a:cubicBezTo>
                    <a:pt x="676" y="1375"/>
                    <a:pt x="767" y="1390"/>
                    <a:pt x="848" y="1390"/>
                  </a:cubicBezTo>
                  <a:cubicBezTo>
                    <a:pt x="1209" y="1390"/>
                    <a:pt x="1362" y="1088"/>
                    <a:pt x="1530" y="771"/>
                  </a:cubicBezTo>
                  <a:cubicBezTo>
                    <a:pt x="1530" y="272"/>
                    <a:pt x="1304" y="0"/>
                    <a:pt x="92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" name="Google Shape;732;p16"/>
            <p:cNvSpPr/>
            <p:nvPr/>
          </p:nvSpPr>
          <p:spPr>
            <a:xfrm>
              <a:off x="5212953" y="5012034"/>
              <a:ext cx="33585" cy="29451"/>
            </a:xfrm>
            <a:custGeom>
              <a:avLst/>
              <a:gdLst/>
              <a:ahLst/>
              <a:cxnLst/>
              <a:rect l="l" t="t" r="r" b="b"/>
              <a:pathLst>
                <a:path w="1610" h="1412" extrusionOk="0">
                  <a:moveTo>
                    <a:pt x="628" y="1"/>
                  </a:moveTo>
                  <a:cubicBezTo>
                    <a:pt x="198" y="1"/>
                    <a:pt x="0" y="263"/>
                    <a:pt x="80" y="680"/>
                  </a:cubicBezTo>
                  <a:cubicBezTo>
                    <a:pt x="80" y="954"/>
                    <a:pt x="262" y="1342"/>
                    <a:pt x="468" y="1342"/>
                  </a:cubicBezTo>
                  <a:cubicBezTo>
                    <a:pt x="561" y="1389"/>
                    <a:pt x="662" y="1412"/>
                    <a:pt x="763" y="1412"/>
                  </a:cubicBezTo>
                  <a:cubicBezTo>
                    <a:pt x="1053" y="1412"/>
                    <a:pt x="1336" y="1219"/>
                    <a:pt x="1404" y="863"/>
                  </a:cubicBezTo>
                  <a:cubicBezTo>
                    <a:pt x="1609" y="384"/>
                    <a:pt x="1221" y="110"/>
                    <a:pt x="833" y="18"/>
                  </a:cubicBezTo>
                  <a:cubicBezTo>
                    <a:pt x="760" y="7"/>
                    <a:pt x="691" y="1"/>
                    <a:pt x="62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" name="Google Shape;733;p16"/>
            <p:cNvSpPr/>
            <p:nvPr/>
          </p:nvSpPr>
          <p:spPr>
            <a:xfrm>
              <a:off x="5398878" y="5011241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68" y="0"/>
                  </a:moveTo>
                  <a:cubicBezTo>
                    <a:pt x="886" y="0"/>
                    <a:pt x="792" y="18"/>
                    <a:pt x="685" y="56"/>
                  </a:cubicBezTo>
                  <a:cubicBezTo>
                    <a:pt x="480" y="56"/>
                    <a:pt x="206" y="330"/>
                    <a:pt x="114" y="536"/>
                  </a:cubicBezTo>
                  <a:cubicBezTo>
                    <a:pt x="0" y="992"/>
                    <a:pt x="297" y="1380"/>
                    <a:pt x="776" y="1380"/>
                  </a:cubicBezTo>
                  <a:cubicBezTo>
                    <a:pt x="838" y="1392"/>
                    <a:pt x="896" y="1398"/>
                    <a:pt x="951" y="1398"/>
                  </a:cubicBezTo>
                  <a:cubicBezTo>
                    <a:pt x="1322" y="1398"/>
                    <a:pt x="1530" y="1136"/>
                    <a:pt x="1530" y="718"/>
                  </a:cubicBezTo>
                  <a:cubicBezTo>
                    <a:pt x="1455" y="329"/>
                    <a:pt x="1321" y="0"/>
                    <a:pt x="96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" name="Google Shape;734;p16"/>
            <p:cNvSpPr/>
            <p:nvPr/>
          </p:nvSpPr>
          <p:spPr>
            <a:xfrm>
              <a:off x="5585512" y="5012409"/>
              <a:ext cx="35733" cy="28846"/>
            </a:xfrm>
            <a:custGeom>
              <a:avLst/>
              <a:gdLst/>
              <a:ahLst/>
              <a:cxnLst/>
              <a:rect l="l" t="t" r="r" b="b"/>
              <a:pathLst>
                <a:path w="1713" h="1383" extrusionOk="0">
                  <a:moveTo>
                    <a:pt x="959" y="0"/>
                  </a:moveTo>
                  <a:cubicBezTo>
                    <a:pt x="663" y="0"/>
                    <a:pt x="297" y="183"/>
                    <a:pt x="297" y="366"/>
                  </a:cubicBezTo>
                  <a:cubicBezTo>
                    <a:pt x="1" y="754"/>
                    <a:pt x="183" y="1233"/>
                    <a:pt x="663" y="1324"/>
                  </a:cubicBezTo>
                  <a:cubicBezTo>
                    <a:pt x="747" y="1364"/>
                    <a:pt x="832" y="1382"/>
                    <a:pt x="914" y="1382"/>
                  </a:cubicBezTo>
                  <a:cubicBezTo>
                    <a:pt x="1210" y="1382"/>
                    <a:pt x="1478" y="1148"/>
                    <a:pt x="1621" y="845"/>
                  </a:cubicBezTo>
                  <a:cubicBezTo>
                    <a:pt x="1713" y="274"/>
                    <a:pt x="1325" y="0"/>
                    <a:pt x="95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" name="Google Shape;735;p16"/>
            <p:cNvSpPr/>
            <p:nvPr/>
          </p:nvSpPr>
          <p:spPr>
            <a:xfrm>
              <a:off x="5774066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27" y="0"/>
                  </a:moveTo>
                  <a:cubicBezTo>
                    <a:pt x="872" y="0"/>
                    <a:pt x="814" y="6"/>
                    <a:pt x="754" y="17"/>
                  </a:cubicBezTo>
                  <a:cubicBezTo>
                    <a:pt x="571" y="17"/>
                    <a:pt x="183" y="200"/>
                    <a:pt x="92" y="383"/>
                  </a:cubicBezTo>
                  <a:cubicBezTo>
                    <a:pt x="1" y="771"/>
                    <a:pt x="183" y="1250"/>
                    <a:pt x="662" y="1341"/>
                  </a:cubicBezTo>
                  <a:cubicBezTo>
                    <a:pt x="750" y="1375"/>
                    <a:pt x="831" y="1390"/>
                    <a:pt x="905" y="1390"/>
                  </a:cubicBezTo>
                  <a:cubicBezTo>
                    <a:pt x="1237" y="1390"/>
                    <a:pt x="1437" y="1088"/>
                    <a:pt x="1530" y="771"/>
                  </a:cubicBezTo>
                  <a:cubicBezTo>
                    <a:pt x="1530" y="272"/>
                    <a:pt x="1303" y="0"/>
                    <a:pt x="92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" name="Google Shape;736;p16"/>
            <p:cNvSpPr/>
            <p:nvPr/>
          </p:nvSpPr>
          <p:spPr>
            <a:xfrm>
              <a:off x="5960721" y="5011241"/>
              <a:ext cx="33334" cy="29159"/>
            </a:xfrm>
            <a:custGeom>
              <a:avLst/>
              <a:gdLst/>
              <a:ahLst/>
              <a:cxnLst/>
              <a:rect l="l" t="t" r="r" b="b"/>
              <a:pathLst>
                <a:path w="1598" h="1398" extrusionOk="0">
                  <a:moveTo>
                    <a:pt x="1036" y="0"/>
                  </a:moveTo>
                  <a:cubicBezTo>
                    <a:pt x="954" y="0"/>
                    <a:pt x="861" y="18"/>
                    <a:pt x="753" y="56"/>
                  </a:cubicBezTo>
                  <a:cubicBezTo>
                    <a:pt x="571" y="56"/>
                    <a:pt x="274" y="330"/>
                    <a:pt x="183" y="536"/>
                  </a:cubicBezTo>
                  <a:cubicBezTo>
                    <a:pt x="0" y="992"/>
                    <a:pt x="365" y="1380"/>
                    <a:pt x="753" y="1380"/>
                  </a:cubicBezTo>
                  <a:cubicBezTo>
                    <a:pt x="827" y="1392"/>
                    <a:pt x="894" y="1398"/>
                    <a:pt x="955" y="1398"/>
                  </a:cubicBezTo>
                  <a:cubicBezTo>
                    <a:pt x="1369" y="1398"/>
                    <a:pt x="1518" y="1136"/>
                    <a:pt x="1598" y="718"/>
                  </a:cubicBezTo>
                  <a:cubicBezTo>
                    <a:pt x="1524" y="329"/>
                    <a:pt x="1389" y="0"/>
                    <a:pt x="103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" name="Google Shape;737;p16"/>
            <p:cNvSpPr/>
            <p:nvPr/>
          </p:nvSpPr>
          <p:spPr>
            <a:xfrm>
              <a:off x="6148795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48" y="0"/>
                  </a:moveTo>
                  <a:cubicBezTo>
                    <a:pt x="894" y="0"/>
                    <a:pt x="837" y="6"/>
                    <a:pt x="776" y="17"/>
                  </a:cubicBezTo>
                  <a:cubicBezTo>
                    <a:pt x="571" y="17"/>
                    <a:pt x="206" y="200"/>
                    <a:pt x="114" y="383"/>
                  </a:cubicBezTo>
                  <a:cubicBezTo>
                    <a:pt x="0" y="771"/>
                    <a:pt x="206" y="1250"/>
                    <a:pt x="685" y="1341"/>
                  </a:cubicBezTo>
                  <a:cubicBezTo>
                    <a:pt x="768" y="1375"/>
                    <a:pt x="846" y="1390"/>
                    <a:pt x="919" y="1390"/>
                  </a:cubicBezTo>
                  <a:cubicBezTo>
                    <a:pt x="1243" y="1390"/>
                    <a:pt x="1455" y="1088"/>
                    <a:pt x="1529" y="771"/>
                  </a:cubicBezTo>
                  <a:cubicBezTo>
                    <a:pt x="1529" y="272"/>
                    <a:pt x="1320" y="0"/>
                    <a:pt x="94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" name="Google Shape;738;p16"/>
            <p:cNvSpPr/>
            <p:nvPr/>
          </p:nvSpPr>
          <p:spPr>
            <a:xfrm>
              <a:off x="6335429" y="5011241"/>
              <a:ext cx="33835" cy="29159"/>
            </a:xfrm>
            <a:custGeom>
              <a:avLst/>
              <a:gdLst/>
              <a:ahLst/>
              <a:cxnLst/>
              <a:rect l="l" t="t" r="r" b="b"/>
              <a:pathLst>
                <a:path w="1622" h="1398" extrusionOk="0">
                  <a:moveTo>
                    <a:pt x="1039" y="0"/>
                  </a:moveTo>
                  <a:cubicBezTo>
                    <a:pt x="956" y="0"/>
                    <a:pt x="861" y="18"/>
                    <a:pt x="754" y="56"/>
                  </a:cubicBezTo>
                  <a:cubicBezTo>
                    <a:pt x="571" y="56"/>
                    <a:pt x="297" y="330"/>
                    <a:pt x="183" y="536"/>
                  </a:cubicBezTo>
                  <a:cubicBezTo>
                    <a:pt x="1" y="992"/>
                    <a:pt x="389" y="1380"/>
                    <a:pt x="868" y="1380"/>
                  </a:cubicBezTo>
                  <a:cubicBezTo>
                    <a:pt x="927" y="1392"/>
                    <a:pt x="981" y="1398"/>
                    <a:pt x="1032" y="1398"/>
                  </a:cubicBezTo>
                  <a:cubicBezTo>
                    <a:pt x="1375" y="1398"/>
                    <a:pt x="1542" y="1136"/>
                    <a:pt x="1621" y="718"/>
                  </a:cubicBezTo>
                  <a:cubicBezTo>
                    <a:pt x="1547" y="329"/>
                    <a:pt x="1398" y="0"/>
                    <a:pt x="103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" name="Google Shape;739;p16"/>
            <p:cNvSpPr/>
            <p:nvPr/>
          </p:nvSpPr>
          <p:spPr>
            <a:xfrm>
              <a:off x="6523983" y="5011241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94" y="0"/>
                  </a:moveTo>
                  <a:cubicBezTo>
                    <a:pt x="923" y="0"/>
                    <a:pt x="844" y="18"/>
                    <a:pt x="754" y="56"/>
                  </a:cubicBezTo>
                  <a:cubicBezTo>
                    <a:pt x="480" y="56"/>
                    <a:pt x="183" y="330"/>
                    <a:pt x="183" y="536"/>
                  </a:cubicBezTo>
                  <a:cubicBezTo>
                    <a:pt x="0" y="992"/>
                    <a:pt x="274" y="1380"/>
                    <a:pt x="754" y="1380"/>
                  </a:cubicBezTo>
                  <a:cubicBezTo>
                    <a:pt x="815" y="1392"/>
                    <a:pt x="874" y="1398"/>
                    <a:pt x="929" y="1398"/>
                  </a:cubicBezTo>
                  <a:cubicBezTo>
                    <a:pt x="1304" y="1398"/>
                    <a:pt x="1530" y="1136"/>
                    <a:pt x="1530" y="718"/>
                  </a:cubicBezTo>
                  <a:cubicBezTo>
                    <a:pt x="1437" y="329"/>
                    <a:pt x="1299" y="0"/>
                    <a:pt x="99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" name="Google Shape;740;p16"/>
            <p:cNvSpPr/>
            <p:nvPr/>
          </p:nvSpPr>
          <p:spPr>
            <a:xfrm>
              <a:off x="6712536" y="5011012"/>
              <a:ext cx="33814" cy="29034"/>
            </a:xfrm>
            <a:custGeom>
              <a:avLst/>
              <a:gdLst/>
              <a:ahLst/>
              <a:cxnLst/>
              <a:rect l="l" t="t" r="r" b="b"/>
              <a:pathLst>
                <a:path w="1621" h="1392" extrusionOk="0">
                  <a:moveTo>
                    <a:pt x="819" y="0"/>
                  </a:moveTo>
                  <a:cubicBezTo>
                    <a:pt x="737" y="0"/>
                    <a:pt x="653" y="21"/>
                    <a:pt x="571" y="67"/>
                  </a:cubicBezTo>
                  <a:cubicBezTo>
                    <a:pt x="92" y="159"/>
                    <a:pt x="0" y="638"/>
                    <a:pt x="183" y="1117"/>
                  </a:cubicBezTo>
                  <a:cubicBezTo>
                    <a:pt x="274" y="1300"/>
                    <a:pt x="662" y="1391"/>
                    <a:pt x="845" y="1391"/>
                  </a:cubicBezTo>
                  <a:cubicBezTo>
                    <a:pt x="1324" y="1391"/>
                    <a:pt x="1621" y="1117"/>
                    <a:pt x="1507" y="547"/>
                  </a:cubicBezTo>
                  <a:cubicBezTo>
                    <a:pt x="1365" y="246"/>
                    <a:pt x="1101" y="0"/>
                    <a:pt x="81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" name="Google Shape;741;p16"/>
            <p:cNvSpPr/>
            <p:nvPr/>
          </p:nvSpPr>
          <p:spPr>
            <a:xfrm>
              <a:off x="6898691" y="5012034"/>
              <a:ext cx="31937" cy="29493"/>
            </a:xfrm>
            <a:custGeom>
              <a:avLst/>
              <a:gdLst/>
              <a:ahLst/>
              <a:cxnLst/>
              <a:rect l="l" t="t" r="r" b="b"/>
              <a:pathLst>
                <a:path w="1531" h="1414" extrusionOk="0">
                  <a:moveTo>
                    <a:pt x="857" y="1"/>
                  </a:moveTo>
                  <a:cubicBezTo>
                    <a:pt x="802" y="1"/>
                    <a:pt x="745" y="6"/>
                    <a:pt x="686" y="18"/>
                  </a:cubicBezTo>
                  <a:cubicBezTo>
                    <a:pt x="206" y="201"/>
                    <a:pt x="1" y="589"/>
                    <a:pt x="115" y="954"/>
                  </a:cubicBezTo>
                  <a:cubicBezTo>
                    <a:pt x="249" y="1239"/>
                    <a:pt x="543" y="1413"/>
                    <a:pt x="835" y="1413"/>
                  </a:cubicBezTo>
                  <a:cubicBezTo>
                    <a:pt x="940" y="1413"/>
                    <a:pt x="1045" y="1391"/>
                    <a:pt x="1142" y="1342"/>
                  </a:cubicBezTo>
                  <a:cubicBezTo>
                    <a:pt x="1348" y="1160"/>
                    <a:pt x="1530" y="863"/>
                    <a:pt x="1530" y="589"/>
                  </a:cubicBezTo>
                  <a:cubicBezTo>
                    <a:pt x="1451" y="252"/>
                    <a:pt x="1216" y="1"/>
                    <a:pt x="85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" name="Google Shape;742;p16"/>
            <p:cNvSpPr/>
            <p:nvPr/>
          </p:nvSpPr>
          <p:spPr>
            <a:xfrm>
              <a:off x="7085346" y="5012034"/>
              <a:ext cx="33835" cy="29493"/>
            </a:xfrm>
            <a:custGeom>
              <a:avLst/>
              <a:gdLst/>
              <a:ahLst/>
              <a:cxnLst/>
              <a:rect l="l" t="t" r="r" b="b"/>
              <a:pathLst>
                <a:path w="1622" h="1414" extrusionOk="0">
                  <a:moveTo>
                    <a:pt x="872" y="1"/>
                  </a:moveTo>
                  <a:cubicBezTo>
                    <a:pt x="807" y="1"/>
                    <a:pt x="737" y="6"/>
                    <a:pt x="662" y="18"/>
                  </a:cubicBezTo>
                  <a:cubicBezTo>
                    <a:pt x="297" y="201"/>
                    <a:pt x="0" y="589"/>
                    <a:pt x="183" y="954"/>
                  </a:cubicBezTo>
                  <a:cubicBezTo>
                    <a:pt x="334" y="1239"/>
                    <a:pt x="633" y="1413"/>
                    <a:pt x="925" y="1413"/>
                  </a:cubicBezTo>
                  <a:cubicBezTo>
                    <a:pt x="1031" y="1413"/>
                    <a:pt x="1136" y="1391"/>
                    <a:pt x="1233" y="1342"/>
                  </a:cubicBezTo>
                  <a:cubicBezTo>
                    <a:pt x="1438" y="1160"/>
                    <a:pt x="1621" y="863"/>
                    <a:pt x="1530" y="589"/>
                  </a:cubicBezTo>
                  <a:cubicBezTo>
                    <a:pt x="1530" y="252"/>
                    <a:pt x="1306" y="1"/>
                    <a:pt x="87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" name="Google Shape;743;p16"/>
            <p:cNvSpPr/>
            <p:nvPr/>
          </p:nvSpPr>
          <p:spPr>
            <a:xfrm>
              <a:off x="7273900" y="5012054"/>
              <a:ext cx="33585" cy="28992"/>
            </a:xfrm>
            <a:custGeom>
              <a:avLst/>
              <a:gdLst/>
              <a:ahLst/>
              <a:cxnLst/>
              <a:rect l="l" t="t" r="r" b="b"/>
              <a:pathLst>
                <a:path w="1610" h="1390" extrusionOk="0">
                  <a:moveTo>
                    <a:pt x="1018" y="0"/>
                  </a:moveTo>
                  <a:cubicBezTo>
                    <a:pt x="963" y="0"/>
                    <a:pt x="905" y="6"/>
                    <a:pt x="845" y="17"/>
                  </a:cubicBezTo>
                  <a:cubicBezTo>
                    <a:pt x="571" y="17"/>
                    <a:pt x="183" y="200"/>
                    <a:pt x="183" y="383"/>
                  </a:cubicBezTo>
                  <a:cubicBezTo>
                    <a:pt x="0" y="771"/>
                    <a:pt x="183" y="1250"/>
                    <a:pt x="662" y="1341"/>
                  </a:cubicBezTo>
                  <a:cubicBezTo>
                    <a:pt x="750" y="1375"/>
                    <a:pt x="830" y="1390"/>
                    <a:pt x="905" y="1390"/>
                  </a:cubicBezTo>
                  <a:cubicBezTo>
                    <a:pt x="1236" y="1390"/>
                    <a:pt x="1436" y="1088"/>
                    <a:pt x="1530" y="771"/>
                  </a:cubicBezTo>
                  <a:cubicBezTo>
                    <a:pt x="1609" y="272"/>
                    <a:pt x="1393" y="0"/>
                    <a:pt x="10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" name="Google Shape;744;p16"/>
            <p:cNvSpPr/>
            <p:nvPr/>
          </p:nvSpPr>
          <p:spPr>
            <a:xfrm>
              <a:off x="7462453" y="5011241"/>
              <a:ext cx="31436" cy="29159"/>
            </a:xfrm>
            <a:custGeom>
              <a:avLst/>
              <a:gdLst/>
              <a:ahLst/>
              <a:cxnLst/>
              <a:rect l="l" t="t" r="r" b="b"/>
              <a:pathLst>
                <a:path w="1507" h="1398" extrusionOk="0">
                  <a:moveTo>
                    <a:pt x="945" y="0"/>
                  </a:moveTo>
                  <a:cubicBezTo>
                    <a:pt x="863" y="0"/>
                    <a:pt x="769" y="18"/>
                    <a:pt x="662" y="56"/>
                  </a:cubicBezTo>
                  <a:cubicBezTo>
                    <a:pt x="479" y="56"/>
                    <a:pt x="183" y="330"/>
                    <a:pt x="91" y="536"/>
                  </a:cubicBezTo>
                  <a:cubicBezTo>
                    <a:pt x="0" y="992"/>
                    <a:pt x="274" y="1380"/>
                    <a:pt x="753" y="1380"/>
                  </a:cubicBezTo>
                  <a:cubicBezTo>
                    <a:pt x="815" y="1392"/>
                    <a:pt x="873" y="1398"/>
                    <a:pt x="928" y="1398"/>
                  </a:cubicBezTo>
                  <a:cubicBezTo>
                    <a:pt x="1299" y="1398"/>
                    <a:pt x="1507" y="1136"/>
                    <a:pt x="1507" y="718"/>
                  </a:cubicBezTo>
                  <a:cubicBezTo>
                    <a:pt x="1432" y="329"/>
                    <a:pt x="1298" y="0"/>
                    <a:pt x="945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" name="Google Shape;745;p16"/>
            <p:cNvSpPr/>
            <p:nvPr/>
          </p:nvSpPr>
          <p:spPr>
            <a:xfrm>
              <a:off x="7648608" y="5011012"/>
              <a:ext cx="33835" cy="29034"/>
            </a:xfrm>
            <a:custGeom>
              <a:avLst/>
              <a:gdLst/>
              <a:ahLst/>
              <a:cxnLst/>
              <a:rect l="l" t="t" r="r" b="b"/>
              <a:pathLst>
                <a:path w="1622" h="1392" extrusionOk="0">
                  <a:moveTo>
                    <a:pt x="880" y="0"/>
                  </a:moveTo>
                  <a:cubicBezTo>
                    <a:pt x="783" y="0"/>
                    <a:pt x="679" y="21"/>
                    <a:pt x="571" y="67"/>
                  </a:cubicBezTo>
                  <a:cubicBezTo>
                    <a:pt x="206" y="159"/>
                    <a:pt x="1" y="638"/>
                    <a:pt x="298" y="1117"/>
                  </a:cubicBezTo>
                  <a:cubicBezTo>
                    <a:pt x="389" y="1300"/>
                    <a:pt x="686" y="1391"/>
                    <a:pt x="959" y="1391"/>
                  </a:cubicBezTo>
                  <a:cubicBezTo>
                    <a:pt x="1347" y="1391"/>
                    <a:pt x="1621" y="1117"/>
                    <a:pt x="1621" y="547"/>
                  </a:cubicBezTo>
                  <a:cubicBezTo>
                    <a:pt x="1480" y="246"/>
                    <a:pt x="1215" y="0"/>
                    <a:pt x="88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46" name="Google Shape;746;p16"/>
          <p:cNvSpPr/>
          <p:nvPr/>
        </p:nvSpPr>
        <p:spPr>
          <a:xfrm>
            <a:off x="174100" y="4640920"/>
            <a:ext cx="548665" cy="305245"/>
          </a:xfrm>
          <a:custGeom>
            <a:avLst/>
            <a:gdLst/>
            <a:ahLst/>
            <a:cxnLst/>
            <a:rect l="l" t="t" r="r" b="b"/>
            <a:pathLst>
              <a:path w="14412" h="8018" extrusionOk="0">
                <a:moveTo>
                  <a:pt x="8469" y="0"/>
                </a:moveTo>
                <a:cubicBezTo>
                  <a:pt x="8269" y="0"/>
                  <a:pt x="8106" y="171"/>
                  <a:pt x="8106" y="370"/>
                </a:cubicBezTo>
                <a:lnTo>
                  <a:pt x="8106" y="1675"/>
                </a:lnTo>
                <a:cubicBezTo>
                  <a:pt x="8106" y="1875"/>
                  <a:pt x="7935" y="2038"/>
                  <a:pt x="7736" y="2038"/>
                </a:cubicBezTo>
                <a:cubicBezTo>
                  <a:pt x="7542" y="2038"/>
                  <a:pt x="7387" y="1891"/>
                  <a:pt x="7371" y="1704"/>
                </a:cubicBezTo>
                <a:lnTo>
                  <a:pt x="7371" y="1037"/>
                </a:lnTo>
                <a:cubicBezTo>
                  <a:pt x="7371" y="838"/>
                  <a:pt x="7210" y="667"/>
                  <a:pt x="7009" y="667"/>
                </a:cubicBezTo>
                <a:cubicBezTo>
                  <a:pt x="6802" y="667"/>
                  <a:pt x="6639" y="838"/>
                  <a:pt x="6639" y="1037"/>
                </a:cubicBezTo>
                <a:lnTo>
                  <a:pt x="6639" y="1809"/>
                </a:lnTo>
                <a:cubicBezTo>
                  <a:pt x="6639" y="2015"/>
                  <a:pt x="6475" y="2179"/>
                  <a:pt x="6276" y="2179"/>
                </a:cubicBezTo>
                <a:cubicBezTo>
                  <a:pt x="6068" y="2179"/>
                  <a:pt x="5904" y="2015"/>
                  <a:pt x="5904" y="1809"/>
                </a:cubicBezTo>
                <a:lnTo>
                  <a:pt x="5904" y="601"/>
                </a:lnTo>
                <a:cubicBezTo>
                  <a:pt x="5904" y="393"/>
                  <a:pt x="5742" y="230"/>
                  <a:pt x="5534" y="230"/>
                </a:cubicBezTo>
                <a:cubicBezTo>
                  <a:pt x="5408" y="230"/>
                  <a:pt x="5298" y="297"/>
                  <a:pt x="5237" y="393"/>
                </a:cubicBezTo>
                <a:cubicBezTo>
                  <a:pt x="5193" y="452"/>
                  <a:pt x="5172" y="519"/>
                  <a:pt x="5172" y="601"/>
                </a:cubicBezTo>
                <a:lnTo>
                  <a:pt x="5172" y="993"/>
                </a:lnTo>
                <a:cubicBezTo>
                  <a:pt x="5172" y="1179"/>
                  <a:pt x="5015" y="1334"/>
                  <a:pt x="4830" y="1334"/>
                </a:cubicBezTo>
                <a:lnTo>
                  <a:pt x="4802" y="1334"/>
                </a:lnTo>
                <a:cubicBezTo>
                  <a:pt x="4631" y="1334"/>
                  <a:pt x="4490" y="1201"/>
                  <a:pt x="4467" y="1037"/>
                </a:cubicBezTo>
                <a:lnTo>
                  <a:pt x="288" y="6959"/>
                </a:lnTo>
                <a:cubicBezTo>
                  <a:pt x="0" y="7366"/>
                  <a:pt x="237" y="7982"/>
                  <a:pt x="711" y="8010"/>
                </a:cubicBezTo>
                <a:cubicBezTo>
                  <a:pt x="726" y="8017"/>
                  <a:pt x="740" y="8017"/>
                  <a:pt x="756" y="8017"/>
                </a:cubicBezTo>
                <a:lnTo>
                  <a:pt x="13656" y="8017"/>
                </a:lnTo>
                <a:cubicBezTo>
                  <a:pt x="13670" y="8017"/>
                  <a:pt x="13685" y="8017"/>
                  <a:pt x="13701" y="8010"/>
                </a:cubicBezTo>
                <a:cubicBezTo>
                  <a:pt x="14174" y="7982"/>
                  <a:pt x="14412" y="7366"/>
                  <a:pt x="14122" y="6959"/>
                </a:cubicBezTo>
                <a:lnTo>
                  <a:pt x="9550" y="527"/>
                </a:lnTo>
                <a:lnTo>
                  <a:pt x="9550" y="1341"/>
                </a:lnTo>
                <a:cubicBezTo>
                  <a:pt x="9550" y="1526"/>
                  <a:pt x="9395" y="1683"/>
                  <a:pt x="9210" y="1683"/>
                </a:cubicBezTo>
                <a:lnTo>
                  <a:pt x="9180" y="1683"/>
                </a:lnTo>
                <a:cubicBezTo>
                  <a:pt x="8988" y="1683"/>
                  <a:pt x="8839" y="1526"/>
                  <a:pt x="8839" y="1341"/>
                </a:cubicBezTo>
                <a:lnTo>
                  <a:pt x="8839" y="393"/>
                </a:lnTo>
                <a:lnTo>
                  <a:pt x="8839" y="370"/>
                </a:lnTo>
                <a:cubicBezTo>
                  <a:pt x="8839" y="171"/>
                  <a:pt x="8670" y="0"/>
                  <a:pt x="846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47" name="Google Shape;747;p16"/>
          <p:cNvSpPr/>
          <p:nvPr/>
        </p:nvSpPr>
        <p:spPr>
          <a:xfrm>
            <a:off x="337911" y="4573766"/>
            <a:ext cx="199753" cy="150110"/>
          </a:xfrm>
          <a:custGeom>
            <a:avLst/>
            <a:gdLst/>
            <a:ahLst/>
            <a:cxnLst/>
            <a:rect l="l" t="t" r="r" b="b"/>
            <a:pathLst>
              <a:path w="5247" h="3943" extrusionOk="0">
                <a:moveTo>
                  <a:pt x="2891" y="0"/>
                </a:moveTo>
                <a:cubicBezTo>
                  <a:pt x="2418" y="0"/>
                  <a:pt x="1973" y="238"/>
                  <a:pt x="1683" y="646"/>
                </a:cubicBezTo>
                <a:lnTo>
                  <a:pt x="890" y="1771"/>
                </a:lnTo>
                <a:lnTo>
                  <a:pt x="890" y="1764"/>
                </a:lnTo>
                <a:lnTo>
                  <a:pt x="165" y="2804"/>
                </a:lnTo>
                <a:lnTo>
                  <a:pt x="165" y="2804"/>
                </a:lnTo>
                <a:cubicBezTo>
                  <a:pt x="165" y="2803"/>
                  <a:pt x="164" y="2802"/>
                  <a:pt x="164" y="2801"/>
                </a:cubicBezTo>
                <a:lnTo>
                  <a:pt x="1" y="3039"/>
                </a:lnTo>
                <a:lnTo>
                  <a:pt x="1" y="3039"/>
                </a:lnTo>
                <a:lnTo>
                  <a:pt x="165" y="2804"/>
                </a:lnTo>
                <a:lnTo>
                  <a:pt x="165" y="2804"/>
                </a:lnTo>
                <a:cubicBezTo>
                  <a:pt x="189" y="2966"/>
                  <a:pt x="329" y="3091"/>
                  <a:pt x="499" y="3091"/>
                </a:cubicBezTo>
                <a:lnTo>
                  <a:pt x="534" y="3091"/>
                </a:lnTo>
                <a:cubicBezTo>
                  <a:pt x="721" y="3091"/>
                  <a:pt x="876" y="2943"/>
                  <a:pt x="876" y="2749"/>
                </a:cubicBezTo>
                <a:lnTo>
                  <a:pt x="876" y="2356"/>
                </a:lnTo>
                <a:cubicBezTo>
                  <a:pt x="876" y="2283"/>
                  <a:pt x="899" y="2209"/>
                  <a:pt x="934" y="2157"/>
                </a:cubicBezTo>
                <a:cubicBezTo>
                  <a:pt x="943" y="2143"/>
                  <a:pt x="957" y="2127"/>
                  <a:pt x="965" y="2120"/>
                </a:cubicBezTo>
                <a:cubicBezTo>
                  <a:pt x="972" y="2113"/>
                  <a:pt x="972" y="2106"/>
                  <a:pt x="979" y="2099"/>
                </a:cubicBezTo>
                <a:cubicBezTo>
                  <a:pt x="988" y="2090"/>
                  <a:pt x="1002" y="2083"/>
                  <a:pt x="1009" y="2075"/>
                </a:cubicBezTo>
                <a:cubicBezTo>
                  <a:pt x="1023" y="2068"/>
                  <a:pt x="1032" y="2054"/>
                  <a:pt x="1046" y="2045"/>
                </a:cubicBezTo>
                <a:cubicBezTo>
                  <a:pt x="1053" y="2045"/>
                  <a:pt x="1061" y="2038"/>
                  <a:pt x="1068" y="2038"/>
                </a:cubicBezTo>
                <a:cubicBezTo>
                  <a:pt x="1091" y="2024"/>
                  <a:pt x="1121" y="2017"/>
                  <a:pt x="1142" y="2010"/>
                </a:cubicBezTo>
                <a:cubicBezTo>
                  <a:pt x="1173" y="2001"/>
                  <a:pt x="1201" y="1994"/>
                  <a:pt x="1231" y="1994"/>
                </a:cubicBezTo>
                <a:cubicBezTo>
                  <a:pt x="1439" y="1994"/>
                  <a:pt x="1601" y="2157"/>
                  <a:pt x="1601" y="2365"/>
                </a:cubicBezTo>
                <a:lnTo>
                  <a:pt x="1601" y="3573"/>
                </a:lnTo>
                <a:cubicBezTo>
                  <a:pt x="1601" y="3779"/>
                  <a:pt x="1765" y="3943"/>
                  <a:pt x="1973" y="3943"/>
                </a:cubicBezTo>
                <a:cubicBezTo>
                  <a:pt x="2172" y="3943"/>
                  <a:pt x="2336" y="3779"/>
                  <a:pt x="2336" y="3573"/>
                </a:cubicBezTo>
                <a:lnTo>
                  <a:pt x="2336" y="2801"/>
                </a:lnTo>
                <a:cubicBezTo>
                  <a:pt x="2336" y="2602"/>
                  <a:pt x="2499" y="2431"/>
                  <a:pt x="2706" y="2431"/>
                </a:cubicBezTo>
                <a:cubicBezTo>
                  <a:pt x="2907" y="2431"/>
                  <a:pt x="3068" y="2602"/>
                  <a:pt x="3068" y="2801"/>
                </a:cubicBezTo>
                <a:lnTo>
                  <a:pt x="3068" y="3468"/>
                </a:lnTo>
                <a:cubicBezTo>
                  <a:pt x="3084" y="3655"/>
                  <a:pt x="3239" y="3802"/>
                  <a:pt x="3433" y="3802"/>
                </a:cubicBezTo>
                <a:cubicBezTo>
                  <a:pt x="3632" y="3802"/>
                  <a:pt x="3803" y="3639"/>
                  <a:pt x="3803" y="3439"/>
                </a:cubicBezTo>
                <a:lnTo>
                  <a:pt x="3803" y="2134"/>
                </a:lnTo>
                <a:cubicBezTo>
                  <a:pt x="3803" y="1935"/>
                  <a:pt x="3966" y="1764"/>
                  <a:pt x="4166" y="1764"/>
                </a:cubicBezTo>
                <a:cubicBezTo>
                  <a:pt x="4367" y="1764"/>
                  <a:pt x="4536" y="1935"/>
                  <a:pt x="4536" y="2134"/>
                </a:cubicBezTo>
                <a:lnTo>
                  <a:pt x="4536" y="2157"/>
                </a:lnTo>
                <a:lnTo>
                  <a:pt x="4536" y="3105"/>
                </a:lnTo>
                <a:cubicBezTo>
                  <a:pt x="4536" y="3290"/>
                  <a:pt x="4685" y="3447"/>
                  <a:pt x="4870" y="3447"/>
                </a:cubicBezTo>
                <a:lnTo>
                  <a:pt x="4907" y="3447"/>
                </a:lnTo>
                <a:cubicBezTo>
                  <a:pt x="5092" y="3447"/>
                  <a:pt x="5247" y="3290"/>
                  <a:pt x="5247" y="3105"/>
                </a:cubicBezTo>
                <a:lnTo>
                  <a:pt x="5247" y="2291"/>
                </a:lnTo>
                <a:lnTo>
                  <a:pt x="4062" y="631"/>
                </a:lnTo>
                <a:cubicBezTo>
                  <a:pt x="3780" y="231"/>
                  <a:pt x="3351" y="0"/>
                  <a:pt x="2891" y="0"/>
                </a:cubicBezTo>
                <a:close/>
              </a:path>
            </a:pathLst>
          </a:custGeom>
          <a:solidFill>
            <a:srgbClr val="AAACB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748" name="Google Shape;748;p16"/>
          <p:cNvGrpSpPr/>
          <p:nvPr/>
        </p:nvGrpSpPr>
        <p:grpSpPr>
          <a:xfrm>
            <a:off x="1617565" y="4633387"/>
            <a:ext cx="274020" cy="305248"/>
            <a:chOff x="6354733" y="3914449"/>
            <a:chExt cx="375627" cy="418435"/>
          </a:xfrm>
        </p:grpSpPr>
        <p:sp>
          <p:nvSpPr>
            <p:cNvPr id="749" name="Google Shape;749;p16"/>
            <p:cNvSpPr/>
            <p:nvPr/>
          </p:nvSpPr>
          <p:spPr>
            <a:xfrm>
              <a:off x="6354733" y="3914449"/>
              <a:ext cx="375627" cy="365115"/>
            </a:xfrm>
            <a:custGeom>
              <a:avLst/>
              <a:gdLst/>
              <a:ahLst/>
              <a:cxnLst/>
              <a:rect l="l" t="t" r="r" b="b"/>
              <a:pathLst>
                <a:path w="4431" h="4307" extrusionOk="0">
                  <a:moveTo>
                    <a:pt x="2149" y="0"/>
                  </a:moveTo>
                  <a:cubicBezTo>
                    <a:pt x="2071" y="0"/>
                    <a:pt x="1994" y="21"/>
                    <a:pt x="1927" y="61"/>
                  </a:cubicBezTo>
                  <a:cubicBezTo>
                    <a:pt x="1438" y="366"/>
                    <a:pt x="1" y="4306"/>
                    <a:pt x="2149" y="4306"/>
                  </a:cubicBezTo>
                  <a:cubicBezTo>
                    <a:pt x="4431" y="4306"/>
                    <a:pt x="2868" y="366"/>
                    <a:pt x="2371" y="61"/>
                  </a:cubicBezTo>
                  <a:cubicBezTo>
                    <a:pt x="2305" y="21"/>
                    <a:pt x="2227" y="0"/>
                    <a:pt x="2149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" name="Google Shape;750;p16"/>
            <p:cNvSpPr/>
            <p:nvPr/>
          </p:nvSpPr>
          <p:spPr>
            <a:xfrm>
              <a:off x="6354733" y="3919536"/>
              <a:ext cx="182261" cy="360029"/>
            </a:xfrm>
            <a:custGeom>
              <a:avLst/>
              <a:gdLst/>
              <a:ahLst/>
              <a:cxnLst/>
              <a:rect l="l" t="t" r="r" b="b"/>
              <a:pathLst>
                <a:path w="2150" h="4247" extrusionOk="0">
                  <a:moveTo>
                    <a:pt x="1930" y="0"/>
                  </a:moveTo>
                  <a:lnTo>
                    <a:pt x="1930" y="0"/>
                  </a:lnTo>
                  <a:cubicBezTo>
                    <a:pt x="1929" y="0"/>
                    <a:pt x="1928" y="1"/>
                    <a:pt x="1927" y="1"/>
                  </a:cubicBezTo>
                  <a:cubicBezTo>
                    <a:pt x="1438" y="306"/>
                    <a:pt x="1" y="4246"/>
                    <a:pt x="2149" y="4246"/>
                  </a:cubicBezTo>
                  <a:cubicBezTo>
                    <a:pt x="2149" y="4246"/>
                    <a:pt x="1609" y="4202"/>
                    <a:pt x="1578" y="2662"/>
                  </a:cubicBezTo>
                  <a:cubicBezTo>
                    <a:pt x="1542" y="1142"/>
                    <a:pt x="1985" y="0"/>
                    <a:pt x="1930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" name="Google Shape;751;p16"/>
            <p:cNvSpPr/>
            <p:nvPr/>
          </p:nvSpPr>
          <p:spPr>
            <a:xfrm>
              <a:off x="6531143" y="4080262"/>
              <a:ext cx="26449" cy="252622"/>
            </a:xfrm>
            <a:custGeom>
              <a:avLst/>
              <a:gdLst/>
              <a:ahLst/>
              <a:cxnLst/>
              <a:rect l="l" t="t" r="r" b="b"/>
              <a:pathLst>
                <a:path w="312" h="2980" extrusionOk="0">
                  <a:moveTo>
                    <a:pt x="159" y="1"/>
                  </a:moveTo>
                  <a:cubicBezTo>
                    <a:pt x="158" y="1"/>
                    <a:pt x="157" y="5"/>
                    <a:pt x="157" y="17"/>
                  </a:cubicBezTo>
                  <a:lnTo>
                    <a:pt x="1" y="2980"/>
                  </a:lnTo>
                  <a:lnTo>
                    <a:pt x="312" y="2980"/>
                  </a:lnTo>
                  <a:cubicBezTo>
                    <a:pt x="305" y="1714"/>
                    <a:pt x="187" y="17"/>
                    <a:pt x="164" y="17"/>
                  </a:cubicBezTo>
                  <a:cubicBezTo>
                    <a:pt x="164" y="17"/>
                    <a:pt x="161" y="1"/>
                    <a:pt x="15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" name="Google Shape;752;p16"/>
            <p:cNvSpPr/>
            <p:nvPr/>
          </p:nvSpPr>
          <p:spPr>
            <a:xfrm>
              <a:off x="6473413" y="4169527"/>
              <a:ext cx="71124" cy="57900"/>
            </a:xfrm>
            <a:custGeom>
              <a:avLst/>
              <a:gdLst/>
              <a:ahLst/>
              <a:cxnLst/>
              <a:rect l="l" t="t" r="r" b="b"/>
              <a:pathLst>
                <a:path w="839" h="683" extrusionOk="0">
                  <a:moveTo>
                    <a:pt x="0" y="1"/>
                  </a:moveTo>
                  <a:lnTo>
                    <a:pt x="0" y="1"/>
                  </a:lnTo>
                  <a:cubicBezTo>
                    <a:pt x="404" y="662"/>
                    <a:pt x="782" y="682"/>
                    <a:pt x="826" y="682"/>
                  </a:cubicBezTo>
                  <a:cubicBezTo>
                    <a:pt x="829" y="682"/>
                    <a:pt x="831" y="682"/>
                    <a:pt x="831" y="682"/>
                  </a:cubicBezTo>
                  <a:lnTo>
                    <a:pt x="838" y="586"/>
                  </a:lnTo>
                  <a:lnTo>
                    <a:pt x="838" y="586"/>
                  </a:lnTo>
                  <a:cubicBezTo>
                    <a:pt x="838" y="586"/>
                    <a:pt x="830" y="592"/>
                    <a:pt x="807" y="592"/>
                  </a:cubicBezTo>
                  <a:cubicBezTo>
                    <a:pt x="757" y="592"/>
                    <a:pt x="639" y="564"/>
                    <a:pt x="386" y="387"/>
                  </a:cubicBezTo>
                  <a:cubicBezTo>
                    <a:pt x="164" y="23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" name="Google Shape;753;p16"/>
            <p:cNvSpPr/>
            <p:nvPr/>
          </p:nvSpPr>
          <p:spPr>
            <a:xfrm>
              <a:off x="6544452" y="4153929"/>
              <a:ext cx="60951" cy="49083"/>
            </a:xfrm>
            <a:custGeom>
              <a:avLst/>
              <a:gdLst/>
              <a:ahLst/>
              <a:cxnLst/>
              <a:rect l="l" t="t" r="r" b="b"/>
              <a:pathLst>
                <a:path w="719" h="579" extrusionOk="0">
                  <a:moveTo>
                    <a:pt x="719" y="0"/>
                  </a:moveTo>
                  <a:lnTo>
                    <a:pt x="719" y="0"/>
                  </a:lnTo>
                  <a:cubicBezTo>
                    <a:pt x="718" y="0"/>
                    <a:pt x="578" y="192"/>
                    <a:pt x="393" y="325"/>
                  </a:cubicBezTo>
                  <a:cubicBezTo>
                    <a:pt x="185" y="471"/>
                    <a:pt x="81" y="496"/>
                    <a:pt x="34" y="496"/>
                  </a:cubicBezTo>
                  <a:cubicBezTo>
                    <a:pt x="9" y="496"/>
                    <a:pt x="0" y="489"/>
                    <a:pt x="0" y="489"/>
                  </a:cubicBezTo>
                  <a:lnTo>
                    <a:pt x="0" y="489"/>
                  </a:lnTo>
                  <a:lnTo>
                    <a:pt x="7" y="578"/>
                  </a:lnTo>
                  <a:cubicBezTo>
                    <a:pt x="7" y="578"/>
                    <a:pt x="8" y="578"/>
                    <a:pt x="9" y="578"/>
                  </a:cubicBezTo>
                  <a:cubicBezTo>
                    <a:pt x="39" y="578"/>
                    <a:pt x="366" y="565"/>
                    <a:pt x="719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" name="Google Shape;754;p16"/>
            <p:cNvSpPr/>
            <p:nvPr/>
          </p:nvSpPr>
          <p:spPr>
            <a:xfrm>
              <a:off x="6495454" y="4118749"/>
              <a:ext cx="49083" cy="39589"/>
            </a:xfrm>
            <a:custGeom>
              <a:avLst/>
              <a:gdLst/>
              <a:ahLst/>
              <a:cxnLst/>
              <a:rect l="l" t="t" r="r" b="b"/>
              <a:pathLst>
                <a:path w="579" h="467" extrusionOk="0">
                  <a:moveTo>
                    <a:pt x="0" y="1"/>
                  </a:moveTo>
                  <a:lnTo>
                    <a:pt x="0" y="1"/>
                  </a:lnTo>
                  <a:cubicBezTo>
                    <a:pt x="295" y="460"/>
                    <a:pt x="562" y="467"/>
                    <a:pt x="577" y="467"/>
                  </a:cubicBezTo>
                  <a:cubicBezTo>
                    <a:pt x="578" y="467"/>
                    <a:pt x="578" y="467"/>
                    <a:pt x="578" y="467"/>
                  </a:cubicBezTo>
                  <a:lnTo>
                    <a:pt x="578" y="392"/>
                  </a:lnTo>
                  <a:cubicBezTo>
                    <a:pt x="578" y="392"/>
                    <a:pt x="572" y="397"/>
                    <a:pt x="555" y="397"/>
                  </a:cubicBezTo>
                  <a:cubicBezTo>
                    <a:pt x="521" y="397"/>
                    <a:pt x="440" y="377"/>
                    <a:pt x="267" y="259"/>
                  </a:cubicBezTo>
                  <a:cubicBezTo>
                    <a:pt x="119" y="155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55" name="Google Shape;755;p16"/>
          <p:cNvGrpSpPr/>
          <p:nvPr/>
        </p:nvGrpSpPr>
        <p:grpSpPr>
          <a:xfrm>
            <a:off x="1450565" y="4633387"/>
            <a:ext cx="274020" cy="305248"/>
            <a:chOff x="6354733" y="3914449"/>
            <a:chExt cx="375627" cy="418435"/>
          </a:xfrm>
        </p:grpSpPr>
        <p:sp>
          <p:nvSpPr>
            <p:cNvPr id="756" name="Google Shape;756;p16"/>
            <p:cNvSpPr/>
            <p:nvPr/>
          </p:nvSpPr>
          <p:spPr>
            <a:xfrm>
              <a:off x="6354733" y="3914449"/>
              <a:ext cx="375627" cy="365115"/>
            </a:xfrm>
            <a:custGeom>
              <a:avLst/>
              <a:gdLst/>
              <a:ahLst/>
              <a:cxnLst/>
              <a:rect l="l" t="t" r="r" b="b"/>
              <a:pathLst>
                <a:path w="4431" h="4307" extrusionOk="0">
                  <a:moveTo>
                    <a:pt x="2149" y="0"/>
                  </a:moveTo>
                  <a:cubicBezTo>
                    <a:pt x="2071" y="0"/>
                    <a:pt x="1994" y="21"/>
                    <a:pt x="1927" y="61"/>
                  </a:cubicBezTo>
                  <a:cubicBezTo>
                    <a:pt x="1438" y="366"/>
                    <a:pt x="1" y="4306"/>
                    <a:pt x="2149" y="4306"/>
                  </a:cubicBezTo>
                  <a:cubicBezTo>
                    <a:pt x="4431" y="4306"/>
                    <a:pt x="2868" y="366"/>
                    <a:pt x="2371" y="61"/>
                  </a:cubicBezTo>
                  <a:cubicBezTo>
                    <a:pt x="2305" y="21"/>
                    <a:pt x="2227" y="0"/>
                    <a:pt x="2149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" name="Google Shape;757;p16"/>
            <p:cNvSpPr/>
            <p:nvPr/>
          </p:nvSpPr>
          <p:spPr>
            <a:xfrm>
              <a:off x="6354733" y="3919536"/>
              <a:ext cx="182261" cy="360029"/>
            </a:xfrm>
            <a:custGeom>
              <a:avLst/>
              <a:gdLst/>
              <a:ahLst/>
              <a:cxnLst/>
              <a:rect l="l" t="t" r="r" b="b"/>
              <a:pathLst>
                <a:path w="2150" h="4247" extrusionOk="0">
                  <a:moveTo>
                    <a:pt x="1930" y="0"/>
                  </a:moveTo>
                  <a:lnTo>
                    <a:pt x="1930" y="0"/>
                  </a:lnTo>
                  <a:cubicBezTo>
                    <a:pt x="1929" y="0"/>
                    <a:pt x="1928" y="1"/>
                    <a:pt x="1927" y="1"/>
                  </a:cubicBezTo>
                  <a:cubicBezTo>
                    <a:pt x="1438" y="306"/>
                    <a:pt x="1" y="4246"/>
                    <a:pt x="2149" y="4246"/>
                  </a:cubicBezTo>
                  <a:cubicBezTo>
                    <a:pt x="2149" y="4246"/>
                    <a:pt x="1609" y="4202"/>
                    <a:pt x="1578" y="2662"/>
                  </a:cubicBezTo>
                  <a:cubicBezTo>
                    <a:pt x="1542" y="1142"/>
                    <a:pt x="1985" y="0"/>
                    <a:pt x="1930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" name="Google Shape;758;p16"/>
            <p:cNvSpPr/>
            <p:nvPr/>
          </p:nvSpPr>
          <p:spPr>
            <a:xfrm>
              <a:off x="6531143" y="4080262"/>
              <a:ext cx="26449" cy="252622"/>
            </a:xfrm>
            <a:custGeom>
              <a:avLst/>
              <a:gdLst/>
              <a:ahLst/>
              <a:cxnLst/>
              <a:rect l="l" t="t" r="r" b="b"/>
              <a:pathLst>
                <a:path w="312" h="2980" extrusionOk="0">
                  <a:moveTo>
                    <a:pt x="159" y="1"/>
                  </a:moveTo>
                  <a:cubicBezTo>
                    <a:pt x="158" y="1"/>
                    <a:pt x="157" y="5"/>
                    <a:pt x="157" y="17"/>
                  </a:cubicBezTo>
                  <a:lnTo>
                    <a:pt x="1" y="2980"/>
                  </a:lnTo>
                  <a:lnTo>
                    <a:pt x="312" y="2980"/>
                  </a:lnTo>
                  <a:cubicBezTo>
                    <a:pt x="305" y="1714"/>
                    <a:pt x="187" y="17"/>
                    <a:pt x="164" y="17"/>
                  </a:cubicBezTo>
                  <a:cubicBezTo>
                    <a:pt x="164" y="17"/>
                    <a:pt x="161" y="1"/>
                    <a:pt x="15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" name="Google Shape;759;p16"/>
            <p:cNvSpPr/>
            <p:nvPr/>
          </p:nvSpPr>
          <p:spPr>
            <a:xfrm>
              <a:off x="6473413" y="4169527"/>
              <a:ext cx="71124" cy="57900"/>
            </a:xfrm>
            <a:custGeom>
              <a:avLst/>
              <a:gdLst/>
              <a:ahLst/>
              <a:cxnLst/>
              <a:rect l="l" t="t" r="r" b="b"/>
              <a:pathLst>
                <a:path w="839" h="683" extrusionOk="0">
                  <a:moveTo>
                    <a:pt x="0" y="1"/>
                  </a:moveTo>
                  <a:lnTo>
                    <a:pt x="0" y="1"/>
                  </a:lnTo>
                  <a:cubicBezTo>
                    <a:pt x="404" y="662"/>
                    <a:pt x="782" y="682"/>
                    <a:pt x="826" y="682"/>
                  </a:cubicBezTo>
                  <a:cubicBezTo>
                    <a:pt x="829" y="682"/>
                    <a:pt x="831" y="682"/>
                    <a:pt x="831" y="682"/>
                  </a:cubicBezTo>
                  <a:lnTo>
                    <a:pt x="838" y="586"/>
                  </a:lnTo>
                  <a:lnTo>
                    <a:pt x="838" y="586"/>
                  </a:lnTo>
                  <a:cubicBezTo>
                    <a:pt x="838" y="586"/>
                    <a:pt x="830" y="592"/>
                    <a:pt x="807" y="592"/>
                  </a:cubicBezTo>
                  <a:cubicBezTo>
                    <a:pt x="757" y="592"/>
                    <a:pt x="639" y="564"/>
                    <a:pt x="386" y="387"/>
                  </a:cubicBezTo>
                  <a:cubicBezTo>
                    <a:pt x="164" y="23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" name="Google Shape;760;p16"/>
            <p:cNvSpPr/>
            <p:nvPr/>
          </p:nvSpPr>
          <p:spPr>
            <a:xfrm>
              <a:off x="6544452" y="4153929"/>
              <a:ext cx="60951" cy="49083"/>
            </a:xfrm>
            <a:custGeom>
              <a:avLst/>
              <a:gdLst/>
              <a:ahLst/>
              <a:cxnLst/>
              <a:rect l="l" t="t" r="r" b="b"/>
              <a:pathLst>
                <a:path w="719" h="579" extrusionOk="0">
                  <a:moveTo>
                    <a:pt x="719" y="0"/>
                  </a:moveTo>
                  <a:lnTo>
                    <a:pt x="719" y="0"/>
                  </a:lnTo>
                  <a:cubicBezTo>
                    <a:pt x="718" y="0"/>
                    <a:pt x="578" y="192"/>
                    <a:pt x="393" y="325"/>
                  </a:cubicBezTo>
                  <a:cubicBezTo>
                    <a:pt x="185" y="471"/>
                    <a:pt x="81" y="496"/>
                    <a:pt x="34" y="496"/>
                  </a:cubicBezTo>
                  <a:cubicBezTo>
                    <a:pt x="9" y="496"/>
                    <a:pt x="0" y="489"/>
                    <a:pt x="0" y="489"/>
                  </a:cubicBezTo>
                  <a:lnTo>
                    <a:pt x="0" y="489"/>
                  </a:lnTo>
                  <a:lnTo>
                    <a:pt x="7" y="578"/>
                  </a:lnTo>
                  <a:cubicBezTo>
                    <a:pt x="7" y="578"/>
                    <a:pt x="8" y="578"/>
                    <a:pt x="9" y="578"/>
                  </a:cubicBezTo>
                  <a:cubicBezTo>
                    <a:pt x="39" y="578"/>
                    <a:pt x="366" y="565"/>
                    <a:pt x="719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" name="Google Shape;761;p16"/>
            <p:cNvSpPr/>
            <p:nvPr/>
          </p:nvSpPr>
          <p:spPr>
            <a:xfrm>
              <a:off x="6495454" y="4118749"/>
              <a:ext cx="49083" cy="39589"/>
            </a:xfrm>
            <a:custGeom>
              <a:avLst/>
              <a:gdLst/>
              <a:ahLst/>
              <a:cxnLst/>
              <a:rect l="l" t="t" r="r" b="b"/>
              <a:pathLst>
                <a:path w="579" h="467" extrusionOk="0">
                  <a:moveTo>
                    <a:pt x="0" y="1"/>
                  </a:moveTo>
                  <a:lnTo>
                    <a:pt x="0" y="1"/>
                  </a:lnTo>
                  <a:cubicBezTo>
                    <a:pt x="295" y="460"/>
                    <a:pt x="562" y="467"/>
                    <a:pt x="577" y="467"/>
                  </a:cubicBezTo>
                  <a:cubicBezTo>
                    <a:pt x="578" y="467"/>
                    <a:pt x="578" y="467"/>
                    <a:pt x="578" y="467"/>
                  </a:cubicBezTo>
                  <a:lnTo>
                    <a:pt x="578" y="392"/>
                  </a:lnTo>
                  <a:cubicBezTo>
                    <a:pt x="578" y="392"/>
                    <a:pt x="572" y="397"/>
                    <a:pt x="555" y="397"/>
                  </a:cubicBezTo>
                  <a:cubicBezTo>
                    <a:pt x="521" y="397"/>
                    <a:pt x="440" y="377"/>
                    <a:pt x="267" y="259"/>
                  </a:cubicBezTo>
                  <a:cubicBezTo>
                    <a:pt x="119" y="155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62" name="Google Shape;762;p16"/>
          <p:cNvSpPr/>
          <p:nvPr/>
        </p:nvSpPr>
        <p:spPr>
          <a:xfrm>
            <a:off x="568963" y="4743138"/>
            <a:ext cx="364948" cy="203036"/>
          </a:xfrm>
          <a:custGeom>
            <a:avLst/>
            <a:gdLst/>
            <a:ahLst/>
            <a:cxnLst/>
            <a:rect l="l" t="t" r="r" b="b"/>
            <a:pathLst>
              <a:path w="14412" h="8018" extrusionOk="0">
                <a:moveTo>
                  <a:pt x="8469" y="0"/>
                </a:moveTo>
                <a:cubicBezTo>
                  <a:pt x="8269" y="0"/>
                  <a:pt x="8106" y="171"/>
                  <a:pt x="8106" y="370"/>
                </a:cubicBezTo>
                <a:lnTo>
                  <a:pt x="8106" y="1675"/>
                </a:lnTo>
                <a:cubicBezTo>
                  <a:pt x="8106" y="1875"/>
                  <a:pt x="7935" y="2038"/>
                  <a:pt x="7736" y="2038"/>
                </a:cubicBezTo>
                <a:cubicBezTo>
                  <a:pt x="7542" y="2038"/>
                  <a:pt x="7387" y="1891"/>
                  <a:pt x="7371" y="1704"/>
                </a:cubicBezTo>
                <a:lnTo>
                  <a:pt x="7371" y="1037"/>
                </a:lnTo>
                <a:cubicBezTo>
                  <a:pt x="7371" y="838"/>
                  <a:pt x="7210" y="667"/>
                  <a:pt x="7009" y="667"/>
                </a:cubicBezTo>
                <a:cubicBezTo>
                  <a:pt x="6802" y="667"/>
                  <a:pt x="6639" y="838"/>
                  <a:pt x="6639" y="1037"/>
                </a:cubicBezTo>
                <a:lnTo>
                  <a:pt x="6639" y="1809"/>
                </a:lnTo>
                <a:cubicBezTo>
                  <a:pt x="6639" y="2015"/>
                  <a:pt x="6475" y="2179"/>
                  <a:pt x="6276" y="2179"/>
                </a:cubicBezTo>
                <a:cubicBezTo>
                  <a:pt x="6068" y="2179"/>
                  <a:pt x="5904" y="2015"/>
                  <a:pt x="5904" y="1809"/>
                </a:cubicBezTo>
                <a:lnTo>
                  <a:pt x="5904" y="601"/>
                </a:lnTo>
                <a:cubicBezTo>
                  <a:pt x="5904" y="393"/>
                  <a:pt x="5742" y="230"/>
                  <a:pt x="5534" y="230"/>
                </a:cubicBezTo>
                <a:cubicBezTo>
                  <a:pt x="5408" y="230"/>
                  <a:pt x="5298" y="297"/>
                  <a:pt x="5237" y="393"/>
                </a:cubicBezTo>
                <a:cubicBezTo>
                  <a:pt x="5193" y="452"/>
                  <a:pt x="5172" y="519"/>
                  <a:pt x="5172" y="601"/>
                </a:cubicBezTo>
                <a:lnTo>
                  <a:pt x="5172" y="993"/>
                </a:lnTo>
                <a:cubicBezTo>
                  <a:pt x="5172" y="1179"/>
                  <a:pt x="5015" y="1334"/>
                  <a:pt x="4830" y="1334"/>
                </a:cubicBezTo>
                <a:lnTo>
                  <a:pt x="4802" y="1334"/>
                </a:lnTo>
                <a:cubicBezTo>
                  <a:pt x="4631" y="1334"/>
                  <a:pt x="4490" y="1201"/>
                  <a:pt x="4467" y="1037"/>
                </a:cubicBezTo>
                <a:lnTo>
                  <a:pt x="288" y="6959"/>
                </a:lnTo>
                <a:cubicBezTo>
                  <a:pt x="0" y="7366"/>
                  <a:pt x="237" y="7982"/>
                  <a:pt x="711" y="8010"/>
                </a:cubicBezTo>
                <a:cubicBezTo>
                  <a:pt x="726" y="8017"/>
                  <a:pt x="740" y="8017"/>
                  <a:pt x="756" y="8017"/>
                </a:cubicBezTo>
                <a:lnTo>
                  <a:pt x="13656" y="8017"/>
                </a:lnTo>
                <a:cubicBezTo>
                  <a:pt x="13670" y="8017"/>
                  <a:pt x="13685" y="8017"/>
                  <a:pt x="13701" y="8010"/>
                </a:cubicBezTo>
                <a:cubicBezTo>
                  <a:pt x="14174" y="7982"/>
                  <a:pt x="14412" y="7366"/>
                  <a:pt x="14122" y="6959"/>
                </a:cubicBezTo>
                <a:lnTo>
                  <a:pt x="9550" y="527"/>
                </a:lnTo>
                <a:lnTo>
                  <a:pt x="9550" y="1341"/>
                </a:lnTo>
                <a:cubicBezTo>
                  <a:pt x="9550" y="1526"/>
                  <a:pt x="9395" y="1683"/>
                  <a:pt x="9210" y="1683"/>
                </a:cubicBezTo>
                <a:lnTo>
                  <a:pt x="9180" y="1683"/>
                </a:lnTo>
                <a:cubicBezTo>
                  <a:pt x="8988" y="1683"/>
                  <a:pt x="8839" y="1526"/>
                  <a:pt x="8839" y="1341"/>
                </a:cubicBezTo>
                <a:lnTo>
                  <a:pt x="8839" y="393"/>
                </a:lnTo>
                <a:lnTo>
                  <a:pt x="8839" y="370"/>
                </a:lnTo>
                <a:cubicBezTo>
                  <a:pt x="8839" y="171"/>
                  <a:pt x="8670" y="0"/>
                  <a:pt x="846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16"/>
          <p:cNvSpPr/>
          <p:nvPr/>
        </p:nvSpPr>
        <p:spPr>
          <a:xfrm>
            <a:off x="677923" y="4698471"/>
            <a:ext cx="132867" cy="99847"/>
          </a:xfrm>
          <a:custGeom>
            <a:avLst/>
            <a:gdLst/>
            <a:ahLst/>
            <a:cxnLst/>
            <a:rect l="l" t="t" r="r" b="b"/>
            <a:pathLst>
              <a:path w="5247" h="3943" extrusionOk="0">
                <a:moveTo>
                  <a:pt x="2891" y="0"/>
                </a:moveTo>
                <a:cubicBezTo>
                  <a:pt x="2418" y="0"/>
                  <a:pt x="1973" y="238"/>
                  <a:pt x="1683" y="646"/>
                </a:cubicBezTo>
                <a:lnTo>
                  <a:pt x="890" y="1771"/>
                </a:lnTo>
                <a:lnTo>
                  <a:pt x="890" y="1764"/>
                </a:lnTo>
                <a:lnTo>
                  <a:pt x="165" y="2804"/>
                </a:lnTo>
                <a:lnTo>
                  <a:pt x="165" y="2804"/>
                </a:lnTo>
                <a:cubicBezTo>
                  <a:pt x="165" y="2803"/>
                  <a:pt x="164" y="2802"/>
                  <a:pt x="164" y="2801"/>
                </a:cubicBezTo>
                <a:lnTo>
                  <a:pt x="1" y="3039"/>
                </a:lnTo>
                <a:lnTo>
                  <a:pt x="1" y="3039"/>
                </a:lnTo>
                <a:lnTo>
                  <a:pt x="165" y="2804"/>
                </a:lnTo>
                <a:lnTo>
                  <a:pt x="165" y="2804"/>
                </a:lnTo>
                <a:cubicBezTo>
                  <a:pt x="189" y="2966"/>
                  <a:pt x="329" y="3091"/>
                  <a:pt x="499" y="3091"/>
                </a:cubicBezTo>
                <a:lnTo>
                  <a:pt x="534" y="3091"/>
                </a:lnTo>
                <a:cubicBezTo>
                  <a:pt x="721" y="3091"/>
                  <a:pt x="876" y="2943"/>
                  <a:pt x="876" y="2749"/>
                </a:cubicBezTo>
                <a:lnTo>
                  <a:pt x="876" y="2356"/>
                </a:lnTo>
                <a:cubicBezTo>
                  <a:pt x="876" y="2283"/>
                  <a:pt x="899" y="2209"/>
                  <a:pt x="934" y="2157"/>
                </a:cubicBezTo>
                <a:cubicBezTo>
                  <a:pt x="943" y="2143"/>
                  <a:pt x="957" y="2127"/>
                  <a:pt x="965" y="2120"/>
                </a:cubicBezTo>
                <a:cubicBezTo>
                  <a:pt x="972" y="2113"/>
                  <a:pt x="972" y="2106"/>
                  <a:pt x="979" y="2099"/>
                </a:cubicBezTo>
                <a:cubicBezTo>
                  <a:pt x="988" y="2090"/>
                  <a:pt x="1002" y="2083"/>
                  <a:pt x="1009" y="2075"/>
                </a:cubicBezTo>
                <a:cubicBezTo>
                  <a:pt x="1023" y="2068"/>
                  <a:pt x="1032" y="2054"/>
                  <a:pt x="1046" y="2045"/>
                </a:cubicBezTo>
                <a:cubicBezTo>
                  <a:pt x="1053" y="2045"/>
                  <a:pt x="1061" y="2038"/>
                  <a:pt x="1068" y="2038"/>
                </a:cubicBezTo>
                <a:cubicBezTo>
                  <a:pt x="1091" y="2024"/>
                  <a:pt x="1121" y="2017"/>
                  <a:pt x="1142" y="2010"/>
                </a:cubicBezTo>
                <a:cubicBezTo>
                  <a:pt x="1173" y="2001"/>
                  <a:pt x="1201" y="1994"/>
                  <a:pt x="1231" y="1994"/>
                </a:cubicBezTo>
                <a:cubicBezTo>
                  <a:pt x="1439" y="1994"/>
                  <a:pt x="1601" y="2157"/>
                  <a:pt x="1601" y="2365"/>
                </a:cubicBezTo>
                <a:lnTo>
                  <a:pt x="1601" y="3573"/>
                </a:lnTo>
                <a:cubicBezTo>
                  <a:pt x="1601" y="3779"/>
                  <a:pt x="1765" y="3943"/>
                  <a:pt x="1973" y="3943"/>
                </a:cubicBezTo>
                <a:cubicBezTo>
                  <a:pt x="2172" y="3943"/>
                  <a:pt x="2336" y="3779"/>
                  <a:pt x="2336" y="3573"/>
                </a:cubicBezTo>
                <a:lnTo>
                  <a:pt x="2336" y="2801"/>
                </a:lnTo>
                <a:cubicBezTo>
                  <a:pt x="2336" y="2602"/>
                  <a:pt x="2499" y="2431"/>
                  <a:pt x="2706" y="2431"/>
                </a:cubicBezTo>
                <a:cubicBezTo>
                  <a:pt x="2907" y="2431"/>
                  <a:pt x="3068" y="2602"/>
                  <a:pt x="3068" y="2801"/>
                </a:cubicBezTo>
                <a:lnTo>
                  <a:pt x="3068" y="3468"/>
                </a:lnTo>
                <a:cubicBezTo>
                  <a:pt x="3084" y="3655"/>
                  <a:pt x="3239" y="3802"/>
                  <a:pt x="3433" y="3802"/>
                </a:cubicBezTo>
                <a:cubicBezTo>
                  <a:pt x="3632" y="3802"/>
                  <a:pt x="3803" y="3639"/>
                  <a:pt x="3803" y="3439"/>
                </a:cubicBezTo>
                <a:lnTo>
                  <a:pt x="3803" y="2134"/>
                </a:lnTo>
                <a:cubicBezTo>
                  <a:pt x="3803" y="1935"/>
                  <a:pt x="3966" y="1764"/>
                  <a:pt x="4166" y="1764"/>
                </a:cubicBezTo>
                <a:cubicBezTo>
                  <a:pt x="4367" y="1764"/>
                  <a:pt x="4536" y="1935"/>
                  <a:pt x="4536" y="2134"/>
                </a:cubicBezTo>
                <a:lnTo>
                  <a:pt x="4536" y="2157"/>
                </a:lnTo>
                <a:lnTo>
                  <a:pt x="4536" y="3105"/>
                </a:lnTo>
                <a:cubicBezTo>
                  <a:pt x="4536" y="3290"/>
                  <a:pt x="4685" y="3447"/>
                  <a:pt x="4870" y="3447"/>
                </a:cubicBezTo>
                <a:lnTo>
                  <a:pt x="4907" y="3447"/>
                </a:lnTo>
                <a:cubicBezTo>
                  <a:pt x="5092" y="3447"/>
                  <a:pt x="5247" y="3290"/>
                  <a:pt x="5247" y="3105"/>
                </a:cubicBezTo>
                <a:lnTo>
                  <a:pt x="5247" y="2291"/>
                </a:lnTo>
                <a:lnTo>
                  <a:pt x="4062" y="631"/>
                </a:lnTo>
                <a:cubicBezTo>
                  <a:pt x="3780" y="231"/>
                  <a:pt x="3351" y="0"/>
                  <a:pt x="2891" y="0"/>
                </a:cubicBezTo>
                <a:close/>
              </a:path>
            </a:pathLst>
          </a:custGeom>
          <a:solidFill>
            <a:srgbClr val="AAACB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4" name="Google Shape;764;p16"/>
          <p:cNvSpPr/>
          <p:nvPr/>
        </p:nvSpPr>
        <p:spPr>
          <a:xfrm>
            <a:off x="8441453" y="235488"/>
            <a:ext cx="248263" cy="248333"/>
          </a:xfrm>
          <a:custGeom>
            <a:avLst/>
            <a:gdLst/>
            <a:ahLst/>
            <a:cxnLst/>
            <a:rect l="l" t="t" r="r" b="b"/>
            <a:pathLst>
              <a:path w="3535" h="3536" extrusionOk="0">
                <a:moveTo>
                  <a:pt x="1763" y="0"/>
                </a:moveTo>
                <a:cubicBezTo>
                  <a:pt x="785" y="0"/>
                  <a:pt x="1" y="794"/>
                  <a:pt x="1" y="1772"/>
                </a:cubicBezTo>
                <a:cubicBezTo>
                  <a:pt x="1" y="2750"/>
                  <a:pt x="785" y="3536"/>
                  <a:pt x="1763" y="3536"/>
                </a:cubicBezTo>
                <a:cubicBezTo>
                  <a:pt x="2741" y="3536"/>
                  <a:pt x="3534" y="2750"/>
                  <a:pt x="3534" y="1772"/>
                </a:cubicBezTo>
                <a:cubicBezTo>
                  <a:pt x="3534" y="794"/>
                  <a:pt x="2741" y="0"/>
                  <a:pt x="176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16"/>
          <p:cNvSpPr/>
          <p:nvPr/>
        </p:nvSpPr>
        <p:spPr>
          <a:xfrm>
            <a:off x="7696237" y="405175"/>
            <a:ext cx="662243" cy="178361"/>
          </a:xfrm>
          <a:custGeom>
            <a:avLst/>
            <a:gdLst/>
            <a:ahLst/>
            <a:cxnLst/>
            <a:rect l="l" t="t" r="r" b="b"/>
            <a:pathLst>
              <a:path w="7812" h="2104" extrusionOk="0">
                <a:moveTo>
                  <a:pt x="4136" y="0"/>
                </a:moveTo>
                <a:cubicBezTo>
                  <a:pt x="3424" y="0"/>
                  <a:pt x="2846" y="571"/>
                  <a:pt x="2846" y="1282"/>
                </a:cubicBezTo>
                <a:lnTo>
                  <a:pt x="2846" y="1304"/>
                </a:lnTo>
                <a:cubicBezTo>
                  <a:pt x="2765" y="1273"/>
                  <a:pt x="2676" y="1252"/>
                  <a:pt x="2580" y="1252"/>
                </a:cubicBezTo>
                <a:cubicBezTo>
                  <a:pt x="2380" y="1252"/>
                  <a:pt x="2194" y="1327"/>
                  <a:pt x="2046" y="1444"/>
                </a:cubicBezTo>
                <a:cubicBezTo>
                  <a:pt x="1906" y="1259"/>
                  <a:pt x="1683" y="1140"/>
                  <a:pt x="1438" y="1140"/>
                </a:cubicBezTo>
                <a:cubicBezTo>
                  <a:pt x="1082" y="1140"/>
                  <a:pt x="794" y="1371"/>
                  <a:pt x="691" y="1690"/>
                </a:cubicBezTo>
                <a:cubicBezTo>
                  <a:pt x="675" y="1690"/>
                  <a:pt x="654" y="1682"/>
                  <a:pt x="638" y="1682"/>
                </a:cubicBezTo>
                <a:cubicBezTo>
                  <a:pt x="350" y="1682"/>
                  <a:pt x="104" y="1860"/>
                  <a:pt x="1" y="2104"/>
                </a:cubicBezTo>
                <a:lnTo>
                  <a:pt x="7796" y="2104"/>
                </a:lnTo>
                <a:cubicBezTo>
                  <a:pt x="7812" y="2052"/>
                  <a:pt x="7812" y="1994"/>
                  <a:pt x="7812" y="1933"/>
                </a:cubicBezTo>
                <a:cubicBezTo>
                  <a:pt x="7812" y="1467"/>
                  <a:pt x="7433" y="1081"/>
                  <a:pt x="6967" y="1081"/>
                </a:cubicBezTo>
                <a:cubicBezTo>
                  <a:pt x="6714" y="1081"/>
                  <a:pt x="6499" y="1193"/>
                  <a:pt x="6344" y="1355"/>
                </a:cubicBezTo>
                <a:cubicBezTo>
                  <a:pt x="6181" y="1185"/>
                  <a:pt x="5958" y="1074"/>
                  <a:pt x="5706" y="1074"/>
                </a:cubicBezTo>
                <a:cubicBezTo>
                  <a:pt x="5603" y="1074"/>
                  <a:pt x="5500" y="1096"/>
                  <a:pt x="5411" y="1126"/>
                </a:cubicBezTo>
                <a:cubicBezTo>
                  <a:pt x="5329" y="489"/>
                  <a:pt x="4795" y="0"/>
                  <a:pt x="4136" y="0"/>
                </a:cubicBezTo>
                <a:close/>
              </a:path>
            </a:pathLst>
          </a:custGeom>
          <a:solidFill>
            <a:srgbClr val="A1E1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6" name="Google Shape;766;p16"/>
          <p:cNvSpPr/>
          <p:nvPr/>
        </p:nvSpPr>
        <p:spPr>
          <a:xfrm>
            <a:off x="8526669" y="305279"/>
            <a:ext cx="364946" cy="108763"/>
          </a:xfrm>
          <a:custGeom>
            <a:avLst/>
            <a:gdLst/>
            <a:ahLst/>
            <a:cxnLst/>
            <a:rect l="l" t="t" r="r" b="b"/>
            <a:pathLst>
              <a:path w="4305" h="1283" extrusionOk="0">
                <a:moveTo>
                  <a:pt x="2179" y="0"/>
                </a:moveTo>
                <a:cubicBezTo>
                  <a:pt x="1690" y="0"/>
                  <a:pt x="1297" y="400"/>
                  <a:pt x="1297" y="882"/>
                </a:cubicBezTo>
                <a:lnTo>
                  <a:pt x="1297" y="912"/>
                </a:lnTo>
                <a:cubicBezTo>
                  <a:pt x="1223" y="889"/>
                  <a:pt x="1148" y="882"/>
                  <a:pt x="1068" y="882"/>
                </a:cubicBezTo>
                <a:cubicBezTo>
                  <a:pt x="904" y="896"/>
                  <a:pt x="764" y="971"/>
                  <a:pt x="659" y="1074"/>
                </a:cubicBezTo>
                <a:cubicBezTo>
                  <a:pt x="593" y="1053"/>
                  <a:pt x="518" y="1046"/>
                  <a:pt x="445" y="1046"/>
                </a:cubicBezTo>
                <a:cubicBezTo>
                  <a:pt x="259" y="1060"/>
                  <a:pt x="104" y="1149"/>
                  <a:pt x="1" y="1282"/>
                </a:cubicBezTo>
                <a:lnTo>
                  <a:pt x="4297" y="1282"/>
                </a:lnTo>
                <a:cubicBezTo>
                  <a:pt x="4297" y="1268"/>
                  <a:pt x="4304" y="1261"/>
                  <a:pt x="4304" y="1245"/>
                </a:cubicBezTo>
                <a:cubicBezTo>
                  <a:pt x="4277" y="910"/>
                  <a:pt x="4002" y="659"/>
                  <a:pt x="3677" y="659"/>
                </a:cubicBezTo>
                <a:cubicBezTo>
                  <a:pt x="3664" y="659"/>
                  <a:pt x="3651" y="659"/>
                  <a:pt x="3638" y="660"/>
                </a:cubicBezTo>
                <a:cubicBezTo>
                  <a:pt x="3453" y="674"/>
                  <a:pt x="3298" y="772"/>
                  <a:pt x="3193" y="905"/>
                </a:cubicBezTo>
                <a:cubicBezTo>
                  <a:pt x="3149" y="889"/>
                  <a:pt x="3104" y="889"/>
                  <a:pt x="3060" y="889"/>
                </a:cubicBezTo>
                <a:lnTo>
                  <a:pt x="3060" y="882"/>
                </a:lnTo>
                <a:cubicBezTo>
                  <a:pt x="3060" y="400"/>
                  <a:pt x="2660" y="0"/>
                  <a:pt x="2179" y="0"/>
                </a:cubicBezTo>
                <a:close/>
              </a:path>
            </a:pathLst>
          </a:custGeom>
          <a:solidFill>
            <a:srgbClr val="A1E1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7" name="Google Shape;767;p16"/>
          <p:cNvSpPr/>
          <p:nvPr/>
        </p:nvSpPr>
        <p:spPr>
          <a:xfrm>
            <a:off x="7993519" y="235504"/>
            <a:ext cx="364946" cy="108763"/>
          </a:xfrm>
          <a:custGeom>
            <a:avLst/>
            <a:gdLst/>
            <a:ahLst/>
            <a:cxnLst/>
            <a:rect l="l" t="t" r="r" b="b"/>
            <a:pathLst>
              <a:path w="4305" h="1283" extrusionOk="0">
                <a:moveTo>
                  <a:pt x="2179" y="0"/>
                </a:moveTo>
                <a:cubicBezTo>
                  <a:pt x="1690" y="0"/>
                  <a:pt x="1297" y="400"/>
                  <a:pt x="1297" y="882"/>
                </a:cubicBezTo>
                <a:lnTo>
                  <a:pt x="1297" y="912"/>
                </a:lnTo>
                <a:cubicBezTo>
                  <a:pt x="1223" y="889"/>
                  <a:pt x="1148" y="882"/>
                  <a:pt x="1068" y="882"/>
                </a:cubicBezTo>
                <a:cubicBezTo>
                  <a:pt x="904" y="896"/>
                  <a:pt x="764" y="971"/>
                  <a:pt x="659" y="1074"/>
                </a:cubicBezTo>
                <a:cubicBezTo>
                  <a:pt x="593" y="1053"/>
                  <a:pt x="518" y="1046"/>
                  <a:pt x="445" y="1046"/>
                </a:cubicBezTo>
                <a:cubicBezTo>
                  <a:pt x="259" y="1060"/>
                  <a:pt x="104" y="1149"/>
                  <a:pt x="1" y="1282"/>
                </a:cubicBezTo>
                <a:lnTo>
                  <a:pt x="4297" y="1282"/>
                </a:lnTo>
                <a:cubicBezTo>
                  <a:pt x="4297" y="1268"/>
                  <a:pt x="4304" y="1261"/>
                  <a:pt x="4304" y="1245"/>
                </a:cubicBezTo>
                <a:cubicBezTo>
                  <a:pt x="4277" y="910"/>
                  <a:pt x="4002" y="659"/>
                  <a:pt x="3677" y="659"/>
                </a:cubicBezTo>
                <a:cubicBezTo>
                  <a:pt x="3664" y="659"/>
                  <a:pt x="3651" y="659"/>
                  <a:pt x="3638" y="660"/>
                </a:cubicBezTo>
                <a:cubicBezTo>
                  <a:pt x="3453" y="674"/>
                  <a:pt x="3298" y="772"/>
                  <a:pt x="3193" y="905"/>
                </a:cubicBezTo>
                <a:cubicBezTo>
                  <a:pt x="3149" y="889"/>
                  <a:pt x="3104" y="889"/>
                  <a:pt x="3060" y="889"/>
                </a:cubicBezTo>
                <a:lnTo>
                  <a:pt x="3060" y="882"/>
                </a:lnTo>
                <a:cubicBezTo>
                  <a:pt x="3060" y="400"/>
                  <a:pt x="2660" y="0"/>
                  <a:pt x="2179" y="0"/>
                </a:cubicBezTo>
                <a:close/>
              </a:path>
            </a:pathLst>
          </a:custGeom>
          <a:solidFill>
            <a:srgbClr val="A1E1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768" name="Google Shape;768;p16"/>
          <p:cNvGrpSpPr/>
          <p:nvPr/>
        </p:nvGrpSpPr>
        <p:grpSpPr>
          <a:xfrm>
            <a:off x="947341" y="4234986"/>
            <a:ext cx="471443" cy="703528"/>
            <a:chOff x="5752054" y="2896539"/>
            <a:chExt cx="727086" cy="1085021"/>
          </a:xfrm>
        </p:grpSpPr>
        <p:sp>
          <p:nvSpPr>
            <p:cNvPr id="769" name="Google Shape;769;p16"/>
            <p:cNvSpPr/>
            <p:nvPr/>
          </p:nvSpPr>
          <p:spPr>
            <a:xfrm>
              <a:off x="5955656" y="3243358"/>
              <a:ext cx="312937" cy="738203"/>
            </a:xfrm>
            <a:custGeom>
              <a:avLst/>
              <a:gdLst/>
              <a:ahLst/>
              <a:cxnLst/>
              <a:rect l="l" t="t" r="r" b="b"/>
              <a:pathLst>
                <a:path w="2928" h="6907" extrusionOk="0">
                  <a:moveTo>
                    <a:pt x="644" y="1"/>
                  </a:moveTo>
                  <a:lnTo>
                    <a:pt x="0" y="6906"/>
                  </a:lnTo>
                  <a:lnTo>
                    <a:pt x="2927" y="6906"/>
                  </a:lnTo>
                  <a:lnTo>
                    <a:pt x="2282" y="1"/>
                  </a:ln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0" name="Google Shape;770;p16"/>
            <p:cNvSpPr/>
            <p:nvPr/>
          </p:nvSpPr>
          <p:spPr>
            <a:xfrm>
              <a:off x="6199442" y="3243358"/>
              <a:ext cx="76204" cy="738203"/>
            </a:xfrm>
            <a:custGeom>
              <a:avLst/>
              <a:gdLst/>
              <a:ahLst/>
              <a:cxnLst/>
              <a:rect l="l" t="t" r="r" b="b"/>
              <a:pathLst>
                <a:path w="713" h="6907" extrusionOk="0">
                  <a:moveTo>
                    <a:pt x="1" y="1"/>
                  </a:moveTo>
                  <a:lnTo>
                    <a:pt x="646" y="6906"/>
                  </a:lnTo>
                  <a:lnTo>
                    <a:pt x="712" y="6906"/>
                  </a:lnTo>
                  <a:lnTo>
                    <a:pt x="68" y="1"/>
                  </a:lnTo>
                  <a:close/>
                </a:path>
              </a:pathLst>
            </a:custGeom>
            <a:solidFill>
              <a:srgbClr val="674F5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1" name="Google Shape;771;p16"/>
            <p:cNvSpPr/>
            <p:nvPr/>
          </p:nvSpPr>
          <p:spPr>
            <a:xfrm>
              <a:off x="6109238" y="3243358"/>
              <a:ext cx="159354" cy="738203"/>
            </a:xfrm>
            <a:custGeom>
              <a:avLst/>
              <a:gdLst/>
              <a:ahLst/>
              <a:cxnLst/>
              <a:rect l="l" t="t" r="r" b="b"/>
              <a:pathLst>
                <a:path w="1491" h="6907" extrusionOk="0">
                  <a:moveTo>
                    <a:pt x="82" y="1"/>
                  </a:moveTo>
                  <a:lnTo>
                    <a:pt x="0" y="6906"/>
                  </a:lnTo>
                  <a:lnTo>
                    <a:pt x="1490" y="6906"/>
                  </a:lnTo>
                  <a:lnTo>
                    <a:pt x="845" y="1"/>
                  </a:lnTo>
                  <a:close/>
                </a:path>
              </a:pathLst>
            </a:custGeom>
            <a:solidFill>
              <a:srgbClr val="AA66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2" name="Google Shape;772;p16"/>
            <p:cNvSpPr/>
            <p:nvPr/>
          </p:nvSpPr>
          <p:spPr>
            <a:xfrm>
              <a:off x="6090962" y="3513331"/>
              <a:ext cx="49271" cy="49271"/>
            </a:xfrm>
            <a:custGeom>
              <a:avLst/>
              <a:gdLst/>
              <a:ahLst/>
              <a:cxnLst/>
              <a:rect l="l" t="t" r="r" b="b"/>
              <a:pathLst>
                <a:path w="461" h="461" extrusionOk="0">
                  <a:moveTo>
                    <a:pt x="0" y="0"/>
                  </a:moveTo>
                  <a:lnTo>
                    <a:pt x="0" y="461"/>
                  </a:lnTo>
                  <a:lnTo>
                    <a:pt x="461" y="461"/>
                  </a:lnTo>
                  <a:lnTo>
                    <a:pt x="461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3" name="Google Shape;773;p16"/>
            <p:cNvSpPr/>
            <p:nvPr/>
          </p:nvSpPr>
          <p:spPr>
            <a:xfrm>
              <a:off x="6087114" y="3508522"/>
              <a:ext cx="57928" cy="58034"/>
            </a:xfrm>
            <a:custGeom>
              <a:avLst/>
              <a:gdLst/>
              <a:ahLst/>
              <a:cxnLst/>
              <a:rect l="l" t="t" r="r" b="b"/>
              <a:pathLst>
                <a:path w="542" h="543" extrusionOk="0">
                  <a:moveTo>
                    <a:pt x="460" y="82"/>
                  </a:moveTo>
                  <a:lnTo>
                    <a:pt x="460" y="468"/>
                  </a:lnTo>
                  <a:lnTo>
                    <a:pt x="74" y="468"/>
                  </a:lnTo>
                  <a:lnTo>
                    <a:pt x="74" y="82"/>
                  </a:lnTo>
                  <a:close/>
                  <a:moveTo>
                    <a:pt x="1" y="1"/>
                  </a:moveTo>
                  <a:lnTo>
                    <a:pt x="1" y="543"/>
                  </a:lnTo>
                  <a:lnTo>
                    <a:pt x="541" y="543"/>
                  </a:lnTo>
                  <a:lnTo>
                    <a:pt x="54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4" name="Google Shape;774;p16"/>
            <p:cNvSpPr/>
            <p:nvPr/>
          </p:nvSpPr>
          <p:spPr>
            <a:xfrm>
              <a:off x="6090962" y="3634531"/>
              <a:ext cx="49271" cy="49164"/>
            </a:xfrm>
            <a:custGeom>
              <a:avLst/>
              <a:gdLst/>
              <a:ahLst/>
              <a:cxnLst/>
              <a:rect l="l" t="t" r="r" b="b"/>
              <a:pathLst>
                <a:path w="461" h="460" extrusionOk="0">
                  <a:moveTo>
                    <a:pt x="0" y="1"/>
                  </a:moveTo>
                  <a:lnTo>
                    <a:pt x="0" y="459"/>
                  </a:lnTo>
                  <a:lnTo>
                    <a:pt x="461" y="459"/>
                  </a:lnTo>
                  <a:lnTo>
                    <a:pt x="46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5" name="Google Shape;775;p16"/>
            <p:cNvSpPr/>
            <p:nvPr/>
          </p:nvSpPr>
          <p:spPr>
            <a:xfrm>
              <a:off x="6087114" y="3630576"/>
              <a:ext cx="57928" cy="57821"/>
            </a:xfrm>
            <a:custGeom>
              <a:avLst/>
              <a:gdLst/>
              <a:ahLst/>
              <a:cxnLst/>
              <a:rect l="l" t="t" r="r" b="b"/>
              <a:pathLst>
                <a:path w="542" h="541" extrusionOk="0">
                  <a:moveTo>
                    <a:pt x="460" y="75"/>
                  </a:moveTo>
                  <a:lnTo>
                    <a:pt x="460" y="459"/>
                  </a:lnTo>
                  <a:lnTo>
                    <a:pt x="74" y="459"/>
                  </a:lnTo>
                  <a:lnTo>
                    <a:pt x="74" y="75"/>
                  </a:lnTo>
                  <a:close/>
                  <a:moveTo>
                    <a:pt x="1" y="0"/>
                  </a:moveTo>
                  <a:lnTo>
                    <a:pt x="1" y="541"/>
                  </a:lnTo>
                  <a:lnTo>
                    <a:pt x="541" y="541"/>
                  </a:lnTo>
                  <a:lnTo>
                    <a:pt x="54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6" name="Google Shape;776;p16"/>
            <p:cNvSpPr/>
            <p:nvPr/>
          </p:nvSpPr>
          <p:spPr>
            <a:xfrm>
              <a:off x="6090962" y="3755623"/>
              <a:ext cx="49271" cy="50126"/>
            </a:xfrm>
            <a:custGeom>
              <a:avLst/>
              <a:gdLst/>
              <a:ahLst/>
              <a:cxnLst/>
              <a:rect l="l" t="t" r="r" b="b"/>
              <a:pathLst>
                <a:path w="461" h="469" extrusionOk="0">
                  <a:moveTo>
                    <a:pt x="0" y="0"/>
                  </a:moveTo>
                  <a:lnTo>
                    <a:pt x="0" y="468"/>
                  </a:lnTo>
                  <a:lnTo>
                    <a:pt x="461" y="468"/>
                  </a:lnTo>
                  <a:lnTo>
                    <a:pt x="461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7" name="Google Shape;777;p16"/>
            <p:cNvSpPr/>
            <p:nvPr/>
          </p:nvSpPr>
          <p:spPr>
            <a:xfrm>
              <a:off x="6087114" y="3751776"/>
              <a:ext cx="57928" cy="57928"/>
            </a:xfrm>
            <a:custGeom>
              <a:avLst/>
              <a:gdLst/>
              <a:ahLst/>
              <a:cxnLst/>
              <a:rect l="l" t="t" r="r" b="b"/>
              <a:pathLst>
                <a:path w="542" h="542" extrusionOk="0">
                  <a:moveTo>
                    <a:pt x="460" y="74"/>
                  </a:moveTo>
                  <a:lnTo>
                    <a:pt x="460" y="460"/>
                  </a:lnTo>
                  <a:lnTo>
                    <a:pt x="74" y="460"/>
                  </a:lnTo>
                  <a:lnTo>
                    <a:pt x="74" y="74"/>
                  </a:lnTo>
                  <a:close/>
                  <a:moveTo>
                    <a:pt x="1" y="1"/>
                  </a:moveTo>
                  <a:lnTo>
                    <a:pt x="1" y="541"/>
                  </a:lnTo>
                  <a:lnTo>
                    <a:pt x="541" y="541"/>
                  </a:lnTo>
                  <a:lnTo>
                    <a:pt x="54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8" name="Google Shape;778;p16"/>
            <p:cNvSpPr/>
            <p:nvPr/>
          </p:nvSpPr>
          <p:spPr>
            <a:xfrm>
              <a:off x="6090962" y="3876930"/>
              <a:ext cx="49271" cy="49805"/>
            </a:xfrm>
            <a:custGeom>
              <a:avLst/>
              <a:gdLst/>
              <a:ahLst/>
              <a:cxnLst/>
              <a:rect l="l" t="t" r="r" b="b"/>
              <a:pathLst>
                <a:path w="461" h="466" extrusionOk="0">
                  <a:moveTo>
                    <a:pt x="0" y="0"/>
                  </a:moveTo>
                  <a:lnTo>
                    <a:pt x="0" y="466"/>
                  </a:lnTo>
                  <a:lnTo>
                    <a:pt x="461" y="466"/>
                  </a:lnTo>
                  <a:lnTo>
                    <a:pt x="461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9" name="Google Shape;779;p16"/>
            <p:cNvSpPr/>
            <p:nvPr/>
          </p:nvSpPr>
          <p:spPr>
            <a:xfrm>
              <a:off x="6087114" y="3872868"/>
              <a:ext cx="57928" cy="57928"/>
            </a:xfrm>
            <a:custGeom>
              <a:avLst/>
              <a:gdLst/>
              <a:ahLst/>
              <a:cxnLst/>
              <a:rect l="l" t="t" r="r" b="b"/>
              <a:pathLst>
                <a:path w="542" h="542" extrusionOk="0">
                  <a:moveTo>
                    <a:pt x="460" y="82"/>
                  </a:moveTo>
                  <a:lnTo>
                    <a:pt x="460" y="468"/>
                  </a:lnTo>
                  <a:lnTo>
                    <a:pt x="74" y="468"/>
                  </a:lnTo>
                  <a:lnTo>
                    <a:pt x="74" y="82"/>
                  </a:lnTo>
                  <a:close/>
                  <a:moveTo>
                    <a:pt x="1" y="1"/>
                  </a:moveTo>
                  <a:lnTo>
                    <a:pt x="1" y="541"/>
                  </a:lnTo>
                  <a:lnTo>
                    <a:pt x="541" y="541"/>
                  </a:lnTo>
                  <a:lnTo>
                    <a:pt x="54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0" name="Google Shape;780;p16"/>
            <p:cNvSpPr/>
            <p:nvPr/>
          </p:nvSpPr>
          <p:spPr>
            <a:xfrm>
              <a:off x="6090962" y="3391491"/>
              <a:ext cx="49271" cy="49805"/>
            </a:xfrm>
            <a:custGeom>
              <a:avLst/>
              <a:gdLst/>
              <a:ahLst/>
              <a:cxnLst/>
              <a:rect l="l" t="t" r="r" b="b"/>
              <a:pathLst>
                <a:path w="461" h="466" extrusionOk="0">
                  <a:moveTo>
                    <a:pt x="0" y="0"/>
                  </a:moveTo>
                  <a:lnTo>
                    <a:pt x="0" y="466"/>
                  </a:lnTo>
                  <a:lnTo>
                    <a:pt x="461" y="466"/>
                  </a:lnTo>
                  <a:lnTo>
                    <a:pt x="461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1" name="Google Shape;781;p16"/>
            <p:cNvSpPr/>
            <p:nvPr/>
          </p:nvSpPr>
          <p:spPr>
            <a:xfrm>
              <a:off x="6087114" y="3387429"/>
              <a:ext cx="57928" cy="57928"/>
            </a:xfrm>
            <a:custGeom>
              <a:avLst/>
              <a:gdLst/>
              <a:ahLst/>
              <a:cxnLst/>
              <a:rect l="l" t="t" r="r" b="b"/>
              <a:pathLst>
                <a:path w="542" h="542" extrusionOk="0">
                  <a:moveTo>
                    <a:pt x="460" y="83"/>
                  </a:moveTo>
                  <a:lnTo>
                    <a:pt x="460" y="467"/>
                  </a:lnTo>
                  <a:lnTo>
                    <a:pt x="74" y="467"/>
                  </a:lnTo>
                  <a:lnTo>
                    <a:pt x="74" y="83"/>
                  </a:lnTo>
                  <a:close/>
                  <a:moveTo>
                    <a:pt x="1" y="1"/>
                  </a:moveTo>
                  <a:lnTo>
                    <a:pt x="1" y="541"/>
                  </a:lnTo>
                  <a:lnTo>
                    <a:pt x="541" y="541"/>
                  </a:lnTo>
                  <a:lnTo>
                    <a:pt x="54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2" name="Google Shape;782;p16"/>
            <p:cNvSpPr/>
            <p:nvPr/>
          </p:nvSpPr>
          <p:spPr>
            <a:xfrm>
              <a:off x="6057723" y="3202103"/>
              <a:ext cx="118848" cy="118955"/>
            </a:xfrm>
            <a:custGeom>
              <a:avLst/>
              <a:gdLst/>
              <a:ahLst/>
              <a:cxnLst/>
              <a:rect l="l" t="t" r="r" b="b"/>
              <a:pathLst>
                <a:path w="1112" h="1113" extrusionOk="0">
                  <a:moveTo>
                    <a:pt x="53" y="1"/>
                  </a:moveTo>
                  <a:lnTo>
                    <a:pt x="0" y="52"/>
                  </a:lnTo>
                  <a:lnTo>
                    <a:pt x="1053" y="1112"/>
                  </a:lnTo>
                  <a:lnTo>
                    <a:pt x="1112" y="1054"/>
                  </a:lnTo>
                  <a:lnTo>
                    <a:pt x="53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3" name="Google Shape;783;p16"/>
            <p:cNvSpPr/>
            <p:nvPr/>
          </p:nvSpPr>
          <p:spPr>
            <a:xfrm>
              <a:off x="5886613" y="3031098"/>
              <a:ext cx="111153" cy="111687"/>
            </a:xfrm>
            <a:custGeom>
              <a:avLst/>
              <a:gdLst/>
              <a:ahLst/>
              <a:cxnLst/>
              <a:rect l="l" t="t" r="r" b="b"/>
              <a:pathLst>
                <a:path w="1040" h="1045" extrusionOk="0">
                  <a:moveTo>
                    <a:pt x="972" y="0"/>
                  </a:moveTo>
                  <a:lnTo>
                    <a:pt x="454" y="511"/>
                  </a:lnTo>
                  <a:lnTo>
                    <a:pt x="461" y="520"/>
                  </a:lnTo>
                  <a:lnTo>
                    <a:pt x="1" y="978"/>
                  </a:lnTo>
                  <a:lnTo>
                    <a:pt x="68" y="1044"/>
                  </a:lnTo>
                  <a:lnTo>
                    <a:pt x="587" y="527"/>
                  </a:lnTo>
                  <a:lnTo>
                    <a:pt x="579" y="527"/>
                  </a:lnTo>
                  <a:lnTo>
                    <a:pt x="1039" y="66"/>
                  </a:lnTo>
                  <a:lnTo>
                    <a:pt x="972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4" name="Google Shape;784;p16"/>
            <p:cNvSpPr/>
            <p:nvPr/>
          </p:nvSpPr>
          <p:spPr>
            <a:xfrm>
              <a:off x="6012621" y="3120555"/>
              <a:ext cx="87960" cy="87212"/>
            </a:xfrm>
            <a:custGeom>
              <a:avLst/>
              <a:gdLst/>
              <a:ahLst/>
              <a:cxnLst/>
              <a:rect l="l" t="t" r="r" b="b"/>
              <a:pathLst>
                <a:path w="823" h="816" extrusionOk="0">
                  <a:moveTo>
                    <a:pt x="401" y="111"/>
                  </a:moveTo>
                  <a:lnTo>
                    <a:pt x="712" y="415"/>
                  </a:lnTo>
                  <a:lnTo>
                    <a:pt x="422" y="705"/>
                  </a:lnTo>
                  <a:lnTo>
                    <a:pt x="111" y="401"/>
                  </a:lnTo>
                  <a:lnTo>
                    <a:pt x="401" y="111"/>
                  </a:lnTo>
                  <a:close/>
                  <a:moveTo>
                    <a:pt x="401" y="1"/>
                  </a:moveTo>
                  <a:lnTo>
                    <a:pt x="1" y="401"/>
                  </a:lnTo>
                  <a:lnTo>
                    <a:pt x="422" y="815"/>
                  </a:lnTo>
                  <a:lnTo>
                    <a:pt x="822" y="415"/>
                  </a:lnTo>
                  <a:lnTo>
                    <a:pt x="401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5" name="Google Shape;785;p16"/>
            <p:cNvSpPr/>
            <p:nvPr/>
          </p:nvSpPr>
          <p:spPr>
            <a:xfrm>
              <a:off x="5975428" y="3076094"/>
              <a:ext cx="85609" cy="92877"/>
            </a:xfrm>
            <a:custGeom>
              <a:avLst/>
              <a:gdLst/>
              <a:ahLst/>
              <a:cxnLst/>
              <a:rect l="l" t="t" r="r" b="b"/>
              <a:pathLst>
                <a:path w="801" h="869" extrusionOk="0">
                  <a:moveTo>
                    <a:pt x="452" y="127"/>
                  </a:moveTo>
                  <a:lnTo>
                    <a:pt x="697" y="468"/>
                  </a:lnTo>
                  <a:lnTo>
                    <a:pt x="407" y="757"/>
                  </a:lnTo>
                  <a:lnTo>
                    <a:pt x="112" y="461"/>
                  </a:lnTo>
                  <a:lnTo>
                    <a:pt x="452" y="127"/>
                  </a:lnTo>
                  <a:close/>
                  <a:moveTo>
                    <a:pt x="459" y="1"/>
                  </a:moveTo>
                  <a:lnTo>
                    <a:pt x="0" y="461"/>
                  </a:lnTo>
                  <a:lnTo>
                    <a:pt x="407" y="869"/>
                  </a:lnTo>
                  <a:lnTo>
                    <a:pt x="800" y="476"/>
                  </a:lnTo>
                  <a:lnTo>
                    <a:pt x="459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6" name="Google Shape;786;p16"/>
            <p:cNvSpPr/>
            <p:nvPr/>
          </p:nvSpPr>
          <p:spPr>
            <a:xfrm>
              <a:off x="5936631" y="3031098"/>
              <a:ext cx="91915" cy="99075"/>
            </a:xfrm>
            <a:custGeom>
              <a:avLst/>
              <a:gdLst/>
              <a:ahLst/>
              <a:cxnLst/>
              <a:rect l="l" t="t" r="r" b="b"/>
              <a:pathLst>
                <a:path w="860" h="927" extrusionOk="0">
                  <a:moveTo>
                    <a:pt x="511" y="127"/>
                  </a:moveTo>
                  <a:lnTo>
                    <a:pt x="756" y="466"/>
                  </a:lnTo>
                  <a:lnTo>
                    <a:pt x="407" y="815"/>
                  </a:lnTo>
                  <a:lnTo>
                    <a:pt x="111" y="527"/>
                  </a:lnTo>
                  <a:lnTo>
                    <a:pt x="511" y="127"/>
                  </a:lnTo>
                  <a:close/>
                  <a:moveTo>
                    <a:pt x="520" y="0"/>
                  </a:moveTo>
                  <a:lnTo>
                    <a:pt x="0" y="527"/>
                  </a:lnTo>
                  <a:lnTo>
                    <a:pt x="407" y="927"/>
                  </a:lnTo>
                  <a:lnTo>
                    <a:pt x="859" y="475"/>
                  </a:lnTo>
                  <a:lnTo>
                    <a:pt x="520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7" name="Google Shape;787;p16"/>
            <p:cNvSpPr/>
            <p:nvPr/>
          </p:nvSpPr>
          <p:spPr>
            <a:xfrm>
              <a:off x="5973825" y="3075346"/>
              <a:ext cx="56431" cy="56431"/>
            </a:xfrm>
            <a:custGeom>
              <a:avLst/>
              <a:gdLst/>
              <a:ahLst/>
              <a:cxnLst/>
              <a:rect l="l" t="t" r="r" b="b"/>
              <a:pathLst>
                <a:path w="528" h="528" extrusionOk="0">
                  <a:moveTo>
                    <a:pt x="460" y="1"/>
                  </a:moveTo>
                  <a:lnTo>
                    <a:pt x="1" y="461"/>
                  </a:lnTo>
                  <a:lnTo>
                    <a:pt x="67" y="527"/>
                  </a:lnTo>
                  <a:lnTo>
                    <a:pt x="527" y="68"/>
                  </a:lnTo>
                  <a:lnTo>
                    <a:pt x="460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8" name="Google Shape;788;p16"/>
            <p:cNvSpPr/>
            <p:nvPr/>
          </p:nvSpPr>
          <p:spPr>
            <a:xfrm>
              <a:off x="5896125" y="2985034"/>
              <a:ext cx="99930" cy="107198"/>
            </a:xfrm>
            <a:custGeom>
              <a:avLst/>
              <a:gdLst/>
              <a:ahLst/>
              <a:cxnLst/>
              <a:rect l="l" t="t" r="r" b="b"/>
              <a:pathLst>
                <a:path w="935" h="1003" extrusionOk="0">
                  <a:moveTo>
                    <a:pt x="571" y="127"/>
                  </a:moveTo>
                  <a:lnTo>
                    <a:pt x="831" y="483"/>
                  </a:lnTo>
                  <a:lnTo>
                    <a:pt x="424" y="883"/>
                  </a:lnTo>
                  <a:lnTo>
                    <a:pt x="112" y="579"/>
                  </a:lnTo>
                  <a:lnTo>
                    <a:pt x="571" y="127"/>
                  </a:lnTo>
                  <a:close/>
                  <a:moveTo>
                    <a:pt x="578" y="1"/>
                  </a:moveTo>
                  <a:lnTo>
                    <a:pt x="0" y="579"/>
                  </a:lnTo>
                  <a:lnTo>
                    <a:pt x="424" y="1002"/>
                  </a:lnTo>
                  <a:lnTo>
                    <a:pt x="934" y="490"/>
                  </a:lnTo>
                  <a:lnTo>
                    <a:pt x="578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9" name="Google Shape;789;p16"/>
            <p:cNvSpPr/>
            <p:nvPr/>
          </p:nvSpPr>
          <p:spPr>
            <a:xfrm>
              <a:off x="5859039" y="2941535"/>
              <a:ext cx="103671" cy="111901"/>
            </a:xfrm>
            <a:custGeom>
              <a:avLst/>
              <a:gdLst/>
              <a:ahLst/>
              <a:cxnLst/>
              <a:rect l="l" t="t" r="r" b="b"/>
              <a:pathLst>
                <a:path w="970" h="1047" extrusionOk="0">
                  <a:moveTo>
                    <a:pt x="623" y="127"/>
                  </a:moveTo>
                  <a:lnTo>
                    <a:pt x="867" y="468"/>
                  </a:lnTo>
                  <a:lnTo>
                    <a:pt x="408" y="927"/>
                  </a:lnTo>
                  <a:lnTo>
                    <a:pt x="111" y="637"/>
                  </a:lnTo>
                  <a:lnTo>
                    <a:pt x="623" y="127"/>
                  </a:lnTo>
                  <a:close/>
                  <a:moveTo>
                    <a:pt x="630" y="1"/>
                  </a:moveTo>
                  <a:lnTo>
                    <a:pt x="1" y="637"/>
                  </a:lnTo>
                  <a:lnTo>
                    <a:pt x="408" y="1046"/>
                  </a:lnTo>
                  <a:lnTo>
                    <a:pt x="970" y="475"/>
                  </a:lnTo>
                  <a:lnTo>
                    <a:pt x="630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0" name="Google Shape;790;p16"/>
            <p:cNvSpPr/>
            <p:nvPr/>
          </p:nvSpPr>
          <p:spPr>
            <a:xfrm>
              <a:off x="5820135" y="2896539"/>
              <a:ext cx="110298" cy="117886"/>
            </a:xfrm>
            <a:custGeom>
              <a:avLst/>
              <a:gdLst/>
              <a:ahLst/>
              <a:cxnLst/>
              <a:rect l="l" t="t" r="r" b="b"/>
              <a:pathLst>
                <a:path w="1032" h="1103" extrusionOk="0">
                  <a:moveTo>
                    <a:pt x="683" y="125"/>
                  </a:moveTo>
                  <a:lnTo>
                    <a:pt x="927" y="466"/>
                  </a:lnTo>
                  <a:lnTo>
                    <a:pt x="409" y="985"/>
                  </a:lnTo>
                  <a:lnTo>
                    <a:pt x="112" y="696"/>
                  </a:lnTo>
                  <a:lnTo>
                    <a:pt x="683" y="125"/>
                  </a:lnTo>
                  <a:close/>
                  <a:moveTo>
                    <a:pt x="690" y="0"/>
                  </a:moveTo>
                  <a:lnTo>
                    <a:pt x="0" y="696"/>
                  </a:lnTo>
                  <a:lnTo>
                    <a:pt x="409" y="1103"/>
                  </a:lnTo>
                  <a:lnTo>
                    <a:pt x="1032" y="473"/>
                  </a:lnTo>
                  <a:lnTo>
                    <a:pt x="690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1" name="Google Shape;791;p16"/>
            <p:cNvSpPr/>
            <p:nvPr/>
          </p:nvSpPr>
          <p:spPr>
            <a:xfrm>
              <a:off x="5857329" y="2940787"/>
              <a:ext cx="74600" cy="74600"/>
            </a:xfrm>
            <a:custGeom>
              <a:avLst/>
              <a:gdLst/>
              <a:ahLst/>
              <a:cxnLst/>
              <a:rect l="l" t="t" r="r" b="b"/>
              <a:pathLst>
                <a:path w="698" h="698" extrusionOk="0">
                  <a:moveTo>
                    <a:pt x="630" y="1"/>
                  </a:moveTo>
                  <a:lnTo>
                    <a:pt x="1" y="630"/>
                  </a:lnTo>
                  <a:lnTo>
                    <a:pt x="75" y="698"/>
                  </a:lnTo>
                  <a:lnTo>
                    <a:pt x="698" y="66"/>
                  </a:lnTo>
                  <a:lnTo>
                    <a:pt x="630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2" name="Google Shape;792;p16"/>
            <p:cNvSpPr/>
            <p:nvPr/>
          </p:nvSpPr>
          <p:spPr>
            <a:xfrm>
              <a:off x="5976924" y="3157856"/>
              <a:ext cx="87319" cy="87960"/>
            </a:xfrm>
            <a:custGeom>
              <a:avLst/>
              <a:gdLst/>
              <a:ahLst/>
              <a:cxnLst/>
              <a:rect l="l" t="t" r="r" b="b"/>
              <a:pathLst>
                <a:path w="817" h="823" extrusionOk="0">
                  <a:moveTo>
                    <a:pt x="400" y="111"/>
                  </a:moveTo>
                  <a:lnTo>
                    <a:pt x="704" y="422"/>
                  </a:lnTo>
                  <a:lnTo>
                    <a:pt x="416" y="703"/>
                  </a:lnTo>
                  <a:lnTo>
                    <a:pt x="112" y="401"/>
                  </a:lnTo>
                  <a:lnTo>
                    <a:pt x="400" y="111"/>
                  </a:lnTo>
                  <a:close/>
                  <a:moveTo>
                    <a:pt x="400" y="0"/>
                  </a:moveTo>
                  <a:lnTo>
                    <a:pt x="0" y="401"/>
                  </a:lnTo>
                  <a:lnTo>
                    <a:pt x="416" y="822"/>
                  </a:lnTo>
                  <a:lnTo>
                    <a:pt x="817" y="422"/>
                  </a:lnTo>
                  <a:lnTo>
                    <a:pt x="400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3" name="Google Shape;793;p16"/>
            <p:cNvSpPr/>
            <p:nvPr/>
          </p:nvSpPr>
          <p:spPr>
            <a:xfrm>
              <a:off x="5932570" y="3120555"/>
              <a:ext cx="92877" cy="85716"/>
            </a:xfrm>
            <a:custGeom>
              <a:avLst/>
              <a:gdLst/>
              <a:ahLst/>
              <a:cxnLst/>
              <a:rect l="l" t="t" r="r" b="b"/>
              <a:pathLst>
                <a:path w="869" h="802" extrusionOk="0">
                  <a:moveTo>
                    <a:pt x="460" y="111"/>
                  </a:moveTo>
                  <a:lnTo>
                    <a:pt x="757" y="408"/>
                  </a:lnTo>
                  <a:lnTo>
                    <a:pt x="469" y="696"/>
                  </a:lnTo>
                  <a:lnTo>
                    <a:pt x="120" y="453"/>
                  </a:lnTo>
                  <a:lnTo>
                    <a:pt x="460" y="111"/>
                  </a:lnTo>
                  <a:close/>
                  <a:moveTo>
                    <a:pt x="460" y="1"/>
                  </a:moveTo>
                  <a:lnTo>
                    <a:pt x="1" y="460"/>
                  </a:lnTo>
                  <a:lnTo>
                    <a:pt x="476" y="801"/>
                  </a:lnTo>
                  <a:lnTo>
                    <a:pt x="869" y="408"/>
                  </a:lnTo>
                  <a:lnTo>
                    <a:pt x="460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4" name="Google Shape;794;p16"/>
            <p:cNvSpPr/>
            <p:nvPr/>
          </p:nvSpPr>
          <p:spPr>
            <a:xfrm>
              <a:off x="5887575" y="3081865"/>
              <a:ext cx="98969" cy="91915"/>
            </a:xfrm>
            <a:custGeom>
              <a:avLst/>
              <a:gdLst/>
              <a:ahLst/>
              <a:cxnLst/>
              <a:rect l="l" t="t" r="r" b="b"/>
              <a:pathLst>
                <a:path w="926" h="860" extrusionOk="0">
                  <a:moveTo>
                    <a:pt x="518" y="110"/>
                  </a:moveTo>
                  <a:lnTo>
                    <a:pt x="815" y="407"/>
                  </a:lnTo>
                  <a:lnTo>
                    <a:pt x="466" y="756"/>
                  </a:lnTo>
                  <a:lnTo>
                    <a:pt x="125" y="503"/>
                  </a:lnTo>
                  <a:lnTo>
                    <a:pt x="518" y="110"/>
                  </a:lnTo>
                  <a:close/>
                  <a:moveTo>
                    <a:pt x="518" y="0"/>
                  </a:moveTo>
                  <a:lnTo>
                    <a:pt x="0" y="518"/>
                  </a:lnTo>
                  <a:lnTo>
                    <a:pt x="473" y="859"/>
                  </a:lnTo>
                  <a:lnTo>
                    <a:pt x="925" y="407"/>
                  </a:lnTo>
                  <a:lnTo>
                    <a:pt x="518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5" name="Google Shape;795;p16"/>
            <p:cNvSpPr/>
            <p:nvPr/>
          </p:nvSpPr>
          <p:spPr>
            <a:xfrm>
              <a:off x="5931822" y="3118845"/>
              <a:ext cx="56431" cy="56431"/>
            </a:xfrm>
            <a:custGeom>
              <a:avLst/>
              <a:gdLst/>
              <a:ahLst/>
              <a:cxnLst/>
              <a:rect l="l" t="t" r="r" b="b"/>
              <a:pathLst>
                <a:path w="528" h="528" extrusionOk="0">
                  <a:moveTo>
                    <a:pt x="460" y="1"/>
                  </a:moveTo>
                  <a:lnTo>
                    <a:pt x="1" y="461"/>
                  </a:lnTo>
                  <a:lnTo>
                    <a:pt x="67" y="527"/>
                  </a:lnTo>
                  <a:lnTo>
                    <a:pt x="527" y="68"/>
                  </a:lnTo>
                  <a:lnTo>
                    <a:pt x="460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6" name="Google Shape;796;p16"/>
            <p:cNvSpPr/>
            <p:nvPr/>
          </p:nvSpPr>
          <p:spPr>
            <a:xfrm>
              <a:off x="5841618" y="3041359"/>
              <a:ext cx="106129" cy="99824"/>
            </a:xfrm>
            <a:custGeom>
              <a:avLst/>
              <a:gdLst/>
              <a:ahLst/>
              <a:cxnLst/>
              <a:rect l="l" t="t" r="r" b="b"/>
              <a:pathLst>
                <a:path w="993" h="934" extrusionOk="0">
                  <a:moveTo>
                    <a:pt x="578" y="112"/>
                  </a:moveTo>
                  <a:lnTo>
                    <a:pt x="882" y="424"/>
                  </a:lnTo>
                  <a:lnTo>
                    <a:pt x="475" y="831"/>
                  </a:lnTo>
                  <a:lnTo>
                    <a:pt x="119" y="571"/>
                  </a:lnTo>
                  <a:lnTo>
                    <a:pt x="578" y="112"/>
                  </a:lnTo>
                  <a:close/>
                  <a:moveTo>
                    <a:pt x="578" y="0"/>
                  </a:moveTo>
                  <a:lnTo>
                    <a:pt x="0" y="578"/>
                  </a:lnTo>
                  <a:lnTo>
                    <a:pt x="482" y="934"/>
                  </a:lnTo>
                  <a:lnTo>
                    <a:pt x="992" y="424"/>
                  </a:lnTo>
                  <a:lnTo>
                    <a:pt x="578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7" name="Google Shape;797;p16"/>
            <p:cNvSpPr/>
            <p:nvPr/>
          </p:nvSpPr>
          <p:spPr>
            <a:xfrm>
              <a:off x="5798012" y="3004058"/>
              <a:ext cx="110939" cy="103885"/>
            </a:xfrm>
            <a:custGeom>
              <a:avLst/>
              <a:gdLst/>
              <a:ahLst/>
              <a:cxnLst/>
              <a:rect l="l" t="t" r="r" b="b"/>
              <a:pathLst>
                <a:path w="1038" h="972" extrusionOk="0">
                  <a:moveTo>
                    <a:pt x="630" y="113"/>
                  </a:moveTo>
                  <a:lnTo>
                    <a:pt x="927" y="408"/>
                  </a:lnTo>
                  <a:lnTo>
                    <a:pt x="467" y="869"/>
                  </a:lnTo>
                  <a:lnTo>
                    <a:pt x="118" y="623"/>
                  </a:lnTo>
                  <a:lnTo>
                    <a:pt x="630" y="113"/>
                  </a:lnTo>
                  <a:close/>
                  <a:moveTo>
                    <a:pt x="630" y="1"/>
                  </a:moveTo>
                  <a:lnTo>
                    <a:pt x="1" y="630"/>
                  </a:lnTo>
                  <a:lnTo>
                    <a:pt x="474" y="972"/>
                  </a:lnTo>
                  <a:lnTo>
                    <a:pt x="1038" y="408"/>
                  </a:lnTo>
                  <a:lnTo>
                    <a:pt x="630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8" name="Google Shape;798;p16"/>
            <p:cNvSpPr/>
            <p:nvPr/>
          </p:nvSpPr>
          <p:spPr>
            <a:xfrm>
              <a:off x="5752803" y="2965262"/>
              <a:ext cx="117351" cy="110191"/>
            </a:xfrm>
            <a:custGeom>
              <a:avLst/>
              <a:gdLst/>
              <a:ahLst/>
              <a:cxnLst/>
              <a:rect l="l" t="t" r="r" b="b"/>
              <a:pathLst>
                <a:path w="1098" h="1031" extrusionOk="0">
                  <a:moveTo>
                    <a:pt x="691" y="113"/>
                  </a:moveTo>
                  <a:lnTo>
                    <a:pt x="986" y="408"/>
                  </a:lnTo>
                  <a:lnTo>
                    <a:pt x="468" y="928"/>
                  </a:lnTo>
                  <a:lnTo>
                    <a:pt x="127" y="682"/>
                  </a:lnTo>
                  <a:lnTo>
                    <a:pt x="691" y="113"/>
                  </a:lnTo>
                  <a:close/>
                  <a:moveTo>
                    <a:pt x="691" y="1"/>
                  </a:moveTo>
                  <a:lnTo>
                    <a:pt x="1" y="691"/>
                  </a:lnTo>
                  <a:lnTo>
                    <a:pt x="475" y="1031"/>
                  </a:lnTo>
                  <a:lnTo>
                    <a:pt x="1098" y="408"/>
                  </a:lnTo>
                  <a:lnTo>
                    <a:pt x="691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9" name="Google Shape;799;p16"/>
            <p:cNvSpPr/>
            <p:nvPr/>
          </p:nvSpPr>
          <p:spPr>
            <a:xfrm>
              <a:off x="5797264" y="3002562"/>
              <a:ext cx="74494" cy="74600"/>
            </a:xfrm>
            <a:custGeom>
              <a:avLst/>
              <a:gdLst/>
              <a:ahLst/>
              <a:cxnLst/>
              <a:rect l="l" t="t" r="r" b="b"/>
              <a:pathLst>
                <a:path w="697" h="698" extrusionOk="0">
                  <a:moveTo>
                    <a:pt x="630" y="1"/>
                  </a:moveTo>
                  <a:lnTo>
                    <a:pt x="1" y="630"/>
                  </a:lnTo>
                  <a:lnTo>
                    <a:pt x="67" y="698"/>
                  </a:lnTo>
                  <a:lnTo>
                    <a:pt x="696" y="66"/>
                  </a:lnTo>
                  <a:lnTo>
                    <a:pt x="630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0" name="Google Shape;800;p16"/>
            <p:cNvSpPr/>
            <p:nvPr/>
          </p:nvSpPr>
          <p:spPr>
            <a:xfrm>
              <a:off x="6234391" y="3377917"/>
              <a:ext cx="110191" cy="111687"/>
            </a:xfrm>
            <a:custGeom>
              <a:avLst/>
              <a:gdLst/>
              <a:ahLst/>
              <a:cxnLst/>
              <a:rect l="l" t="t" r="r" b="b"/>
              <a:pathLst>
                <a:path w="1031" h="1045" extrusionOk="0">
                  <a:moveTo>
                    <a:pt x="963" y="1"/>
                  </a:moveTo>
                  <a:lnTo>
                    <a:pt x="453" y="511"/>
                  </a:lnTo>
                  <a:lnTo>
                    <a:pt x="453" y="520"/>
                  </a:lnTo>
                  <a:lnTo>
                    <a:pt x="1" y="979"/>
                  </a:lnTo>
                  <a:lnTo>
                    <a:pt x="67" y="1045"/>
                  </a:lnTo>
                  <a:lnTo>
                    <a:pt x="579" y="534"/>
                  </a:lnTo>
                  <a:lnTo>
                    <a:pt x="570" y="527"/>
                  </a:lnTo>
                  <a:lnTo>
                    <a:pt x="1031" y="67"/>
                  </a:lnTo>
                  <a:lnTo>
                    <a:pt x="963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1" name="Google Shape;801;p16"/>
            <p:cNvSpPr/>
            <p:nvPr/>
          </p:nvSpPr>
          <p:spPr>
            <a:xfrm>
              <a:off x="6131469" y="3312187"/>
              <a:ext cx="87105" cy="88067"/>
            </a:xfrm>
            <a:custGeom>
              <a:avLst/>
              <a:gdLst/>
              <a:ahLst/>
              <a:cxnLst/>
              <a:rect l="l" t="t" r="r" b="b"/>
              <a:pathLst>
                <a:path w="815" h="824" extrusionOk="0">
                  <a:moveTo>
                    <a:pt x="400" y="113"/>
                  </a:moveTo>
                  <a:lnTo>
                    <a:pt x="704" y="424"/>
                  </a:lnTo>
                  <a:lnTo>
                    <a:pt x="414" y="705"/>
                  </a:lnTo>
                  <a:lnTo>
                    <a:pt x="110" y="401"/>
                  </a:lnTo>
                  <a:lnTo>
                    <a:pt x="400" y="113"/>
                  </a:lnTo>
                  <a:close/>
                  <a:moveTo>
                    <a:pt x="400" y="0"/>
                  </a:moveTo>
                  <a:lnTo>
                    <a:pt x="0" y="401"/>
                  </a:lnTo>
                  <a:lnTo>
                    <a:pt x="414" y="824"/>
                  </a:lnTo>
                  <a:lnTo>
                    <a:pt x="815" y="424"/>
                  </a:lnTo>
                  <a:lnTo>
                    <a:pt x="400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2" name="Google Shape;802;p16"/>
            <p:cNvSpPr/>
            <p:nvPr/>
          </p:nvSpPr>
          <p:spPr>
            <a:xfrm>
              <a:off x="6170158" y="3350984"/>
              <a:ext cx="85716" cy="92877"/>
            </a:xfrm>
            <a:custGeom>
              <a:avLst/>
              <a:gdLst/>
              <a:ahLst/>
              <a:cxnLst/>
              <a:rect l="l" t="t" r="r" b="b"/>
              <a:pathLst>
                <a:path w="802" h="869" extrusionOk="0">
                  <a:moveTo>
                    <a:pt x="401" y="112"/>
                  </a:moveTo>
                  <a:lnTo>
                    <a:pt x="691" y="408"/>
                  </a:lnTo>
                  <a:lnTo>
                    <a:pt x="349" y="749"/>
                  </a:lnTo>
                  <a:lnTo>
                    <a:pt x="104" y="408"/>
                  </a:lnTo>
                  <a:lnTo>
                    <a:pt x="401" y="112"/>
                  </a:lnTo>
                  <a:close/>
                  <a:moveTo>
                    <a:pt x="401" y="0"/>
                  </a:moveTo>
                  <a:lnTo>
                    <a:pt x="1" y="393"/>
                  </a:lnTo>
                  <a:lnTo>
                    <a:pt x="342" y="868"/>
                  </a:lnTo>
                  <a:lnTo>
                    <a:pt x="801" y="408"/>
                  </a:lnTo>
                  <a:lnTo>
                    <a:pt x="401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3" name="Google Shape;803;p16"/>
            <p:cNvSpPr/>
            <p:nvPr/>
          </p:nvSpPr>
          <p:spPr>
            <a:xfrm>
              <a:off x="6202649" y="3389780"/>
              <a:ext cx="91915" cy="99075"/>
            </a:xfrm>
            <a:custGeom>
              <a:avLst/>
              <a:gdLst/>
              <a:ahLst/>
              <a:cxnLst/>
              <a:rect l="l" t="t" r="r" b="b"/>
              <a:pathLst>
                <a:path w="860" h="927" extrusionOk="0">
                  <a:moveTo>
                    <a:pt x="460" y="112"/>
                  </a:moveTo>
                  <a:lnTo>
                    <a:pt x="750" y="409"/>
                  </a:lnTo>
                  <a:lnTo>
                    <a:pt x="357" y="809"/>
                  </a:lnTo>
                  <a:lnTo>
                    <a:pt x="104" y="461"/>
                  </a:lnTo>
                  <a:lnTo>
                    <a:pt x="460" y="112"/>
                  </a:lnTo>
                  <a:close/>
                  <a:moveTo>
                    <a:pt x="460" y="0"/>
                  </a:moveTo>
                  <a:lnTo>
                    <a:pt x="1" y="454"/>
                  </a:lnTo>
                  <a:lnTo>
                    <a:pt x="342" y="927"/>
                  </a:lnTo>
                  <a:lnTo>
                    <a:pt x="860" y="409"/>
                  </a:lnTo>
                  <a:lnTo>
                    <a:pt x="460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4" name="Google Shape;804;p16"/>
            <p:cNvSpPr/>
            <p:nvPr/>
          </p:nvSpPr>
          <p:spPr>
            <a:xfrm>
              <a:off x="6201152" y="3388177"/>
              <a:ext cx="56218" cy="56431"/>
            </a:xfrm>
            <a:custGeom>
              <a:avLst/>
              <a:gdLst/>
              <a:ahLst/>
              <a:cxnLst/>
              <a:rect l="l" t="t" r="r" b="b"/>
              <a:pathLst>
                <a:path w="526" h="528" extrusionOk="0">
                  <a:moveTo>
                    <a:pt x="460" y="1"/>
                  </a:moveTo>
                  <a:lnTo>
                    <a:pt x="1" y="460"/>
                  </a:lnTo>
                  <a:lnTo>
                    <a:pt x="67" y="527"/>
                  </a:lnTo>
                  <a:lnTo>
                    <a:pt x="525" y="76"/>
                  </a:lnTo>
                  <a:lnTo>
                    <a:pt x="460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5" name="Google Shape;805;p16"/>
            <p:cNvSpPr/>
            <p:nvPr/>
          </p:nvSpPr>
          <p:spPr>
            <a:xfrm>
              <a:off x="6235994" y="3428684"/>
              <a:ext cx="99075" cy="106129"/>
            </a:xfrm>
            <a:custGeom>
              <a:avLst/>
              <a:gdLst/>
              <a:ahLst/>
              <a:cxnLst/>
              <a:rect l="l" t="t" r="r" b="b"/>
              <a:pathLst>
                <a:path w="927" h="993" extrusionOk="0">
                  <a:moveTo>
                    <a:pt x="503" y="111"/>
                  </a:moveTo>
                  <a:lnTo>
                    <a:pt x="815" y="422"/>
                  </a:lnTo>
                  <a:lnTo>
                    <a:pt x="363" y="874"/>
                  </a:lnTo>
                  <a:lnTo>
                    <a:pt x="103" y="518"/>
                  </a:lnTo>
                  <a:lnTo>
                    <a:pt x="503" y="111"/>
                  </a:lnTo>
                  <a:close/>
                  <a:moveTo>
                    <a:pt x="503" y="1"/>
                  </a:moveTo>
                  <a:lnTo>
                    <a:pt x="0" y="511"/>
                  </a:lnTo>
                  <a:lnTo>
                    <a:pt x="349" y="993"/>
                  </a:lnTo>
                  <a:lnTo>
                    <a:pt x="927" y="422"/>
                  </a:lnTo>
                  <a:lnTo>
                    <a:pt x="503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6" name="Google Shape;806;p16"/>
            <p:cNvSpPr/>
            <p:nvPr/>
          </p:nvSpPr>
          <p:spPr>
            <a:xfrm>
              <a:off x="6268485" y="3467481"/>
              <a:ext cx="103885" cy="110939"/>
            </a:xfrm>
            <a:custGeom>
              <a:avLst/>
              <a:gdLst/>
              <a:ahLst/>
              <a:cxnLst/>
              <a:rect l="l" t="t" r="r" b="b"/>
              <a:pathLst>
                <a:path w="972" h="1038" extrusionOk="0">
                  <a:moveTo>
                    <a:pt x="562" y="111"/>
                  </a:moveTo>
                  <a:lnTo>
                    <a:pt x="859" y="408"/>
                  </a:lnTo>
                  <a:lnTo>
                    <a:pt x="349" y="918"/>
                  </a:lnTo>
                  <a:lnTo>
                    <a:pt x="103" y="578"/>
                  </a:lnTo>
                  <a:lnTo>
                    <a:pt x="562" y="111"/>
                  </a:lnTo>
                  <a:close/>
                  <a:moveTo>
                    <a:pt x="562" y="0"/>
                  </a:moveTo>
                  <a:lnTo>
                    <a:pt x="0" y="562"/>
                  </a:lnTo>
                  <a:lnTo>
                    <a:pt x="340" y="1037"/>
                  </a:lnTo>
                  <a:lnTo>
                    <a:pt x="971" y="408"/>
                  </a:lnTo>
                  <a:lnTo>
                    <a:pt x="562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7" name="Google Shape;807;p16"/>
            <p:cNvSpPr/>
            <p:nvPr/>
          </p:nvSpPr>
          <p:spPr>
            <a:xfrm>
              <a:off x="6300976" y="3506277"/>
              <a:ext cx="110191" cy="117351"/>
            </a:xfrm>
            <a:custGeom>
              <a:avLst/>
              <a:gdLst/>
              <a:ahLst/>
              <a:cxnLst/>
              <a:rect l="l" t="t" r="r" b="b"/>
              <a:pathLst>
                <a:path w="1031" h="1098" extrusionOk="0">
                  <a:moveTo>
                    <a:pt x="623" y="110"/>
                  </a:moveTo>
                  <a:lnTo>
                    <a:pt x="918" y="407"/>
                  </a:lnTo>
                  <a:lnTo>
                    <a:pt x="356" y="978"/>
                  </a:lnTo>
                  <a:lnTo>
                    <a:pt x="104" y="630"/>
                  </a:lnTo>
                  <a:lnTo>
                    <a:pt x="623" y="110"/>
                  </a:lnTo>
                  <a:close/>
                  <a:moveTo>
                    <a:pt x="623" y="0"/>
                  </a:moveTo>
                  <a:lnTo>
                    <a:pt x="0" y="623"/>
                  </a:lnTo>
                  <a:lnTo>
                    <a:pt x="340" y="1097"/>
                  </a:lnTo>
                  <a:lnTo>
                    <a:pt x="1030" y="407"/>
                  </a:lnTo>
                  <a:lnTo>
                    <a:pt x="623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8" name="Google Shape;808;p16"/>
            <p:cNvSpPr/>
            <p:nvPr/>
          </p:nvSpPr>
          <p:spPr>
            <a:xfrm>
              <a:off x="6299266" y="3504674"/>
              <a:ext cx="74600" cy="74494"/>
            </a:xfrm>
            <a:custGeom>
              <a:avLst/>
              <a:gdLst/>
              <a:ahLst/>
              <a:cxnLst/>
              <a:rect l="l" t="t" r="r" b="b"/>
              <a:pathLst>
                <a:path w="698" h="697" extrusionOk="0">
                  <a:moveTo>
                    <a:pt x="630" y="1"/>
                  </a:moveTo>
                  <a:lnTo>
                    <a:pt x="0" y="631"/>
                  </a:lnTo>
                  <a:lnTo>
                    <a:pt x="68" y="696"/>
                  </a:lnTo>
                  <a:lnTo>
                    <a:pt x="697" y="74"/>
                  </a:lnTo>
                  <a:lnTo>
                    <a:pt x="630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9" name="Google Shape;809;p16"/>
            <p:cNvSpPr/>
            <p:nvPr/>
          </p:nvSpPr>
          <p:spPr>
            <a:xfrm>
              <a:off x="6166952" y="3274887"/>
              <a:ext cx="88174" cy="87426"/>
            </a:xfrm>
            <a:custGeom>
              <a:avLst/>
              <a:gdLst/>
              <a:ahLst/>
              <a:cxnLst/>
              <a:rect l="l" t="t" r="r" b="b"/>
              <a:pathLst>
                <a:path w="825" h="818" extrusionOk="0">
                  <a:moveTo>
                    <a:pt x="401" y="113"/>
                  </a:moveTo>
                  <a:lnTo>
                    <a:pt x="712" y="417"/>
                  </a:lnTo>
                  <a:lnTo>
                    <a:pt x="424" y="705"/>
                  </a:lnTo>
                  <a:lnTo>
                    <a:pt x="113" y="401"/>
                  </a:lnTo>
                  <a:lnTo>
                    <a:pt x="401" y="113"/>
                  </a:lnTo>
                  <a:close/>
                  <a:moveTo>
                    <a:pt x="401" y="1"/>
                  </a:moveTo>
                  <a:lnTo>
                    <a:pt x="1" y="401"/>
                  </a:lnTo>
                  <a:lnTo>
                    <a:pt x="424" y="817"/>
                  </a:lnTo>
                  <a:lnTo>
                    <a:pt x="824" y="417"/>
                  </a:lnTo>
                  <a:lnTo>
                    <a:pt x="401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0" name="Google Shape;810;p16"/>
            <p:cNvSpPr/>
            <p:nvPr/>
          </p:nvSpPr>
          <p:spPr>
            <a:xfrm>
              <a:off x="6205962" y="3313683"/>
              <a:ext cx="92663" cy="86571"/>
            </a:xfrm>
            <a:custGeom>
              <a:avLst/>
              <a:gdLst/>
              <a:ahLst/>
              <a:cxnLst/>
              <a:rect l="l" t="t" r="r" b="b"/>
              <a:pathLst>
                <a:path w="867" h="810" extrusionOk="0">
                  <a:moveTo>
                    <a:pt x="407" y="106"/>
                  </a:moveTo>
                  <a:lnTo>
                    <a:pt x="747" y="356"/>
                  </a:lnTo>
                  <a:lnTo>
                    <a:pt x="407" y="698"/>
                  </a:lnTo>
                  <a:lnTo>
                    <a:pt x="110" y="401"/>
                  </a:lnTo>
                  <a:lnTo>
                    <a:pt x="407" y="106"/>
                  </a:lnTo>
                  <a:close/>
                  <a:moveTo>
                    <a:pt x="400" y="1"/>
                  </a:moveTo>
                  <a:lnTo>
                    <a:pt x="0" y="401"/>
                  </a:lnTo>
                  <a:lnTo>
                    <a:pt x="407" y="810"/>
                  </a:lnTo>
                  <a:lnTo>
                    <a:pt x="866" y="342"/>
                  </a:lnTo>
                  <a:lnTo>
                    <a:pt x="400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1" name="Google Shape;811;p16"/>
            <p:cNvSpPr/>
            <p:nvPr/>
          </p:nvSpPr>
          <p:spPr>
            <a:xfrm>
              <a:off x="6244651" y="3346922"/>
              <a:ext cx="99182" cy="92128"/>
            </a:xfrm>
            <a:custGeom>
              <a:avLst/>
              <a:gdLst/>
              <a:ahLst/>
              <a:cxnLst/>
              <a:rect l="l" t="t" r="r" b="b"/>
              <a:pathLst>
                <a:path w="928" h="862" extrusionOk="0">
                  <a:moveTo>
                    <a:pt x="460" y="106"/>
                  </a:moveTo>
                  <a:lnTo>
                    <a:pt x="808" y="349"/>
                  </a:lnTo>
                  <a:lnTo>
                    <a:pt x="408" y="750"/>
                  </a:lnTo>
                  <a:lnTo>
                    <a:pt x="111" y="454"/>
                  </a:lnTo>
                  <a:lnTo>
                    <a:pt x="460" y="106"/>
                  </a:lnTo>
                  <a:close/>
                  <a:moveTo>
                    <a:pt x="453" y="1"/>
                  </a:moveTo>
                  <a:lnTo>
                    <a:pt x="1" y="454"/>
                  </a:lnTo>
                  <a:lnTo>
                    <a:pt x="408" y="862"/>
                  </a:lnTo>
                  <a:lnTo>
                    <a:pt x="928" y="342"/>
                  </a:lnTo>
                  <a:lnTo>
                    <a:pt x="453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2" name="Google Shape;812;p16"/>
            <p:cNvSpPr/>
            <p:nvPr/>
          </p:nvSpPr>
          <p:spPr>
            <a:xfrm>
              <a:off x="6243903" y="3345426"/>
              <a:ext cx="55469" cy="55576"/>
            </a:xfrm>
            <a:custGeom>
              <a:avLst/>
              <a:gdLst/>
              <a:ahLst/>
              <a:cxnLst/>
              <a:rect l="l" t="t" r="r" b="b"/>
              <a:pathLst>
                <a:path w="519" h="520" extrusionOk="0">
                  <a:moveTo>
                    <a:pt x="453" y="1"/>
                  </a:moveTo>
                  <a:lnTo>
                    <a:pt x="1" y="452"/>
                  </a:lnTo>
                  <a:lnTo>
                    <a:pt x="67" y="520"/>
                  </a:lnTo>
                  <a:lnTo>
                    <a:pt x="518" y="68"/>
                  </a:lnTo>
                  <a:lnTo>
                    <a:pt x="453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3" name="Google Shape;813;p16"/>
            <p:cNvSpPr/>
            <p:nvPr/>
          </p:nvSpPr>
          <p:spPr>
            <a:xfrm>
              <a:off x="6283448" y="3379520"/>
              <a:ext cx="106236" cy="99075"/>
            </a:xfrm>
            <a:custGeom>
              <a:avLst/>
              <a:gdLst/>
              <a:ahLst/>
              <a:cxnLst/>
              <a:rect l="l" t="t" r="r" b="b"/>
              <a:pathLst>
                <a:path w="994" h="927" extrusionOk="0">
                  <a:moveTo>
                    <a:pt x="520" y="105"/>
                  </a:moveTo>
                  <a:lnTo>
                    <a:pt x="876" y="363"/>
                  </a:lnTo>
                  <a:lnTo>
                    <a:pt x="422" y="816"/>
                  </a:lnTo>
                  <a:lnTo>
                    <a:pt x="111" y="512"/>
                  </a:lnTo>
                  <a:lnTo>
                    <a:pt x="520" y="105"/>
                  </a:lnTo>
                  <a:close/>
                  <a:moveTo>
                    <a:pt x="511" y="0"/>
                  </a:moveTo>
                  <a:lnTo>
                    <a:pt x="1" y="512"/>
                  </a:lnTo>
                  <a:lnTo>
                    <a:pt x="422" y="927"/>
                  </a:lnTo>
                  <a:lnTo>
                    <a:pt x="993" y="356"/>
                  </a:lnTo>
                  <a:lnTo>
                    <a:pt x="511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4" name="Google Shape;814;p16"/>
            <p:cNvSpPr/>
            <p:nvPr/>
          </p:nvSpPr>
          <p:spPr>
            <a:xfrm>
              <a:off x="6322244" y="3412011"/>
              <a:ext cx="110939" cy="104633"/>
            </a:xfrm>
            <a:custGeom>
              <a:avLst/>
              <a:gdLst/>
              <a:ahLst/>
              <a:cxnLst/>
              <a:rect l="l" t="t" r="r" b="b"/>
              <a:pathLst>
                <a:path w="1038" h="979" extrusionOk="0">
                  <a:moveTo>
                    <a:pt x="579" y="103"/>
                  </a:moveTo>
                  <a:lnTo>
                    <a:pt x="920" y="356"/>
                  </a:lnTo>
                  <a:lnTo>
                    <a:pt x="408" y="868"/>
                  </a:lnTo>
                  <a:lnTo>
                    <a:pt x="113" y="571"/>
                  </a:lnTo>
                  <a:lnTo>
                    <a:pt x="579" y="103"/>
                  </a:lnTo>
                  <a:close/>
                  <a:moveTo>
                    <a:pt x="571" y="0"/>
                  </a:moveTo>
                  <a:lnTo>
                    <a:pt x="1" y="571"/>
                  </a:lnTo>
                  <a:lnTo>
                    <a:pt x="408" y="978"/>
                  </a:lnTo>
                  <a:lnTo>
                    <a:pt x="1037" y="342"/>
                  </a:lnTo>
                  <a:lnTo>
                    <a:pt x="571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5" name="Google Shape;815;p16"/>
            <p:cNvSpPr/>
            <p:nvPr/>
          </p:nvSpPr>
          <p:spPr>
            <a:xfrm>
              <a:off x="6361041" y="3445250"/>
              <a:ext cx="117351" cy="110191"/>
            </a:xfrm>
            <a:custGeom>
              <a:avLst/>
              <a:gdLst/>
              <a:ahLst/>
              <a:cxnLst/>
              <a:rect l="l" t="t" r="r" b="b"/>
              <a:pathLst>
                <a:path w="1098" h="1031" extrusionOk="0">
                  <a:moveTo>
                    <a:pt x="630" y="96"/>
                  </a:moveTo>
                  <a:lnTo>
                    <a:pt x="978" y="349"/>
                  </a:lnTo>
                  <a:lnTo>
                    <a:pt x="408" y="920"/>
                  </a:lnTo>
                  <a:lnTo>
                    <a:pt x="112" y="623"/>
                  </a:lnTo>
                  <a:lnTo>
                    <a:pt x="630" y="96"/>
                  </a:lnTo>
                  <a:close/>
                  <a:moveTo>
                    <a:pt x="623" y="0"/>
                  </a:moveTo>
                  <a:lnTo>
                    <a:pt x="0" y="623"/>
                  </a:lnTo>
                  <a:lnTo>
                    <a:pt x="408" y="1030"/>
                  </a:lnTo>
                  <a:lnTo>
                    <a:pt x="1098" y="335"/>
                  </a:lnTo>
                  <a:lnTo>
                    <a:pt x="623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6" name="Google Shape;816;p16"/>
            <p:cNvSpPr/>
            <p:nvPr/>
          </p:nvSpPr>
          <p:spPr>
            <a:xfrm>
              <a:off x="6359544" y="3443006"/>
              <a:ext cx="74600" cy="74387"/>
            </a:xfrm>
            <a:custGeom>
              <a:avLst/>
              <a:gdLst/>
              <a:ahLst/>
              <a:cxnLst/>
              <a:rect l="l" t="t" r="r" b="b"/>
              <a:pathLst>
                <a:path w="698" h="696" extrusionOk="0">
                  <a:moveTo>
                    <a:pt x="630" y="0"/>
                  </a:moveTo>
                  <a:lnTo>
                    <a:pt x="0" y="630"/>
                  </a:lnTo>
                  <a:lnTo>
                    <a:pt x="75" y="695"/>
                  </a:lnTo>
                  <a:lnTo>
                    <a:pt x="697" y="66"/>
                  </a:lnTo>
                  <a:lnTo>
                    <a:pt x="630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7" name="Google Shape;817;p16"/>
            <p:cNvSpPr/>
            <p:nvPr/>
          </p:nvSpPr>
          <p:spPr>
            <a:xfrm>
              <a:off x="6056120" y="3200607"/>
              <a:ext cx="118955" cy="118955"/>
            </a:xfrm>
            <a:custGeom>
              <a:avLst/>
              <a:gdLst/>
              <a:ahLst/>
              <a:cxnLst/>
              <a:rect l="l" t="t" r="r" b="b"/>
              <a:pathLst>
                <a:path w="1113" h="1113" extrusionOk="0">
                  <a:moveTo>
                    <a:pt x="1054" y="1"/>
                  </a:moveTo>
                  <a:lnTo>
                    <a:pt x="1" y="1059"/>
                  </a:lnTo>
                  <a:lnTo>
                    <a:pt x="60" y="1112"/>
                  </a:lnTo>
                  <a:lnTo>
                    <a:pt x="1112" y="59"/>
                  </a:lnTo>
                  <a:lnTo>
                    <a:pt x="1054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8" name="Google Shape;818;p16"/>
            <p:cNvSpPr/>
            <p:nvPr/>
          </p:nvSpPr>
          <p:spPr>
            <a:xfrm>
              <a:off x="6233536" y="3031098"/>
              <a:ext cx="111794" cy="110939"/>
            </a:xfrm>
            <a:custGeom>
              <a:avLst/>
              <a:gdLst/>
              <a:ahLst/>
              <a:cxnLst/>
              <a:rect l="l" t="t" r="r" b="b"/>
              <a:pathLst>
                <a:path w="1046" h="1038" extrusionOk="0">
                  <a:moveTo>
                    <a:pt x="68" y="0"/>
                  </a:moveTo>
                  <a:lnTo>
                    <a:pt x="0" y="66"/>
                  </a:lnTo>
                  <a:lnTo>
                    <a:pt x="512" y="585"/>
                  </a:lnTo>
                  <a:lnTo>
                    <a:pt x="519" y="578"/>
                  </a:lnTo>
                  <a:lnTo>
                    <a:pt x="978" y="1037"/>
                  </a:lnTo>
                  <a:lnTo>
                    <a:pt x="1046" y="971"/>
                  </a:lnTo>
                  <a:lnTo>
                    <a:pt x="526" y="452"/>
                  </a:lnTo>
                  <a:lnTo>
                    <a:pt x="526" y="459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9" name="Google Shape;819;p16"/>
            <p:cNvSpPr/>
            <p:nvPr/>
          </p:nvSpPr>
          <p:spPr>
            <a:xfrm>
              <a:off x="6167914" y="3156894"/>
              <a:ext cx="87960" cy="88067"/>
            </a:xfrm>
            <a:custGeom>
              <a:avLst/>
              <a:gdLst/>
              <a:ahLst/>
              <a:cxnLst/>
              <a:rect l="l" t="t" r="r" b="b"/>
              <a:pathLst>
                <a:path w="823" h="824" extrusionOk="0">
                  <a:moveTo>
                    <a:pt x="422" y="113"/>
                  </a:moveTo>
                  <a:lnTo>
                    <a:pt x="703" y="401"/>
                  </a:lnTo>
                  <a:lnTo>
                    <a:pt x="401" y="712"/>
                  </a:lnTo>
                  <a:lnTo>
                    <a:pt x="111" y="424"/>
                  </a:lnTo>
                  <a:lnTo>
                    <a:pt x="422" y="113"/>
                  </a:lnTo>
                  <a:close/>
                  <a:moveTo>
                    <a:pt x="422" y="1"/>
                  </a:moveTo>
                  <a:lnTo>
                    <a:pt x="1" y="424"/>
                  </a:lnTo>
                  <a:lnTo>
                    <a:pt x="401" y="824"/>
                  </a:lnTo>
                  <a:lnTo>
                    <a:pt x="822" y="401"/>
                  </a:lnTo>
                  <a:lnTo>
                    <a:pt x="422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0" name="Google Shape;820;p16"/>
            <p:cNvSpPr/>
            <p:nvPr/>
          </p:nvSpPr>
          <p:spPr>
            <a:xfrm>
              <a:off x="6206710" y="3119807"/>
              <a:ext cx="92663" cy="85716"/>
            </a:xfrm>
            <a:custGeom>
              <a:avLst/>
              <a:gdLst/>
              <a:ahLst/>
              <a:cxnLst/>
              <a:rect l="l" t="t" r="r" b="b"/>
              <a:pathLst>
                <a:path w="867" h="802" extrusionOk="0">
                  <a:moveTo>
                    <a:pt x="408" y="111"/>
                  </a:moveTo>
                  <a:lnTo>
                    <a:pt x="749" y="452"/>
                  </a:lnTo>
                  <a:lnTo>
                    <a:pt x="408" y="696"/>
                  </a:lnTo>
                  <a:lnTo>
                    <a:pt x="111" y="408"/>
                  </a:lnTo>
                  <a:lnTo>
                    <a:pt x="408" y="111"/>
                  </a:lnTo>
                  <a:close/>
                  <a:moveTo>
                    <a:pt x="408" y="1"/>
                  </a:moveTo>
                  <a:lnTo>
                    <a:pt x="0" y="408"/>
                  </a:lnTo>
                  <a:lnTo>
                    <a:pt x="393" y="801"/>
                  </a:lnTo>
                  <a:lnTo>
                    <a:pt x="866" y="460"/>
                  </a:lnTo>
                  <a:lnTo>
                    <a:pt x="408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1" name="Google Shape;821;p16"/>
            <p:cNvSpPr/>
            <p:nvPr/>
          </p:nvSpPr>
          <p:spPr>
            <a:xfrm>
              <a:off x="6245506" y="3080904"/>
              <a:ext cx="99075" cy="92022"/>
            </a:xfrm>
            <a:custGeom>
              <a:avLst/>
              <a:gdLst/>
              <a:ahLst/>
              <a:cxnLst/>
              <a:rect l="l" t="t" r="r" b="b"/>
              <a:pathLst>
                <a:path w="927" h="861" extrusionOk="0">
                  <a:moveTo>
                    <a:pt x="407" y="112"/>
                  </a:moveTo>
                  <a:lnTo>
                    <a:pt x="807" y="512"/>
                  </a:lnTo>
                  <a:lnTo>
                    <a:pt x="459" y="756"/>
                  </a:lnTo>
                  <a:lnTo>
                    <a:pt x="110" y="409"/>
                  </a:lnTo>
                  <a:lnTo>
                    <a:pt x="407" y="112"/>
                  </a:lnTo>
                  <a:close/>
                  <a:moveTo>
                    <a:pt x="407" y="0"/>
                  </a:moveTo>
                  <a:lnTo>
                    <a:pt x="0" y="409"/>
                  </a:lnTo>
                  <a:lnTo>
                    <a:pt x="452" y="861"/>
                  </a:lnTo>
                  <a:lnTo>
                    <a:pt x="927" y="520"/>
                  </a:lnTo>
                  <a:lnTo>
                    <a:pt x="407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2" name="Google Shape;822;p16"/>
            <p:cNvSpPr/>
            <p:nvPr/>
          </p:nvSpPr>
          <p:spPr>
            <a:xfrm>
              <a:off x="6243903" y="3118097"/>
              <a:ext cx="56218" cy="56431"/>
            </a:xfrm>
            <a:custGeom>
              <a:avLst/>
              <a:gdLst/>
              <a:ahLst/>
              <a:cxnLst/>
              <a:rect l="l" t="t" r="r" b="b"/>
              <a:pathLst>
                <a:path w="526" h="528" extrusionOk="0">
                  <a:moveTo>
                    <a:pt x="74" y="1"/>
                  </a:moveTo>
                  <a:lnTo>
                    <a:pt x="1" y="68"/>
                  </a:lnTo>
                  <a:lnTo>
                    <a:pt x="460" y="527"/>
                  </a:lnTo>
                  <a:lnTo>
                    <a:pt x="525" y="461"/>
                  </a:lnTo>
                  <a:lnTo>
                    <a:pt x="74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3" name="Google Shape;823;p16"/>
            <p:cNvSpPr/>
            <p:nvPr/>
          </p:nvSpPr>
          <p:spPr>
            <a:xfrm>
              <a:off x="6284196" y="3040611"/>
              <a:ext cx="106236" cy="99824"/>
            </a:xfrm>
            <a:custGeom>
              <a:avLst/>
              <a:gdLst/>
              <a:ahLst/>
              <a:cxnLst/>
              <a:rect l="l" t="t" r="r" b="b"/>
              <a:pathLst>
                <a:path w="994" h="934" extrusionOk="0">
                  <a:moveTo>
                    <a:pt x="415" y="119"/>
                  </a:moveTo>
                  <a:lnTo>
                    <a:pt x="876" y="571"/>
                  </a:lnTo>
                  <a:lnTo>
                    <a:pt x="520" y="831"/>
                  </a:lnTo>
                  <a:lnTo>
                    <a:pt x="113" y="422"/>
                  </a:lnTo>
                  <a:lnTo>
                    <a:pt x="415" y="119"/>
                  </a:lnTo>
                  <a:close/>
                  <a:moveTo>
                    <a:pt x="415" y="0"/>
                  </a:moveTo>
                  <a:lnTo>
                    <a:pt x="1" y="422"/>
                  </a:lnTo>
                  <a:lnTo>
                    <a:pt x="513" y="934"/>
                  </a:lnTo>
                  <a:lnTo>
                    <a:pt x="993" y="578"/>
                  </a:lnTo>
                  <a:lnTo>
                    <a:pt x="415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4" name="Google Shape;824;p16"/>
            <p:cNvSpPr/>
            <p:nvPr/>
          </p:nvSpPr>
          <p:spPr>
            <a:xfrm>
              <a:off x="6322992" y="3003310"/>
              <a:ext cx="111153" cy="103885"/>
            </a:xfrm>
            <a:custGeom>
              <a:avLst/>
              <a:gdLst/>
              <a:ahLst/>
              <a:cxnLst/>
              <a:rect l="l" t="t" r="r" b="b"/>
              <a:pathLst>
                <a:path w="1040" h="972" extrusionOk="0">
                  <a:moveTo>
                    <a:pt x="408" y="113"/>
                  </a:moveTo>
                  <a:lnTo>
                    <a:pt x="920" y="623"/>
                  </a:lnTo>
                  <a:lnTo>
                    <a:pt x="579" y="876"/>
                  </a:lnTo>
                  <a:lnTo>
                    <a:pt x="113" y="408"/>
                  </a:lnTo>
                  <a:lnTo>
                    <a:pt x="408" y="113"/>
                  </a:lnTo>
                  <a:close/>
                  <a:moveTo>
                    <a:pt x="408" y="1"/>
                  </a:moveTo>
                  <a:lnTo>
                    <a:pt x="1" y="408"/>
                  </a:lnTo>
                  <a:lnTo>
                    <a:pt x="564" y="972"/>
                  </a:lnTo>
                  <a:lnTo>
                    <a:pt x="1039" y="637"/>
                  </a:lnTo>
                  <a:lnTo>
                    <a:pt x="408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5" name="Google Shape;825;p16"/>
            <p:cNvSpPr/>
            <p:nvPr/>
          </p:nvSpPr>
          <p:spPr>
            <a:xfrm>
              <a:off x="6361789" y="2964514"/>
              <a:ext cx="117351" cy="110191"/>
            </a:xfrm>
            <a:custGeom>
              <a:avLst/>
              <a:gdLst/>
              <a:ahLst/>
              <a:cxnLst/>
              <a:rect l="l" t="t" r="r" b="b"/>
              <a:pathLst>
                <a:path w="1098" h="1031" extrusionOk="0">
                  <a:moveTo>
                    <a:pt x="409" y="111"/>
                  </a:moveTo>
                  <a:lnTo>
                    <a:pt x="979" y="682"/>
                  </a:lnTo>
                  <a:lnTo>
                    <a:pt x="632" y="927"/>
                  </a:lnTo>
                  <a:lnTo>
                    <a:pt x="112" y="408"/>
                  </a:lnTo>
                  <a:lnTo>
                    <a:pt x="409" y="111"/>
                  </a:lnTo>
                  <a:close/>
                  <a:moveTo>
                    <a:pt x="409" y="1"/>
                  </a:moveTo>
                  <a:lnTo>
                    <a:pt x="0" y="408"/>
                  </a:lnTo>
                  <a:lnTo>
                    <a:pt x="623" y="1031"/>
                  </a:lnTo>
                  <a:lnTo>
                    <a:pt x="1098" y="689"/>
                  </a:lnTo>
                  <a:lnTo>
                    <a:pt x="409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6" name="Google Shape;826;p16"/>
            <p:cNvSpPr/>
            <p:nvPr/>
          </p:nvSpPr>
          <p:spPr>
            <a:xfrm>
              <a:off x="6360293" y="3001814"/>
              <a:ext cx="74600" cy="74387"/>
            </a:xfrm>
            <a:custGeom>
              <a:avLst/>
              <a:gdLst/>
              <a:ahLst/>
              <a:cxnLst/>
              <a:rect l="l" t="t" r="r" b="b"/>
              <a:pathLst>
                <a:path w="698" h="696" extrusionOk="0">
                  <a:moveTo>
                    <a:pt x="68" y="0"/>
                  </a:moveTo>
                  <a:lnTo>
                    <a:pt x="0" y="73"/>
                  </a:lnTo>
                  <a:lnTo>
                    <a:pt x="630" y="696"/>
                  </a:lnTo>
                  <a:lnTo>
                    <a:pt x="697" y="630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7" name="Google Shape;827;p16"/>
            <p:cNvSpPr/>
            <p:nvPr/>
          </p:nvSpPr>
          <p:spPr>
            <a:xfrm>
              <a:off x="6130614" y="3121410"/>
              <a:ext cx="87212" cy="87105"/>
            </a:xfrm>
            <a:custGeom>
              <a:avLst/>
              <a:gdLst/>
              <a:ahLst/>
              <a:cxnLst/>
              <a:rect l="l" t="t" r="r" b="b"/>
              <a:pathLst>
                <a:path w="816" h="815" extrusionOk="0">
                  <a:moveTo>
                    <a:pt x="415" y="110"/>
                  </a:moveTo>
                  <a:lnTo>
                    <a:pt x="705" y="400"/>
                  </a:lnTo>
                  <a:lnTo>
                    <a:pt x="401" y="704"/>
                  </a:lnTo>
                  <a:lnTo>
                    <a:pt x="111" y="414"/>
                  </a:lnTo>
                  <a:lnTo>
                    <a:pt x="415" y="110"/>
                  </a:lnTo>
                  <a:close/>
                  <a:moveTo>
                    <a:pt x="415" y="0"/>
                  </a:moveTo>
                  <a:lnTo>
                    <a:pt x="1" y="414"/>
                  </a:lnTo>
                  <a:lnTo>
                    <a:pt x="401" y="815"/>
                  </a:lnTo>
                  <a:lnTo>
                    <a:pt x="815" y="400"/>
                  </a:lnTo>
                  <a:lnTo>
                    <a:pt x="415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8" name="Google Shape;828;p16"/>
            <p:cNvSpPr/>
            <p:nvPr/>
          </p:nvSpPr>
          <p:spPr>
            <a:xfrm>
              <a:off x="6169410" y="3077056"/>
              <a:ext cx="86464" cy="92663"/>
            </a:xfrm>
            <a:custGeom>
              <a:avLst/>
              <a:gdLst/>
              <a:ahLst/>
              <a:cxnLst/>
              <a:rect l="l" t="t" r="r" b="b"/>
              <a:pathLst>
                <a:path w="809" h="867" extrusionOk="0">
                  <a:moveTo>
                    <a:pt x="356" y="118"/>
                  </a:moveTo>
                  <a:lnTo>
                    <a:pt x="698" y="459"/>
                  </a:lnTo>
                  <a:lnTo>
                    <a:pt x="401" y="756"/>
                  </a:lnTo>
                  <a:lnTo>
                    <a:pt x="104" y="467"/>
                  </a:lnTo>
                  <a:lnTo>
                    <a:pt x="356" y="118"/>
                  </a:lnTo>
                  <a:close/>
                  <a:moveTo>
                    <a:pt x="342" y="1"/>
                  </a:moveTo>
                  <a:lnTo>
                    <a:pt x="1" y="474"/>
                  </a:lnTo>
                  <a:lnTo>
                    <a:pt x="401" y="867"/>
                  </a:lnTo>
                  <a:lnTo>
                    <a:pt x="808" y="459"/>
                  </a:lnTo>
                  <a:lnTo>
                    <a:pt x="342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9" name="Google Shape;829;p16"/>
            <p:cNvSpPr/>
            <p:nvPr/>
          </p:nvSpPr>
          <p:spPr>
            <a:xfrm>
              <a:off x="6202649" y="3031847"/>
              <a:ext cx="91915" cy="99075"/>
            </a:xfrm>
            <a:custGeom>
              <a:avLst/>
              <a:gdLst/>
              <a:ahLst/>
              <a:cxnLst/>
              <a:rect l="l" t="t" r="r" b="b"/>
              <a:pathLst>
                <a:path w="860" h="927" extrusionOk="0">
                  <a:moveTo>
                    <a:pt x="350" y="127"/>
                  </a:moveTo>
                  <a:lnTo>
                    <a:pt x="750" y="520"/>
                  </a:lnTo>
                  <a:lnTo>
                    <a:pt x="453" y="815"/>
                  </a:lnTo>
                  <a:lnTo>
                    <a:pt x="104" y="468"/>
                  </a:lnTo>
                  <a:lnTo>
                    <a:pt x="350" y="127"/>
                  </a:lnTo>
                  <a:close/>
                  <a:moveTo>
                    <a:pt x="342" y="0"/>
                  </a:moveTo>
                  <a:lnTo>
                    <a:pt x="1" y="475"/>
                  </a:lnTo>
                  <a:lnTo>
                    <a:pt x="453" y="927"/>
                  </a:lnTo>
                  <a:lnTo>
                    <a:pt x="860" y="520"/>
                  </a:lnTo>
                  <a:lnTo>
                    <a:pt x="342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0" name="Google Shape;830;p16"/>
            <p:cNvSpPr/>
            <p:nvPr/>
          </p:nvSpPr>
          <p:spPr>
            <a:xfrm>
              <a:off x="6200191" y="3076094"/>
              <a:ext cx="56431" cy="56431"/>
            </a:xfrm>
            <a:custGeom>
              <a:avLst/>
              <a:gdLst/>
              <a:ahLst/>
              <a:cxnLst/>
              <a:rect l="l" t="t" r="r" b="b"/>
              <a:pathLst>
                <a:path w="528" h="528" extrusionOk="0">
                  <a:moveTo>
                    <a:pt x="76" y="1"/>
                  </a:moveTo>
                  <a:lnTo>
                    <a:pt x="1" y="68"/>
                  </a:lnTo>
                  <a:lnTo>
                    <a:pt x="461" y="527"/>
                  </a:lnTo>
                  <a:lnTo>
                    <a:pt x="527" y="461"/>
                  </a:lnTo>
                  <a:lnTo>
                    <a:pt x="76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1" name="Google Shape;831;p16"/>
            <p:cNvSpPr/>
            <p:nvPr/>
          </p:nvSpPr>
          <p:spPr>
            <a:xfrm>
              <a:off x="6235246" y="2985889"/>
              <a:ext cx="99075" cy="106343"/>
            </a:xfrm>
            <a:custGeom>
              <a:avLst/>
              <a:gdLst/>
              <a:ahLst/>
              <a:cxnLst/>
              <a:rect l="l" t="t" r="r" b="b"/>
              <a:pathLst>
                <a:path w="927" h="995" extrusionOk="0">
                  <a:moveTo>
                    <a:pt x="363" y="119"/>
                  </a:moveTo>
                  <a:lnTo>
                    <a:pt x="815" y="578"/>
                  </a:lnTo>
                  <a:lnTo>
                    <a:pt x="510" y="882"/>
                  </a:lnTo>
                  <a:lnTo>
                    <a:pt x="103" y="475"/>
                  </a:lnTo>
                  <a:lnTo>
                    <a:pt x="363" y="119"/>
                  </a:lnTo>
                  <a:close/>
                  <a:moveTo>
                    <a:pt x="349" y="0"/>
                  </a:moveTo>
                  <a:lnTo>
                    <a:pt x="0" y="482"/>
                  </a:lnTo>
                  <a:lnTo>
                    <a:pt x="510" y="994"/>
                  </a:lnTo>
                  <a:lnTo>
                    <a:pt x="927" y="578"/>
                  </a:lnTo>
                  <a:lnTo>
                    <a:pt x="349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2" name="Google Shape;832;p16"/>
            <p:cNvSpPr/>
            <p:nvPr/>
          </p:nvSpPr>
          <p:spPr>
            <a:xfrm>
              <a:off x="6267737" y="2942283"/>
              <a:ext cx="104633" cy="111153"/>
            </a:xfrm>
            <a:custGeom>
              <a:avLst/>
              <a:gdLst/>
              <a:ahLst/>
              <a:cxnLst/>
              <a:rect l="l" t="t" r="r" b="b"/>
              <a:pathLst>
                <a:path w="979" h="1040" extrusionOk="0">
                  <a:moveTo>
                    <a:pt x="347" y="120"/>
                  </a:moveTo>
                  <a:lnTo>
                    <a:pt x="859" y="630"/>
                  </a:lnTo>
                  <a:lnTo>
                    <a:pt x="569" y="927"/>
                  </a:lnTo>
                  <a:lnTo>
                    <a:pt x="103" y="468"/>
                  </a:lnTo>
                  <a:lnTo>
                    <a:pt x="347" y="120"/>
                  </a:lnTo>
                  <a:close/>
                  <a:moveTo>
                    <a:pt x="340" y="1"/>
                  </a:moveTo>
                  <a:lnTo>
                    <a:pt x="0" y="476"/>
                  </a:lnTo>
                  <a:lnTo>
                    <a:pt x="569" y="1039"/>
                  </a:lnTo>
                  <a:lnTo>
                    <a:pt x="978" y="630"/>
                  </a:lnTo>
                  <a:lnTo>
                    <a:pt x="340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3" name="Google Shape;833;p16"/>
            <p:cNvSpPr/>
            <p:nvPr/>
          </p:nvSpPr>
          <p:spPr>
            <a:xfrm>
              <a:off x="6300014" y="2897287"/>
              <a:ext cx="111153" cy="117138"/>
            </a:xfrm>
            <a:custGeom>
              <a:avLst/>
              <a:gdLst/>
              <a:ahLst/>
              <a:cxnLst/>
              <a:rect l="l" t="t" r="r" b="b"/>
              <a:pathLst>
                <a:path w="1040" h="1096" extrusionOk="0">
                  <a:moveTo>
                    <a:pt x="356" y="127"/>
                  </a:moveTo>
                  <a:lnTo>
                    <a:pt x="920" y="689"/>
                  </a:lnTo>
                  <a:lnTo>
                    <a:pt x="632" y="986"/>
                  </a:lnTo>
                  <a:lnTo>
                    <a:pt x="105" y="466"/>
                  </a:lnTo>
                  <a:lnTo>
                    <a:pt x="356" y="127"/>
                  </a:lnTo>
                  <a:close/>
                  <a:moveTo>
                    <a:pt x="342" y="0"/>
                  </a:moveTo>
                  <a:lnTo>
                    <a:pt x="0" y="473"/>
                  </a:lnTo>
                  <a:lnTo>
                    <a:pt x="632" y="1096"/>
                  </a:lnTo>
                  <a:lnTo>
                    <a:pt x="1039" y="689"/>
                  </a:lnTo>
                  <a:lnTo>
                    <a:pt x="342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4" name="Google Shape;834;p16"/>
            <p:cNvSpPr/>
            <p:nvPr/>
          </p:nvSpPr>
          <p:spPr>
            <a:xfrm>
              <a:off x="6298518" y="2941535"/>
              <a:ext cx="74600" cy="74600"/>
            </a:xfrm>
            <a:custGeom>
              <a:avLst/>
              <a:gdLst/>
              <a:ahLst/>
              <a:cxnLst/>
              <a:rect l="l" t="t" r="r" b="b"/>
              <a:pathLst>
                <a:path w="698" h="698" extrusionOk="0">
                  <a:moveTo>
                    <a:pt x="68" y="1"/>
                  </a:moveTo>
                  <a:lnTo>
                    <a:pt x="0" y="68"/>
                  </a:lnTo>
                  <a:lnTo>
                    <a:pt x="630" y="698"/>
                  </a:lnTo>
                  <a:lnTo>
                    <a:pt x="697" y="630"/>
                  </a:lnTo>
                  <a:lnTo>
                    <a:pt x="68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5" name="Google Shape;835;p16"/>
            <p:cNvSpPr/>
            <p:nvPr/>
          </p:nvSpPr>
          <p:spPr>
            <a:xfrm>
              <a:off x="5885865" y="3378665"/>
              <a:ext cx="112649" cy="110191"/>
            </a:xfrm>
            <a:custGeom>
              <a:avLst/>
              <a:gdLst/>
              <a:ahLst/>
              <a:cxnLst/>
              <a:rect l="l" t="t" r="r" b="b"/>
              <a:pathLst>
                <a:path w="1054" h="1031" extrusionOk="0">
                  <a:moveTo>
                    <a:pt x="75" y="1"/>
                  </a:moveTo>
                  <a:lnTo>
                    <a:pt x="0" y="69"/>
                  </a:lnTo>
                  <a:lnTo>
                    <a:pt x="520" y="579"/>
                  </a:lnTo>
                  <a:lnTo>
                    <a:pt x="527" y="572"/>
                  </a:lnTo>
                  <a:lnTo>
                    <a:pt x="979" y="1031"/>
                  </a:lnTo>
                  <a:lnTo>
                    <a:pt x="1053" y="965"/>
                  </a:lnTo>
                  <a:lnTo>
                    <a:pt x="534" y="453"/>
                  </a:lnTo>
                  <a:lnTo>
                    <a:pt x="527" y="453"/>
                  </a:lnTo>
                  <a:lnTo>
                    <a:pt x="75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6" name="Google Shape;836;p16"/>
            <p:cNvSpPr/>
            <p:nvPr/>
          </p:nvSpPr>
          <p:spPr>
            <a:xfrm>
              <a:off x="5976176" y="3275742"/>
              <a:ext cx="87319" cy="87319"/>
            </a:xfrm>
            <a:custGeom>
              <a:avLst/>
              <a:gdLst/>
              <a:ahLst/>
              <a:cxnLst/>
              <a:rect l="l" t="t" r="r" b="b"/>
              <a:pathLst>
                <a:path w="817" h="817" extrusionOk="0">
                  <a:moveTo>
                    <a:pt x="416" y="112"/>
                  </a:moveTo>
                  <a:lnTo>
                    <a:pt x="704" y="400"/>
                  </a:lnTo>
                  <a:lnTo>
                    <a:pt x="400" y="704"/>
                  </a:lnTo>
                  <a:lnTo>
                    <a:pt x="112" y="416"/>
                  </a:lnTo>
                  <a:lnTo>
                    <a:pt x="416" y="112"/>
                  </a:lnTo>
                  <a:close/>
                  <a:moveTo>
                    <a:pt x="416" y="0"/>
                  </a:moveTo>
                  <a:lnTo>
                    <a:pt x="0" y="416"/>
                  </a:lnTo>
                  <a:lnTo>
                    <a:pt x="400" y="816"/>
                  </a:lnTo>
                  <a:lnTo>
                    <a:pt x="816" y="400"/>
                  </a:lnTo>
                  <a:lnTo>
                    <a:pt x="416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7" name="Google Shape;837;p16"/>
            <p:cNvSpPr/>
            <p:nvPr/>
          </p:nvSpPr>
          <p:spPr>
            <a:xfrm>
              <a:off x="5931822" y="3314645"/>
              <a:ext cx="92663" cy="86357"/>
            </a:xfrm>
            <a:custGeom>
              <a:avLst/>
              <a:gdLst/>
              <a:ahLst/>
              <a:cxnLst/>
              <a:rect l="l" t="t" r="r" b="b"/>
              <a:pathLst>
                <a:path w="867" h="808" extrusionOk="0">
                  <a:moveTo>
                    <a:pt x="467" y="104"/>
                  </a:moveTo>
                  <a:lnTo>
                    <a:pt x="757" y="401"/>
                  </a:lnTo>
                  <a:lnTo>
                    <a:pt x="460" y="689"/>
                  </a:lnTo>
                  <a:lnTo>
                    <a:pt x="127" y="356"/>
                  </a:lnTo>
                  <a:lnTo>
                    <a:pt x="467" y="104"/>
                  </a:lnTo>
                  <a:close/>
                  <a:moveTo>
                    <a:pt x="476" y="1"/>
                  </a:moveTo>
                  <a:lnTo>
                    <a:pt x="1" y="340"/>
                  </a:lnTo>
                  <a:lnTo>
                    <a:pt x="460" y="808"/>
                  </a:lnTo>
                  <a:lnTo>
                    <a:pt x="867" y="401"/>
                  </a:lnTo>
                  <a:lnTo>
                    <a:pt x="476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8" name="Google Shape;838;p16"/>
            <p:cNvSpPr/>
            <p:nvPr/>
          </p:nvSpPr>
          <p:spPr>
            <a:xfrm>
              <a:off x="5886613" y="3347884"/>
              <a:ext cx="99182" cy="91915"/>
            </a:xfrm>
            <a:custGeom>
              <a:avLst/>
              <a:gdLst/>
              <a:ahLst/>
              <a:cxnLst/>
              <a:rect l="l" t="t" r="r" b="b"/>
              <a:pathLst>
                <a:path w="928" h="860" extrusionOk="0">
                  <a:moveTo>
                    <a:pt x="468" y="104"/>
                  </a:moveTo>
                  <a:lnTo>
                    <a:pt x="817" y="453"/>
                  </a:lnTo>
                  <a:lnTo>
                    <a:pt x="520" y="741"/>
                  </a:lnTo>
                  <a:lnTo>
                    <a:pt x="127" y="348"/>
                  </a:lnTo>
                  <a:lnTo>
                    <a:pt x="468" y="104"/>
                  </a:lnTo>
                  <a:close/>
                  <a:moveTo>
                    <a:pt x="475" y="1"/>
                  </a:moveTo>
                  <a:lnTo>
                    <a:pt x="1" y="333"/>
                  </a:lnTo>
                  <a:lnTo>
                    <a:pt x="520" y="860"/>
                  </a:lnTo>
                  <a:lnTo>
                    <a:pt x="927" y="453"/>
                  </a:lnTo>
                  <a:lnTo>
                    <a:pt x="475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9" name="Google Shape;839;p16"/>
            <p:cNvSpPr/>
            <p:nvPr/>
          </p:nvSpPr>
          <p:spPr>
            <a:xfrm>
              <a:off x="5931074" y="3345426"/>
              <a:ext cx="56431" cy="56431"/>
            </a:xfrm>
            <a:custGeom>
              <a:avLst/>
              <a:gdLst/>
              <a:ahLst/>
              <a:cxnLst/>
              <a:rect l="l" t="t" r="r" b="b"/>
              <a:pathLst>
                <a:path w="528" h="528" extrusionOk="0">
                  <a:moveTo>
                    <a:pt x="66" y="1"/>
                  </a:moveTo>
                  <a:lnTo>
                    <a:pt x="1" y="75"/>
                  </a:lnTo>
                  <a:lnTo>
                    <a:pt x="459" y="527"/>
                  </a:lnTo>
                  <a:lnTo>
                    <a:pt x="527" y="460"/>
                  </a:lnTo>
                  <a:lnTo>
                    <a:pt x="66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0" name="Google Shape;840;p16"/>
            <p:cNvSpPr/>
            <p:nvPr/>
          </p:nvSpPr>
          <p:spPr>
            <a:xfrm>
              <a:off x="5840763" y="3380268"/>
              <a:ext cx="106236" cy="99075"/>
            </a:xfrm>
            <a:custGeom>
              <a:avLst/>
              <a:gdLst/>
              <a:ahLst/>
              <a:cxnLst/>
              <a:rect l="l" t="t" r="r" b="b"/>
              <a:pathLst>
                <a:path w="994" h="927" extrusionOk="0">
                  <a:moveTo>
                    <a:pt x="474" y="105"/>
                  </a:moveTo>
                  <a:lnTo>
                    <a:pt x="883" y="512"/>
                  </a:lnTo>
                  <a:lnTo>
                    <a:pt x="579" y="816"/>
                  </a:lnTo>
                  <a:lnTo>
                    <a:pt x="127" y="365"/>
                  </a:lnTo>
                  <a:lnTo>
                    <a:pt x="474" y="105"/>
                  </a:lnTo>
                  <a:close/>
                  <a:moveTo>
                    <a:pt x="490" y="0"/>
                  </a:moveTo>
                  <a:lnTo>
                    <a:pt x="1" y="349"/>
                  </a:lnTo>
                  <a:lnTo>
                    <a:pt x="579" y="927"/>
                  </a:lnTo>
                  <a:lnTo>
                    <a:pt x="993" y="512"/>
                  </a:lnTo>
                  <a:lnTo>
                    <a:pt x="490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1" name="Google Shape;841;p16"/>
            <p:cNvSpPr/>
            <p:nvPr/>
          </p:nvSpPr>
          <p:spPr>
            <a:xfrm>
              <a:off x="5797264" y="3412759"/>
              <a:ext cx="110939" cy="103885"/>
            </a:xfrm>
            <a:custGeom>
              <a:avLst/>
              <a:gdLst/>
              <a:ahLst/>
              <a:cxnLst/>
              <a:rect l="l" t="t" r="r" b="b"/>
              <a:pathLst>
                <a:path w="1038" h="972" extrusionOk="0">
                  <a:moveTo>
                    <a:pt x="467" y="105"/>
                  </a:moveTo>
                  <a:lnTo>
                    <a:pt x="925" y="571"/>
                  </a:lnTo>
                  <a:lnTo>
                    <a:pt x="637" y="861"/>
                  </a:lnTo>
                  <a:lnTo>
                    <a:pt x="125" y="349"/>
                  </a:lnTo>
                  <a:lnTo>
                    <a:pt x="467" y="105"/>
                  </a:lnTo>
                  <a:close/>
                  <a:moveTo>
                    <a:pt x="474" y="0"/>
                  </a:moveTo>
                  <a:lnTo>
                    <a:pt x="1" y="342"/>
                  </a:lnTo>
                  <a:lnTo>
                    <a:pt x="637" y="971"/>
                  </a:lnTo>
                  <a:lnTo>
                    <a:pt x="1037" y="571"/>
                  </a:lnTo>
                  <a:lnTo>
                    <a:pt x="474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2" name="Google Shape;842;p16"/>
            <p:cNvSpPr/>
            <p:nvPr/>
          </p:nvSpPr>
          <p:spPr>
            <a:xfrm>
              <a:off x="5752054" y="3445250"/>
              <a:ext cx="117351" cy="110191"/>
            </a:xfrm>
            <a:custGeom>
              <a:avLst/>
              <a:gdLst/>
              <a:ahLst/>
              <a:cxnLst/>
              <a:rect l="l" t="t" r="r" b="b"/>
              <a:pathLst>
                <a:path w="1098" h="1031" extrusionOk="0">
                  <a:moveTo>
                    <a:pt x="468" y="103"/>
                  </a:moveTo>
                  <a:lnTo>
                    <a:pt x="986" y="630"/>
                  </a:lnTo>
                  <a:lnTo>
                    <a:pt x="698" y="920"/>
                  </a:lnTo>
                  <a:lnTo>
                    <a:pt x="127" y="356"/>
                  </a:lnTo>
                  <a:lnTo>
                    <a:pt x="468" y="103"/>
                  </a:lnTo>
                  <a:close/>
                  <a:moveTo>
                    <a:pt x="475" y="0"/>
                  </a:moveTo>
                  <a:lnTo>
                    <a:pt x="0" y="342"/>
                  </a:lnTo>
                  <a:lnTo>
                    <a:pt x="698" y="1030"/>
                  </a:lnTo>
                  <a:lnTo>
                    <a:pt x="1098" y="630"/>
                  </a:lnTo>
                  <a:lnTo>
                    <a:pt x="475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3" name="Google Shape;843;p16"/>
            <p:cNvSpPr/>
            <p:nvPr/>
          </p:nvSpPr>
          <p:spPr>
            <a:xfrm>
              <a:off x="5796302" y="3443754"/>
              <a:ext cx="74600" cy="74387"/>
            </a:xfrm>
            <a:custGeom>
              <a:avLst/>
              <a:gdLst/>
              <a:ahLst/>
              <a:cxnLst/>
              <a:rect l="l" t="t" r="r" b="b"/>
              <a:pathLst>
                <a:path w="698" h="696" extrusionOk="0">
                  <a:moveTo>
                    <a:pt x="68" y="0"/>
                  </a:moveTo>
                  <a:lnTo>
                    <a:pt x="1" y="66"/>
                  </a:lnTo>
                  <a:lnTo>
                    <a:pt x="632" y="695"/>
                  </a:lnTo>
                  <a:lnTo>
                    <a:pt x="698" y="630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4" name="Google Shape;844;p16"/>
            <p:cNvSpPr/>
            <p:nvPr/>
          </p:nvSpPr>
          <p:spPr>
            <a:xfrm>
              <a:off x="6013369" y="3311439"/>
              <a:ext cx="88174" cy="87853"/>
            </a:xfrm>
            <a:custGeom>
              <a:avLst/>
              <a:gdLst/>
              <a:ahLst/>
              <a:cxnLst/>
              <a:rect l="l" t="t" r="r" b="b"/>
              <a:pathLst>
                <a:path w="825" h="822" extrusionOk="0">
                  <a:moveTo>
                    <a:pt x="424" y="111"/>
                  </a:moveTo>
                  <a:lnTo>
                    <a:pt x="705" y="401"/>
                  </a:lnTo>
                  <a:lnTo>
                    <a:pt x="401" y="712"/>
                  </a:lnTo>
                  <a:lnTo>
                    <a:pt x="113" y="422"/>
                  </a:lnTo>
                  <a:lnTo>
                    <a:pt x="424" y="111"/>
                  </a:lnTo>
                  <a:close/>
                  <a:moveTo>
                    <a:pt x="424" y="0"/>
                  </a:moveTo>
                  <a:lnTo>
                    <a:pt x="1" y="422"/>
                  </a:lnTo>
                  <a:lnTo>
                    <a:pt x="401" y="822"/>
                  </a:lnTo>
                  <a:lnTo>
                    <a:pt x="824" y="401"/>
                  </a:lnTo>
                  <a:lnTo>
                    <a:pt x="424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5" name="Google Shape;845;p16"/>
            <p:cNvSpPr/>
            <p:nvPr/>
          </p:nvSpPr>
          <p:spPr>
            <a:xfrm>
              <a:off x="5976176" y="3350236"/>
              <a:ext cx="85609" cy="93625"/>
            </a:xfrm>
            <a:custGeom>
              <a:avLst/>
              <a:gdLst/>
              <a:ahLst/>
              <a:cxnLst/>
              <a:rect l="l" t="t" r="r" b="b"/>
              <a:pathLst>
                <a:path w="801" h="876" extrusionOk="0">
                  <a:moveTo>
                    <a:pt x="407" y="112"/>
                  </a:moveTo>
                  <a:lnTo>
                    <a:pt x="697" y="407"/>
                  </a:lnTo>
                  <a:lnTo>
                    <a:pt x="452" y="749"/>
                  </a:lnTo>
                  <a:lnTo>
                    <a:pt x="112" y="407"/>
                  </a:lnTo>
                  <a:lnTo>
                    <a:pt x="407" y="112"/>
                  </a:lnTo>
                  <a:close/>
                  <a:moveTo>
                    <a:pt x="407" y="0"/>
                  </a:moveTo>
                  <a:lnTo>
                    <a:pt x="0" y="407"/>
                  </a:lnTo>
                  <a:lnTo>
                    <a:pt x="461" y="875"/>
                  </a:lnTo>
                  <a:lnTo>
                    <a:pt x="800" y="400"/>
                  </a:lnTo>
                  <a:lnTo>
                    <a:pt x="407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6" name="Google Shape;846;p16"/>
            <p:cNvSpPr/>
            <p:nvPr/>
          </p:nvSpPr>
          <p:spPr>
            <a:xfrm>
              <a:off x="5937380" y="3388925"/>
              <a:ext cx="91915" cy="99182"/>
            </a:xfrm>
            <a:custGeom>
              <a:avLst/>
              <a:gdLst/>
              <a:ahLst/>
              <a:cxnLst/>
              <a:rect l="l" t="t" r="r" b="b"/>
              <a:pathLst>
                <a:path w="860" h="928" extrusionOk="0">
                  <a:moveTo>
                    <a:pt x="408" y="113"/>
                  </a:moveTo>
                  <a:lnTo>
                    <a:pt x="756" y="469"/>
                  </a:lnTo>
                  <a:lnTo>
                    <a:pt x="504" y="808"/>
                  </a:lnTo>
                  <a:lnTo>
                    <a:pt x="112" y="408"/>
                  </a:lnTo>
                  <a:lnTo>
                    <a:pt x="408" y="113"/>
                  </a:lnTo>
                  <a:close/>
                  <a:moveTo>
                    <a:pt x="408" y="1"/>
                  </a:moveTo>
                  <a:lnTo>
                    <a:pt x="0" y="408"/>
                  </a:lnTo>
                  <a:lnTo>
                    <a:pt x="520" y="927"/>
                  </a:lnTo>
                  <a:lnTo>
                    <a:pt x="859" y="453"/>
                  </a:lnTo>
                  <a:lnTo>
                    <a:pt x="408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" name="Google Shape;847;p16"/>
            <p:cNvSpPr/>
            <p:nvPr/>
          </p:nvSpPr>
          <p:spPr>
            <a:xfrm>
              <a:off x="5974573" y="3388177"/>
              <a:ext cx="56431" cy="56431"/>
            </a:xfrm>
            <a:custGeom>
              <a:avLst/>
              <a:gdLst/>
              <a:ahLst/>
              <a:cxnLst/>
              <a:rect l="l" t="t" r="r" b="b"/>
              <a:pathLst>
                <a:path w="528" h="528" extrusionOk="0">
                  <a:moveTo>
                    <a:pt x="67" y="1"/>
                  </a:moveTo>
                  <a:lnTo>
                    <a:pt x="1" y="68"/>
                  </a:lnTo>
                  <a:lnTo>
                    <a:pt x="460" y="527"/>
                  </a:lnTo>
                  <a:lnTo>
                    <a:pt x="527" y="453"/>
                  </a:lnTo>
                  <a:lnTo>
                    <a:pt x="67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8" name="Google Shape;848;p16"/>
            <p:cNvSpPr/>
            <p:nvPr/>
          </p:nvSpPr>
          <p:spPr>
            <a:xfrm>
              <a:off x="5897087" y="3427722"/>
              <a:ext cx="98969" cy="106343"/>
            </a:xfrm>
            <a:custGeom>
              <a:avLst/>
              <a:gdLst/>
              <a:ahLst/>
              <a:cxnLst/>
              <a:rect l="l" t="t" r="r" b="b"/>
              <a:pathLst>
                <a:path w="926" h="995" extrusionOk="0">
                  <a:moveTo>
                    <a:pt x="422" y="113"/>
                  </a:moveTo>
                  <a:lnTo>
                    <a:pt x="822" y="520"/>
                  </a:lnTo>
                  <a:lnTo>
                    <a:pt x="569" y="876"/>
                  </a:lnTo>
                  <a:lnTo>
                    <a:pt x="111" y="424"/>
                  </a:lnTo>
                  <a:lnTo>
                    <a:pt x="422" y="113"/>
                  </a:lnTo>
                  <a:close/>
                  <a:moveTo>
                    <a:pt x="422" y="1"/>
                  </a:moveTo>
                  <a:lnTo>
                    <a:pt x="0" y="424"/>
                  </a:lnTo>
                  <a:lnTo>
                    <a:pt x="578" y="995"/>
                  </a:lnTo>
                  <a:lnTo>
                    <a:pt x="925" y="513"/>
                  </a:lnTo>
                  <a:lnTo>
                    <a:pt x="422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9" name="Google Shape;849;p16"/>
            <p:cNvSpPr/>
            <p:nvPr/>
          </p:nvSpPr>
          <p:spPr>
            <a:xfrm>
              <a:off x="5859787" y="3466733"/>
              <a:ext cx="103885" cy="111687"/>
            </a:xfrm>
            <a:custGeom>
              <a:avLst/>
              <a:gdLst/>
              <a:ahLst/>
              <a:cxnLst/>
              <a:rect l="l" t="t" r="r" b="b"/>
              <a:pathLst>
                <a:path w="972" h="1045" extrusionOk="0">
                  <a:moveTo>
                    <a:pt x="408" y="111"/>
                  </a:moveTo>
                  <a:lnTo>
                    <a:pt x="867" y="578"/>
                  </a:lnTo>
                  <a:lnTo>
                    <a:pt x="623" y="918"/>
                  </a:lnTo>
                  <a:lnTo>
                    <a:pt x="111" y="408"/>
                  </a:lnTo>
                  <a:lnTo>
                    <a:pt x="408" y="111"/>
                  </a:lnTo>
                  <a:close/>
                  <a:moveTo>
                    <a:pt x="408" y="0"/>
                  </a:moveTo>
                  <a:lnTo>
                    <a:pt x="1" y="408"/>
                  </a:lnTo>
                  <a:lnTo>
                    <a:pt x="630" y="1044"/>
                  </a:lnTo>
                  <a:lnTo>
                    <a:pt x="972" y="569"/>
                  </a:lnTo>
                  <a:lnTo>
                    <a:pt x="408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0" name="Google Shape;850;p16"/>
            <p:cNvSpPr/>
            <p:nvPr/>
          </p:nvSpPr>
          <p:spPr>
            <a:xfrm>
              <a:off x="5821097" y="3505529"/>
              <a:ext cx="110084" cy="117138"/>
            </a:xfrm>
            <a:custGeom>
              <a:avLst/>
              <a:gdLst/>
              <a:ahLst/>
              <a:cxnLst/>
              <a:rect l="l" t="t" r="r" b="b"/>
              <a:pathLst>
                <a:path w="1030" h="1096" extrusionOk="0">
                  <a:moveTo>
                    <a:pt x="407" y="110"/>
                  </a:moveTo>
                  <a:lnTo>
                    <a:pt x="925" y="637"/>
                  </a:lnTo>
                  <a:lnTo>
                    <a:pt x="681" y="978"/>
                  </a:lnTo>
                  <a:lnTo>
                    <a:pt x="110" y="407"/>
                  </a:lnTo>
                  <a:lnTo>
                    <a:pt x="407" y="110"/>
                  </a:lnTo>
                  <a:close/>
                  <a:moveTo>
                    <a:pt x="407" y="0"/>
                  </a:moveTo>
                  <a:lnTo>
                    <a:pt x="0" y="407"/>
                  </a:lnTo>
                  <a:lnTo>
                    <a:pt x="688" y="1096"/>
                  </a:lnTo>
                  <a:lnTo>
                    <a:pt x="1030" y="623"/>
                  </a:lnTo>
                  <a:lnTo>
                    <a:pt x="407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1" name="Google Shape;851;p16"/>
            <p:cNvSpPr/>
            <p:nvPr/>
          </p:nvSpPr>
          <p:spPr>
            <a:xfrm>
              <a:off x="5858077" y="3504674"/>
              <a:ext cx="74600" cy="74494"/>
            </a:xfrm>
            <a:custGeom>
              <a:avLst/>
              <a:gdLst/>
              <a:ahLst/>
              <a:cxnLst/>
              <a:rect l="l" t="t" r="r" b="b"/>
              <a:pathLst>
                <a:path w="698" h="697" extrusionOk="0">
                  <a:moveTo>
                    <a:pt x="68" y="1"/>
                  </a:moveTo>
                  <a:lnTo>
                    <a:pt x="1" y="67"/>
                  </a:lnTo>
                  <a:lnTo>
                    <a:pt x="632" y="696"/>
                  </a:lnTo>
                  <a:lnTo>
                    <a:pt x="698" y="623"/>
                  </a:lnTo>
                  <a:lnTo>
                    <a:pt x="68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2">
  <p:cSld name="CUSTOM_4_1">
    <p:spTree>
      <p:nvGrpSpPr>
        <p:cNvPr id="1" name="Shape 8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3" name="Google Shape;853;p17"/>
          <p:cNvSpPr txBox="1">
            <a:spLocks noGrp="1"/>
          </p:cNvSpPr>
          <p:nvPr>
            <p:ph type="title"/>
          </p:nvPr>
        </p:nvSpPr>
        <p:spPr>
          <a:xfrm>
            <a:off x="4742075" y="1745250"/>
            <a:ext cx="3442200" cy="572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854" name="Google Shape;854;p17"/>
          <p:cNvSpPr txBox="1">
            <a:spLocks noGrp="1"/>
          </p:cNvSpPr>
          <p:nvPr>
            <p:ph type="subTitle" idx="1"/>
          </p:nvPr>
        </p:nvSpPr>
        <p:spPr>
          <a:xfrm>
            <a:off x="5553975" y="2317950"/>
            <a:ext cx="2630400" cy="1080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Kumbh Sans"/>
                <a:ea typeface="Kumbh Sans"/>
                <a:cs typeface="Kumbh Sans"/>
                <a:sym typeface="Kumbh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5" name="Google Shape;855;p17"/>
          <p:cNvSpPr/>
          <p:nvPr/>
        </p:nvSpPr>
        <p:spPr>
          <a:xfrm>
            <a:off x="7233675" y="4938650"/>
            <a:ext cx="2030700" cy="461700"/>
          </a:xfrm>
          <a:prstGeom prst="round2DiagRect">
            <a:avLst>
              <a:gd name="adj1" fmla="val 16667"/>
              <a:gd name="adj2" fmla="val 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56" name="Google Shape;856;p17"/>
          <p:cNvGrpSpPr/>
          <p:nvPr/>
        </p:nvGrpSpPr>
        <p:grpSpPr>
          <a:xfrm>
            <a:off x="4382899" y="4938638"/>
            <a:ext cx="2749703" cy="122913"/>
            <a:chOff x="5024149" y="4918613"/>
            <a:chExt cx="2749703" cy="122913"/>
          </a:xfrm>
        </p:grpSpPr>
        <p:sp>
          <p:nvSpPr>
            <p:cNvPr id="857" name="Google Shape;857;p17"/>
            <p:cNvSpPr/>
            <p:nvPr/>
          </p:nvSpPr>
          <p:spPr>
            <a:xfrm>
              <a:off x="5121294" y="4919510"/>
              <a:ext cx="27619" cy="26802"/>
            </a:xfrm>
            <a:custGeom>
              <a:avLst/>
              <a:gdLst/>
              <a:ahLst/>
              <a:cxnLst/>
              <a:rect l="l" t="t" r="r" b="b"/>
              <a:pathLst>
                <a:path w="1324" h="1285" extrusionOk="0">
                  <a:moveTo>
                    <a:pt x="690" y="1"/>
                  </a:moveTo>
                  <a:cubicBezTo>
                    <a:pt x="379" y="1"/>
                    <a:pt x="134" y="175"/>
                    <a:pt x="0" y="460"/>
                  </a:cubicBezTo>
                  <a:cubicBezTo>
                    <a:pt x="0" y="643"/>
                    <a:pt x="183" y="1031"/>
                    <a:pt x="297" y="1213"/>
                  </a:cubicBezTo>
                  <a:cubicBezTo>
                    <a:pt x="418" y="1262"/>
                    <a:pt x="528" y="1284"/>
                    <a:pt x="629" y="1284"/>
                  </a:cubicBezTo>
                  <a:cubicBezTo>
                    <a:pt x="909" y="1284"/>
                    <a:pt x="1123" y="1110"/>
                    <a:pt x="1324" y="825"/>
                  </a:cubicBezTo>
                  <a:cubicBezTo>
                    <a:pt x="1233" y="551"/>
                    <a:pt x="1141" y="163"/>
                    <a:pt x="1050" y="72"/>
                  </a:cubicBezTo>
                  <a:cubicBezTo>
                    <a:pt x="923" y="24"/>
                    <a:pt x="802" y="1"/>
                    <a:pt x="69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8" name="Google Shape;858;p17"/>
            <p:cNvSpPr/>
            <p:nvPr/>
          </p:nvSpPr>
          <p:spPr>
            <a:xfrm>
              <a:off x="5307928" y="4919510"/>
              <a:ext cx="27639" cy="26802"/>
            </a:xfrm>
            <a:custGeom>
              <a:avLst/>
              <a:gdLst/>
              <a:ahLst/>
              <a:cxnLst/>
              <a:rect l="l" t="t" r="r" b="b"/>
              <a:pathLst>
                <a:path w="1325" h="1285" extrusionOk="0">
                  <a:moveTo>
                    <a:pt x="731" y="1"/>
                  </a:moveTo>
                  <a:cubicBezTo>
                    <a:pt x="435" y="1"/>
                    <a:pt x="159" y="175"/>
                    <a:pt x="92" y="460"/>
                  </a:cubicBezTo>
                  <a:cubicBezTo>
                    <a:pt x="1" y="643"/>
                    <a:pt x="183" y="1031"/>
                    <a:pt x="366" y="1213"/>
                  </a:cubicBezTo>
                  <a:cubicBezTo>
                    <a:pt x="469" y="1262"/>
                    <a:pt x="572" y="1284"/>
                    <a:pt x="671" y="1284"/>
                  </a:cubicBezTo>
                  <a:cubicBezTo>
                    <a:pt x="945" y="1284"/>
                    <a:pt x="1190" y="1110"/>
                    <a:pt x="1324" y="825"/>
                  </a:cubicBezTo>
                  <a:cubicBezTo>
                    <a:pt x="1233" y="551"/>
                    <a:pt x="1233" y="163"/>
                    <a:pt x="1051" y="72"/>
                  </a:cubicBezTo>
                  <a:cubicBezTo>
                    <a:pt x="948" y="24"/>
                    <a:pt x="838" y="1"/>
                    <a:pt x="73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9" name="Google Shape;859;p17"/>
            <p:cNvSpPr/>
            <p:nvPr/>
          </p:nvSpPr>
          <p:spPr>
            <a:xfrm>
              <a:off x="5496482" y="4919823"/>
              <a:ext cx="25720" cy="27365"/>
            </a:xfrm>
            <a:custGeom>
              <a:avLst/>
              <a:gdLst/>
              <a:ahLst/>
              <a:cxnLst/>
              <a:rect l="l" t="t" r="r" b="b"/>
              <a:pathLst>
                <a:path w="1233" h="1312" extrusionOk="0">
                  <a:moveTo>
                    <a:pt x="656" y="0"/>
                  </a:moveTo>
                  <a:cubicBezTo>
                    <a:pt x="565" y="0"/>
                    <a:pt x="467" y="18"/>
                    <a:pt x="366" y="57"/>
                  </a:cubicBezTo>
                  <a:cubicBezTo>
                    <a:pt x="183" y="57"/>
                    <a:pt x="92" y="445"/>
                    <a:pt x="0" y="628"/>
                  </a:cubicBezTo>
                  <a:cubicBezTo>
                    <a:pt x="77" y="1106"/>
                    <a:pt x="346" y="1312"/>
                    <a:pt x="660" y="1312"/>
                  </a:cubicBezTo>
                  <a:cubicBezTo>
                    <a:pt x="720" y="1312"/>
                    <a:pt x="782" y="1304"/>
                    <a:pt x="845" y="1290"/>
                  </a:cubicBezTo>
                  <a:cubicBezTo>
                    <a:pt x="1028" y="1198"/>
                    <a:pt x="1233" y="810"/>
                    <a:pt x="1233" y="628"/>
                  </a:cubicBezTo>
                  <a:cubicBezTo>
                    <a:pt x="1233" y="250"/>
                    <a:pt x="992" y="0"/>
                    <a:pt x="65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0" name="Google Shape;860;p17"/>
            <p:cNvSpPr/>
            <p:nvPr/>
          </p:nvSpPr>
          <p:spPr>
            <a:xfrm>
              <a:off x="5680738" y="4920490"/>
              <a:ext cx="33835" cy="26239"/>
            </a:xfrm>
            <a:custGeom>
              <a:avLst/>
              <a:gdLst/>
              <a:ahLst/>
              <a:cxnLst/>
              <a:rect l="l" t="t" r="r" b="b"/>
              <a:pathLst>
                <a:path w="1622" h="1258" extrusionOk="0">
                  <a:moveTo>
                    <a:pt x="743" y="1"/>
                  </a:moveTo>
                  <a:cubicBezTo>
                    <a:pt x="538" y="1"/>
                    <a:pt x="277" y="154"/>
                    <a:pt x="183" y="322"/>
                  </a:cubicBezTo>
                  <a:cubicBezTo>
                    <a:pt x="1" y="778"/>
                    <a:pt x="298" y="1166"/>
                    <a:pt x="754" y="1258"/>
                  </a:cubicBezTo>
                  <a:cubicBezTo>
                    <a:pt x="959" y="1166"/>
                    <a:pt x="1325" y="1075"/>
                    <a:pt x="1439" y="892"/>
                  </a:cubicBezTo>
                  <a:cubicBezTo>
                    <a:pt x="1621" y="413"/>
                    <a:pt x="1325" y="25"/>
                    <a:pt x="868" y="25"/>
                  </a:cubicBezTo>
                  <a:cubicBezTo>
                    <a:pt x="831" y="8"/>
                    <a:pt x="788" y="1"/>
                    <a:pt x="74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1" name="Google Shape;861;p17"/>
            <p:cNvSpPr/>
            <p:nvPr/>
          </p:nvSpPr>
          <p:spPr>
            <a:xfrm>
              <a:off x="5871190" y="4919823"/>
              <a:ext cx="27639" cy="27365"/>
            </a:xfrm>
            <a:custGeom>
              <a:avLst/>
              <a:gdLst/>
              <a:ahLst/>
              <a:cxnLst/>
              <a:rect l="l" t="t" r="r" b="b"/>
              <a:pathLst>
                <a:path w="1325" h="1312" extrusionOk="0">
                  <a:moveTo>
                    <a:pt x="677" y="0"/>
                  </a:moveTo>
                  <a:cubicBezTo>
                    <a:pt x="587" y="0"/>
                    <a:pt x="491" y="18"/>
                    <a:pt x="389" y="57"/>
                  </a:cubicBezTo>
                  <a:cubicBezTo>
                    <a:pt x="184" y="57"/>
                    <a:pt x="92" y="445"/>
                    <a:pt x="1" y="628"/>
                  </a:cubicBezTo>
                  <a:cubicBezTo>
                    <a:pt x="77" y="1106"/>
                    <a:pt x="363" y="1312"/>
                    <a:pt x="682" y="1312"/>
                  </a:cubicBezTo>
                  <a:cubicBezTo>
                    <a:pt x="743" y="1312"/>
                    <a:pt x="806" y="1304"/>
                    <a:pt x="868" y="1290"/>
                  </a:cubicBezTo>
                  <a:cubicBezTo>
                    <a:pt x="1051" y="1198"/>
                    <a:pt x="1325" y="810"/>
                    <a:pt x="1233" y="628"/>
                  </a:cubicBezTo>
                  <a:cubicBezTo>
                    <a:pt x="1233" y="250"/>
                    <a:pt x="1007" y="0"/>
                    <a:pt x="6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" name="Google Shape;862;p17"/>
            <p:cNvSpPr/>
            <p:nvPr/>
          </p:nvSpPr>
          <p:spPr>
            <a:xfrm>
              <a:off x="6055947" y="4920490"/>
              <a:ext cx="33334" cy="26239"/>
            </a:xfrm>
            <a:custGeom>
              <a:avLst/>
              <a:gdLst/>
              <a:ahLst/>
              <a:cxnLst/>
              <a:rect l="l" t="t" r="r" b="b"/>
              <a:pathLst>
                <a:path w="1598" h="1258" extrusionOk="0">
                  <a:moveTo>
                    <a:pt x="728" y="1"/>
                  </a:moveTo>
                  <a:cubicBezTo>
                    <a:pt x="531" y="1"/>
                    <a:pt x="257" y="154"/>
                    <a:pt x="183" y="322"/>
                  </a:cubicBezTo>
                  <a:cubicBezTo>
                    <a:pt x="0" y="778"/>
                    <a:pt x="274" y="1166"/>
                    <a:pt x="753" y="1258"/>
                  </a:cubicBezTo>
                  <a:cubicBezTo>
                    <a:pt x="936" y="1166"/>
                    <a:pt x="1324" y="1075"/>
                    <a:pt x="1415" y="892"/>
                  </a:cubicBezTo>
                  <a:cubicBezTo>
                    <a:pt x="1598" y="413"/>
                    <a:pt x="1324" y="25"/>
                    <a:pt x="845" y="25"/>
                  </a:cubicBezTo>
                  <a:cubicBezTo>
                    <a:pt x="811" y="8"/>
                    <a:pt x="771" y="1"/>
                    <a:pt x="72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" name="Google Shape;863;p17"/>
            <p:cNvSpPr/>
            <p:nvPr/>
          </p:nvSpPr>
          <p:spPr>
            <a:xfrm>
              <a:off x="6244021" y="4919093"/>
              <a:ext cx="31916" cy="27636"/>
            </a:xfrm>
            <a:custGeom>
              <a:avLst/>
              <a:gdLst/>
              <a:ahLst/>
              <a:cxnLst/>
              <a:rect l="l" t="t" r="r" b="b"/>
              <a:pathLst>
                <a:path w="1530" h="1325" extrusionOk="0">
                  <a:moveTo>
                    <a:pt x="571" y="1"/>
                  </a:moveTo>
                  <a:cubicBezTo>
                    <a:pt x="206" y="183"/>
                    <a:pt x="0" y="571"/>
                    <a:pt x="206" y="959"/>
                  </a:cubicBezTo>
                  <a:cubicBezTo>
                    <a:pt x="297" y="1142"/>
                    <a:pt x="685" y="1325"/>
                    <a:pt x="867" y="1325"/>
                  </a:cubicBezTo>
                  <a:cubicBezTo>
                    <a:pt x="1347" y="1142"/>
                    <a:pt x="1529" y="754"/>
                    <a:pt x="1256" y="389"/>
                  </a:cubicBezTo>
                  <a:cubicBezTo>
                    <a:pt x="1141" y="183"/>
                    <a:pt x="867" y="92"/>
                    <a:pt x="57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" name="Google Shape;864;p17"/>
            <p:cNvSpPr/>
            <p:nvPr/>
          </p:nvSpPr>
          <p:spPr>
            <a:xfrm>
              <a:off x="6434473" y="4919823"/>
              <a:ext cx="26200" cy="27365"/>
            </a:xfrm>
            <a:custGeom>
              <a:avLst/>
              <a:gdLst/>
              <a:ahLst/>
              <a:cxnLst/>
              <a:rect l="l" t="t" r="r" b="b"/>
              <a:pathLst>
                <a:path w="1256" h="1312" extrusionOk="0">
                  <a:moveTo>
                    <a:pt x="679" y="0"/>
                  </a:moveTo>
                  <a:cubicBezTo>
                    <a:pt x="588" y="0"/>
                    <a:pt x="490" y="18"/>
                    <a:pt x="388" y="57"/>
                  </a:cubicBezTo>
                  <a:cubicBezTo>
                    <a:pt x="206" y="57"/>
                    <a:pt x="114" y="445"/>
                    <a:pt x="0" y="628"/>
                  </a:cubicBezTo>
                  <a:cubicBezTo>
                    <a:pt x="0" y="1106"/>
                    <a:pt x="273" y="1312"/>
                    <a:pt x="644" y="1312"/>
                  </a:cubicBezTo>
                  <a:cubicBezTo>
                    <a:pt x="715" y="1312"/>
                    <a:pt x="790" y="1304"/>
                    <a:pt x="868" y="1290"/>
                  </a:cubicBezTo>
                  <a:cubicBezTo>
                    <a:pt x="1050" y="1198"/>
                    <a:pt x="1256" y="810"/>
                    <a:pt x="1256" y="628"/>
                  </a:cubicBezTo>
                  <a:cubicBezTo>
                    <a:pt x="1256" y="250"/>
                    <a:pt x="1015" y="0"/>
                    <a:pt x="67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" name="Google Shape;865;p17"/>
            <p:cNvSpPr/>
            <p:nvPr/>
          </p:nvSpPr>
          <p:spPr>
            <a:xfrm>
              <a:off x="6621107" y="4919176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02" y="1"/>
                  </a:moveTo>
                  <a:cubicBezTo>
                    <a:pt x="577" y="1"/>
                    <a:pt x="440" y="31"/>
                    <a:pt x="298" y="88"/>
                  </a:cubicBezTo>
                  <a:cubicBezTo>
                    <a:pt x="183" y="179"/>
                    <a:pt x="1" y="567"/>
                    <a:pt x="1" y="750"/>
                  </a:cubicBezTo>
                  <a:cubicBezTo>
                    <a:pt x="125" y="1077"/>
                    <a:pt x="346" y="1266"/>
                    <a:pt x="596" y="1266"/>
                  </a:cubicBezTo>
                  <a:cubicBezTo>
                    <a:pt x="713" y="1266"/>
                    <a:pt x="836" y="1225"/>
                    <a:pt x="959" y="1138"/>
                  </a:cubicBezTo>
                  <a:cubicBezTo>
                    <a:pt x="1142" y="1047"/>
                    <a:pt x="1233" y="659"/>
                    <a:pt x="1325" y="476"/>
                  </a:cubicBezTo>
                  <a:cubicBezTo>
                    <a:pt x="1199" y="147"/>
                    <a:pt x="977" y="1"/>
                    <a:pt x="70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" name="Google Shape;866;p17"/>
            <p:cNvSpPr/>
            <p:nvPr/>
          </p:nvSpPr>
          <p:spPr>
            <a:xfrm>
              <a:off x="6807762" y="4919176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23" y="1"/>
                  </a:moveTo>
                  <a:cubicBezTo>
                    <a:pt x="608" y="1"/>
                    <a:pt x="487" y="31"/>
                    <a:pt x="366" y="88"/>
                  </a:cubicBezTo>
                  <a:cubicBezTo>
                    <a:pt x="183" y="179"/>
                    <a:pt x="0" y="567"/>
                    <a:pt x="92" y="750"/>
                  </a:cubicBezTo>
                  <a:cubicBezTo>
                    <a:pt x="154" y="1077"/>
                    <a:pt x="397" y="1266"/>
                    <a:pt x="668" y="1266"/>
                  </a:cubicBezTo>
                  <a:cubicBezTo>
                    <a:pt x="795" y="1266"/>
                    <a:pt x="927" y="1225"/>
                    <a:pt x="1050" y="1138"/>
                  </a:cubicBezTo>
                  <a:cubicBezTo>
                    <a:pt x="1233" y="1047"/>
                    <a:pt x="1233" y="659"/>
                    <a:pt x="1324" y="476"/>
                  </a:cubicBezTo>
                  <a:cubicBezTo>
                    <a:pt x="1199" y="147"/>
                    <a:pt x="976" y="1"/>
                    <a:pt x="72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7" name="Google Shape;867;p17"/>
            <p:cNvSpPr/>
            <p:nvPr/>
          </p:nvSpPr>
          <p:spPr>
            <a:xfrm>
              <a:off x="6998214" y="4918613"/>
              <a:ext cx="25720" cy="27407"/>
            </a:xfrm>
            <a:custGeom>
              <a:avLst/>
              <a:gdLst/>
              <a:ahLst/>
              <a:cxnLst/>
              <a:rect l="l" t="t" r="r" b="b"/>
              <a:pathLst>
                <a:path w="1233" h="1314" extrusionOk="0">
                  <a:moveTo>
                    <a:pt x="617" y="1"/>
                  </a:moveTo>
                  <a:cubicBezTo>
                    <a:pt x="255" y="1"/>
                    <a:pt x="0" y="194"/>
                    <a:pt x="0" y="594"/>
                  </a:cubicBezTo>
                  <a:cubicBezTo>
                    <a:pt x="0" y="777"/>
                    <a:pt x="183" y="1256"/>
                    <a:pt x="366" y="1256"/>
                  </a:cubicBezTo>
                  <a:cubicBezTo>
                    <a:pt x="448" y="1295"/>
                    <a:pt x="530" y="1313"/>
                    <a:pt x="610" y="1313"/>
                  </a:cubicBezTo>
                  <a:cubicBezTo>
                    <a:pt x="905" y="1313"/>
                    <a:pt x="1161" y="1063"/>
                    <a:pt x="1233" y="686"/>
                  </a:cubicBezTo>
                  <a:cubicBezTo>
                    <a:pt x="1142" y="503"/>
                    <a:pt x="1050" y="115"/>
                    <a:pt x="845" y="24"/>
                  </a:cubicBezTo>
                  <a:cubicBezTo>
                    <a:pt x="766" y="9"/>
                    <a:pt x="689" y="1"/>
                    <a:pt x="61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" name="Google Shape;868;p17"/>
            <p:cNvSpPr/>
            <p:nvPr/>
          </p:nvSpPr>
          <p:spPr>
            <a:xfrm>
              <a:off x="7182470" y="4920490"/>
              <a:ext cx="31937" cy="26239"/>
            </a:xfrm>
            <a:custGeom>
              <a:avLst/>
              <a:gdLst/>
              <a:ahLst/>
              <a:cxnLst/>
              <a:rect l="l" t="t" r="r" b="b"/>
              <a:pathLst>
                <a:path w="1531" h="1258" extrusionOk="0">
                  <a:moveTo>
                    <a:pt x="651" y="1"/>
                  </a:moveTo>
                  <a:cubicBezTo>
                    <a:pt x="447" y="1"/>
                    <a:pt x="185" y="154"/>
                    <a:pt x="92" y="322"/>
                  </a:cubicBezTo>
                  <a:cubicBezTo>
                    <a:pt x="1" y="778"/>
                    <a:pt x="206" y="1166"/>
                    <a:pt x="663" y="1258"/>
                  </a:cubicBezTo>
                  <a:cubicBezTo>
                    <a:pt x="959" y="1166"/>
                    <a:pt x="1348" y="1075"/>
                    <a:pt x="1348" y="892"/>
                  </a:cubicBezTo>
                  <a:cubicBezTo>
                    <a:pt x="1530" y="413"/>
                    <a:pt x="1233" y="25"/>
                    <a:pt x="777" y="25"/>
                  </a:cubicBezTo>
                  <a:cubicBezTo>
                    <a:pt x="740" y="8"/>
                    <a:pt x="697" y="1"/>
                    <a:pt x="65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" name="Google Shape;869;p17"/>
            <p:cNvSpPr/>
            <p:nvPr/>
          </p:nvSpPr>
          <p:spPr>
            <a:xfrm>
              <a:off x="7372922" y="4918613"/>
              <a:ext cx="25741" cy="27407"/>
            </a:xfrm>
            <a:custGeom>
              <a:avLst/>
              <a:gdLst/>
              <a:ahLst/>
              <a:cxnLst/>
              <a:rect l="l" t="t" r="r" b="b"/>
              <a:pathLst>
                <a:path w="1234" h="1314" extrusionOk="0">
                  <a:moveTo>
                    <a:pt x="671" y="1"/>
                  </a:moveTo>
                  <a:cubicBezTo>
                    <a:pt x="335" y="1"/>
                    <a:pt x="1" y="194"/>
                    <a:pt x="1" y="594"/>
                  </a:cubicBezTo>
                  <a:cubicBezTo>
                    <a:pt x="1" y="777"/>
                    <a:pt x="206" y="1256"/>
                    <a:pt x="389" y="1256"/>
                  </a:cubicBezTo>
                  <a:cubicBezTo>
                    <a:pt x="471" y="1295"/>
                    <a:pt x="553" y="1313"/>
                    <a:pt x="631" y="1313"/>
                  </a:cubicBezTo>
                  <a:cubicBezTo>
                    <a:pt x="920" y="1313"/>
                    <a:pt x="1162" y="1063"/>
                    <a:pt x="1234" y="686"/>
                  </a:cubicBezTo>
                  <a:cubicBezTo>
                    <a:pt x="1142" y="503"/>
                    <a:pt x="1051" y="115"/>
                    <a:pt x="868" y="24"/>
                  </a:cubicBezTo>
                  <a:cubicBezTo>
                    <a:pt x="804" y="9"/>
                    <a:pt x="737" y="1"/>
                    <a:pt x="67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" name="Google Shape;870;p17"/>
            <p:cNvSpPr/>
            <p:nvPr/>
          </p:nvSpPr>
          <p:spPr>
            <a:xfrm>
              <a:off x="7559578" y="4918613"/>
              <a:ext cx="27640" cy="27407"/>
            </a:xfrm>
            <a:custGeom>
              <a:avLst/>
              <a:gdLst/>
              <a:ahLst/>
              <a:cxnLst/>
              <a:rect l="l" t="t" r="r" b="b"/>
              <a:pathLst>
                <a:path w="1325" h="1314" extrusionOk="0">
                  <a:moveTo>
                    <a:pt x="730" y="1"/>
                  </a:moveTo>
                  <a:cubicBezTo>
                    <a:pt x="359" y="1"/>
                    <a:pt x="77" y="194"/>
                    <a:pt x="0" y="594"/>
                  </a:cubicBezTo>
                  <a:cubicBezTo>
                    <a:pt x="0" y="777"/>
                    <a:pt x="183" y="1256"/>
                    <a:pt x="388" y="1256"/>
                  </a:cubicBezTo>
                  <a:cubicBezTo>
                    <a:pt x="485" y="1295"/>
                    <a:pt x="575" y="1313"/>
                    <a:pt x="658" y="1313"/>
                  </a:cubicBezTo>
                  <a:cubicBezTo>
                    <a:pt x="966" y="1313"/>
                    <a:pt x="1181" y="1063"/>
                    <a:pt x="1324" y="686"/>
                  </a:cubicBezTo>
                  <a:cubicBezTo>
                    <a:pt x="1233" y="503"/>
                    <a:pt x="1142" y="115"/>
                    <a:pt x="959" y="24"/>
                  </a:cubicBezTo>
                  <a:cubicBezTo>
                    <a:pt x="880" y="9"/>
                    <a:pt x="803" y="1"/>
                    <a:pt x="73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" name="Google Shape;871;p17"/>
            <p:cNvSpPr/>
            <p:nvPr/>
          </p:nvSpPr>
          <p:spPr>
            <a:xfrm>
              <a:off x="7748131" y="4918634"/>
              <a:ext cx="25720" cy="27386"/>
            </a:xfrm>
            <a:custGeom>
              <a:avLst/>
              <a:gdLst/>
              <a:ahLst/>
              <a:cxnLst/>
              <a:rect l="l" t="t" r="r" b="b"/>
              <a:pathLst>
                <a:path w="1233" h="1313" extrusionOk="0">
                  <a:moveTo>
                    <a:pt x="552" y="0"/>
                  </a:moveTo>
                  <a:cubicBezTo>
                    <a:pt x="491" y="0"/>
                    <a:pt x="428" y="8"/>
                    <a:pt x="365" y="23"/>
                  </a:cubicBezTo>
                  <a:cubicBezTo>
                    <a:pt x="183" y="114"/>
                    <a:pt x="0" y="502"/>
                    <a:pt x="0" y="685"/>
                  </a:cubicBezTo>
                  <a:cubicBezTo>
                    <a:pt x="0" y="1062"/>
                    <a:pt x="227" y="1312"/>
                    <a:pt x="557" y="1312"/>
                  </a:cubicBezTo>
                  <a:cubicBezTo>
                    <a:pt x="646" y="1312"/>
                    <a:pt x="743" y="1294"/>
                    <a:pt x="845" y="1255"/>
                  </a:cubicBezTo>
                  <a:cubicBezTo>
                    <a:pt x="1050" y="1255"/>
                    <a:pt x="1142" y="867"/>
                    <a:pt x="1233" y="685"/>
                  </a:cubicBezTo>
                  <a:cubicBezTo>
                    <a:pt x="1156" y="206"/>
                    <a:pt x="871" y="0"/>
                    <a:pt x="55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" name="Google Shape;872;p17"/>
            <p:cNvSpPr/>
            <p:nvPr/>
          </p:nvSpPr>
          <p:spPr>
            <a:xfrm>
              <a:off x="5024149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27" y="0"/>
                  </a:moveTo>
                  <a:cubicBezTo>
                    <a:pt x="872" y="0"/>
                    <a:pt x="815" y="6"/>
                    <a:pt x="754" y="17"/>
                  </a:cubicBezTo>
                  <a:cubicBezTo>
                    <a:pt x="571" y="17"/>
                    <a:pt x="183" y="200"/>
                    <a:pt x="92" y="383"/>
                  </a:cubicBezTo>
                  <a:cubicBezTo>
                    <a:pt x="1" y="771"/>
                    <a:pt x="183" y="1250"/>
                    <a:pt x="571" y="1341"/>
                  </a:cubicBezTo>
                  <a:cubicBezTo>
                    <a:pt x="676" y="1375"/>
                    <a:pt x="767" y="1390"/>
                    <a:pt x="848" y="1390"/>
                  </a:cubicBezTo>
                  <a:cubicBezTo>
                    <a:pt x="1209" y="1390"/>
                    <a:pt x="1362" y="1088"/>
                    <a:pt x="1530" y="771"/>
                  </a:cubicBezTo>
                  <a:cubicBezTo>
                    <a:pt x="1530" y="272"/>
                    <a:pt x="1304" y="0"/>
                    <a:pt x="92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" name="Google Shape;873;p17"/>
            <p:cNvSpPr/>
            <p:nvPr/>
          </p:nvSpPr>
          <p:spPr>
            <a:xfrm>
              <a:off x="5212953" y="5012034"/>
              <a:ext cx="33585" cy="29451"/>
            </a:xfrm>
            <a:custGeom>
              <a:avLst/>
              <a:gdLst/>
              <a:ahLst/>
              <a:cxnLst/>
              <a:rect l="l" t="t" r="r" b="b"/>
              <a:pathLst>
                <a:path w="1610" h="1412" extrusionOk="0">
                  <a:moveTo>
                    <a:pt x="628" y="1"/>
                  </a:moveTo>
                  <a:cubicBezTo>
                    <a:pt x="198" y="1"/>
                    <a:pt x="0" y="263"/>
                    <a:pt x="80" y="680"/>
                  </a:cubicBezTo>
                  <a:cubicBezTo>
                    <a:pt x="80" y="954"/>
                    <a:pt x="262" y="1342"/>
                    <a:pt x="468" y="1342"/>
                  </a:cubicBezTo>
                  <a:cubicBezTo>
                    <a:pt x="561" y="1389"/>
                    <a:pt x="662" y="1412"/>
                    <a:pt x="763" y="1412"/>
                  </a:cubicBezTo>
                  <a:cubicBezTo>
                    <a:pt x="1053" y="1412"/>
                    <a:pt x="1336" y="1219"/>
                    <a:pt x="1404" y="863"/>
                  </a:cubicBezTo>
                  <a:cubicBezTo>
                    <a:pt x="1609" y="384"/>
                    <a:pt x="1221" y="110"/>
                    <a:pt x="833" y="18"/>
                  </a:cubicBezTo>
                  <a:cubicBezTo>
                    <a:pt x="760" y="7"/>
                    <a:pt x="691" y="1"/>
                    <a:pt x="62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4" name="Google Shape;874;p17"/>
            <p:cNvSpPr/>
            <p:nvPr/>
          </p:nvSpPr>
          <p:spPr>
            <a:xfrm>
              <a:off x="5398878" y="5011241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68" y="0"/>
                  </a:moveTo>
                  <a:cubicBezTo>
                    <a:pt x="886" y="0"/>
                    <a:pt x="792" y="18"/>
                    <a:pt x="685" y="56"/>
                  </a:cubicBezTo>
                  <a:cubicBezTo>
                    <a:pt x="480" y="56"/>
                    <a:pt x="206" y="330"/>
                    <a:pt x="114" y="536"/>
                  </a:cubicBezTo>
                  <a:cubicBezTo>
                    <a:pt x="0" y="992"/>
                    <a:pt x="297" y="1380"/>
                    <a:pt x="776" y="1380"/>
                  </a:cubicBezTo>
                  <a:cubicBezTo>
                    <a:pt x="838" y="1392"/>
                    <a:pt x="896" y="1398"/>
                    <a:pt x="951" y="1398"/>
                  </a:cubicBezTo>
                  <a:cubicBezTo>
                    <a:pt x="1322" y="1398"/>
                    <a:pt x="1530" y="1136"/>
                    <a:pt x="1530" y="718"/>
                  </a:cubicBezTo>
                  <a:cubicBezTo>
                    <a:pt x="1455" y="329"/>
                    <a:pt x="1321" y="0"/>
                    <a:pt x="96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5" name="Google Shape;875;p17"/>
            <p:cNvSpPr/>
            <p:nvPr/>
          </p:nvSpPr>
          <p:spPr>
            <a:xfrm>
              <a:off x="5585512" y="5012409"/>
              <a:ext cx="35733" cy="28846"/>
            </a:xfrm>
            <a:custGeom>
              <a:avLst/>
              <a:gdLst/>
              <a:ahLst/>
              <a:cxnLst/>
              <a:rect l="l" t="t" r="r" b="b"/>
              <a:pathLst>
                <a:path w="1713" h="1383" extrusionOk="0">
                  <a:moveTo>
                    <a:pt x="959" y="0"/>
                  </a:moveTo>
                  <a:cubicBezTo>
                    <a:pt x="663" y="0"/>
                    <a:pt x="297" y="183"/>
                    <a:pt x="297" y="366"/>
                  </a:cubicBezTo>
                  <a:cubicBezTo>
                    <a:pt x="1" y="754"/>
                    <a:pt x="183" y="1233"/>
                    <a:pt x="663" y="1324"/>
                  </a:cubicBezTo>
                  <a:cubicBezTo>
                    <a:pt x="747" y="1364"/>
                    <a:pt x="832" y="1382"/>
                    <a:pt x="914" y="1382"/>
                  </a:cubicBezTo>
                  <a:cubicBezTo>
                    <a:pt x="1210" y="1382"/>
                    <a:pt x="1478" y="1148"/>
                    <a:pt x="1621" y="845"/>
                  </a:cubicBezTo>
                  <a:cubicBezTo>
                    <a:pt x="1713" y="274"/>
                    <a:pt x="1325" y="0"/>
                    <a:pt x="95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6" name="Google Shape;876;p17"/>
            <p:cNvSpPr/>
            <p:nvPr/>
          </p:nvSpPr>
          <p:spPr>
            <a:xfrm>
              <a:off x="5774066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27" y="0"/>
                  </a:moveTo>
                  <a:cubicBezTo>
                    <a:pt x="872" y="0"/>
                    <a:pt x="814" y="6"/>
                    <a:pt x="754" y="17"/>
                  </a:cubicBezTo>
                  <a:cubicBezTo>
                    <a:pt x="571" y="17"/>
                    <a:pt x="183" y="200"/>
                    <a:pt x="92" y="383"/>
                  </a:cubicBezTo>
                  <a:cubicBezTo>
                    <a:pt x="1" y="771"/>
                    <a:pt x="183" y="1250"/>
                    <a:pt x="662" y="1341"/>
                  </a:cubicBezTo>
                  <a:cubicBezTo>
                    <a:pt x="750" y="1375"/>
                    <a:pt x="831" y="1390"/>
                    <a:pt x="905" y="1390"/>
                  </a:cubicBezTo>
                  <a:cubicBezTo>
                    <a:pt x="1237" y="1390"/>
                    <a:pt x="1437" y="1088"/>
                    <a:pt x="1530" y="771"/>
                  </a:cubicBezTo>
                  <a:cubicBezTo>
                    <a:pt x="1530" y="272"/>
                    <a:pt x="1303" y="0"/>
                    <a:pt x="92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7" name="Google Shape;877;p17"/>
            <p:cNvSpPr/>
            <p:nvPr/>
          </p:nvSpPr>
          <p:spPr>
            <a:xfrm>
              <a:off x="5960721" y="5011241"/>
              <a:ext cx="33334" cy="29159"/>
            </a:xfrm>
            <a:custGeom>
              <a:avLst/>
              <a:gdLst/>
              <a:ahLst/>
              <a:cxnLst/>
              <a:rect l="l" t="t" r="r" b="b"/>
              <a:pathLst>
                <a:path w="1598" h="1398" extrusionOk="0">
                  <a:moveTo>
                    <a:pt x="1036" y="0"/>
                  </a:moveTo>
                  <a:cubicBezTo>
                    <a:pt x="954" y="0"/>
                    <a:pt x="861" y="18"/>
                    <a:pt x="753" y="56"/>
                  </a:cubicBezTo>
                  <a:cubicBezTo>
                    <a:pt x="571" y="56"/>
                    <a:pt x="274" y="330"/>
                    <a:pt x="183" y="536"/>
                  </a:cubicBezTo>
                  <a:cubicBezTo>
                    <a:pt x="0" y="992"/>
                    <a:pt x="365" y="1380"/>
                    <a:pt x="753" y="1380"/>
                  </a:cubicBezTo>
                  <a:cubicBezTo>
                    <a:pt x="827" y="1392"/>
                    <a:pt x="894" y="1398"/>
                    <a:pt x="955" y="1398"/>
                  </a:cubicBezTo>
                  <a:cubicBezTo>
                    <a:pt x="1369" y="1398"/>
                    <a:pt x="1518" y="1136"/>
                    <a:pt x="1598" y="718"/>
                  </a:cubicBezTo>
                  <a:cubicBezTo>
                    <a:pt x="1524" y="329"/>
                    <a:pt x="1389" y="0"/>
                    <a:pt x="103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8" name="Google Shape;878;p17"/>
            <p:cNvSpPr/>
            <p:nvPr/>
          </p:nvSpPr>
          <p:spPr>
            <a:xfrm>
              <a:off x="6148795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48" y="0"/>
                  </a:moveTo>
                  <a:cubicBezTo>
                    <a:pt x="894" y="0"/>
                    <a:pt x="837" y="6"/>
                    <a:pt x="776" y="17"/>
                  </a:cubicBezTo>
                  <a:cubicBezTo>
                    <a:pt x="571" y="17"/>
                    <a:pt x="206" y="200"/>
                    <a:pt x="114" y="383"/>
                  </a:cubicBezTo>
                  <a:cubicBezTo>
                    <a:pt x="0" y="771"/>
                    <a:pt x="206" y="1250"/>
                    <a:pt x="685" y="1341"/>
                  </a:cubicBezTo>
                  <a:cubicBezTo>
                    <a:pt x="768" y="1375"/>
                    <a:pt x="846" y="1390"/>
                    <a:pt x="919" y="1390"/>
                  </a:cubicBezTo>
                  <a:cubicBezTo>
                    <a:pt x="1243" y="1390"/>
                    <a:pt x="1455" y="1088"/>
                    <a:pt x="1529" y="771"/>
                  </a:cubicBezTo>
                  <a:cubicBezTo>
                    <a:pt x="1529" y="272"/>
                    <a:pt x="1320" y="0"/>
                    <a:pt x="94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9" name="Google Shape;879;p17"/>
            <p:cNvSpPr/>
            <p:nvPr/>
          </p:nvSpPr>
          <p:spPr>
            <a:xfrm>
              <a:off x="6335429" y="5011241"/>
              <a:ext cx="33835" cy="29159"/>
            </a:xfrm>
            <a:custGeom>
              <a:avLst/>
              <a:gdLst/>
              <a:ahLst/>
              <a:cxnLst/>
              <a:rect l="l" t="t" r="r" b="b"/>
              <a:pathLst>
                <a:path w="1622" h="1398" extrusionOk="0">
                  <a:moveTo>
                    <a:pt x="1039" y="0"/>
                  </a:moveTo>
                  <a:cubicBezTo>
                    <a:pt x="956" y="0"/>
                    <a:pt x="861" y="18"/>
                    <a:pt x="754" y="56"/>
                  </a:cubicBezTo>
                  <a:cubicBezTo>
                    <a:pt x="571" y="56"/>
                    <a:pt x="297" y="330"/>
                    <a:pt x="183" y="536"/>
                  </a:cubicBezTo>
                  <a:cubicBezTo>
                    <a:pt x="1" y="992"/>
                    <a:pt x="389" y="1380"/>
                    <a:pt x="868" y="1380"/>
                  </a:cubicBezTo>
                  <a:cubicBezTo>
                    <a:pt x="927" y="1392"/>
                    <a:pt x="981" y="1398"/>
                    <a:pt x="1032" y="1398"/>
                  </a:cubicBezTo>
                  <a:cubicBezTo>
                    <a:pt x="1375" y="1398"/>
                    <a:pt x="1542" y="1136"/>
                    <a:pt x="1621" y="718"/>
                  </a:cubicBezTo>
                  <a:cubicBezTo>
                    <a:pt x="1547" y="329"/>
                    <a:pt x="1398" y="0"/>
                    <a:pt x="103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0" name="Google Shape;880;p17"/>
            <p:cNvSpPr/>
            <p:nvPr/>
          </p:nvSpPr>
          <p:spPr>
            <a:xfrm>
              <a:off x="6523983" y="5011241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94" y="0"/>
                  </a:moveTo>
                  <a:cubicBezTo>
                    <a:pt x="923" y="0"/>
                    <a:pt x="844" y="18"/>
                    <a:pt x="754" y="56"/>
                  </a:cubicBezTo>
                  <a:cubicBezTo>
                    <a:pt x="480" y="56"/>
                    <a:pt x="183" y="330"/>
                    <a:pt x="183" y="536"/>
                  </a:cubicBezTo>
                  <a:cubicBezTo>
                    <a:pt x="0" y="992"/>
                    <a:pt x="274" y="1380"/>
                    <a:pt x="754" y="1380"/>
                  </a:cubicBezTo>
                  <a:cubicBezTo>
                    <a:pt x="815" y="1392"/>
                    <a:pt x="874" y="1398"/>
                    <a:pt x="929" y="1398"/>
                  </a:cubicBezTo>
                  <a:cubicBezTo>
                    <a:pt x="1304" y="1398"/>
                    <a:pt x="1530" y="1136"/>
                    <a:pt x="1530" y="718"/>
                  </a:cubicBezTo>
                  <a:cubicBezTo>
                    <a:pt x="1437" y="329"/>
                    <a:pt x="1299" y="0"/>
                    <a:pt x="99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" name="Google Shape;881;p17"/>
            <p:cNvSpPr/>
            <p:nvPr/>
          </p:nvSpPr>
          <p:spPr>
            <a:xfrm>
              <a:off x="6712536" y="5011012"/>
              <a:ext cx="33814" cy="29034"/>
            </a:xfrm>
            <a:custGeom>
              <a:avLst/>
              <a:gdLst/>
              <a:ahLst/>
              <a:cxnLst/>
              <a:rect l="l" t="t" r="r" b="b"/>
              <a:pathLst>
                <a:path w="1621" h="1392" extrusionOk="0">
                  <a:moveTo>
                    <a:pt x="819" y="0"/>
                  </a:moveTo>
                  <a:cubicBezTo>
                    <a:pt x="737" y="0"/>
                    <a:pt x="653" y="21"/>
                    <a:pt x="571" y="67"/>
                  </a:cubicBezTo>
                  <a:cubicBezTo>
                    <a:pt x="92" y="159"/>
                    <a:pt x="0" y="638"/>
                    <a:pt x="183" y="1117"/>
                  </a:cubicBezTo>
                  <a:cubicBezTo>
                    <a:pt x="274" y="1300"/>
                    <a:pt x="662" y="1391"/>
                    <a:pt x="845" y="1391"/>
                  </a:cubicBezTo>
                  <a:cubicBezTo>
                    <a:pt x="1324" y="1391"/>
                    <a:pt x="1621" y="1117"/>
                    <a:pt x="1507" y="547"/>
                  </a:cubicBezTo>
                  <a:cubicBezTo>
                    <a:pt x="1365" y="246"/>
                    <a:pt x="1101" y="0"/>
                    <a:pt x="81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2" name="Google Shape;882;p17"/>
            <p:cNvSpPr/>
            <p:nvPr/>
          </p:nvSpPr>
          <p:spPr>
            <a:xfrm>
              <a:off x="6898691" y="5012034"/>
              <a:ext cx="31937" cy="29493"/>
            </a:xfrm>
            <a:custGeom>
              <a:avLst/>
              <a:gdLst/>
              <a:ahLst/>
              <a:cxnLst/>
              <a:rect l="l" t="t" r="r" b="b"/>
              <a:pathLst>
                <a:path w="1531" h="1414" extrusionOk="0">
                  <a:moveTo>
                    <a:pt x="857" y="1"/>
                  </a:moveTo>
                  <a:cubicBezTo>
                    <a:pt x="802" y="1"/>
                    <a:pt x="745" y="6"/>
                    <a:pt x="686" y="18"/>
                  </a:cubicBezTo>
                  <a:cubicBezTo>
                    <a:pt x="206" y="201"/>
                    <a:pt x="1" y="589"/>
                    <a:pt x="115" y="954"/>
                  </a:cubicBezTo>
                  <a:cubicBezTo>
                    <a:pt x="249" y="1239"/>
                    <a:pt x="543" y="1413"/>
                    <a:pt x="835" y="1413"/>
                  </a:cubicBezTo>
                  <a:cubicBezTo>
                    <a:pt x="940" y="1413"/>
                    <a:pt x="1045" y="1391"/>
                    <a:pt x="1142" y="1342"/>
                  </a:cubicBezTo>
                  <a:cubicBezTo>
                    <a:pt x="1348" y="1160"/>
                    <a:pt x="1530" y="863"/>
                    <a:pt x="1530" y="589"/>
                  </a:cubicBezTo>
                  <a:cubicBezTo>
                    <a:pt x="1451" y="252"/>
                    <a:pt x="1216" y="1"/>
                    <a:pt x="85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3" name="Google Shape;883;p17"/>
            <p:cNvSpPr/>
            <p:nvPr/>
          </p:nvSpPr>
          <p:spPr>
            <a:xfrm>
              <a:off x="7085346" y="5012034"/>
              <a:ext cx="33835" cy="29493"/>
            </a:xfrm>
            <a:custGeom>
              <a:avLst/>
              <a:gdLst/>
              <a:ahLst/>
              <a:cxnLst/>
              <a:rect l="l" t="t" r="r" b="b"/>
              <a:pathLst>
                <a:path w="1622" h="1414" extrusionOk="0">
                  <a:moveTo>
                    <a:pt x="872" y="1"/>
                  </a:moveTo>
                  <a:cubicBezTo>
                    <a:pt x="807" y="1"/>
                    <a:pt x="737" y="6"/>
                    <a:pt x="662" y="18"/>
                  </a:cubicBezTo>
                  <a:cubicBezTo>
                    <a:pt x="297" y="201"/>
                    <a:pt x="0" y="589"/>
                    <a:pt x="183" y="954"/>
                  </a:cubicBezTo>
                  <a:cubicBezTo>
                    <a:pt x="334" y="1239"/>
                    <a:pt x="633" y="1413"/>
                    <a:pt x="925" y="1413"/>
                  </a:cubicBezTo>
                  <a:cubicBezTo>
                    <a:pt x="1031" y="1413"/>
                    <a:pt x="1136" y="1391"/>
                    <a:pt x="1233" y="1342"/>
                  </a:cubicBezTo>
                  <a:cubicBezTo>
                    <a:pt x="1438" y="1160"/>
                    <a:pt x="1621" y="863"/>
                    <a:pt x="1530" y="589"/>
                  </a:cubicBezTo>
                  <a:cubicBezTo>
                    <a:pt x="1530" y="252"/>
                    <a:pt x="1306" y="1"/>
                    <a:pt x="87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4" name="Google Shape;884;p17"/>
            <p:cNvSpPr/>
            <p:nvPr/>
          </p:nvSpPr>
          <p:spPr>
            <a:xfrm>
              <a:off x="7273900" y="5012054"/>
              <a:ext cx="33585" cy="28992"/>
            </a:xfrm>
            <a:custGeom>
              <a:avLst/>
              <a:gdLst/>
              <a:ahLst/>
              <a:cxnLst/>
              <a:rect l="l" t="t" r="r" b="b"/>
              <a:pathLst>
                <a:path w="1610" h="1390" extrusionOk="0">
                  <a:moveTo>
                    <a:pt x="1018" y="0"/>
                  </a:moveTo>
                  <a:cubicBezTo>
                    <a:pt x="963" y="0"/>
                    <a:pt x="905" y="6"/>
                    <a:pt x="845" y="17"/>
                  </a:cubicBezTo>
                  <a:cubicBezTo>
                    <a:pt x="571" y="17"/>
                    <a:pt x="183" y="200"/>
                    <a:pt x="183" y="383"/>
                  </a:cubicBezTo>
                  <a:cubicBezTo>
                    <a:pt x="0" y="771"/>
                    <a:pt x="183" y="1250"/>
                    <a:pt x="662" y="1341"/>
                  </a:cubicBezTo>
                  <a:cubicBezTo>
                    <a:pt x="750" y="1375"/>
                    <a:pt x="830" y="1390"/>
                    <a:pt x="905" y="1390"/>
                  </a:cubicBezTo>
                  <a:cubicBezTo>
                    <a:pt x="1236" y="1390"/>
                    <a:pt x="1436" y="1088"/>
                    <a:pt x="1530" y="771"/>
                  </a:cubicBezTo>
                  <a:cubicBezTo>
                    <a:pt x="1609" y="272"/>
                    <a:pt x="1393" y="0"/>
                    <a:pt x="10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5" name="Google Shape;885;p17"/>
            <p:cNvSpPr/>
            <p:nvPr/>
          </p:nvSpPr>
          <p:spPr>
            <a:xfrm>
              <a:off x="7462453" y="5011241"/>
              <a:ext cx="31436" cy="29159"/>
            </a:xfrm>
            <a:custGeom>
              <a:avLst/>
              <a:gdLst/>
              <a:ahLst/>
              <a:cxnLst/>
              <a:rect l="l" t="t" r="r" b="b"/>
              <a:pathLst>
                <a:path w="1507" h="1398" extrusionOk="0">
                  <a:moveTo>
                    <a:pt x="945" y="0"/>
                  </a:moveTo>
                  <a:cubicBezTo>
                    <a:pt x="863" y="0"/>
                    <a:pt x="769" y="18"/>
                    <a:pt x="662" y="56"/>
                  </a:cubicBezTo>
                  <a:cubicBezTo>
                    <a:pt x="479" y="56"/>
                    <a:pt x="183" y="330"/>
                    <a:pt x="91" y="536"/>
                  </a:cubicBezTo>
                  <a:cubicBezTo>
                    <a:pt x="0" y="992"/>
                    <a:pt x="274" y="1380"/>
                    <a:pt x="753" y="1380"/>
                  </a:cubicBezTo>
                  <a:cubicBezTo>
                    <a:pt x="815" y="1392"/>
                    <a:pt x="873" y="1398"/>
                    <a:pt x="928" y="1398"/>
                  </a:cubicBezTo>
                  <a:cubicBezTo>
                    <a:pt x="1299" y="1398"/>
                    <a:pt x="1507" y="1136"/>
                    <a:pt x="1507" y="718"/>
                  </a:cubicBezTo>
                  <a:cubicBezTo>
                    <a:pt x="1432" y="329"/>
                    <a:pt x="1298" y="0"/>
                    <a:pt x="945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6" name="Google Shape;886;p17"/>
            <p:cNvSpPr/>
            <p:nvPr/>
          </p:nvSpPr>
          <p:spPr>
            <a:xfrm>
              <a:off x="7648608" y="5011012"/>
              <a:ext cx="33835" cy="29034"/>
            </a:xfrm>
            <a:custGeom>
              <a:avLst/>
              <a:gdLst/>
              <a:ahLst/>
              <a:cxnLst/>
              <a:rect l="l" t="t" r="r" b="b"/>
              <a:pathLst>
                <a:path w="1622" h="1392" extrusionOk="0">
                  <a:moveTo>
                    <a:pt x="880" y="0"/>
                  </a:moveTo>
                  <a:cubicBezTo>
                    <a:pt x="783" y="0"/>
                    <a:pt x="679" y="21"/>
                    <a:pt x="571" y="67"/>
                  </a:cubicBezTo>
                  <a:cubicBezTo>
                    <a:pt x="206" y="159"/>
                    <a:pt x="1" y="638"/>
                    <a:pt x="298" y="1117"/>
                  </a:cubicBezTo>
                  <a:cubicBezTo>
                    <a:pt x="389" y="1300"/>
                    <a:pt x="686" y="1391"/>
                    <a:pt x="959" y="1391"/>
                  </a:cubicBezTo>
                  <a:cubicBezTo>
                    <a:pt x="1347" y="1391"/>
                    <a:pt x="1621" y="1117"/>
                    <a:pt x="1621" y="547"/>
                  </a:cubicBezTo>
                  <a:cubicBezTo>
                    <a:pt x="1480" y="246"/>
                    <a:pt x="1215" y="0"/>
                    <a:pt x="88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87" name="Google Shape;887;p17"/>
          <p:cNvGrpSpPr/>
          <p:nvPr/>
        </p:nvGrpSpPr>
        <p:grpSpPr>
          <a:xfrm>
            <a:off x="7513123" y="4476944"/>
            <a:ext cx="629337" cy="461701"/>
            <a:chOff x="4891675" y="2045050"/>
            <a:chExt cx="168200" cy="123400"/>
          </a:xfrm>
        </p:grpSpPr>
        <p:sp>
          <p:nvSpPr>
            <p:cNvPr id="888" name="Google Shape;888;p17"/>
            <p:cNvSpPr/>
            <p:nvPr/>
          </p:nvSpPr>
          <p:spPr>
            <a:xfrm>
              <a:off x="4949100" y="2045050"/>
              <a:ext cx="110775" cy="107675"/>
            </a:xfrm>
            <a:custGeom>
              <a:avLst/>
              <a:gdLst/>
              <a:ahLst/>
              <a:cxnLst/>
              <a:rect l="l" t="t" r="r" b="b"/>
              <a:pathLst>
                <a:path w="4431" h="4307" extrusionOk="0">
                  <a:moveTo>
                    <a:pt x="2149" y="0"/>
                  </a:moveTo>
                  <a:cubicBezTo>
                    <a:pt x="2071" y="0"/>
                    <a:pt x="1994" y="21"/>
                    <a:pt x="1927" y="61"/>
                  </a:cubicBezTo>
                  <a:cubicBezTo>
                    <a:pt x="1438" y="366"/>
                    <a:pt x="1" y="4306"/>
                    <a:pt x="2149" y="4306"/>
                  </a:cubicBezTo>
                  <a:cubicBezTo>
                    <a:pt x="4431" y="4306"/>
                    <a:pt x="2868" y="366"/>
                    <a:pt x="2371" y="61"/>
                  </a:cubicBezTo>
                  <a:cubicBezTo>
                    <a:pt x="2305" y="21"/>
                    <a:pt x="2227" y="0"/>
                    <a:pt x="2149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9" name="Google Shape;889;p17"/>
            <p:cNvSpPr/>
            <p:nvPr/>
          </p:nvSpPr>
          <p:spPr>
            <a:xfrm>
              <a:off x="4949100" y="2046550"/>
              <a:ext cx="53750" cy="106175"/>
            </a:xfrm>
            <a:custGeom>
              <a:avLst/>
              <a:gdLst/>
              <a:ahLst/>
              <a:cxnLst/>
              <a:rect l="l" t="t" r="r" b="b"/>
              <a:pathLst>
                <a:path w="2150" h="4247" extrusionOk="0">
                  <a:moveTo>
                    <a:pt x="1930" y="0"/>
                  </a:moveTo>
                  <a:lnTo>
                    <a:pt x="1930" y="0"/>
                  </a:lnTo>
                  <a:cubicBezTo>
                    <a:pt x="1929" y="0"/>
                    <a:pt x="1928" y="1"/>
                    <a:pt x="1927" y="1"/>
                  </a:cubicBezTo>
                  <a:cubicBezTo>
                    <a:pt x="1438" y="306"/>
                    <a:pt x="1" y="4246"/>
                    <a:pt x="2149" y="4246"/>
                  </a:cubicBezTo>
                  <a:cubicBezTo>
                    <a:pt x="2149" y="4246"/>
                    <a:pt x="1609" y="4202"/>
                    <a:pt x="1578" y="2662"/>
                  </a:cubicBezTo>
                  <a:cubicBezTo>
                    <a:pt x="1542" y="1142"/>
                    <a:pt x="1985" y="0"/>
                    <a:pt x="1930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0" name="Google Shape;890;p17"/>
            <p:cNvSpPr/>
            <p:nvPr/>
          </p:nvSpPr>
          <p:spPr>
            <a:xfrm>
              <a:off x="5001125" y="2093950"/>
              <a:ext cx="7800" cy="74500"/>
            </a:xfrm>
            <a:custGeom>
              <a:avLst/>
              <a:gdLst/>
              <a:ahLst/>
              <a:cxnLst/>
              <a:rect l="l" t="t" r="r" b="b"/>
              <a:pathLst>
                <a:path w="312" h="2980" extrusionOk="0">
                  <a:moveTo>
                    <a:pt x="159" y="1"/>
                  </a:moveTo>
                  <a:cubicBezTo>
                    <a:pt x="158" y="1"/>
                    <a:pt x="157" y="5"/>
                    <a:pt x="157" y="17"/>
                  </a:cubicBezTo>
                  <a:lnTo>
                    <a:pt x="1" y="2980"/>
                  </a:lnTo>
                  <a:lnTo>
                    <a:pt x="312" y="2980"/>
                  </a:lnTo>
                  <a:cubicBezTo>
                    <a:pt x="305" y="1714"/>
                    <a:pt x="187" y="17"/>
                    <a:pt x="164" y="17"/>
                  </a:cubicBezTo>
                  <a:cubicBezTo>
                    <a:pt x="164" y="17"/>
                    <a:pt x="161" y="1"/>
                    <a:pt x="15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1" name="Google Shape;891;p17"/>
            <p:cNvSpPr/>
            <p:nvPr/>
          </p:nvSpPr>
          <p:spPr>
            <a:xfrm>
              <a:off x="4984100" y="2120275"/>
              <a:ext cx="20975" cy="17075"/>
            </a:xfrm>
            <a:custGeom>
              <a:avLst/>
              <a:gdLst/>
              <a:ahLst/>
              <a:cxnLst/>
              <a:rect l="l" t="t" r="r" b="b"/>
              <a:pathLst>
                <a:path w="839" h="683" extrusionOk="0">
                  <a:moveTo>
                    <a:pt x="0" y="1"/>
                  </a:moveTo>
                  <a:lnTo>
                    <a:pt x="0" y="1"/>
                  </a:lnTo>
                  <a:cubicBezTo>
                    <a:pt x="404" y="662"/>
                    <a:pt x="782" y="682"/>
                    <a:pt x="826" y="682"/>
                  </a:cubicBezTo>
                  <a:cubicBezTo>
                    <a:pt x="829" y="682"/>
                    <a:pt x="831" y="682"/>
                    <a:pt x="831" y="682"/>
                  </a:cubicBezTo>
                  <a:lnTo>
                    <a:pt x="838" y="586"/>
                  </a:lnTo>
                  <a:lnTo>
                    <a:pt x="838" y="586"/>
                  </a:lnTo>
                  <a:cubicBezTo>
                    <a:pt x="838" y="586"/>
                    <a:pt x="830" y="592"/>
                    <a:pt x="807" y="592"/>
                  </a:cubicBezTo>
                  <a:cubicBezTo>
                    <a:pt x="757" y="592"/>
                    <a:pt x="639" y="564"/>
                    <a:pt x="386" y="387"/>
                  </a:cubicBezTo>
                  <a:cubicBezTo>
                    <a:pt x="164" y="23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2" name="Google Shape;892;p17"/>
            <p:cNvSpPr/>
            <p:nvPr/>
          </p:nvSpPr>
          <p:spPr>
            <a:xfrm>
              <a:off x="5005050" y="2115675"/>
              <a:ext cx="17975" cy="14475"/>
            </a:xfrm>
            <a:custGeom>
              <a:avLst/>
              <a:gdLst/>
              <a:ahLst/>
              <a:cxnLst/>
              <a:rect l="l" t="t" r="r" b="b"/>
              <a:pathLst>
                <a:path w="719" h="579" extrusionOk="0">
                  <a:moveTo>
                    <a:pt x="719" y="0"/>
                  </a:moveTo>
                  <a:lnTo>
                    <a:pt x="719" y="0"/>
                  </a:lnTo>
                  <a:cubicBezTo>
                    <a:pt x="718" y="0"/>
                    <a:pt x="578" y="192"/>
                    <a:pt x="393" y="325"/>
                  </a:cubicBezTo>
                  <a:cubicBezTo>
                    <a:pt x="185" y="471"/>
                    <a:pt x="81" y="496"/>
                    <a:pt x="34" y="496"/>
                  </a:cubicBezTo>
                  <a:cubicBezTo>
                    <a:pt x="9" y="496"/>
                    <a:pt x="0" y="489"/>
                    <a:pt x="0" y="489"/>
                  </a:cubicBezTo>
                  <a:lnTo>
                    <a:pt x="0" y="489"/>
                  </a:lnTo>
                  <a:lnTo>
                    <a:pt x="7" y="578"/>
                  </a:lnTo>
                  <a:cubicBezTo>
                    <a:pt x="7" y="578"/>
                    <a:pt x="8" y="578"/>
                    <a:pt x="9" y="578"/>
                  </a:cubicBezTo>
                  <a:cubicBezTo>
                    <a:pt x="39" y="578"/>
                    <a:pt x="366" y="565"/>
                    <a:pt x="719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3" name="Google Shape;893;p17"/>
            <p:cNvSpPr/>
            <p:nvPr/>
          </p:nvSpPr>
          <p:spPr>
            <a:xfrm>
              <a:off x="4990600" y="2105300"/>
              <a:ext cx="14475" cy="11675"/>
            </a:xfrm>
            <a:custGeom>
              <a:avLst/>
              <a:gdLst/>
              <a:ahLst/>
              <a:cxnLst/>
              <a:rect l="l" t="t" r="r" b="b"/>
              <a:pathLst>
                <a:path w="579" h="467" extrusionOk="0">
                  <a:moveTo>
                    <a:pt x="0" y="1"/>
                  </a:moveTo>
                  <a:lnTo>
                    <a:pt x="0" y="1"/>
                  </a:lnTo>
                  <a:cubicBezTo>
                    <a:pt x="295" y="460"/>
                    <a:pt x="562" y="467"/>
                    <a:pt x="577" y="467"/>
                  </a:cubicBezTo>
                  <a:cubicBezTo>
                    <a:pt x="578" y="467"/>
                    <a:pt x="578" y="467"/>
                    <a:pt x="578" y="467"/>
                  </a:cubicBezTo>
                  <a:lnTo>
                    <a:pt x="578" y="392"/>
                  </a:lnTo>
                  <a:cubicBezTo>
                    <a:pt x="578" y="392"/>
                    <a:pt x="572" y="397"/>
                    <a:pt x="555" y="397"/>
                  </a:cubicBezTo>
                  <a:cubicBezTo>
                    <a:pt x="521" y="397"/>
                    <a:pt x="440" y="377"/>
                    <a:pt x="267" y="259"/>
                  </a:cubicBezTo>
                  <a:cubicBezTo>
                    <a:pt x="119" y="155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" name="Google Shape;894;p17"/>
            <p:cNvSpPr/>
            <p:nvPr/>
          </p:nvSpPr>
          <p:spPr>
            <a:xfrm>
              <a:off x="4891675" y="2046750"/>
              <a:ext cx="64475" cy="81525"/>
            </a:xfrm>
            <a:custGeom>
              <a:avLst/>
              <a:gdLst/>
              <a:ahLst/>
              <a:cxnLst/>
              <a:rect l="l" t="t" r="r" b="b"/>
              <a:pathLst>
                <a:path w="2579" h="3261" extrusionOk="0">
                  <a:moveTo>
                    <a:pt x="1290" y="1"/>
                  </a:moveTo>
                  <a:cubicBezTo>
                    <a:pt x="726" y="1"/>
                    <a:pt x="274" y="452"/>
                    <a:pt x="274" y="1016"/>
                  </a:cubicBezTo>
                  <a:cubicBezTo>
                    <a:pt x="274" y="1068"/>
                    <a:pt x="281" y="1112"/>
                    <a:pt x="281" y="1157"/>
                  </a:cubicBezTo>
                  <a:cubicBezTo>
                    <a:pt x="103" y="1379"/>
                    <a:pt x="0" y="1660"/>
                    <a:pt x="0" y="1964"/>
                  </a:cubicBezTo>
                  <a:cubicBezTo>
                    <a:pt x="0" y="2682"/>
                    <a:pt x="578" y="3260"/>
                    <a:pt x="1290" y="3260"/>
                  </a:cubicBezTo>
                  <a:cubicBezTo>
                    <a:pt x="2001" y="3260"/>
                    <a:pt x="2579" y="2682"/>
                    <a:pt x="2579" y="1964"/>
                  </a:cubicBezTo>
                  <a:cubicBezTo>
                    <a:pt x="2579" y="1660"/>
                    <a:pt x="2476" y="1379"/>
                    <a:pt x="2298" y="1157"/>
                  </a:cubicBezTo>
                  <a:cubicBezTo>
                    <a:pt x="2305" y="1112"/>
                    <a:pt x="2305" y="1068"/>
                    <a:pt x="2305" y="1016"/>
                  </a:cubicBezTo>
                  <a:cubicBezTo>
                    <a:pt x="2305" y="452"/>
                    <a:pt x="1853" y="1"/>
                    <a:pt x="1290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5" name="Google Shape;895;p17"/>
            <p:cNvSpPr/>
            <p:nvPr/>
          </p:nvSpPr>
          <p:spPr>
            <a:xfrm>
              <a:off x="4923900" y="2071625"/>
              <a:ext cx="3000" cy="96825"/>
            </a:xfrm>
            <a:custGeom>
              <a:avLst/>
              <a:gdLst/>
              <a:ahLst/>
              <a:cxnLst/>
              <a:rect l="l" t="t" r="r" b="b"/>
              <a:pathLst>
                <a:path w="120" h="3873" extrusionOk="0">
                  <a:moveTo>
                    <a:pt x="54" y="0"/>
                  </a:moveTo>
                  <a:cubicBezTo>
                    <a:pt x="53" y="0"/>
                    <a:pt x="52" y="4"/>
                    <a:pt x="52" y="14"/>
                  </a:cubicBezTo>
                  <a:lnTo>
                    <a:pt x="1" y="3821"/>
                  </a:lnTo>
                  <a:cubicBezTo>
                    <a:pt x="1" y="3852"/>
                    <a:pt x="22" y="3873"/>
                    <a:pt x="52" y="3873"/>
                  </a:cubicBezTo>
                  <a:lnTo>
                    <a:pt x="59" y="3873"/>
                  </a:lnTo>
                  <a:cubicBezTo>
                    <a:pt x="89" y="3873"/>
                    <a:pt x="120" y="3852"/>
                    <a:pt x="120" y="3821"/>
                  </a:cubicBezTo>
                  <a:cubicBezTo>
                    <a:pt x="120" y="3821"/>
                    <a:pt x="89" y="14"/>
                    <a:pt x="59" y="14"/>
                  </a:cubicBezTo>
                  <a:cubicBezTo>
                    <a:pt x="59" y="14"/>
                    <a:pt x="56" y="0"/>
                    <a:pt x="54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6" name="Google Shape;896;p17"/>
            <p:cNvSpPr/>
            <p:nvPr/>
          </p:nvSpPr>
          <p:spPr>
            <a:xfrm>
              <a:off x="4907050" y="2095075"/>
              <a:ext cx="18350" cy="15050"/>
            </a:xfrm>
            <a:custGeom>
              <a:avLst/>
              <a:gdLst/>
              <a:ahLst/>
              <a:cxnLst/>
              <a:rect l="l" t="t" r="r" b="b"/>
              <a:pathLst>
                <a:path w="734" h="602" extrusionOk="0">
                  <a:moveTo>
                    <a:pt x="1" y="1"/>
                  </a:moveTo>
                  <a:lnTo>
                    <a:pt x="1" y="1"/>
                  </a:lnTo>
                  <a:cubicBezTo>
                    <a:pt x="353" y="583"/>
                    <a:pt x="681" y="602"/>
                    <a:pt x="722" y="602"/>
                  </a:cubicBezTo>
                  <a:cubicBezTo>
                    <a:pt x="725" y="602"/>
                    <a:pt x="726" y="602"/>
                    <a:pt x="726" y="602"/>
                  </a:cubicBezTo>
                  <a:lnTo>
                    <a:pt x="733" y="513"/>
                  </a:lnTo>
                  <a:lnTo>
                    <a:pt x="733" y="513"/>
                  </a:lnTo>
                  <a:cubicBezTo>
                    <a:pt x="733" y="513"/>
                    <a:pt x="724" y="520"/>
                    <a:pt x="699" y="520"/>
                  </a:cubicBezTo>
                  <a:cubicBezTo>
                    <a:pt x="651" y="520"/>
                    <a:pt x="544" y="494"/>
                    <a:pt x="333" y="342"/>
                  </a:cubicBezTo>
                  <a:cubicBezTo>
                    <a:pt x="141" y="20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7" name="Google Shape;897;p17"/>
            <p:cNvSpPr/>
            <p:nvPr/>
          </p:nvSpPr>
          <p:spPr>
            <a:xfrm>
              <a:off x="4925375" y="2090850"/>
              <a:ext cx="15575" cy="12800"/>
            </a:xfrm>
            <a:custGeom>
              <a:avLst/>
              <a:gdLst/>
              <a:ahLst/>
              <a:cxnLst/>
              <a:rect l="l" t="t" r="r" b="b"/>
              <a:pathLst>
                <a:path w="623" h="512" extrusionOk="0">
                  <a:moveTo>
                    <a:pt x="623" y="1"/>
                  </a:moveTo>
                  <a:cubicBezTo>
                    <a:pt x="622" y="1"/>
                    <a:pt x="496" y="179"/>
                    <a:pt x="335" y="289"/>
                  </a:cubicBezTo>
                  <a:cubicBezTo>
                    <a:pt x="156" y="420"/>
                    <a:pt x="68" y="443"/>
                    <a:pt x="28" y="443"/>
                  </a:cubicBezTo>
                  <a:cubicBezTo>
                    <a:pt x="7" y="443"/>
                    <a:pt x="0" y="436"/>
                    <a:pt x="0" y="436"/>
                  </a:cubicBezTo>
                  <a:lnTo>
                    <a:pt x="0" y="511"/>
                  </a:lnTo>
                  <a:cubicBezTo>
                    <a:pt x="0" y="511"/>
                    <a:pt x="1" y="511"/>
                    <a:pt x="3" y="511"/>
                  </a:cubicBezTo>
                  <a:cubicBezTo>
                    <a:pt x="31" y="511"/>
                    <a:pt x="314" y="498"/>
                    <a:pt x="623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" name="Google Shape;898;p17"/>
            <p:cNvSpPr/>
            <p:nvPr/>
          </p:nvSpPr>
          <p:spPr>
            <a:xfrm>
              <a:off x="4912775" y="2081750"/>
              <a:ext cx="12625" cy="10250"/>
            </a:xfrm>
            <a:custGeom>
              <a:avLst/>
              <a:gdLst/>
              <a:ahLst/>
              <a:cxnLst/>
              <a:rect l="l" t="t" r="r" b="b"/>
              <a:pathLst>
                <a:path w="505" h="410" extrusionOk="0">
                  <a:moveTo>
                    <a:pt x="1" y="0"/>
                  </a:moveTo>
                  <a:lnTo>
                    <a:pt x="1" y="0"/>
                  </a:lnTo>
                  <a:cubicBezTo>
                    <a:pt x="244" y="397"/>
                    <a:pt x="467" y="409"/>
                    <a:pt x="494" y="409"/>
                  </a:cubicBezTo>
                  <a:cubicBezTo>
                    <a:pt x="496" y="409"/>
                    <a:pt x="497" y="409"/>
                    <a:pt x="497" y="409"/>
                  </a:cubicBezTo>
                  <a:lnTo>
                    <a:pt x="504" y="349"/>
                  </a:lnTo>
                  <a:lnTo>
                    <a:pt x="504" y="349"/>
                  </a:lnTo>
                  <a:cubicBezTo>
                    <a:pt x="504" y="349"/>
                    <a:pt x="498" y="354"/>
                    <a:pt x="479" y="354"/>
                  </a:cubicBezTo>
                  <a:cubicBezTo>
                    <a:pt x="446" y="354"/>
                    <a:pt x="374" y="336"/>
                    <a:pt x="230" y="231"/>
                  </a:cubicBezTo>
                  <a:cubicBezTo>
                    <a:pt x="97" y="143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899" name="Google Shape;899;p17"/>
          <p:cNvSpPr/>
          <p:nvPr/>
        </p:nvSpPr>
        <p:spPr>
          <a:xfrm>
            <a:off x="8081200" y="4775225"/>
            <a:ext cx="628785" cy="171475"/>
          </a:xfrm>
          <a:custGeom>
            <a:avLst/>
            <a:gdLst/>
            <a:ahLst/>
            <a:cxnLst/>
            <a:rect l="l" t="t" r="r" b="b"/>
            <a:pathLst>
              <a:path w="9560" h="2607" extrusionOk="0">
                <a:moveTo>
                  <a:pt x="6988" y="1"/>
                </a:moveTo>
                <a:cubicBezTo>
                  <a:pt x="6936" y="1"/>
                  <a:pt x="6884" y="17"/>
                  <a:pt x="6840" y="51"/>
                </a:cubicBezTo>
                <a:cubicBezTo>
                  <a:pt x="6758" y="110"/>
                  <a:pt x="6639" y="370"/>
                  <a:pt x="6522" y="718"/>
                </a:cubicBezTo>
                <a:cubicBezTo>
                  <a:pt x="6461" y="592"/>
                  <a:pt x="6403" y="503"/>
                  <a:pt x="6358" y="466"/>
                </a:cubicBezTo>
                <a:cubicBezTo>
                  <a:pt x="6314" y="432"/>
                  <a:pt x="6262" y="415"/>
                  <a:pt x="6210" y="415"/>
                </a:cubicBezTo>
                <a:cubicBezTo>
                  <a:pt x="6158" y="415"/>
                  <a:pt x="6106" y="432"/>
                  <a:pt x="6061" y="466"/>
                </a:cubicBezTo>
                <a:cubicBezTo>
                  <a:pt x="5965" y="547"/>
                  <a:pt x="5810" y="896"/>
                  <a:pt x="5677" y="1355"/>
                </a:cubicBezTo>
                <a:cubicBezTo>
                  <a:pt x="5640" y="1303"/>
                  <a:pt x="5609" y="1266"/>
                  <a:pt x="5581" y="1252"/>
                </a:cubicBezTo>
                <a:cubicBezTo>
                  <a:pt x="5536" y="1225"/>
                  <a:pt x="5484" y="1212"/>
                  <a:pt x="5432" y="1212"/>
                </a:cubicBezTo>
                <a:cubicBezTo>
                  <a:pt x="5380" y="1212"/>
                  <a:pt x="5328" y="1225"/>
                  <a:pt x="5284" y="1252"/>
                </a:cubicBezTo>
                <a:cubicBezTo>
                  <a:pt x="5209" y="1296"/>
                  <a:pt x="5106" y="1474"/>
                  <a:pt x="5003" y="1710"/>
                </a:cubicBezTo>
                <a:cubicBezTo>
                  <a:pt x="4928" y="1570"/>
                  <a:pt x="4854" y="1474"/>
                  <a:pt x="4802" y="1444"/>
                </a:cubicBezTo>
                <a:cubicBezTo>
                  <a:pt x="4758" y="1414"/>
                  <a:pt x="4706" y="1400"/>
                  <a:pt x="4653" y="1400"/>
                </a:cubicBezTo>
                <a:cubicBezTo>
                  <a:pt x="4601" y="1400"/>
                  <a:pt x="4549" y="1414"/>
                  <a:pt x="4505" y="1444"/>
                </a:cubicBezTo>
                <a:cubicBezTo>
                  <a:pt x="4402" y="1509"/>
                  <a:pt x="4217" y="1865"/>
                  <a:pt x="4076" y="2295"/>
                </a:cubicBezTo>
                <a:cubicBezTo>
                  <a:pt x="4039" y="2237"/>
                  <a:pt x="4009" y="2199"/>
                  <a:pt x="3987" y="2176"/>
                </a:cubicBezTo>
                <a:cubicBezTo>
                  <a:pt x="3957" y="2159"/>
                  <a:pt x="3922" y="2150"/>
                  <a:pt x="3887" y="2150"/>
                </a:cubicBezTo>
                <a:cubicBezTo>
                  <a:pt x="3852" y="2150"/>
                  <a:pt x="3817" y="2159"/>
                  <a:pt x="3787" y="2176"/>
                </a:cubicBezTo>
                <a:cubicBezTo>
                  <a:pt x="3749" y="2199"/>
                  <a:pt x="3714" y="2265"/>
                  <a:pt x="3669" y="2347"/>
                </a:cubicBezTo>
                <a:cubicBezTo>
                  <a:pt x="3616" y="1814"/>
                  <a:pt x="3358" y="1214"/>
                  <a:pt x="3239" y="1132"/>
                </a:cubicBezTo>
                <a:cubicBezTo>
                  <a:pt x="3209" y="1110"/>
                  <a:pt x="3174" y="1099"/>
                  <a:pt x="3139" y="1099"/>
                </a:cubicBezTo>
                <a:cubicBezTo>
                  <a:pt x="3104" y="1099"/>
                  <a:pt x="3068" y="1110"/>
                  <a:pt x="3038" y="1132"/>
                </a:cubicBezTo>
                <a:cubicBezTo>
                  <a:pt x="2972" y="1177"/>
                  <a:pt x="2869" y="1392"/>
                  <a:pt x="2780" y="1659"/>
                </a:cubicBezTo>
                <a:cubicBezTo>
                  <a:pt x="2623" y="1044"/>
                  <a:pt x="2364" y="496"/>
                  <a:pt x="2223" y="398"/>
                </a:cubicBezTo>
                <a:cubicBezTo>
                  <a:pt x="2175" y="365"/>
                  <a:pt x="2120" y="349"/>
                  <a:pt x="2065" y="349"/>
                </a:cubicBezTo>
                <a:cubicBezTo>
                  <a:pt x="2010" y="349"/>
                  <a:pt x="1957" y="365"/>
                  <a:pt x="1912" y="398"/>
                </a:cubicBezTo>
                <a:cubicBezTo>
                  <a:pt x="1779" y="487"/>
                  <a:pt x="1556" y="962"/>
                  <a:pt x="1409" y="1533"/>
                </a:cubicBezTo>
                <a:cubicBezTo>
                  <a:pt x="1409" y="1525"/>
                  <a:pt x="1402" y="1525"/>
                  <a:pt x="1402" y="1525"/>
                </a:cubicBezTo>
                <a:cubicBezTo>
                  <a:pt x="1353" y="1495"/>
                  <a:pt x="1297" y="1480"/>
                  <a:pt x="1242" y="1480"/>
                </a:cubicBezTo>
                <a:cubicBezTo>
                  <a:pt x="1186" y="1480"/>
                  <a:pt x="1131" y="1495"/>
                  <a:pt x="1082" y="1525"/>
                </a:cubicBezTo>
                <a:cubicBezTo>
                  <a:pt x="957" y="1591"/>
                  <a:pt x="749" y="1954"/>
                  <a:pt x="601" y="2392"/>
                </a:cubicBezTo>
                <a:cubicBezTo>
                  <a:pt x="548" y="2288"/>
                  <a:pt x="497" y="2214"/>
                  <a:pt x="459" y="2185"/>
                </a:cubicBezTo>
                <a:cubicBezTo>
                  <a:pt x="426" y="2163"/>
                  <a:pt x="386" y="2152"/>
                  <a:pt x="345" y="2152"/>
                </a:cubicBezTo>
                <a:cubicBezTo>
                  <a:pt x="304" y="2152"/>
                  <a:pt x="264" y="2163"/>
                  <a:pt x="230" y="2185"/>
                </a:cubicBezTo>
                <a:cubicBezTo>
                  <a:pt x="171" y="2230"/>
                  <a:pt x="82" y="2384"/>
                  <a:pt x="0" y="2607"/>
                </a:cubicBezTo>
                <a:lnTo>
                  <a:pt x="9559" y="2607"/>
                </a:lnTo>
                <a:lnTo>
                  <a:pt x="9559" y="1954"/>
                </a:lnTo>
                <a:cubicBezTo>
                  <a:pt x="9419" y="1465"/>
                  <a:pt x="9241" y="1074"/>
                  <a:pt x="9138" y="992"/>
                </a:cubicBezTo>
                <a:cubicBezTo>
                  <a:pt x="9093" y="958"/>
                  <a:pt x="9041" y="941"/>
                  <a:pt x="8989" y="941"/>
                </a:cubicBezTo>
                <a:cubicBezTo>
                  <a:pt x="8937" y="941"/>
                  <a:pt x="8885" y="958"/>
                  <a:pt x="8841" y="992"/>
                </a:cubicBezTo>
                <a:cubicBezTo>
                  <a:pt x="8752" y="1058"/>
                  <a:pt x="8618" y="1341"/>
                  <a:pt x="8499" y="1710"/>
                </a:cubicBezTo>
                <a:cubicBezTo>
                  <a:pt x="8441" y="1570"/>
                  <a:pt x="8382" y="1474"/>
                  <a:pt x="8337" y="1444"/>
                </a:cubicBezTo>
                <a:cubicBezTo>
                  <a:pt x="8300" y="1414"/>
                  <a:pt x="8256" y="1400"/>
                  <a:pt x="8211" y="1400"/>
                </a:cubicBezTo>
                <a:cubicBezTo>
                  <a:pt x="8167" y="1400"/>
                  <a:pt x="8122" y="1414"/>
                  <a:pt x="8085" y="1444"/>
                </a:cubicBezTo>
                <a:cubicBezTo>
                  <a:pt x="8055" y="1465"/>
                  <a:pt x="8026" y="1509"/>
                  <a:pt x="7989" y="1577"/>
                </a:cubicBezTo>
                <a:cubicBezTo>
                  <a:pt x="7877" y="1273"/>
                  <a:pt x="7759" y="1051"/>
                  <a:pt x="7685" y="992"/>
                </a:cubicBezTo>
                <a:cubicBezTo>
                  <a:pt x="7647" y="962"/>
                  <a:pt x="7596" y="947"/>
                  <a:pt x="7544" y="947"/>
                </a:cubicBezTo>
                <a:cubicBezTo>
                  <a:pt x="7411" y="487"/>
                  <a:pt x="7240" y="124"/>
                  <a:pt x="7137" y="51"/>
                </a:cubicBezTo>
                <a:cubicBezTo>
                  <a:pt x="7093" y="17"/>
                  <a:pt x="7041" y="1"/>
                  <a:pt x="6988" y="1"/>
                </a:cubicBezTo>
                <a:close/>
              </a:path>
            </a:pathLst>
          </a:custGeom>
          <a:solidFill>
            <a:srgbClr val="8AC93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0" name="Google Shape;900;p17"/>
          <p:cNvSpPr/>
          <p:nvPr/>
        </p:nvSpPr>
        <p:spPr>
          <a:xfrm>
            <a:off x="382103" y="291163"/>
            <a:ext cx="248263" cy="248333"/>
          </a:xfrm>
          <a:custGeom>
            <a:avLst/>
            <a:gdLst/>
            <a:ahLst/>
            <a:cxnLst/>
            <a:rect l="l" t="t" r="r" b="b"/>
            <a:pathLst>
              <a:path w="3535" h="3536" extrusionOk="0">
                <a:moveTo>
                  <a:pt x="1763" y="0"/>
                </a:moveTo>
                <a:cubicBezTo>
                  <a:pt x="785" y="0"/>
                  <a:pt x="1" y="794"/>
                  <a:pt x="1" y="1772"/>
                </a:cubicBezTo>
                <a:cubicBezTo>
                  <a:pt x="1" y="2750"/>
                  <a:pt x="785" y="3536"/>
                  <a:pt x="1763" y="3536"/>
                </a:cubicBezTo>
                <a:cubicBezTo>
                  <a:pt x="2741" y="3536"/>
                  <a:pt x="3534" y="2750"/>
                  <a:pt x="3534" y="1772"/>
                </a:cubicBezTo>
                <a:cubicBezTo>
                  <a:pt x="3534" y="794"/>
                  <a:pt x="2741" y="0"/>
                  <a:pt x="1763" y="0"/>
                </a:cubicBezTo>
                <a:close/>
              </a:path>
            </a:pathLst>
          </a:custGeom>
          <a:solidFill>
            <a:srgbClr val="FFD65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1" name="Google Shape;901;p17"/>
          <p:cNvSpPr/>
          <p:nvPr/>
        </p:nvSpPr>
        <p:spPr>
          <a:xfrm>
            <a:off x="678137" y="594675"/>
            <a:ext cx="662243" cy="178361"/>
          </a:xfrm>
          <a:custGeom>
            <a:avLst/>
            <a:gdLst/>
            <a:ahLst/>
            <a:cxnLst/>
            <a:rect l="l" t="t" r="r" b="b"/>
            <a:pathLst>
              <a:path w="7812" h="2104" extrusionOk="0">
                <a:moveTo>
                  <a:pt x="4136" y="0"/>
                </a:moveTo>
                <a:cubicBezTo>
                  <a:pt x="3424" y="0"/>
                  <a:pt x="2846" y="571"/>
                  <a:pt x="2846" y="1282"/>
                </a:cubicBezTo>
                <a:lnTo>
                  <a:pt x="2846" y="1304"/>
                </a:lnTo>
                <a:cubicBezTo>
                  <a:pt x="2765" y="1273"/>
                  <a:pt x="2676" y="1252"/>
                  <a:pt x="2580" y="1252"/>
                </a:cubicBezTo>
                <a:cubicBezTo>
                  <a:pt x="2380" y="1252"/>
                  <a:pt x="2194" y="1327"/>
                  <a:pt x="2046" y="1444"/>
                </a:cubicBezTo>
                <a:cubicBezTo>
                  <a:pt x="1906" y="1259"/>
                  <a:pt x="1683" y="1140"/>
                  <a:pt x="1438" y="1140"/>
                </a:cubicBezTo>
                <a:cubicBezTo>
                  <a:pt x="1082" y="1140"/>
                  <a:pt x="794" y="1371"/>
                  <a:pt x="691" y="1690"/>
                </a:cubicBezTo>
                <a:cubicBezTo>
                  <a:pt x="675" y="1690"/>
                  <a:pt x="654" y="1682"/>
                  <a:pt x="638" y="1682"/>
                </a:cubicBezTo>
                <a:cubicBezTo>
                  <a:pt x="350" y="1682"/>
                  <a:pt x="104" y="1860"/>
                  <a:pt x="1" y="2104"/>
                </a:cubicBezTo>
                <a:lnTo>
                  <a:pt x="7796" y="2104"/>
                </a:lnTo>
                <a:cubicBezTo>
                  <a:pt x="7812" y="2052"/>
                  <a:pt x="7812" y="1994"/>
                  <a:pt x="7812" y="1933"/>
                </a:cubicBezTo>
                <a:cubicBezTo>
                  <a:pt x="7812" y="1467"/>
                  <a:pt x="7433" y="1081"/>
                  <a:pt x="6967" y="1081"/>
                </a:cubicBezTo>
                <a:cubicBezTo>
                  <a:pt x="6714" y="1081"/>
                  <a:pt x="6499" y="1193"/>
                  <a:pt x="6344" y="1355"/>
                </a:cubicBezTo>
                <a:cubicBezTo>
                  <a:pt x="6181" y="1185"/>
                  <a:pt x="5958" y="1074"/>
                  <a:pt x="5706" y="1074"/>
                </a:cubicBezTo>
                <a:cubicBezTo>
                  <a:pt x="5603" y="1074"/>
                  <a:pt x="5500" y="1096"/>
                  <a:pt x="5411" y="1126"/>
                </a:cubicBezTo>
                <a:cubicBezTo>
                  <a:pt x="5329" y="489"/>
                  <a:pt x="4795" y="0"/>
                  <a:pt x="4136" y="0"/>
                </a:cubicBezTo>
                <a:close/>
              </a:path>
            </a:pathLst>
          </a:custGeom>
          <a:solidFill>
            <a:srgbClr val="A1E1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2" name="Google Shape;902;p17"/>
          <p:cNvSpPr/>
          <p:nvPr/>
        </p:nvSpPr>
        <p:spPr>
          <a:xfrm>
            <a:off x="530744" y="330929"/>
            <a:ext cx="364946" cy="108763"/>
          </a:xfrm>
          <a:custGeom>
            <a:avLst/>
            <a:gdLst/>
            <a:ahLst/>
            <a:cxnLst/>
            <a:rect l="l" t="t" r="r" b="b"/>
            <a:pathLst>
              <a:path w="4305" h="1283" extrusionOk="0">
                <a:moveTo>
                  <a:pt x="2179" y="0"/>
                </a:moveTo>
                <a:cubicBezTo>
                  <a:pt x="1690" y="0"/>
                  <a:pt x="1297" y="400"/>
                  <a:pt x="1297" y="882"/>
                </a:cubicBezTo>
                <a:lnTo>
                  <a:pt x="1297" y="912"/>
                </a:lnTo>
                <a:cubicBezTo>
                  <a:pt x="1223" y="889"/>
                  <a:pt x="1148" y="882"/>
                  <a:pt x="1068" y="882"/>
                </a:cubicBezTo>
                <a:cubicBezTo>
                  <a:pt x="904" y="896"/>
                  <a:pt x="764" y="971"/>
                  <a:pt x="659" y="1074"/>
                </a:cubicBezTo>
                <a:cubicBezTo>
                  <a:pt x="593" y="1053"/>
                  <a:pt x="518" y="1046"/>
                  <a:pt x="445" y="1046"/>
                </a:cubicBezTo>
                <a:cubicBezTo>
                  <a:pt x="259" y="1060"/>
                  <a:pt x="104" y="1149"/>
                  <a:pt x="1" y="1282"/>
                </a:cubicBezTo>
                <a:lnTo>
                  <a:pt x="4297" y="1282"/>
                </a:lnTo>
                <a:cubicBezTo>
                  <a:pt x="4297" y="1268"/>
                  <a:pt x="4304" y="1261"/>
                  <a:pt x="4304" y="1245"/>
                </a:cubicBezTo>
                <a:cubicBezTo>
                  <a:pt x="4277" y="910"/>
                  <a:pt x="4002" y="659"/>
                  <a:pt x="3677" y="659"/>
                </a:cubicBezTo>
                <a:cubicBezTo>
                  <a:pt x="3664" y="659"/>
                  <a:pt x="3651" y="659"/>
                  <a:pt x="3638" y="660"/>
                </a:cubicBezTo>
                <a:cubicBezTo>
                  <a:pt x="3453" y="674"/>
                  <a:pt x="3298" y="772"/>
                  <a:pt x="3193" y="905"/>
                </a:cubicBezTo>
                <a:cubicBezTo>
                  <a:pt x="3149" y="889"/>
                  <a:pt x="3104" y="889"/>
                  <a:pt x="3060" y="889"/>
                </a:cubicBezTo>
                <a:lnTo>
                  <a:pt x="3060" y="882"/>
                </a:lnTo>
                <a:cubicBezTo>
                  <a:pt x="3060" y="400"/>
                  <a:pt x="2660" y="0"/>
                  <a:pt x="2179" y="0"/>
                </a:cubicBezTo>
                <a:close/>
              </a:path>
            </a:pathLst>
          </a:custGeom>
          <a:solidFill>
            <a:srgbClr val="A1E1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3" name="Google Shape;903;p17"/>
          <p:cNvSpPr/>
          <p:nvPr/>
        </p:nvSpPr>
        <p:spPr>
          <a:xfrm>
            <a:off x="1002600" y="245571"/>
            <a:ext cx="94149" cy="45600"/>
          </a:xfrm>
          <a:custGeom>
            <a:avLst/>
            <a:gdLst/>
            <a:ahLst/>
            <a:cxnLst/>
            <a:rect l="l" t="t" r="r" b="b"/>
            <a:pathLst>
              <a:path w="993" h="481" extrusionOk="0">
                <a:moveTo>
                  <a:pt x="851" y="0"/>
                </a:moveTo>
                <a:cubicBezTo>
                  <a:pt x="787" y="0"/>
                  <a:pt x="715" y="30"/>
                  <a:pt x="644" y="89"/>
                </a:cubicBezTo>
                <a:cubicBezTo>
                  <a:pt x="578" y="141"/>
                  <a:pt x="534" y="207"/>
                  <a:pt x="511" y="267"/>
                </a:cubicBezTo>
                <a:cubicBezTo>
                  <a:pt x="459" y="230"/>
                  <a:pt x="394" y="192"/>
                  <a:pt x="312" y="178"/>
                </a:cubicBezTo>
                <a:cubicBezTo>
                  <a:pt x="281" y="173"/>
                  <a:pt x="251" y="170"/>
                  <a:pt x="224" y="170"/>
                </a:cubicBezTo>
                <a:cubicBezTo>
                  <a:pt x="93" y="170"/>
                  <a:pt x="6" y="227"/>
                  <a:pt x="1" y="326"/>
                </a:cubicBezTo>
                <a:cubicBezTo>
                  <a:pt x="1" y="326"/>
                  <a:pt x="33" y="251"/>
                  <a:pt x="203" y="251"/>
                </a:cubicBezTo>
                <a:cubicBezTo>
                  <a:pt x="233" y="251"/>
                  <a:pt x="266" y="253"/>
                  <a:pt x="305" y="258"/>
                </a:cubicBezTo>
                <a:cubicBezTo>
                  <a:pt x="386" y="274"/>
                  <a:pt x="445" y="303"/>
                  <a:pt x="490" y="333"/>
                </a:cubicBezTo>
                <a:lnTo>
                  <a:pt x="490" y="480"/>
                </a:lnTo>
                <a:lnTo>
                  <a:pt x="555" y="466"/>
                </a:lnTo>
                <a:lnTo>
                  <a:pt x="630" y="452"/>
                </a:lnTo>
                <a:lnTo>
                  <a:pt x="555" y="319"/>
                </a:lnTo>
                <a:cubicBezTo>
                  <a:pt x="586" y="274"/>
                  <a:pt x="623" y="214"/>
                  <a:pt x="689" y="162"/>
                </a:cubicBezTo>
                <a:cubicBezTo>
                  <a:pt x="782" y="77"/>
                  <a:pt x="862" y="57"/>
                  <a:pt x="916" y="57"/>
                </a:cubicBezTo>
                <a:cubicBezTo>
                  <a:pt x="964" y="57"/>
                  <a:pt x="993" y="73"/>
                  <a:pt x="993" y="73"/>
                </a:cubicBezTo>
                <a:cubicBezTo>
                  <a:pt x="958" y="24"/>
                  <a:pt x="908" y="0"/>
                  <a:pt x="851" y="0"/>
                </a:cubicBezTo>
                <a:close/>
              </a:path>
            </a:pathLst>
          </a:custGeom>
          <a:solidFill>
            <a:srgbClr val="AAACB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4" name="Google Shape;904;p17"/>
          <p:cNvSpPr/>
          <p:nvPr/>
        </p:nvSpPr>
        <p:spPr>
          <a:xfrm>
            <a:off x="1014250" y="406050"/>
            <a:ext cx="152274" cy="73751"/>
          </a:xfrm>
          <a:custGeom>
            <a:avLst/>
            <a:gdLst/>
            <a:ahLst/>
            <a:cxnLst/>
            <a:rect l="l" t="t" r="r" b="b"/>
            <a:pathLst>
              <a:path w="993" h="481" extrusionOk="0">
                <a:moveTo>
                  <a:pt x="851" y="0"/>
                </a:moveTo>
                <a:cubicBezTo>
                  <a:pt x="787" y="0"/>
                  <a:pt x="715" y="30"/>
                  <a:pt x="644" y="89"/>
                </a:cubicBezTo>
                <a:cubicBezTo>
                  <a:pt x="578" y="141"/>
                  <a:pt x="534" y="207"/>
                  <a:pt x="511" y="267"/>
                </a:cubicBezTo>
                <a:cubicBezTo>
                  <a:pt x="459" y="230"/>
                  <a:pt x="394" y="192"/>
                  <a:pt x="312" y="178"/>
                </a:cubicBezTo>
                <a:cubicBezTo>
                  <a:pt x="281" y="173"/>
                  <a:pt x="251" y="170"/>
                  <a:pt x="224" y="170"/>
                </a:cubicBezTo>
                <a:cubicBezTo>
                  <a:pt x="93" y="170"/>
                  <a:pt x="6" y="227"/>
                  <a:pt x="1" y="326"/>
                </a:cubicBezTo>
                <a:cubicBezTo>
                  <a:pt x="1" y="326"/>
                  <a:pt x="33" y="251"/>
                  <a:pt x="203" y="251"/>
                </a:cubicBezTo>
                <a:cubicBezTo>
                  <a:pt x="233" y="251"/>
                  <a:pt x="266" y="253"/>
                  <a:pt x="305" y="258"/>
                </a:cubicBezTo>
                <a:cubicBezTo>
                  <a:pt x="386" y="274"/>
                  <a:pt x="445" y="303"/>
                  <a:pt x="490" y="333"/>
                </a:cubicBezTo>
                <a:lnTo>
                  <a:pt x="490" y="480"/>
                </a:lnTo>
                <a:lnTo>
                  <a:pt x="555" y="466"/>
                </a:lnTo>
                <a:lnTo>
                  <a:pt x="630" y="452"/>
                </a:lnTo>
                <a:lnTo>
                  <a:pt x="555" y="319"/>
                </a:lnTo>
                <a:cubicBezTo>
                  <a:pt x="586" y="274"/>
                  <a:pt x="623" y="214"/>
                  <a:pt x="689" y="162"/>
                </a:cubicBezTo>
                <a:cubicBezTo>
                  <a:pt x="782" y="77"/>
                  <a:pt x="862" y="57"/>
                  <a:pt x="916" y="57"/>
                </a:cubicBezTo>
                <a:cubicBezTo>
                  <a:pt x="964" y="57"/>
                  <a:pt x="993" y="73"/>
                  <a:pt x="993" y="73"/>
                </a:cubicBezTo>
                <a:cubicBezTo>
                  <a:pt x="958" y="24"/>
                  <a:pt x="908" y="0"/>
                  <a:pt x="851" y="0"/>
                </a:cubicBezTo>
                <a:close/>
              </a:path>
            </a:pathLst>
          </a:custGeom>
          <a:solidFill>
            <a:srgbClr val="AAACB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5" name="Google Shape;905;p17"/>
          <p:cNvSpPr/>
          <p:nvPr/>
        </p:nvSpPr>
        <p:spPr>
          <a:xfrm>
            <a:off x="1285075" y="378463"/>
            <a:ext cx="152274" cy="73751"/>
          </a:xfrm>
          <a:custGeom>
            <a:avLst/>
            <a:gdLst/>
            <a:ahLst/>
            <a:cxnLst/>
            <a:rect l="l" t="t" r="r" b="b"/>
            <a:pathLst>
              <a:path w="993" h="481" extrusionOk="0">
                <a:moveTo>
                  <a:pt x="851" y="0"/>
                </a:moveTo>
                <a:cubicBezTo>
                  <a:pt x="787" y="0"/>
                  <a:pt x="715" y="30"/>
                  <a:pt x="644" y="89"/>
                </a:cubicBezTo>
                <a:cubicBezTo>
                  <a:pt x="578" y="141"/>
                  <a:pt x="534" y="207"/>
                  <a:pt x="511" y="267"/>
                </a:cubicBezTo>
                <a:cubicBezTo>
                  <a:pt x="459" y="230"/>
                  <a:pt x="394" y="192"/>
                  <a:pt x="312" y="178"/>
                </a:cubicBezTo>
                <a:cubicBezTo>
                  <a:pt x="281" y="173"/>
                  <a:pt x="251" y="170"/>
                  <a:pt x="224" y="170"/>
                </a:cubicBezTo>
                <a:cubicBezTo>
                  <a:pt x="93" y="170"/>
                  <a:pt x="6" y="227"/>
                  <a:pt x="1" y="326"/>
                </a:cubicBezTo>
                <a:cubicBezTo>
                  <a:pt x="1" y="326"/>
                  <a:pt x="33" y="251"/>
                  <a:pt x="203" y="251"/>
                </a:cubicBezTo>
                <a:cubicBezTo>
                  <a:pt x="233" y="251"/>
                  <a:pt x="266" y="253"/>
                  <a:pt x="305" y="258"/>
                </a:cubicBezTo>
                <a:cubicBezTo>
                  <a:pt x="386" y="274"/>
                  <a:pt x="445" y="303"/>
                  <a:pt x="490" y="333"/>
                </a:cubicBezTo>
                <a:lnTo>
                  <a:pt x="490" y="480"/>
                </a:lnTo>
                <a:lnTo>
                  <a:pt x="555" y="466"/>
                </a:lnTo>
                <a:lnTo>
                  <a:pt x="630" y="452"/>
                </a:lnTo>
                <a:lnTo>
                  <a:pt x="555" y="319"/>
                </a:lnTo>
                <a:cubicBezTo>
                  <a:pt x="586" y="274"/>
                  <a:pt x="623" y="214"/>
                  <a:pt x="689" y="162"/>
                </a:cubicBezTo>
                <a:cubicBezTo>
                  <a:pt x="782" y="77"/>
                  <a:pt x="862" y="57"/>
                  <a:pt x="916" y="57"/>
                </a:cubicBezTo>
                <a:cubicBezTo>
                  <a:pt x="964" y="57"/>
                  <a:pt x="993" y="73"/>
                  <a:pt x="993" y="73"/>
                </a:cubicBezTo>
                <a:cubicBezTo>
                  <a:pt x="958" y="24"/>
                  <a:pt x="908" y="0"/>
                  <a:pt x="851" y="0"/>
                </a:cubicBezTo>
                <a:close/>
              </a:path>
            </a:pathLst>
          </a:custGeom>
          <a:solidFill>
            <a:srgbClr val="AAACB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1">
  <p:cSld name="TITLE_AND_TWO_COLUMNS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8"/>
          <p:cNvSpPr txBox="1">
            <a:spLocks noGrp="1"/>
          </p:cNvSpPr>
          <p:nvPr>
            <p:ph type="title"/>
          </p:nvPr>
        </p:nvSpPr>
        <p:spPr>
          <a:xfrm>
            <a:off x="1849650" y="445025"/>
            <a:ext cx="5444700" cy="105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908" name="Google Shape;908;p18"/>
          <p:cNvSpPr txBox="1">
            <a:spLocks noGrp="1"/>
          </p:cNvSpPr>
          <p:nvPr>
            <p:ph type="subTitle" idx="1"/>
          </p:nvPr>
        </p:nvSpPr>
        <p:spPr>
          <a:xfrm>
            <a:off x="4804334" y="3090472"/>
            <a:ext cx="2743200" cy="101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Kumbh Sans"/>
              <a:buNone/>
              <a:defRPr>
                <a:latin typeface="Kumbh Sans"/>
                <a:ea typeface="Kumbh Sans"/>
                <a:cs typeface="Kumbh Sans"/>
                <a:sym typeface="Kumbh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Kumbh Sans"/>
              <a:buNone/>
              <a:defRPr>
                <a:latin typeface="Kumbh Sans"/>
                <a:ea typeface="Kumbh Sans"/>
                <a:cs typeface="Kumbh Sans"/>
                <a:sym typeface="Kumbh Sans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Kumbh Sans"/>
              <a:buNone/>
              <a:defRPr>
                <a:latin typeface="Kumbh Sans"/>
                <a:ea typeface="Kumbh Sans"/>
                <a:cs typeface="Kumbh Sans"/>
                <a:sym typeface="Kumbh Sans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Kumbh Sans"/>
              <a:buNone/>
              <a:defRPr>
                <a:latin typeface="Kumbh Sans"/>
                <a:ea typeface="Kumbh Sans"/>
                <a:cs typeface="Kumbh Sans"/>
                <a:sym typeface="Kumbh Sans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Kumbh Sans"/>
              <a:buNone/>
              <a:defRPr>
                <a:latin typeface="Kumbh Sans"/>
                <a:ea typeface="Kumbh Sans"/>
                <a:cs typeface="Kumbh Sans"/>
                <a:sym typeface="Kumbh Sans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Kumbh Sans"/>
              <a:buNone/>
              <a:defRPr>
                <a:latin typeface="Kumbh Sans"/>
                <a:ea typeface="Kumbh Sans"/>
                <a:cs typeface="Kumbh Sans"/>
                <a:sym typeface="Kumbh Sans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Kumbh Sans"/>
              <a:buNone/>
              <a:defRPr>
                <a:latin typeface="Kumbh Sans"/>
                <a:ea typeface="Kumbh Sans"/>
                <a:cs typeface="Kumbh Sans"/>
                <a:sym typeface="Kumbh Sans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Kumbh Sans"/>
              <a:buNone/>
              <a:defRPr>
                <a:latin typeface="Kumbh Sans"/>
                <a:ea typeface="Kumbh Sans"/>
                <a:cs typeface="Kumbh Sans"/>
                <a:sym typeface="Kumbh Sans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Kumbh Sans"/>
              <a:buNone/>
              <a:defRPr>
                <a:latin typeface="Kumbh Sans"/>
                <a:ea typeface="Kumbh Sans"/>
                <a:cs typeface="Kumbh Sans"/>
                <a:sym typeface="Kumbh Sans"/>
              </a:defRPr>
            </a:lvl9pPr>
          </a:lstStyle>
          <a:p>
            <a:endParaRPr/>
          </a:p>
        </p:txBody>
      </p:sp>
      <p:sp>
        <p:nvSpPr>
          <p:cNvPr id="909" name="Google Shape;909;p18"/>
          <p:cNvSpPr txBox="1">
            <a:spLocks noGrp="1"/>
          </p:cNvSpPr>
          <p:nvPr>
            <p:ph type="subTitle" idx="2"/>
          </p:nvPr>
        </p:nvSpPr>
        <p:spPr>
          <a:xfrm>
            <a:off x="1596462" y="3090472"/>
            <a:ext cx="2743200" cy="101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Kumbh Sans"/>
              <a:buNone/>
              <a:defRPr>
                <a:latin typeface="Kumbh Sans"/>
                <a:ea typeface="Kumbh Sans"/>
                <a:cs typeface="Kumbh Sans"/>
                <a:sym typeface="Kumbh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Kumbh Sans"/>
              <a:buNone/>
              <a:defRPr>
                <a:latin typeface="Kumbh Sans"/>
                <a:ea typeface="Kumbh Sans"/>
                <a:cs typeface="Kumbh Sans"/>
                <a:sym typeface="Kumbh Sans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Kumbh Sans"/>
              <a:buNone/>
              <a:defRPr>
                <a:latin typeface="Kumbh Sans"/>
                <a:ea typeface="Kumbh Sans"/>
                <a:cs typeface="Kumbh Sans"/>
                <a:sym typeface="Kumbh Sans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Kumbh Sans"/>
              <a:buNone/>
              <a:defRPr>
                <a:latin typeface="Kumbh Sans"/>
                <a:ea typeface="Kumbh Sans"/>
                <a:cs typeface="Kumbh Sans"/>
                <a:sym typeface="Kumbh Sans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Kumbh Sans"/>
              <a:buNone/>
              <a:defRPr>
                <a:latin typeface="Kumbh Sans"/>
                <a:ea typeface="Kumbh Sans"/>
                <a:cs typeface="Kumbh Sans"/>
                <a:sym typeface="Kumbh Sans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Kumbh Sans"/>
              <a:buNone/>
              <a:defRPr>
                <a:latin typeface="Kumbh Sans"/>
                <a:ea typeface="Kumbh Sans"/>
                <a:cs typeface="Kumbh Sans"/>
                <a:sym typeface="Kumbh Sans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Kumbh Sans"/>
              <a:buNone/>
              <a:defRPr>
                <a:latin typeface="Kumbh Sans"/>
                <a:ea typeface="Kumbh Sans"/>
                <a:cs typeface="Kumbh Sans"/>
                <a:sym typeface="Kumbh Sans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Kumbh Sans"/>
              <a:buNone/>
              <a:defRPr>
                <a:latin typeface="Kumbh Sans"/>
                <a:ea typeface="Kumbh Sans"/>
                <a:cs typeface="Kumbh Sans"/>
                <a:sym typeface="Kumbh Sans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Kumbh Sans"/>
              <a:buNone/>
              <a:defRPr>
                <a:latin typeface="Kumbh Sans"/>
                <a:ea typeface="Kumbh Sans"/>
                <a:cs typeface="Kumbh Sans"/>
                <a:sym typeface="Kumbh Sans"/>
              </a:defRPr>
            </a:lvl9pPr>
          </a:lstStyle>
          <a:p>
            <a:endParaRPr/>
          </a:p>
        </p:txBody>
      </p:sp>
      <p:sp>
        <p:nvSpPr>
          <p:cNvPr id="910" name="Google Shape;910;p18"/>
          <p:cNvSpPr txBox="1">
            <a:spLocks noGrp="1"/>
          </p:cNvSpPr>
          <p:nvPr>
            <p:ph type="subTitle" idx="3"/>
          </p:nvPr>
        </p:nvSpPr>
        <p:spPr>
          <a:xfrm>
            <a:off x="1596462" y="2845375"/>
            <a:ext cx="2743200" cy="411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Bebas Neue"/>
              <a:buNone/>
              <a:defRPr sz="2200">
                <a:solidFill>
                  <a:schemeClr val="dk1"/>
                </a:solidFill>
                <a:latin typeface="Paytone One"/>
                <a:ea typeface="Paytone One"/>
                <a:cs typeface="Paytone One"/>
                <a:sym typeface="Paytone On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Bebas Neue"/>
              <a:buNone/>
              <a:defRPr sz="2400">
                <a:latin typeface="Bebas Neue"/>
                <a:ea typeface="Bebas Neue"/>
                <a:cs typeface="Bebas Neue"/>
                <a:sym typeface="Bebas Ne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Bebas Neue"/>
              <a:buNone/>
              <a:defRPr sz="2400">
                <a:latin typeface="Bebas Neue"/>
                <a:ea typeface="Bebas Neue"/>
                <a:cs typeface="Bebas Neue"/>
                <a:sym typeface="Bebas Ne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Bebas Neue"/>
              <a:buNone/>
              <a:defRPr sz="2400">
                <a:latin typeface="Bebas Neue"/>
                <a:ea typeface="Bebas Neue"/>
                <a:cs typeface="Bebas Neue"/>
                <a:sym typeface="Bebas Ne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Bebas Neue"/>
              <a:buNone/>
              <a:defRPr sz="2400">
                <a:latin typeface="Bebas Neue"/>
                <a:ea typeface="Bebas Neue"/>
                <a:cs typeface="Bebas Neue"/>
                <a:sym typeface="Bebas Ne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Bebas Neue"/>
              <a:buNone/>
              <a:defRPr sz="2400">
                <a:latin typeface="Bebas Neue"/>
                <a:ea typeface="Bebas Neue"/>
                <a:cs typeface="Bebas Neue"/>
                <a:sym typeface="Bebas Ne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Bebas Neue"/>
              <a:buNone/>
              <a:defRPr sz="2400">
                <a:latin typeface="Bebas Neue"/>
                <a:ea typeface="Bebas Neue"/>
                <a:cs typeface="Bebas Neue"/>
                <a:sym typeface="Bebas Ne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Bebas Neue"/>
              <a:buNone/>
              <a:defRPr sz="2400">
                <a:latin typeface="Bebas Neue"/>
                <a:ea typeface="Bebas Neue"/>
                <a:cs typeface="Bebas Neue"/>
                <a:sym typeface="Bebas Ne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Bebas Neue"/>
              <a:buNone/>
              <a:defRPr sz="2400">
                <a:latin typeface="Bebas Neue"/>
                <a:ea typeface="Bebas Neue"/>
                <a:cs typeface="Bebas Neue"/>
                <a:sym typeface="Bebas Neue"/>
              </a:defRPr>
            </a:lvl9pPr>
          </a:lstStyle>
          <a:p>
            <a:endParaRPr/>
          </a:p>
        </p:txBody>
      </p:sp>
      <p:sp>
        <p:nvSpPr>
          <p:cNvPr id="911" name="Google Shape;911;p18"/>
          <p:cNvSpPr txBox="1">
            <a:spLocks noGrp="1"/>
          </p:cNvSpPr>
          <p:nvPr>
            <p:ph type="subTitle" idx="4"/>
          </p:nvPr>
        </p:nvSpPr>
        <p:spPr>
          <a:xfrm>
            <a:off x="4804338" y="2845375"/>
            <a:ext cx="2743200" cy="411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Bebas Neue"/>
              <a:buNone/>
              <a:defRPr sz="2200">
                <a:solidFill>
                  <a:schemeClr val="dk1"/>
                </a:solidFill>
                <a:latin typeface="Paytone One"/>
                <a:ea typeface="Paytone One"/>
                <a:cs typeface="Paytone One"/>
                <a:sym typeface="Paytone On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Bebas Neue"/>
              <a:buNone/>
              <a:defRPr sz="2400">
                <a:latin typeface="Bebas Neue"/>
                <a:ea typeface="Bebas Neue"/>
                <a:cs typeface="Bebas Neue"/>
                <a:sym typeface="Bebas Ne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Bebas Neue"/>
              <a:buNone/>
              <a:defRPr sz="2400">
                <a:latin typeface="Bebas Neue"/>
                <a:ea typeface="Bebas Neue"/>
                <a:cs typeface="Bebas Neue"/>
                <a:sym typeface="Bebas Ne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Bebas Neue"/>
              <a:buNone/>
              <a:defRPr sz="2400">
                <a:latin typeface="Bebas Neue"/>
                <a:ea typeface="Bebas Neue"/>
                <a:cs typeface="Bebas Neue"/>
                <a:sym typeface="Bebas Ne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Bebas Neue"/>
              <a:buNone/>
              <a:defRPr sz="2400">
                <a:latin typeface="Bebas Neue"/>
                <a:ea typeface="Bebas Neue"/>
                <a:cs typeface="Bebas Neue"/>
                <a:sym typeface="Bebas Ne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Bebas Neue"/>
              <a:buNone/>
              <a:defRPr sz="2400">
                <a:latin typeface="Bebas Neue"/>
                <a:ea typeface="Bebas Neue"/>
                <a:cs typeface="Bebas Neue"/>
                <a:sym typeface="Bebas Ne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Bebas Neue"/>
              <a:buNone/>
              <a:defRPr sz="2400">
                <a:latin typeface="Bebas Neue"/>
                <a:ea typeface="Bebas Neue"/>
                <a:cs typeface="Bebas Neue"/>
                <a:sym typeface="Bebas Ne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Bebas Neue"/>
              <a:buNone/>
              <a:defRPr sz="2400">
                <a:latin typeface="Bebas Neue"/>
                <a:ea typeface="Bebas Neue"/>
                <a:cs typeface="Bebas Neue"/>
                <a:sym typeface="Bebas Ne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Bebas Neue"/>
              <a:buNone/>
              <a:defRPr sz="2400">
                <a:latin typeface="Bebas Neue"/>
                <a:ea typeface="Bebas Neue"/>
                <a:cs typeface="Bebas Neue"/>
                <a:sym typeface="Bebas Neue"/>
              </a:defRPr>
            </a:lvl9pPr>
          </a:lstStyle>
          <a:p>
            <a:endParaRPr/>
          </a:p>
        </p:txBody>
      </p:sp>
      <p:sp>
        <p:nvSpPr>
          <p:cNvPr id="912" name="Google Shape;912;p18"/>
          <p:cNvSpPr/>
          <p:nvPr/>
        </p:nvSpPr>
        <p:spPr>
          <a:xfrm>
            <a:off x="905149" y="632337"/>
            <a:ext cx="339138" cy="94318"/>
          </a:xfrm>
          <a:custGeom>
            <a:avLst/>
            <a:gdLst/>
            <a:ahLst/>
            <a:cxnLst/>
            <a:rect l="l" t="t" r="r" b="b"/>
            <a:pathLst>
              <a:path w="5329" h="1482" extrusionOk="0">
                <a:moveTo>
                  <a:pt x="2818" y="0"/>
                </a:moveTo>
                <a:cubicBezTo>
                  <a:pt x="2336" y="0"/>
                  <a:pt x="1943" y="408"/>
                  <a:pt x="1943" y="904"/>
                </a:cubicBezTo>
                <a:lnTo>
                  <a:pt x="1943" y="918"/>
                </a:lnTo>
                <a:cubicBezTo>
                  <a:pt x="1884" y="897"/>
                  <a:pt x="1824" y="882"/>
                  <a:pt x="1758" y="882"/>
                </a:cubicBezTo>
                <a:cubicBezTo>
                  <a:pt x="1617" y="882"/>
                  <a:pt x="1498" y="934"/>
                  <a:pt x="1395" y="1016"/>
                </a:cubicBezTo>
                <a:cubicBezTo>
                  <a:pt x="1297" y="890"/>
                  <a:pt x="1150" y="801"/>
                  <a:pt x="979" y="801"/>
                </a:cubicBezTo>
                <a:cubicBezTo>
                  <a:pt x="735" y="801"/>
                  <a:pt x="534" y="971"/>
                  <a:pt x="469" y="1194"/>
                </a:cubicBezTo>
                <a:cubicBezTo>
                  <a:pt x="461" y="1194"/>
                  <a:pt x="445" y="1185"/>
                  <a:pt x="431" y="1185"/>
                </a:cubicBezTo>
                <a:cubicBezTo>
                  <a:pt x="239" y="1185"/>
                  <a:pt x="68" y="1311"/>
                  <a:pt x="1" y="1482"/>
                </a:cubicBezTo>
                <a:lnTo>
                  <a:pt x="5315" y="1482"/>
                </a:lnTo>
                <a:cubicBezTo>
                  <a:pt x="5322" y="1444"/>
                  <a:pt x="5329" y="1407"/>
                  <a:pt x="5329" y="1363"/>
                </a:cubicBezTo>
                <a:cubicBezTo>
                  <a:pt x="5329" y="1030"/>
                  <a:pt x="5069" y="763"/>
                  <a:pt x="4751" y="763"/>
                </a:cubicBezTo>
                <a:cubicBezTo>
                  <a:pt x="4580" y="763"/>
                  <a:pt x="4433" y="838"/>
                  <a:pt x="4321" y="955"/>
                </a:cubicBezTo>
                <a:cubicBezTo>
                  <a:pt x="4217" y="838"/>
                  <a:pt x="4063" y="756"/>
                  <a:pt x="3892" y="756"/>
                </a:cubicBezTo>
                <a:cubicBezTo>
                  <a:pt x="3817" y="756"/>
                  <a:pt x="3751" y="770"/>
                  <a:pt x="3684" y="794"/>
                </a:cubicBezTo>
                <a:cubicBezTo>
                  <a:pt x="3632" y="349"/>
                  <a:pt x="3270" y="0"/>
                  <a:pt x="2818" y="0"/>
                </a:cubicBezTo>
                <a:close/>
              </a:path>
            </a:pathLst>
          </a:custGeom>
          <a:solidFill>
            <a:srgbClr val="AAACB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3" name="Google Shape;913;p18"/>
          <p:cNvGrpSpPr/>
          <p:nvPr/>
        </p:nvGrpSpPr>
        <p:grpSpPr>
          <a:xfrm>
            <a:off x="451920" y="275758"/>
            <a:ext cx="398840" cy="527488"/>
            <a:chOff x="1266370" y="3942170"/>
            <a:chExt cx="398840" cy="527488"/>
          </a:xfrm>
        </p:grpSpPr>
        <p:sp>
          <p:nvSpPr>
            <p:cNvPr id="914" name="Google Shape;914;p18"/>
            <p:cNvSpPr/>
            <p:nvPr/>
          </p:nvSpPr>
          <p:spPr>
            <a:xfrm>
              <a:off x="1266370" y="3942170"/>
              <a:ext cx="398840" cy="407925"/>
            </a:xfrm>
            <a:custGeom>
              <a:avLst/>
              <a:gdLst/>
              <a:ahLst/>
              <a:cxnLst/>
              <a:rect l="l" t="t" r="r" b="b"/>
              <a:pathLst>
                <a:path w="5144" h="5261" extrusionOk="0">
                  <a:moveTo>
                    <a:pt x="2572" y="0"/>
                  </a:moveTo>
                  <a:cubicBezTo>
                    <a:pt x="1157" y="0"/>
                    <a:pt x="1" y="697"/>
                    <a:pt x="1" y="2148"/>
                  </a:cubicBezTo>
                  <a:cubicBezTo>
                    <a:pt x="1" y="3601"/>
                    <a:pt x="1157" y="5261"/>
                    <a:pt x="2572" y="5261"/>
                  </a:cubicBezTo>
                  <a:cubicBezTo>
                    <a:pt x="3988" y="5261"/>
                    <a:pt x="5144" y="3601"/>
                    <a:pt x="5144" y="2148"/>
                  </a:cubicBezTo>
                  <a:cubicBezTo>
                    <a:pt x="5144" y="697"/>
                    <a:pt x="3988" y="0"/>
                    <a:pt x="2572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5" name="Google Shape;915;p18"/>
            <p:cNvSpPr/>
            <p:nvPr/>
          </p:nvSpPr>
          <p:spPr>
            <a:xfrm>
              <a:off x="1307231" y="3942170"/>
              <a:ext cx="317196" cy="407925"/>
            </a:xfrm>
            <a:custGeom>
              <a:avLst/>
              <a:gdLst/>
              <a:ahLst/>
              <a:cxnLst/>
              <a:rect l="l" t="t" r="r" b="b"/>
              <a:pathLst>
                <a:path w="4091" h="5261" extrusionOk="0">
                  <a:moveTo>
                    <a:pt x="2045" y="0"/>
                  </a:moveTo>
                  <a:cubicBezTo>
                    <a:pt x="920" y="0"/>
                    <a:pt x="0" y="697"/>
                    <a:pt x="0" y="2148"/>
                  </a:cubicBezTo>
                  <a:cubicBezTo>
                    <a:pt x="0" y="3601"/>
                    <a:pt x="920" y="5261"/>
                    <a:pt x="2045" y="5261"/>
                  </a:cubicBezTo>
                  <a:cubicBezTo>
                    <a:pt x="3171" y="5261"/>
                    <a:pt x="4091" y="3601"/>
                    <a:pt x="4091" y="2148"/>
                  </a:cubicBezTo>
                  <a:cubicBezTo>
                    <a:pt x="4091" y="697"/>
                    <a:pt x="3171" y="0"/>
                    <a:pt x="2045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" name="Google Shape;916;p18"/>
            <p:cNvSpPr/>
            <p:nvPr/>
          </p:nvSpPr>
          <p:spPr>
            <a:xfrm>
              <a:off x="1383060" y="3942170"/>
              <a:ext cx="165537" cy="407925"/>
            </a:xfrm>
            <a:custGeom>
              <a:avLst/>
              <a:gdLst/>
              <a:ahLst/>
              <a:cxnLst/>
              <a:rect l="l" t="t" r="r" b="b"/>
              <a:pathLst>
                <a:path w="2135" h="5261" extrusionOk="0">
                  <a:moveTo>
                    <a:pt x="1067" y="0"/>
                  </a:moveTo>
                  <a:cubicBezTo>
                    <a:pt x="475" y="0"/>
                    <a:pt x="0" y="697"/>
                    <a:pt x="0" y="2148"/>
                  </a:cubicBezTo>
                  <a:cubicBezTo>
                    <a:pt x="0" y="3601"/>
                    <a:pt x="475" y="5261"/>
                    <a:pt x="1067" y="5261"/>
                  </a:cubicBezTo>
                  <a:cubicBezTo>
                    <a:pt x="1660" y="5261"/>
                    <a:pt x="2135" y="3601"/>
                    <a:pt x="2135" y="2148"/>
                  </a:cubicBezTo>
                  <a:cubicBezTo>
                    <a:pt x="2135" y="697"/>
                    <a:pt x="1660" y="0"/>
                    <a:pt x="1067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7" name="Google Shape;917;p18"/>
            <p:cNvSpPr/>
            <p:nvPr/>
          </p:nvSpPr>
          <p:spPr>
            <a:xfrm>
              <a:off x="1349100" y="4301169"/>
              <a:ext cx="233380" cy="93743"/>
            </a:xfrm>
            <a:custGeom>
              <a:avLst/>
              <a:gdLst/>
              <a:ahLst/>
              <a:cxnLst/>
              <a:rect l="l" t="t" r="r" b="b"/>
              <a:pathLst>
                <a:path w="3010" h="1209" extrusionOk="0">
                  <a:moveTo>
                    <a:pt x="2935" y="45"/>
                  </a:moveTo>
                  <a:lnTo>
                    <a:pt x="2313" y="1164"/>
                  </a:lnTo>
                  <a:lnTo>
                    <a:pt x="698" y="1164"/>
                  </a:lnTo>
                  <a:lnTo>
                    <a:pt x="76" y="45"/>
                  </a:lnTo>
                  <a:close/>
                  <a:moveTo>
                    <a:pt x="1" y="1"/>
                  </a:moveTo>
                  <a:lnTo>
                    <a:pt x="668" y="1208"/>
                  </a:lnTo>
                  <a:lnTo>
                    <a:pt x="2343" y="1208"/>
                  </a:lnTo>
                  <a:lnTo>
                    <a:pt x="301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" name="Google Shape;918;p18"/>
            <p:cNvSpPr/>
            <p:nvPr/>
          </p:nvSpPr>
          <p:spPr>
            <a:xfrm>
              <a:off x="1381975" y="4301169"/>
              <a:ext cx="167708" cy="93743"/>
            </a:xfrm>
            <a:custGeom>
              <a:avLst/>
              <a:gdLst/>
              <a:ahLst/>
              <a:cxnLst/>
              <a:rect l="l" t="t" r="r" b="b"/>
              <a:pathLst>
                <a:path w="2163" h="1209" extrusionOk="0">
                  <a:moveTo>
                    <a:pt x="2104" y="45"/>
                  </a:moveTo>
                  <a:lnTo>
                    <a:pt x="1652" y="1164"/>
                  </a:lnTo>
                  <a:lnTo>
                    <a:pt x="511" y="1164"/>
                  </a:lnTo>
                  <a:lnTo>
                    <a:pt x="59" y="45"/>
                  </a:lnTo>
                  <a:close/>
                  <a:moveTo>
                    <a:pt x="0" y="1"/>
                  </a:moveTo>
                  <a:lnTo>
                    <a:pt x="480" y="1208"/>
                  </a:lnTo>
                  <a:lnTo>
                    <a:pt x="1681" y="1208"/>
                  </a:lnTo>
                  <a:lnTo>
                    <a:pt x="2163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" name="Google Shape;919;p18"/>
            <p:cNvSpPr/>
            <p:nvPr/>
          </p:nvSpPr>
          <p:spPr>
            <a:xfrm>
              <a:off x="1420975" y="4301169"/>
              <a:ext cx="89708" cy="93743"/>
            </a:xfrm>
            <a:custGeom>
              <a:avLst/>
              <a:gdLst/>
              <a:ahLst/>
              <a:cxnLst/>
              <a:rect l="l" t="t" r="r" b="b"/>
              <a:pathLst>
                <a:path w="1157" h="1209" extrusionOk="0">
                  <a:moveTo>
                    <a:pt x="1105" y="45"/>
                  </a:moveTo>
                  <a:lnTo>
                    <a:pt x="867" y="1164"/>
                  </a:lnTo>
                  <a:lnTo>
                    <a:pt x="289" y="1164"/>
                  </a:lnTo>
                  <a:lnTo>
                    <a:pt x="52" y="45"/>
                  </a:lnTo>
                  <a:close/>
                  <a:moveTo>
                    <a:pt x="1" y="1"/>
                  </a:moveTo>
                  <a:lnTo>
                    <a:pt x="253" y="1208"/>
                  </a:lnTo>
                  <a:lnTo>
                    <a:pt x="904" y="1208"/>
                  </a:lnTo>
                  <a:lnTo>
                    <a:pt x="1156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" name="Google Shape;920;p18"/>
            <p:cNvSpPr/>
            <p:nvPr/>
          </p:nvSpPr>
          <p:spPr>
            <a:xfrm>
              <a:off x="1400273" y="4385762"/>
              <a:ext cx="131112" cy="83896"/>
            </a:xfrm>
            <a:custGeom>
              <a:avLst/>
              <a:gdLst/>
              <a:ahLst/>
              <a:cxnLst/>
              <a:rect l="l" t="t" r="r" b="b"/>
              <a:pathLst>
                <a:path w="1691" h="1082" extrusionOk="0">
                  <a:moveTo>
                    <a:pt x="155" y="0"/>
                  </a:moveTo>
                  <a:cubicBezTo>
                    <a:pt x="67" y="0"/>
                    <a:pt x="1" y="73"/>
                    <a:pt x="1" y="155"/>
                  </a:cubicBezTo>
                  <a:lnTo>
                    <a:pt x="1" y="918"/>
                  </a:lnTo>
                  <a:cubicBezTo>
                    <a:pt x="1" y="1007"/>
                    <a:pt x="67" y="1081"/>
                    <a:pt x="155" y="1081"/>
                  </a:cubicBezTo>
                  <a:lnTo>
                    <a:pt x="1534" y="1081"/>
                  </a:lnTo>
                  <a:cubicBezTo>
                    <a:pt x="1623" y="1081"/>
                    <a:pt x="1690" y="1007"/>
                    <a:pt x="1690" y="918"/>
                  </a:cubicBezTo>
                  <a:lnTo>
                    <a:pt x="1690" y="155"/>
                  </a:lnTo>
                  <a:cubicBezTo>
                    <a:pt x="1690" y="73"/>
                    <a:pt x="1623" y="0"/>
                    <a:pt x="153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1" name="Google Shape;921;p18"/>
          <p:cNvGrpSpPr/>
          <p:nvPr/>
        </p:nvGrpSpPr>
        <p:grpSpPr>
          <a:xfrm>
            <a:off x="7717666" y="4138691"/>
            <a:ext cx="1102495" cy="799972"/>
            <a:chOff x="713235" y="4265114"/>
            <a:chExt cx="1002450" cy="727379"/>
          </a:xfrm>
        </p:grpSpPr>
        <p:sp>
          <p:nvSpPr>
            <p:cNvPr id="922" name="Google Shape;922;p18"/>
            <p:cNvSpPr/>
            <p:nvPr/>
          </p:nvSpPr>
          <p:spPr>
            <a:xfrm>
              <a:off x="764253" y="4779808"/>
              <a:ext cx="113279" cy="212143"/>
            </a:xfrm>
            <a:custGeom>
              <a:avLst/>
              <a:gdLst/>
              <a:ahLst/>
              <a:cxnLst/>
              <a:rect l="l" t="t" r="r" b="b"/>
              <a:pathLst>
                <a:path w="1461" h="2736" extrusionOk="0">
                  <a:moveTo>
                    <a:pt x="0" y="1"/>
                  </a:moveTo>
                  <a:lnTo>
                    <a:pt x="0" y="2736"/>
                  </a:lnTo>
                  <a:lnTo>
                    <a:pt x="1460" y="2736"/>
                  </a:lnTo>
                  <a:lnTo>
                    <a:pt x="146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3" name="Google Shape;923;p18"/>
            <p:cNvSpPr/>
            <p:nvPr/>
          </p:nvSpPr>
          <p:spPr>
            <a:xfrm>
              <a:off x="1340571" y="4663191"/>
              <a:ext cx="372401" cy="162596"/>
            </a:xfrm>
            <a:custGeom>
              <a:avLst/>
              <a:gdLst/>
              <a:ahLst/>
              <a:cxnLst/>
              <a:rect l="l" t="t" r="r" b="b"/>
              <a:pathLst>
                <a:path w="4803" h="2097" extrusionOk="0">
                  <a:moveTo>
                    <a:pt x="2240" y="0"/>
                  </a:moveTo>
                  <a:cubicBezTo>
                    <a:pt x="2234" y="0"/>
                    <a:pt x="2229" y="0"/>
                    <a:pt x="2224" y="0"/>
                  </a:cubicBezTo>
                  <a:cubicBezTo>
                    <a:pt x="1838" y="7"/>
                    <a:pt x="1519" y="297"/>
                    <a:pt x="1459" y="667"/>
                  </a:cubicBezTo>
                  <a:cubicBezTo>
                    <a:pt x="1431" y="660"/>
                    <a:pt x="1407" y="660"/>
                    <a:pt x="1379" y="660"/>
                  </a:cubicBezTo>
                  <a:cubicBezTo>
                    <a:pt x="1045" y="667"/>
                    <a:pt x="778" y="941"/>
                    <a:pt x="771" y="1268"/>
                  </a:cubicBezTo>
                  <a:cubicBezTo>
                    <a:pt x="385" y="1386"/>
                    <a:pt x="90" y="1706"/>
                    <a:pt x="1" y="2097"/>
                  </a:cubicBezTo>
                  <a:lnTo>
                    <a:pt x="4802" y="2008"/>
                  </a:lnTo>
                  <a:cubicBezTo>
                    <a:pt x="4671" y="1525"/>
                    <a:pt x="4386" y="1172"/>
                    <a:pt x="3872" y="1172"/>
                  </a:cubicBezTo>
                  <a:cubicBezTo>
                    <a:pt x="3866" y="1172"/>
                    <a:pt x="3859" y="1172"/>
                    <a:pt x="3853" y="1172"/>
                  </a:cubicBezTo>
                  <a:lnTo>
                    <a:pt x="3808" y="1172"/>
                  </a:lnTo>
                  <a:cubicBezTo>
                    <a:pt x="3801" y="805"/>
                    <a:pt x="3504" y="512"/>
                    <a:pt x="3140" y="512"/>
                  </a:cubicBezTo>
                  <a:cubicBezTo>
                    <a:pt x="3136" y="512"/>
                    <a:pt x="3131" y="512"/>
                    <a:pt x="3127" y="512"/>
                  </a:cubicBezTo>
                  <a:cubicBezTo>
                    <a:pt x="3076" y="512"/>
                    <a:pt x="3031" y="519"/>
                    <a:pt x="2987" y="527"/>
                  </a:cubicBezTo>
                  <a:cubicBezTo>
                    <a:pt x="2876" y="220"/>
                    <a:pt x="2580" y="0"/>
                    <a:pt x="2240" y="0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4" name="Google Shape;924;p18"/>
            <p:cNvSpPr/>
            <p:nvPr/>
          </p:nvSpPr>
          <p:spPr>
            <a:xfrm>
              <a:off x="1340571" y="4662571"/>
              <a:ext cx="375114" cy="161045"/>
            </a:xfrm>
            <a:custGeom>
              <a:avLst/>
              <a:gdLst/>
              <a:ahLst/>
              <a:cxnLst/>
              <a:rect l="l" t="t" r="r" b="b"/>
              <a:pathLst>
                <a:path w="4838" h="2077" extrusionOk="0">
                  <a:moveTo>
                    <a:pt x="2254" y="1"/>
                  </a:moveTo>
                  <a:cubicBezTo>
                    <a:pt x="2249" y="1"/>
                    <a:pt x="2243" y="1"/>
                    <a:pt x="2238" y="1"/>
                  </a:cubicBezTo>
                  <a:cubicBezTo>
                    <a:pt x="1852" y="1"/>
                    <a:pt x="1534" y="291"/>
                    <a:pt x="1468" y="661"/>
                  </a:cubicBezTo>
                  <a:cubicBezTo>
                    <a:pt x="1445" y="654"/>
                    <a:pt x="1415" y="654"/>
                    <a:pt x="1386" y="654"/>
                  </a:cubicBezTo>
                  <a:cubicBezTo>
                    <a:pt x="1052" y="661"/>
                    <a:pt x="785" y="928"/>
                    <a:pt x="778" y="1260"/>
                  </a:cubicBezTo>
                  <a:cubicBezTo>
                    <a:pt x="392" y="1372"/>
                    <a:pt x="90" y="1683"/>
                    <a:pt x="1" y="2076"/>
                  </a:cubicBezTo>
                  <a:lnTo>
                    <a:pt x="4838" y="2025"/>
                  </a:lnTo>
                  <a:cubicBezTo>
                    <a:pt x="4715" y="1542"/>
                    <a:pt x="4394" y="1180"/>
                    <a:pt x="3879" y="1180"/>
                  </a:cubicBezTo>
                  <a:cubicBezTo>
                    <a:pt x="3872" y="1180"/>
                    <a:pt x="3866" y="1180"/>
                    <a:pt x="3860" y="1180"/>
                  </a:cubicBezTo>
                  <a:lnTo>
                    <a:pt x="3815" y="1180"/>
                  </a:lnTo>
                  <a:cubicBezTo>
                    <a:pt x="3815" y="808"/>
                    <a:pt x="3504" y="513"/>
                    <a:pt x="3134" y="513"/>
                  </a:cubicBezTo>
                  <a:cubicBezTo>
                    <a:pt x="3090" y="520"/>
                    <a:pt x="3038" y="520"/>
                    <a:pt x="2994" y="535"/>
                  </a:cubicBezTo>
                  <a:cubicBezTo>
                    <a:pt x="2883" y="221"/>
                    <a:pt x="2596" y="1"/>
                    <a:pt x="2254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5" name="Google Shape;925;p18"/>
            <p:cNvSpPr/>
            <p:nvPr/>
          </p:nvSpPr>
          <p:spPr>
            <a:xfrm>
              <a:off x="1448577" y="4713203"/>
              <a:ext cx="40861" cy="81569"/>
            </a:xfrm>
            <a:custGeom>
              <a:avLst/>
              <a:gdLst/>
              <a:ahLst/>
              <a:cxnLst/>
              <a:rect l="l" t="t" r="r" b="b"/>
              <a:pathLst>
                <a:path w="527" h="1052" extrusionOk="0">
                  <a:moveTo>
                    <a:pt x="0" y="1"/>
                  </a:moveTo>
                  <a:cubicBezTo>
                    <a:pt x="0" y="1"/>
                    <a:pt x="422" y="134"/>
                    <a:pt x="400" y="527"/>
                  </a:cubicBezTo>
                  <a:cubicBezTo>
                    <a:pt x="377" y="956"/>
                    <a:pt x="0" y="1052"/>
                    <a:pt x="0" y="1052"/>
                  </a:cubicBezTo>
                  <a:cubicBezTo>
                    <a:pt x="288" y="1052"/>
                    <a:pt x="527" y="815"/>
                    <a:pt x="527" y="527"/>
                  </a:cubicBezTo>
                  <a:cubicBezTo>
                    <a:pt x="527" y="230"/>
                    <a:pt x="288" y="1"/>
                    <a:pt x="0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" name="Google Shape;926;p18"/>
            <p:cNvSpPr/>
            <p:nvPr/>
          </p:nvSpPr>
          <p:spPr>
            <a:xfrm>
              <a:off x="1589303" y="4753988"/>
              <a:ext cx="121342" cy="61487"/>
            </a:xfrm>
            <a:custGeom>
              <a:avLst/>
              <a:gdLst/>
              <a:ahLst/>
              <a:cxnLst/>
              <a:rect l="l" t="t" r="r" b="b"/>
              <a:pathLst>
                <a:path w="1565" h="793" extrusionOk="0">
                  <a:moveTo>
                    <a:pt x="778" y="1"/>
                  </a:moveTo>
                  <a:cubicBezTo>
                    <a:pt x="355" y="1"/>
                    <a:pt x="8" y="339"/>
                    <a:pt x="1" y="764"/>
                  </a:cubicBezTo>
                  <a:cubicBezTo>
                    <a:pt x="1" y="764"/>
                    <a:pt x="196" y="147"/>
                    <a:pt x="738" y="147"/>
                  </a:cubicBezTo>
                  <a:cubicBezTo>
                    <a:pt x="753" y="147"/>
                    <a:pt x="769" y="148"/>
                    <a:pt x="785" y="149"/>
                  </a:cubicBezTo>
                  <a:cubicBezTo>
                    <a:pt x="1424" y="193"/>
                    <a:pt x="1564" y="793"/>
                    <a:pt x="1564" y="793"/>
                  </a:cubicBezTo>
                  <a:cubicBezTo>
                    <a:pt x="1564" y="357"/>
                    <a:pt x="1223" y="8"/>
                    <a:pt x="794" y="1"/>
                  </a:cubicBezTo>
                  <a:cubicBezTo>
                    <a:pt x="789" y="1"/>
                    <a:pt x="783" y="1"/>
                    <a:pt x="778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7" name="Google Shape;927;p18"/>
            <p:cNvSpPr/>
            <p:nvPr/>
          </p:nvSpPr>
          <p:spPr>
            <a:xfrm>
              <a:off x="789607" y="4431664"/>
              <a:ext cx="69006" cy="69551"/>
            </a:xfrm>
            <a:custGeom>
              <a:avLst/>
              <a:gdLst/>
              <a:ahLst/>
              <a:cxnLst/>
              <a:rect l="l" t="t" r="r" b="b"/>
              <a:pathLst>
                <a:path w="890" h="897" extrusionOk="0">
                  <a:moveTo>
                    <a:pt x="445" y="0"/>
                  </a:moveTo>
                  <a:cubicBezTo>
                    <a:pt x="200" y="0"/>
                    <a:pt x="0" y="201"/>
                    <a:pt x="0" y="452"/>
                  </a:cubicBezTo>
                  <a:cubicBezTo>
                    <a:pt x="0" y="697"/>
                    <a:pt x="200" y="897"/>
                    <a:pt x="445" y="897"/>
                  </a:cubicBezTo>
                  <a:cubicBezTo>
                    <a:pt x="689" y="897"/>
                    <a:pt x="890" y="697"/>
                    <a:pt x="890" y="452"/>
                  </a:cubicBezTo>
                  <a:cubicBezTo>
                    <a:pt x="890" y="201"/>
                    <a:pt x="689" y="0"/>
                    <a:pt x="445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" name="Google Shape;928;p18"/>
            <p:cNvSpPr/>
            <p:nvPr/>
          </p:nvSpPr>
          <p:spPr>
            <a:xfrm>
              <a:off x="889007" y="4365602"/>
              <a:ext cx="133825" cy="70637"/>
            </a:xfrm>
            <a:custGeom>
              <a:avLst/>
              <a:gdLst/>
              <a:ahLst/>
              <a:cxnLst/>
              <a:rect l="l" t="t" r="r" b="b"/>
              <a:pathLst>
                <a:path w="1726" h="911" extrusionOk="0">
                  <a:moveTo>
                    <a:pt x="459" y="0"/>
                  </a:moveTo>
                  <a:cubicBezTo>
                    <a:pt x="207" y="0"/>
                    <a:pt x="1" y="209"/>
                    <a:pt x="1" y="452"/>
                  </a:cubicBezTo>
                  <a:cubicBezTo>
                    <a:pt x="1" y="705"/>
                    <a:pt x="207" y="911"/>
                    <a:pt x="459" y="911"/>
                  </a:cubicBezTo>
                  <a:lnTo>
                    <a:pt x="1274" y="911"/>
                  </a:lnTo>
                  <a:cubicBezTo>
                    <a:pt x="1526" y="911"/>
                    <a:pt x="1726" y="705"/>
                    <a:pt x="1726" y="452"/>
                  </a:cubicBezTo>
                  <a:cubicBezTo>
                    <a:pt x="1726" y="209"/>
                    <a:pt x="1526" y="0"/>
                    <a:pt x="1274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" name="Google Shape;929;p18"/>
            <p:cNvSpPr/>
            <p:nvPr/>
          </p:nvSpPr>
          <p:spPr>
            <a:xfrm>
              <a:off x="969411" y="4265114"/>
              <a:ext cx="233380" cy="70094"/>
            </a:xfrm>
            <a:custGeom>
              <a:avLst/>
              <a:gdLst/>
              <a:ahLst/>
              <a:cxnLst/>
              <a:rect l="l" t="t" r="r" b="b"/>
              <a:pathLst>
                <a:path w="3010" h="904" extrusionOk="0">
                  <a:moveTo>
                    <a:pt x="452" y="0"/>
                  </a:moveTo>
                  <a:cubicBezTo>
                    <a:pt x="208" y="0"/>
                    <a:pt x="0" y="199"/>
                    <a:pt x="0" y="452"/>
                  </a:cubicBezTo>
                  <a:cubicBezTo>
                    <a:pt x="0" y="704"/>
                    <a:pt x="208" y="903"/>
                    <a:pt x="452" y="903"/>
                  </a:cubicBezTo>
                  <a:lnTo>
                    <a:pt x="2549" y="903"/>
                  </a:lnTo>
                  <a:cubicBezTo>
                    <a:pt x="2801" y="903"/>
                    <a:pt x="3009" y="704"/>
                    <a:pt x="3009" y="452"/>
                  </a:cubicBezTo>
                  <a:cubicBezTo>
                    <a:pt x="3009" y="199"/>
                    <a:pt x="2801" y="0"/>
                    <a:pt x="2549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0" name="Google Shape;930;p18"/>
            <p:cNvSpPr/>
            <p:nvPr/>
          </p:nvSpPr>
          <p:spPr>
            <a:xfrm>
              <a:off x="713235" y="4509279"/>
              <a:ext cx="79861" cy="483214"/>
            </a:xfrm>
            <a:custGeom>
              <a:avLst/>
              <a:gdLst/>
              <a:ahLst/>
              <a:cxnLst/>
              <a:rect l="l" t="t" r="r" b="b"/>
              <a:pathLst>
                <a:path w="1030" h="6232" extrusionOk="0">
                  <a:moveTo>
                    <a:pt x="274" y="1"/>
                  </a:moveTo>
                  <a:lnTo>
                    <a:pt x="0" y="6216"/>
                  </a:lnTo>
                  <a:lnTo>
                    <a:pt x="1030" y="6232"/>
                  </a:lnTo>
                  <a:lnTo>
                    <a:pt x="896" y="8"/>
                  </a:lnTo>
                  <a:lnTo>
                    <a:pt x="274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" name="Google Shape;931;p18"/>
            <p:cNvSpPr/>
            <p:nvPr/>
          </p:nvSpPr>
          <p:spPr>
            <a:xfrm>
              <a:off x="713235" y="4991175"/>
              <a:ext cx="39620" cy="1318"/>
            </a:xfrm>
            <a:custGeom>
              <a:avLst/>
              <a:gdLst/>
              <a:ahLst/>
              <a:cxnLst/>
              <a:rect l="l" t="t" r="r" b="b"/>
              <a:pathLst>
                <a:path w="511" h="17" extrusionOk="0">
                  <a:moveTo>
                    <a:pt x="0" y="1"/>
                  </a:moveTo>
                  <a:lnTo>
                    <a:pt x="0" y="10"/>
                  </a:lnTo>
                  <a:lnTo>
                    <a:pt x="511" y="17"/>
                  </a:lnTo>
                  <a:lnTo>
                    <a:pt x="511" y="1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A585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" name="Google Shape;932;p18"/>
            <p:cNvSpPr/>
            <p:nvPr/>
          </p:nvSpPr>
          <p:spPr>
            <a:xfrm>
              <a:off x="713235" y="4509279"/>
              <a:ext cx="45436" cy="482671"/>
            </a:xfrm>
            <a:custGeom>
              <a:avLst/>
              <a:gdLst/>
              <a:ahLst/>
              <a:cxnLst/>
              <a:rect l="l" t="t" r="r" b="b"/>
              <a:pathLst>
                <a:path w="586" h="6225" extrusionOk="0">
                  <a:moveTo>
                    <a:pt x="274" y="1"/>
                  </a:moveTo>
                  <a:lnTo>
                    <a:pt x="0" y="6216"/>
                  </a:lnTo>
                  <a:lnTo>
                    <a:pt x="511" y="6225"/>
                  </a:lnTo>
                  <a:lnTo>
                    <a:pt x="585" y="8"/>
                  </a:lnTo>
                  <a:lnTo>
                    <a:pt x="274" y="1"/>
                  </a:lnTo>
                  <a:close/>
                </a:path>
              </a:pathLst>
            </a:custGeom>
            <a:solidFill>
              <a:srgbClr val="92939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" name="Google Shape;933;p18"/>
            <p:cNvSpPr/>
            <p:nvPr/>
          </p:nvSpPr>
          <p:spPr>
            <a:xfrm>
              <a:off x="728122" y="4625275"/>
              <a:ext cx="57531" cy="28844"/>
            </a:xfrm>
            <a:custGeom>
              <a:avLst/>
              <a:gdLst/>
              <a:ahLst/>
              <a:cxnLst/>
              <a:rect l="l" t="t" r="r" b="b"/>
              <a:pathLst>
                <a:path w="742" h="372" extrusionOk="0">
                  <a:moveTo>
                    <a:pt x="22" y="0"/>
                  </a:moveTo>
                  <a:lnTo>
                    <a:pt x="0" y="363"/>
                  </a:lnTo>
                  <a:lnTo>
                    <a:pt x="370" y="372"/>
                  </a:lnTo>
                  <a:lnTo>
                    <a:pt x="742" y="372"/>
                  </a:lnTo>
                  <a:lnTo>
                    <a:pt x="733" y="7"/>
                  </a:lnTo>
                  <a:lnTo>
                    <a:pt x="377" y="7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" name="Google Shape;934;p18"/>
            <p:cNvSpPr/>
            <p:nvPr/>
          </p:nvSpPr>
          <p:spPr>
            <a:xfrm>
              <a:off x="724633" y="4690717"/>
              <a:ext cx="62726" cy="42025"/>
            </a:xfrm>
            <a:custGeom>
              <a:avLst/>
              <a:gdLst/>
              <a:ahLst/>
              <a:cxnLst/>
              <a:rect l="l" t="t" r="r" b="b"/>
              <a:pathLst>
                <a:path w="809" h="542" extrusionOk="0">
                  <a:moveTo>
                    <a:pt x="22" y="1"/>
                  </a:moveTo>
                  <a:lnTo>
                    <a:pt x="1" y="527"/>
                  </a:lnTo>
                  <a:lnTo>
                    <a:pt x="408" y="534"/>
                  </a:lnTo>
                  <a:lnTo>
                    <a:pt x="808" y="541"/>
                  </a:lnTo>
                  <a:lnTo>
                    <a:pt x="794" y="8"/>
                  </a:lnTo>
                  <a:lnTo>
                    <a:pt x="408" y="8"/>
                  </a:lnTo>
                  <a:lnTo>
                    <a:pt x="2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" name="Google Shape;935;p18"/>
            <p:cNvSpPr/>
            <p:nvPr/>
          </p:nvSpPr>
          <p:spPr>
            <a:xfrm>
              <a:off x="877454" y="4677536"/>
              <a:ext cx="339138" cy="314415"/>
            </a:xfrm>
            <a:custGeom>
              <a:avLst/>
              <a:gdLst/>
              <a:ahLst/>
              <a:cxnLst/>
              <a:rect l="l" t="t" r="r" b="b"/>
              <a:pathLst>
                <a:path w="4374" h="4055" extrusionOk="0">
                  <a:moveTo>
                    <a:pt x="0" y="0"/>
                  </a:moveTo>
                  <a:lnTo>
                    <a:pt x="0" y="4055"/>
                  </a:lnTo>
                  <a:lnTo>
                    <a:pt x="4373" y="4055"/>
                  </a:lnTo>
                  <a:lnTo>
                    <a:pt x="4373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6" name="Google Shape;936;p18"/>
            <p:cNvSpPr/>
            <p:nvPr/>
          </p:nvSpPr>
          <p:spPr>
            <a:xfrm>
              <a:off x="1132545" y="4678233"/>
              <a:ext cx="84591" cy="314259"/>
            </a:xfrm>
            <a:custGeom>
              <a:avLst/>
              <a:gdLst/>
              <a:ahLst/>
              <a:cxnLst/>
              <a:rect l="l" t="t" r="r" b="b"/>
              <a:pathLst>
                <a:path w="1091" h="4053" extrusionOk="0">
                  <a:moveTo>
                    <a:pt x="0" y="0"/>
                  </a:moveTo>
                  <a:lnTo>
                    <a:pt x="0" y="4053"/>
                  </a:lnTo>
                  <a:lnTo>
                    <a:pt x="1090" y="4053"/>
                  </a:lnTo>
                  <a:lnTo>
                    <a:pt x="1090" y="0"/>
                  </a:ln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7" name="Google Shape;937;p18"/>
            <p:cNvSpPr/>
            <p:nvPr/>
          </p:nvSpPr>
          <p:spPr>
            <a:xfrm>
              <a:off x="863110" y="4670635"/>
              <a:ext cx="367283" cy="13259"/>
            </a:xfrm>
            <a:custGeom>
              <a:avLst/>
              <a:gdLst/>
              <a:ahLst/>
              <a:cxnLst/>
              <a:rect l="l" t="t" r="r" b="b"/>
              <a:pathLst>
                <a:path w="4737" h="171" extrusionOk="0">
                  <a:moveTo>
                    <a:pt x="89" y="0"/>
                  </a:moveTo>
                  <a:cubicBezTo>
                    <a:pt x="45" y="0"/>
                    <a:pt x="0" y="38"/>
                    <a:pt x="0" y="89"/>
                  </a:cubicBezTo>
                  <a:cubicBezTo>
                    <a:pt x="0" y="134"/>
                    <a:pt x="45" y="171"/>
                    <a:pt x="89" y="171"/>
                  </a:cubicBezTo>
                  <a:lnTo>
                    <a:pt x="4647" y="171"/>
                  </a:lnTo>
                  <a:cubicBezTo>
                    <a:pt x="4699" y="171"/>
                    <a:pt x="4736" y="134"/>
                    <a:pt x="4736" y="89"/>
                  </a:cubicBezTo>
                  <a:cubicBezTo>
                    <a:pt x="4736" y="38"/>
                    <a:pt x="4699" y="0"/>
                    <a:pt x="4647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8" name="Google Shape;938;p18"/>
            <p:cNvSpPr/>
            <p:nvPr/>
          </p:nvSpPr>
          <p:spPr>
            <a:xfrm>
              <a:off x="1172242" y="4737937"/>
              <a:ext cx="21322" cy="31635"/>
            </a:xfrm>
            <a:custGeom>
              <a:avLst/>
              <a:gdLst/>
              <a:ahLst/>
              <a:cxnLst/>
              <a:rect l="l" t="t" r="r" b="b"/>
              <a:pathLst>
                <a:path w="275" h="408" extrusionOk="0">
                  <a:moveTo>
                    <a:pt x="0" y="0"/>
                  </a:moveTo>
                  <a:lnTo>
                    <a:pt x="0" y="407"/>
                  </a:lnTo>
                  <a:lnTo>
                    <a:pt x="274" y="407"/>
                  </a:lnTo>
                  <a:lnTo>
                    <a:pt x="274" y="0"/>
                  </a:lnTo>
                  <a:close/>
                </a:path>
              </a:pathLst>
            </a:custGeom>
            <a:solidFill>
              <a:srgbClr val="AE919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9" name="Google Shape;939;p18"/>
            <p:cNvSpPr/>
            <p:nvPr/>
          </p:nvSpPr>
          <p:spPr>
            <a:xfrm>
              <a:off x="1133785" y="4737937"/>
              <a:ext cx="21322" cy="31635"/>
            </a:xfrm>
            <a:custGeom>
              <a:avLst/>
              <a:gdLst/>
              <a:ahLst/>
              <a:cxnLst/>
              <a:rect l="l" t="t" r="r" b="b"/>
              <a:pathLst>
                <a:path w="275" h="408" extrusionOk="0">
                  <a:moveTo>
                    <a:pt x="0" y="0"/>
                  </a:moveTo>
                  <a:lnTo>
                    <a:pt x="0" y="407"/>
                  </a:lnTo>
                  <a:lnTo>
                    <a:pt x="274" y="407"/>
                  </a:lnTo>
                  <a:lnTo>
                    <a:pt x="274" y="0"/>
                  </a:lnTo>
                  <a:close/>
                </a:path>
              </a:pathLst>
            </a:custGeom>
            <a:solidFill>
              <a:srgbClr val="AE919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0" name="Google Shape;940;p18"/>
            <p:cNvSpPr/>
            <p:nvPr/>
          </p:nvSpPr>
          <p:spPr>
            <a:xfrm>
              <a:off x="1094630" y="4737937"/>
              <a:ext cx="21245" cy="31635"/>
            </a:xfrm>
            <a:custGeom>
              <a:avLst/>
              <a:gdLst/>
              <a:ahLst/>
              <a:cxnLst/>
              <a:rect l="l" t="t" r="r" b="b"/>
              <a:pathLst>
                <a:path w="274" h="408" extrusionOk="0">
                  <a:moveTo>
                    <a:pt x="0" y="0"/>
                  </a:moveTo>
                  <a:lnTo>
                    <a:pt x="0" y="407"/>
                  </a:lnTo>
                  <a:lnTo>
                    <a:pt x="274" y="407"/>
                  </a:lnTo>
                  <a:lnTo>
                    <a:pt x="274" y="0"/>
                  </a:lnTo>
                  <a:close/>
                </a:path>
              </a:pathLst>
            </a:custGeom>
            <a:solidFill>
              <a:srgbClr val="A47F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" name="Google Shape;941;p18"/>
            <p:cNvSpPr/>
            <p:nvPr/>
          </p:nvSpPr>
          <p:spPr>
            <a:xfrm>
              <a:off x="1056095" y="4737937"/>
              <a:ext cx="21322" cy="31635"/>
            </a:xfrm>
            <a:custGeom>
              <a:avLst/>
              <a:gdLst/>
              <a:ahLst/>
              <a:cxnLst/>
              <a:rect l="l" t="t" r="r" b="b"/>
              <a:pathLst>
                <a:path w="275" h="408" extrusionOk="0">
                  <a:moveTo>
                    <a:pt x="1" y="0"/>
                  </a:moveTo>
                  <a:lnTo>
                    <a:pt x="1" y="407"/>
                  </a:lnTo>
                  <a:lnTo>
                    <a:pt x="275" y="407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A47F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2" name="Google Shape;942;p18"/>
            <p:cNvSpPr/>
            <p:nvPr/>
          </p:nvSpPr>
          <p:spPr>
            <a:xfrm>
              <a:off x="1017095" y="4737937"/>
              <a:ext cx="21322" cy="31635"/>
            </a:xfrm>
            <a:custGeom>
              <a:avLst/>
              <a:gdLst/>
              <a:ahLst/>
              <a:cxnLst/>
              <a:rect l="l" t="t" r="r" b="b"/>
              <a:pathLst>
                <a:path w="275" h="408" extrusionOk="0">
                  <a:moveTo>
                    <a:pt x="1" y="0"/>
                  </a:moveTo>
                  <a:lnTo>
                    <a:pt x="1" y="407"/>
                  </a:lnTo>
                  <a:lnTo>
                    <a:pt x="275" y="407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A47F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" name="Google Shape;943;p18"/>
            <p:cNvSpPr/>
            <p:nvPr/>
          </p:nvSpPr>
          <p:spPr>
            <a:xfrm>
              <a:off x="978638" y="4737937"/>
              <a:ext cx="21322" cy="31635"/>
            </a:xfrm>
            <a:custGeom>
              <a:avLst/>
              <a:gdLst/>
              <a:ahLst/>
              <a:cxnLst/>
              <a:rect l="l" t="t" r="r" b="b"/>
              <a:pathLst>
                <a:path w="275" h="408" extrusionOk="0">
                  <a:moveTo>
                    <a:pt x="1" y="0"/>
                  </a:moveTo>
                  <a:lnTo>
                    <a:pt x="1" y="407"/>
                  </a:lnTo>
                  <a:lnTo>
                    <a:pt x="274" y="407"/>
                  </a:lnTo>
                  <a:lnTo>
                    <a:pt x="274" y="0"/>
                  </a:lnTo>
                  <a:close/>
                </a:path>
              </a:pathLst>
            </a:custGeom>
            <a:solidFill>
              <a:srgbClr val="A47F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" name="Google Shape;944;p18"/>
            <p:cNvSpPr/>
            <p:nvPr/>
          </p:nvSpPr>
          <p:spPr>
            <a:xfrm>
              <a:off x="940025" y="4737937"/>
              <a:ext cx="21477" cy="31635"/>
            </a:xfrm>
            <a:custGeom>
              <a:avLst/>
              <a:gdLst/>
              <a:ahLst/>
              <a:cxnLst/>
              <a:rect l="l" t="t" r="r" b="b"/>
              <a:pathLst>
                <a:path w="277" h="408" extrusionOk="0">
                  <a:moveTo>
                    <a:pt x="1" y="0"/>
                  </a:moveTo>
                  <a:lnTo>
                    <a:pt x="1" y="407"/>
                  </a:lnTo>
                  <a:lnTo>
                    <a:pt x="276" y="407"/>
                  </a:lnTo>
                  <a:lnTo>
                    <a:pt x="276" y="0"/>
                  </a:lnTo>
                  <a:close/>
                </a:path>
              </a:pathLst>
            </a:custGeom>
            <a:solidFill>
              <a:srgbClr val="A47F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5" name="Google Shape;945;p18"/>
            <p:cNvSpPr/>
            <p:nvPr/>
          </p:nvSpPr>
          <p:spPr>
            <a:xfrm>
              <a:off x="901025" y="4737937"/>
              <a:ext cx="21322" cy="31635"/>
            </a:xfrm>
            <a:custGeom>
              <a:avLst/>
              <a:gdLst/>
              <a:ahLst/>
              <a:cxnLst/>
              <a:rect l="l" t="t" r="r" b="b"/>
              <a:pathLst>
                <a:path w="275" h="408" extrusionOk="0">
                  <a:moveTo>
                    <a:pt x="0" y="0"/>
                  </a:moveTo>
                  <a:lnTo>
                    <a:pt x="0" y="407"/>
                  </a:lnTo>
                  <a:lnTo>
                    <a:pt x="274" y="407"/>
                  </a:lnTo>
                  <a:lnTo>
                    <a:pt x="274" y="0"/>
                  </a:lnTo>
                  <a:close/>
                </a:path>
              </a:pathLst>
            </a:custGeom>
            <a:solidFill>
              <a:srgbClr val="A47F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6" name="Google Shape;946;p18"/>
            <p:cNvSpPr/>
            <p:nvPr/>
          </p:nvSpPr>
          <p:spPr>
            <a:xfrm>
              <a:off x="1172242" y="4798882"/>
              <a:ext cx="21322" cy="31635"/>
            </a:xfrm>
            <a:custGeom>
              <a:avLst/>
              <a:gdLst/>
              <a:ahLst/>
              <a:cxnLst/>
              <a:rect l="l" t="t" r="r" b="b"/>
              <a:pathLst>
                <a:path w="275" h="408" extrusionOk="0">
                  <a:moveTo>
                    <a:pt x="0" y="0"/>
                  </a:moveTo>
                  <a:lnTo>
                    <a:pt x="0" y="407"/>
                  </a:lnTo>
                  <a:lnTo>
                    <a:pt x="274" y="407"/>
                  </a:lnTo>
                  <a:lnTo>
                    <a:pt x="274" y="0"/>
                  </a:lnTo>
                  <a:close/>
                </a:path>
              </a:pathLst>
            </a:custGeom>
            <a:solidFill>
              <a:srgbClr val="AE919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7" name="Google Shape;947;p18"/>
            <p:cNvSpPr/>
            <p:nvPr/>
          </p:nvSpPr>
          <p:spPr>
            <a:xfrm>
              <a:off x="1133785" y="4798882"/>
              <a:ext cx="21322" cy="31635"/>
            </a:xfrm>
            <a:custGeom>
              <a:avLst/>
              <a:gdLst/>
              <a:ahLst/>
              <a:cxnLst/>
              <a:rect l="l" t="t" r="r" b="b"/>
              <a:pathLst>
                <a:path w="275" h="408" extrusionOk="0">
                  <a:moveTo>
                    <a:pt x="0" y="0"/>
                  </a:moveTo>
                  <a:lnTo>
                    <a:pt x="0" y="407"/>
                  </a:lnTo>
                  <a:lnTo>
                    <a:pt x="274" y="407"/>
                  </a:lnTo>
                  <a:lnTo>
                    <a:pt x="274" y="0"/>
                  </a:lnTo>
                  <a:close/>
                </a:path>
              </a:pathLst>
            </a:custGeom>
            <a:solidFill>
              <a:srgbClr val="AE919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8" name="Google Shape;948;p18"/>
            <p:cNvSpPr/>
            <p:nvPr/>
          </p:nvSpPr>
          <p:spPr>
            <a:xfrm>
              <a:off x="1094630" y="4798882"/>
              <a:ext cx="21245" cy="31635"/>
            </a:xfrm>
            <a:custGeom>
              <a:avLst/>
              <a:gdLst/>
              <a:ahLst/>
              <a:cxnLst/>
              <a:rect l="l" t="t" r="r" b="b"/>
              <a:pathLst>
                <a:path w="274" h="408" extrusionOk="0">
                  <a:moveTo>
                    <a:pt x="0" y="0"/>
                  </a:moveTo>
                  <a:lnTo>
                    <a:pt x="0" y="407"/>
                  </a:lnTo>
                  <a:lnTo>
                    <a:pt x="274" y="407"/>
                  </a:lnTo>
                  <a:lnTo>
                    <a:pt x="274" y="0"/>
                  </a:lnTo>
                  <a:close/>
                </a:path>
              </a:pathLst>
            </a:custGeom>
            <a:solidFill>
              <a:srgbClr val="A47F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9" name="Google Shape;949;p18"/>
            <p:cNvSpPr/>
            <p:nvPr/>
          </p:nvSpPr>
          <p:spPr>
            <a:xfrm>
              <a:off x="1056095" y="4798882"/>
              <a:ext cx="21322" cy="31635"/>
            </a:xfrm>
            <a:custGeom>
              <a:avLst/>
              <a:gdLst/>
              <a:ahLst/>
              <a:cxnLst/>
              <a:rect l="l" t="t" r="r" b="b"/>
              <a:pathLst>
                <a:path w="275" h="408" extrusionOk="0">
                  <a:moveTo>
                    <a:pt x="1" y="0"/>
                  </a:moveTo>
                  <a:lnTo>
                    <a:pt x="1" y="407"/>
                  </a:lnTo>
                  <a:lnTo>
                    <a:pt x="275" y="407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A47F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0" name="Google Shape;950;p18"/>
            <p:cNvSpPr/>
            <p:nvPr/>
          </p:nvSpPr>
          <p:spPr>
            <a:xfrm>
              <a:off x="1017095" y="4798882"/>
              <a:ext cx="21322" cy="31635"/>
            </a:xfrm>
            <a:custGeom>
              <a:avLst/>
              <a:gdLst/>
              <a:ahLst/>
              <a:cxnLst/>
              <a:rect l="l" t="t" r="r" b="b"/>
              <a:pathLst>
                <a:path w="275" h="408" extrusionOk="0">
                  <a:moveTo>
                    <a:pt x="1" y="0"/>
                  </a:moveTo>
                  <a:lnTo>
                    <a:pt x="1" y="407"/>
                  </a:lnTo>
                  <a:lnTo>
                    <a:pt x="275" y="407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A47F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1" name="Google Shape;951;p18"/>
            <p:cNvSpPr/>
            <p:nvPr/>
          </p:nvSpPr>
          <p:spPr>
            <a:xfrm>
              <a:off x="978638" y="4798882"/>
              <a:ext cx="21322" cy="31635"/>
            </a:xfrm>
            <a:custGeom>
              <a:avLst/>
              <a:gdLst/>
              <a:ahLst/>
              <a:cxnLst/>
              <a:rect l="l" t="t" r="r" b="b"/>
              <a:pathLst>
                <a:path w="275" h="408" extrusionOk="0">
                  <a:moveTo>
                    <a:pt x="1" y="0"/>
                  </a:moveTo>
                  <a:lnTo>
                    <a:pt x="1" y="407"/>
                  </a:lnTo>
                  <a:lnTo>
                    <a:pt x="274" y="407"/>
                  </a:lnTo>
                  <a:lnTo>
                    <a:pt x="274" y="0"/>
                  </a:lnTo>
                  <a:close/>
                </a:path>
              </a:pathLst>
            </a:custGeom>
            <a:solidFill>
              <a:srgbClr val="A47F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2" name="Google Shape;952;p18"/>
            <p:cNvSpPr/>
            <p:nvPr/>
          </p:nvSpPr>
          <p:spPr>
            <a:xfrm>
              <a:off x="940025" y="4798882"/>
              <a:ext cx="21477" cy="31635"/>
            </a:xfrm>
            <a:custGeom>
              <a:avLst/>
              <a:gdLst/>
              <a:ahLst/>
              <a:cxnLst/>
              <a:rect l="l" t="t" r="r" b="b"/>
              <a:pathLst>
                <a:path w="277" h="408" extrusionOk="0">
                  <a:moveTo>
                    <a:pt x="1" y="0"/>
                  </a:moveTo>
                  <a:lnTo>
                    <a:pt x="1" y="407"/>
                  </a:lnTo>
                  <a:lnTo>
                    <a:pt x="276" y="407"/>
                  </a:lnTo>
                  <a:lnTo>
                    <a:pt x="276" y="0"/>
                  </a:lnTo>
                  <a:close/>
                </a:path>
              </a:pathLst>
            </a:custGeom>
            <a:solidFill>
              <a:srgbClr val="A47F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3" name="Google Shape;953;p18"/>
            <p:cNvSpPr/>
            <p:nvPr/>
          </p:nvSpPr>
          <p:spPr>
            <a:xfrm>
              <a:off x="901025" y="4798882"/>
              <a:ext cx="21322" cy="31635"/>
            </a:xfrm>
            <a:custGeom>
              <a:avLst/>
              <a:gdLst/>
              <a:ahLst/>
              <a:cxnLst/>
              <a:rect l="l" t="t" r="r" b="b"/>
              <a:pathLst>
                <a:path w="275" h="408" extrusionOk="0">
                  <a:moveTo>
                    <a:pt x="0" y="0"/>
                  </a:moveTo>
                  <a:lnTo>
                    <a:pt x="0" y="407"/>
                  </a:lnTo>
                  <a:lnTo>
                    <a:pt x="274" y="407"/>
                  </a:lnTo>
                  <a:lnTo>
                    <a:pt x="274" y="0"/>
                  </a:lnTo>
                  <a:close/>
                </a:path>
              </a:pathLst>
            </a:custGeom>
            <a:solidFill>
              <a:srgbClr val="A47F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4" name="Google Shape;954;p18"/>
            <p:cNvSpPr/>
            <p:nvPr/>
          </p:nvSpPr>
          <p:spPr>
            <a:xfrm>
              <a:off x="1172242" y="4859128"/>
              <a:ext cx="21322" cy="31635"/>
            </a:xfrm>
            <a:custGeom>
              <a:avLst/>
              <a:gdLst/>
              <a:ahLst/>
              <a:cxnLst/>
              <a:rect l="l" t="t" r="r" b="b"/>
              <a:pathLst>
                <a:path w="275" h="408" extrusionOk="0">
                  <a:moveTo>
                    <a:pt x="0" y="0"/>
                  </a:moveTo>
                  <a:lnTo>
                    <a:pt x="0" y="407"/>
                  </a:lnTo>
                  <a:lnTo>
                    <a:pt x="274" y="407"/>
                  </a:lnTo>
                  <a:lnTo>
                    <a:pt x="274" y="0"/>
                  </a:lnTo>
                  <a:close/>
                </a:path>
              </a:pathLst>
            </a:custGeom>
            <a:solidFill>
              <a:srgbClr val="AE919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5" name="Google Shape;955;p18"/>
            <p:cNvSpPr/>
            <p:nvPr/>
          </p:nvSpPr>
          <p:spPr>
            <a:xfrm>
              <a:off x="1133785" y="4859128"/>
              <a:ext cx="21322" cy="31635"/>
            </a:xfrm>
            <a:custGeom>
              <a:avLst/>
              <a:gdLst/>
              <a:ahLst/>
              <a:cxnLst/>
              <a:rect l="l" t="t" r="r" b="b"/>
              <a:pathLst>
                <a:path w="275" h="408" extrusionOk="0">
                  <a:moveTo>
                    <a:pt x="0" y="0"/>
                  </a:moveTo>
                  <a:lnTo>
                    <a:pt x="0" y="407"/>
                  </a:lnTo>
                  <a:lnTo>
                    <a:pt x="274" y="407"/>
                  </a:lnTo>
                  <a:lnTo>
                    <a:pt x="274" y="0"/>
                  </a:lnTo>
                  <a:close/>
                </a:path>
              </a:pathLst>
            </a:custGeom>
            <a:solidFill>
              <a:srgbClr val="AE919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6" name="Google Shape;956;p18"/>
            <p:cNvSpPr/>
            <p:nvPr/>
          </p:nvSpPr>
          <p:spPr>
            <a:xfrm>
              <a:off x="1094630" y="4859128"/>
              <a:ext cx="21245" cy="31635"/>
            </a:xfrm>
            <a:custGeom>
              <a:avLst/>
              <a:gdLst/>
              <a:ahLst/>
              <a:cxnLst/>
              <a:rect l="l" t="t" r="r" b="b"/>
              <a:pathLst>
                <a:path w="274" h="408" extrusionOk="0">
                  <a:moveTo>
                    <a:pt x="0" y="0"/>
                  </a:moveTo>
                  <a:lnTo>
                    <a:pt x="0" y="407"/>
                  </a:lnTo>
                  <a:lnTo>
                    <a:pt x="274" y="407"/>
                  </a:lnTo>
                  <a:lnTo>
                    <a:pt x="274" y="0"/>
                  </a:lnTo>
                  <a:close/>
                </a:path>
              </a:pathLst>
            </a:custGeom>
            <a:solidFill>
              <a:srgbClr val="A47F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7" name="Google Shape;957;p18"/>
            <p:cNvSpPr/>
            <p:nvPr/>
          </p:nvSpPr>
          <p:spPr>
            <a:xfrm>
              <a:off x="1056095" y="4859128"/>
              <a:ext cx="21322" cy="31635"/>
            </a:xfrm>
            <a:custGeom>
              <a:avLst/>
              <a:gdLst/>
              <a:ahLst/>
              <a:cxnLst/>
              <a:rect l="l" t="t" r="r" b="b"/>
              <a:pathLst>
                <a:path w="275" h="408" extrusionOk="0">
                  <a:moveTo>
                    <a:pt x="1" y="0"/>
                  </a:moveTo>
                  <a:lnTo>
                    <a:pt x="1" y="407"/>
                  </a:lnTo>
                  <a:lnTo>
                    <a:pt x="275" y="407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A47F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" name="Google Shape;958;p18"/>
            <p:cNvSpPr/>
            <p:nvPr/>
          </p:nvSpPr>
          <p:spPr>
            <a:xfrm>
              <a:off x="1017095" y="4859128"/>
              <a:ext cx="21322" cy="31635"/>
            </a:xfrm>
            <a:custGeom>
              <a:avLst/>
              <a:gdLst/>
              <a:ahLst/>
              <a:cxnLst/>
              <a:rect l="l" t="t" r="r" b="b"/>
              <a:pathLst>
                <a:path w="275" h="408" extrusionOk="0">
                  <a:moveTo>
                    <a:pt x="1" y="0"/>
                  </a:moveTo>
                  <a:lnTo>
                    <a:pt x="1" y="407"/>
                  </a:lnTo>
                  <a:lnTo>
                    <a:pt x="275" y="407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A47F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" name="Google Shape;959;p18"/>
            <p:cNvSpPr/>
            <p:nvPr/>
          </p:nvSpPr>
          <p:spPr>
            <a:xfrm>
              <a:off x="978638" y="4859128"/>
              <a:ext cx="21322" cy="31635"/>
            </a:xfrm>
            <a:custGeom>
              <a:avLst/>
              <a:gdLst/>
              <a:ahLst/>
              <a:cxnLst/>
              <a:rect l="l" t="t" r="r" b="b"/>
              <a:pathLst>
                <a:path w="275" h="408" extrusionOk="0">
                  <a:moveTo>
                    <a:pt x="1" y="0"/>
                  </a:moveTo>
                  <a:lnTo>
                    <a:pt x="1" y="407"/>
                  </a:lnTo>
                  <a:lnTo>
                    <a:pt x="274" y="407"/>
                  </a:lnTo>
                  <a:lnTo>
                    <a:pt x="274" y="0"/>
                  </a:lnTo>
                  <a:close/>
                </a:path>
              </a:pathLst>
            </a:custGeom>
            <a:solidFill>
              <a:srgbClr val="A47F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" name="Google Shape;960;p18"/>
            <p:cNvSpPr/>
            <p:nvPr/>
          </p:nvSpPr>
          <p:spPr>
            <a:xfrm>
              <a:off x="940025" y="4859128"/>
              <a:ext cx="21477" cy="31635"/>
            </a:xfrm>
            <a:custGeom>
              <a:avLst/>
              <a:gdLst/>
              <a:ahLst/>
              <a:cxnLst/>
              <a:rect l="l" t="t" r="r" b="b"/>
              <a:pathLst>
                <a:path w="277" h="408" extrusionOk="0">
                  <a:moveTo>
                    <a:pt x="1" y="0"/>
                  </a:moveTo>
                  <a:lnTo>
                    <a:pt x="1" y="407"/>
                  </a:lnTo>
                  <a:lnTo>
                    <a:pt x="276" y="407"/>
                  </a:lnTo>
                  <a:lnTo>
                    <a:pt x="276" y="0"/>
                  </a:lnTo>
                  <a:close/>
                </a:path>
              </a:pathLst>
            </a:custGeom>
            <a:solidFill>
              <a:srgbClr val="A47F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" name="Google Shape;961;p18"/>
            <p:cNvSpPr/>
            <p:nvPr/>
          </p:nvSpPr>
          <p:spPr>
            <a:xfrm>
              <a:off x="901025" y="4859128"/>
              <a:ext cx="21322" cy="31635"/>
            </a:xfrm>
            <a:custGeom>
              <a:avLst/>
              <a:gdLst/>
              <a:ahLst/>
              <a:cxnLst/>
              <a:rect l="l" t="t" r="r" b="b"/>
              <a:pathLst>
                <a:path w="275" h="408" extrusionOk="0">
                  <a:moveTo>
                    <a:pt x="0" y="0"/>
                  </a:moveTo>
                  <a:lnTo>
                    <a:pt x="0" y="407"/>
                  </a:lnTo>
                  <a:lnTo>
                    <a:pt x="274" y="407"/>
                  </a:lnTo>
                  <a:lnTo>
                    <a:pt x="274" y="0"/>
                  </a:lnTo>
                  <a:close/>
                </a:path>
              </a:pathLst>
            </a:custGeom>
            <a:solidFill>
              <a:srgbClr val="A47F7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62" name="Google Shape;962;p18"/>
          <p:cNvSpPr/>
          <p:nvPr/>
        </p:nvSpPr>
        <p:spPr>
          <a:xfrm>
            <a:off x="974105" y="445027"/>
            <a:ext cx="201223" cy="55949"/>
          </a:xfrm>
          <a:custGeom>
            <a:avLst/>
            <a:gdLst/>
            <a:ahLst/>
            <a:cxnLst/>
            <a:rect l="l" t="t" r="r" b="b"/>
            <a:pathLst>
              <a:path w="5329" h="1482" extrusionOk="0">
                <a:moveTo>
                  <a:pt x="2818" y="0"/>
                </a:moveTo>
                <a:cubicBezTo>
                  <a:pt x="2336" y="0"/>
                  <a:pt x="1943" y="408"/>
                  <a:pt x="1943" y="904"/>
                </a:cubicBezTo>
                <a:lnTo>
                  <a:pt x="1943" y="918"/>
                </a:lnTo>
                <a:cubicBezTo>
                  <a:pt x="1884" y="897"/>
                  <a:pt x="1824" y="882"/>
                  <a:pt x="1758" y="882"/>
                </a:cubicBezTo>
                <a:cubicBezTo>
                  <a:pt x="1617" y="882"/>
                  <a:pt x="1498" y="934"/>
                  <a:pt x="1395" y="1016"/>
                </a:cubicBezTo>
                <a:cubicBezTo>
                  <a:pt x="1297" y="890"/>
                  <a:pt x="1150" y="801"/>
                  <a:pt x="979" y="801"/>
                </a:cubicBezTo>
                <a:cubicBezTo>
                  <a:pt x="735" y="801"/>
                  <a:pt x="534" y="971"/>
                  <a:pt x="469" y="1194"/>
                </a:cubicBezTo>
                <a:cubicBezTo>
                  <a:pt x="461" y="1194"/>
                  <a:pt x="445" y="1185"/>
                  <a:pt x="431" y="1185"/>
                </a:cubicBezTo>
                <a:cubicBezTo>
                  <a:pt x="239" y="1185"/>
                  <a:pt x="68" y="1311"/>
                  <a:pt x="1" y="1482"/>
                </a:cubicBezTo>
                <a:lnTo>
                  <a:pt x="5315" y="1482"/>
                </a:lnTo>
                <a:cubicBezTo>
                  <a:pt x="5322" y="1444"/>
                  <a:pt x="5329" y="1407"/>
                  <a:pt x="5329" y="1363"/>
                </a:cubicBezTo>
                <a:cubicBezTo>
                  <a:pt x="5329" y="1030"/>
                  <a:pt x="5069" y="763"/>
                  <a:pt x="4751" y="763"/>
                </a:cubicBezTo>
                <a:cubicBezTo>
                  <a:pt x="4580" y="763"/>
                  <a:pt x="4433" y="838"/>
                  <a:pt x="4321" y="955"/>
                </a:cubicBezTo>
                <a:cubicBezTo>
                  <a:pt x="4217" y="838"/>
                  <a:pt x="4063" y="756"/>
                  <a:pt x="3892" y="756"/>
                </a:cubicBezTo>
                <a:cubicBezTo>
                  <a:pt x="3817" y="756"/>
                  <a:pt x="3751" y="770"/>
                  <a:pt x="3684" y="794"/>
                </a:cubicBezTo>
                <a:cubicBezTo>
                  <a:pt x="3632" y="349"/>
                  <a:pt x="3270" y="0"/>
                  <a:pt x="2818" y="0"/>
                </a:cubicBezTo>
                <a:close/>
              </a:path>
            </a:pathLst>
          </a:custGeom>
          <a:solidFill>
            <a:srgbClr val="AAACB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63" name="Google Shape;963;p18"/>
          <p:cNvSpPr/>
          <p:nvPr/>
        </p:nvSpPr>
        <p:spPr>
          <a:xfrm>
            <a:off x="7233675" y="4938650"/>
            <a:ext cx="2030700" cy="461700"/>
          </a:xfrm>
          <a:prstGeom prst="round2DiagRect">
            <a:avLst>
              <a:gd name="adj1" fmla="val 16667"/>
              <a:gd name="adj2" fmla="val 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64" name="Google Shape;964;p18"/>
          <p:cNvGrpSpPr/>
          <p:nvPr/>
        </p:nvGrpSpPr>
        <p:grpSpPr>
          <a:xfrm>
            <a:off x="4382899" y="4938638"/>
            <a:ext cx="2749703" cy="122913"/>
            <a:chOff x="5024149" y="4918613"/>
            <a:chExt cx="2749703" cy="122913"/>
          </a:xfrm>
        </p:grpSpPr>
        <p:sp>
          <p:nvSpPr>
            <p:cNvPr id="965" name="Google Shape;965;p18"/>
            <p:cNvSpPr/>
            <p:nvPr/>
          </p:nvSpPr>
          <p:spPr>
            <a:xfrm>
              <a:off x="5121294" y="4919510"/>
              <a:ext cx="27619" cy="26802"/>
            </a:xfrm>
            <a:custGeom>
              <a:avLst/>
              <a:gdLst/>
              <a:ahLst/>
              <a:cxnLst/>
              <a:rect l="l" t="t" r="r" b="b"/>
              <a:pathLst>
                <a:path w="1324" h="1285" extrusionOk="0">
                  <a:moveTo>
                    <a:pt x="690" y="1"/>
                  </a:moveTo>
                  <a:cubicBezTo>
                    <a:pt x="379" y="1"/>
                    <a:pt x="134" y="175"/>
                    <a:pt x="0" y="460"/>
                  </a:cubicBezTo>
                  <a:cubicBezTo>
                    <a:pt x="0" y="643"/>
                    <a:pt x="183" y="1031"/>
                    <a:pt x="297" y="1213"/>
                  </a:cubicBezTo>
                  <a:cubicBezTo>
                    <a:pt x="418" y="1262"/>
                    <a:pt x="528" y="1284"/>
                    <a:pt x="629" y="1284"/>
                  </a:cubicBezTo>
                  <a:cubicBezTo>
                    <a:pt x="909" y="1284"/>
                    <a:pt x="1123" y="1110"/>
                    <a:pt x="1324" y="825"/>
                  </a:cubicBezTo>
                  <a:cubicBezTo>
                    <a:pt x="1233" y="551"/>
                    <a:pt x="1141" y="163"/>
                    <a:pt x="1050" y="72"/>
                  </a:cubicBezTo>
                  <a:cubicBezTo>
                    <a:pt x="923" y="24"/>
                    <a:pt x="802" y="1"/>
                    <a:pt x="69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" name="Google Shape;966;p18"/>
            <p:cNvSpPr/>
            <p:nvPr/>
          </p:nvSpPr>
          <p:spPr>
            <a:xfrm>
              <a:off x="5307928" y="4919510"/>
              <a:ext cx="27639" cy="26802"/>
            </a:xfrm>
            <a:custGeom>
              <a:avLst/>
              <a:gdLst/>
              <a:ahLst/>
              <a:cxnLst/>
              <a:rect l="l" t="t" r="r" b="b"/>
              <a:pathLst>
                <a:path w="1325" h="1285" extrusionOk="0">
                  <a:moveTo>
                    <a:pt x="731" y="1"/>
                  </a:moveTo>
                  <a:cubicBezTo>
                    <a:pt x="435" y="1"/>
                    <a:pt x="159" y="175"/>
                    <a:pt x="92" y="460"/>
                  </a:cubicBezTo>
                  <a:cubicBezTo>
                    <a:pt x="1" y="643"/>
                    <a:pt x="183" y="1031"/>
                    <a:pt x="366" y="1213"/>
                  </a:cubicBezTo>
                  <a:cubicBezTo>
                    <a:pt x="469" y="1262"/>
                    <a:pt x="572" y="1284"/>
                    <a:pt x="671" y="1284"/>
                  </a:cubicBezTo>
                  <a:cubicBezTo>
                    <a:pt x="945" y="1284"/>
                    <a:pt x="1190" y="1110"/>
                    <a:pt x="1324" y="825"/>
                  </a:cubicBezTo>
                  <a:cubicBezTo>
                    <a:pt x="1233" y="551"/>
                    <a:pt x="1233" y="163"/>
                    <a:pt x="1051" y="72"/>
                  </a:cubicBezTo>
                  <a:cubicBezTo>
                    <a:pt x="948" y="24"/>
                    <a:pt x="838" y="1"/>
                    <a:pt x="73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7" name="Google Shape;967;p18"/>
            <p:cNvSpPr/>
            <p:nvPr/>
          </p:nvSpPr>
          <p:spPr>
            <a:xfrm>
              <a:off x="5496482" y="4919823"/>
              <a:ext cx="25720" cy="27365"/>
            </a:xfrm>
            <a:custGeom>
              <a:avLst/>
              <a:gdLst/>
              <a:ahLst/>
              <a:cxnLst/>
              <a:rect l="l" t="t" r="r" b="b"/>
              <a:pathLst>
                <a:path w="1233" h="1312" extrusionOk="0">
                  <a:moveTo>
                    <a:pt x="656" y="0"/>
                  </a:moveTo>
                  <a:cubicBezTo>
                    <a:pt x="565" y="0"/>
                    <a:pt x="467" y="18"/>
                    <a:pt x="366" y="57"/>
                  </a:cubicBezTo>
                  <a:cubicBezTo>
                    <a:pt x="183" y="57"/>
                    <a:pt x="92" y="445"/>
                    <a:pt x="0" y="628"/>
                  </a:cubicBezTo>
                  <a:cubicBezTo>
                    <a:pt x="77" y="1106"/>
                    <a:pt x="346" y="1312"/>
                    <a:pt x="660" y="1312"/>
                  </a:cubicBezTo>
                  <a:cubicBezTo>
                    <a:pt x="720" y="1312"/>
                    <a:pt x="782" y="1304"/>
                    <a:pt x="845" y="1290"/>
                  </a:cubicBezTo>
                  <a:cubicBezTo>
                    <a:pt x="1028" y="1198"/>
                    <a:pt x="1233" y="810"/>
                    <a:pt x="1233" y="628"/>
                  </a:cubicBezTo>
                  <a:cubicBezTo>
                    <a:pt x="1233" y="250"/>
                    <a:pt x="992" y="0"/>
                    <a:pt x="65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" name="Google Shape;968;p18"/>
            <p:cNvSpPr/>
            <p:nvPr/>
          </p:nvSpPr>
          <p:spPr>
            <a:xfrm>
              <a:off x="5680738" y="4920490"/>
              <a:ext cx="33835" cy="26239"/>
            </a:xfrm>
            <a:custGeom>
              <a:avLst/>
              <a:gdLst/>
              <a:ahLst/>
              <a:cxnLst/>
              <a:rect l="l" t="t" r="r" b="b"/>
              <a:pathLst>
                <a:path w="1622" h="1258" extrusionOk="0">
                  <a:moveTo>
                    <a:pt x="743" y="1"/>
                  </a:moveTo>
                  <a:cubicBezTo>
                    <a:pt x="538" y="1"/>
                    <a:pt x="277" y="154"/>
                    <a:pt x="183" y="322"/>
                  </a:cubicBezTo>
                  <a:cubicBezTo>
                    <a:pt x="1" y="778"/>
                    <a:pt x="298" y="1166"/>
                    <a:pt x="754" y="1258"/>
                  </a:cubicBezTo>
                  <a:cubicBezTo>
                    <a:pt x="959" y="1166"/>
                    <a:pt x="1325" y="1075"/>
                    <a:pt x="1439" y="892"/>
                  </a:cubicBezTo>
                  <a:cubicBezTo>
                    <a:pt x="1621" y="413"/>
                    <a:pt x="1325" y="25"/>
                    <a:pt x="868" y="25"/>
                  </a:cubicBezTo>
                  <a:cubicBezTo>
                    <a:pt x="831" y="8"/>
                    <a:pt x="788" y="1"/>
                    <a:pt x="74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9" name="Google Shape;969;p18"/>
            <p:cNvSpPr/>
            <p:nvPr/>
          </p:nvSpPr>
          <p:spPr>
            <a:xfrm>
              <a:off x="5871190" y="4919823"/>
              <a:ext cx="27639" cy="27365"/>
            </a:xfrm>
            <a:custGeom>
              <a:avLst/>
              <a:gdLst/>
              <a:ahLst/>
              <a:cxnLst/>
              <a:rect l="l" t="t" r="r" b="b"/>
              <a:pathLst>
                <a:path w="1325" h="1312" extrusionOk="0">
                  <a:moveTo>
                    <a:pt x="677" y="0"/>
                  </a:moveTo>
                  <a:cubicBezTo>
                    <a:pt x="587" y="0"/>
                    <a:pt x="491" y="18"/>
                    <a:pt x="389" y="57"/>
                  </a:cubicBezTo>
                  <a:cubicBezTo>
                    <a:pt x="184" y="57"/>
                    <a:pt x="92" y="445"/>
                    <a:pt x="1" y="628"/>
                  </a:cubicBezTo>
                  <a:cubicBezTo>
                    <a:pt x="77" y="1106"/>
                    <a:pt x="363" y="1312"/>
                    <a:pt x="682" y="1312"/>
                  </a:cubicBezTo>
                  <a:cubicBezTo>
                    <a:pt x="743" y="1312"/>
                    <a:pt x="806" y="1304"/>
                    <a:pt x="868" y="1290"/>
                  </a:cubicBezTo>
                  <a:cubicBezTo>
                    <a:pt x="1051" y="1198"/>
                    <a:pt x="1325" y="810"/>
                    <a:pt x="1233" y="628"/>
                  </a:cubicBezTo>
                  <a:cubicBezTo>
                    <a:pt x="1233" y="250"/>
                    <a:pt x="1007" y="0"/>
                    <a:pt x="6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0" name="Google Shape;970;p18"/>
            <p:cNvSpPr/>
            <p:nvPr/>
          </p:nvSpPr>
          <p:spPr>
            <a:xfrm>
              <a:off x="6055947" y="4920490"/>
              <a:ext cx="33334" cy="26239"/>
            </a:xfrm>
            <a:custGeom>
              <a:avLst/>
              <a:gdLst/>
              <a:ahLst/>
              <a:cxnLst/>
              <a:rect l="l" t="t" r="r" b="b"/>
              <a:pathLst>
                <a:path w="1598" h="1258" extrusionOk="0">
                  <a:moveTo>
                    <a:pt x="728" y="1"/>
                  </a:moveTo>
                  <a:cubicBezTo>
                    <a:pt x="531" y="1"/>
                    <a:pt x="257" y="154"/>
                    <a:pt x="183" y="322"/>
                  </a:cubicBezTo>
                  <a:cubicBezTo>
                    <a:pt x="0" y="778"/>
                    <a:pt x="274" y="1166"/>
                    <a:pt x="753" y="1258"/>
                  </a:cubicBezTo>
                  <a:cubicBezTo>
                    <a:pt x="936" y="1166"/>
                    <a:pt x="1324" y="1075"/>
                    <a:pt x="1415" y="892"/>
                  </a:cubicBezTo>
                  <a:cubicBezTo>
                    <a:pt x="1598" y="413"/>
                    <a:pt x="1324" y="25"/>
                    <a:pt x="845" y="25"/>
                  </a:cubicBezTo>
                  <a:cubicBezTo>
                    <a:pt x="811" y="8"/>
                    <a:pt x="771" y="1"/>
                    <a:pt x="72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1" name="Google Shape;971;p18"/>
            <p:cNvSpPr/>
            <p:nvPr/>
          </p:nvSpPr>
          <p:spPr>
            <a:xfrm>
              <a:off x="6244021" y="4919093"/>
              <a:ext cx="31916" cy="27636"/>
            </a:xfrm>
            <a:custGeom>
              <a:avLst/>
              <a:gdLst/>
              <a:ahLst/>
              <a:cxnLst/>
              <a:rect l="l" t="t" r="r" b="b"/>
              <a:pathLst>
                <a:path w="1530" h="1325" extrusionOk="0">
                  <a:moveTo>
                    <a:pt x="571" y="1"/>
                  </a:moveTo>
                  <a:cubicBezTo>
                    <a:pt x="206" y="183"/>
                    <a:pt x="0" y="571"/>
                    <a:pt x="206" y="959"/>
                  </a:cubicBezTo>
                  <a:cubicBezTo>
                    <a:pt x="297" y="1142"/>
                    <a:pt x="685" y="1325"/>
                    <a:pt x="867" y="1325"/>
                  </a:cubicBezTo>
                  <a:cubicBezTo>
                    <a:pt x="1347" y="1142"/>
                    <a:pt x="1529" y="754"/>
                    <a:pt x="1256" y="389"/>
                  </a:cubicBezTo>
                  <a:cubicBezTo>
                    <a:pt x="1141" y="183"/>
                    <a:pt x="867" y="92"/>
                    <a:pt x="57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2" name="Google Shape;972;p18"/>
            <p:cNvSpPr/>
            <p:nvPr/>
          </p:nvSpPr>
          <p:spPr>
            <a:xfrm>
              <a:off x="6434473" y="4919823"/>
              <a:ext cx="26200" cy="27365"/>
            </a:xfrm>
            <a:custGeom>
              <a:avLst/>
              <a:gdLst/>
              <a:ahLst/>
              <a:cxnLst/>
              <a:rect l="l" t="t" r="r" b="b"/>
              <a:pathLst>
                <a:path w="1256" h="1312" extrusionOk="0">
                  <a:moveTo>
                    <a:pt x="679" y="0"/>
                  </a:moveTo>
                  <a:cubicBezTo>
                    <a:pt x="588" y="0"/>
                    <a:pt x="490" y="18"/>
                    <a:pt x="388" y="57"/>
                  </a:cubicBezTo>
                  <a:cubicBezTo>
                    <a:pt x="206" y="57"/>
                    <a:pt x="114" y="445"/>
                    <a:pt x="0" y="628"/>
                  </a:cubicBezTo>
                  <a:cubicBezTo>
                    <a:pt x="0" y="1106"/>
                    <a:pt x="273" y="1312"/>
                    <a:pt x="644" y="1312"/>
                  </a:cubicBezTo>
                  <a:cubicBezTo>
                    <a:pt x="715" y="1312"/>
                    <a:pt x="790" y="1304"/>
                    <a:pt x="868" y="1290"/>
                  </a:cubicBezTo>
                  <a:cubicBezTo>
                    <a:pt x="1050" y="1198"/>
                    <a:pt x="1256" y="810"/>
                    <a:pt x="1256" y="628"/>
                  </a:cubicBezTo>
                  <a:cubicBezTo>
                    <a:pt x="1256" y="250"/>
                    <a:pt x="1015" y="0"/>
                    <a:pt x="67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3" name="Google Shape;973;p18"/>
            <p:cNvSpPr/>
            <p:nvPr/>
          </p:nvSpPr>
          <p:spPr>
            <a:xfrm>
              <a:off x="6621107" y="4919176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02" y="1"/>
                  </a:moveTo>
                  <a:cubicBezTo>
                    <a:pt x="577" y="1"/>
                    <a:pt x="440" y="31"/>
                    <a:pt x="298" y="88"/>
                  </a:cubicBezTo>
                  <a:cubicBezTo>
                    <a:pt x="183" y="179"/>
                    <a:pt x="1" y="567"/>
                    <a:pt x="1" y="750"/>
                  </a:cubicBezTo>
                  <a:cubicBezTo>
                    <a:pt x="125" y="1077"/>
                    <a:pt x="346" y="1266"/>
                    <a:pt x="596" y="1266"/>
                  </a:cubicBezTo>
                  <a:cubicBezTo>
                    <a:pt x="713" y="1266"/>
                    <a:pt x="836" y="1225"/>
                    <a:pt x="959" y="1138"/>
                  </a:cubicBezTo>
                  <a:cubicBezTo>
                    <a:pt x="1142" y="1047"/>
                    <a:pt x="1233" y="659"/>
                    <a:pt x="1325" y="476"/>
                  </a:cubicBezTo>
                  <a:cubicBezTo>
                    <a:pt x="1199" y="147"/>
                    <a:pt x="977" y="1"/>
                    <a:pt x="70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" name="Google Shape;974;p18"/>
            <p:cNvSpPr/>
            <p:nvPr/>
          </p:nvSpPr>
          <p:spPr>
            <a:xfrm>
              <a:off x="6807762" y="4919176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23" y="1"/>
                  </a:moveTo>
                  <a:cubicBezTo>
                    <a:pt x="608" y="1"/>
                    <a:pt x="487" y="31"/>
                    <a:pt x="366" y="88"/>
                  </a:cubicBezTo>
                  <a:cubicBezTo>
                    <a:pt x="183" y="179"/>
                    <a:pt x="0" y="567"/>
                    <a:pt x="92" y="750"/>
                  </a:cubicBezTo>
                  <a:cubicBezTo>
                    <a:pt x="154" y="1077"/>
                    <a:pt x="397" y="1266"/>
                    <a:pt x="668" y="1266"/>
                  </a:cubicBezTo>
                  <a:cubicBezTo>
                    <a:pt x="795" y="1266"/>
                    <a:pt x="927" y="1225"/>
                    <a:pt x="1050" y="1138"/>
                  </a:cubicBezTo>
                  <a:cubicBezTo>
                    <a:pt x="1233" y="1047"/>
                    <a:pt x="1233" y="659"/>
                    <a:pt x="1324" y="476"/>
                  </a:cubicBezTo>
                  <a:cubicBezTo>
                    <a:pt x="1199" y="147"/>
                    <a:pt x="976" y="1"/>
                    <a:pt x="72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" name="Google Shape;975;p18"/>
            <p:cNvSpPr/>
            <p:nvPr/>
          </p:nvSpPr>
          <p:spPr>
            <a:xfrm>
              <a:off x="6998214" y="4918613"/>
              <a:ext cx="25720" cy="27407"/>
            </a:xfrm>
            <a:custGeom>
              <a:avLst/>
              <a:gdLst/>
              <a:ahLst/>
              <a:cxnLst/>
              <a:rect l="l" t="t" r="r" b="b"/>
              <a:pathLst>
                <a:path w="1233" h="1314" extrusionOk="0">
                  <a:moveTo>
                    <a:pt x="617" y="1"/>
                  </a:moveTo>
                  <a:cubicBezTo>
                    <a:pt x="255" y="1"/>
                    <a:pt x="0" y="194"/>
                    <a:pt x="0" y="594"/>
                  </a:cubicBezTo>
                  <a:cubicBezTo>
                    <a:pt x="0" y="777"/>
                    <a:pt x="183" y="1256"/>
                    <a:pt x="366" y="1256"/>
                  </a:cubicBezTo>
                  <a:cubicBezTo>
                    <a:pt x="448" y="1295"/>
                    <a:pt x="530" y="1313"/>
                    <a:pt x="610" y="1313"/>
                  </a:cubicBezTo>
                  <a:cubicBezTo>
                    <a:pt x="905" y="1313"/>
                    <a:pt x="1161" y="1063"/>
                    <a:pt x="1233" y="686"/>
                  </a:cubicBezTo>
                  <a:cubicBezTo>
                    <a:pt x="1142" y="503"/>
                    <a:pt x="1050" y="115"/>
                    <a:pt x="845" y="24"/>
                  </a:cubicBezTo>
                  <a:cubicBezTo>
                    <a:pt x="766" y="9"/>
                    <a:pt x="689" y="1"/>
                    <a:pt x="61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" name="Google Shape;976;p18"/>
            <p:cNvSpPr/>
            <p:nvPr/>
          </p:nvSpPr>
          <p:spPr>
            <a:xfrm>
              <a:off x="7182470" y="4920490"/>
              <a:ext cx="31937" cy="26239"/>
            </a:xfrm>
            <a:custGeom>
              <a:avLst/>
              <a:gdLst/>
              <a:ahLst/>
              <a:cxnLst/>
              <a:rect l="l" t="t" r="r" b="b"/>
              <a:pathLst>
                <a:path w="1531" h="1258" extrusionOk="0">
                  <a:moveTo>
                    <a:pt x="651" y="1"/>
                  </a:moveTo>
                  <a:cubicBezTo>
                    <a:pt x="447" y="1"/>
                    <a:pt x="185" y="154"/>
                    <a:pt x="92" y="322"/>
                  </a:cubicBezTo>
                  <a:cubicBezTo>
                    <a:pt x="1" y="778"/>
                    <a:pt x="206" y="1166"/>
                    <a:pt x="663" y="1258"/>
                  </a:cubicBezTo>
                  <a:cubicBezTo>
                    <a:pt x="959" y="1166"/>
                    <a:pt x="1348" y="1075"/>
                    <a:pt x="1348" y="892"/>
                  </a:cubicBezTo>
                  <a:cubicBezTo>
                    <a:pt x="1530" y="413"/>
                    <a:pt x="1233" y="25"/>
                    <a:pt x="777" y="25"/>
                  </a:cubicBezTo>
                  <a:cubicBezTo>
                    <a:pt x="740" y="8"/>
                    <a:pt x="697" y="1"/>
                    <a:pt x="65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7" name="Google Shape;977;p18"/>
            <p:cNvSpPr/>
            <p:nvPr/>
          </p:nvSpPr>
          <p:spPr>
            <a:xfrm>
              <a:off x="7372922" y="4918613"/>
              <a:ext cx="25741" cy="27407"/>
            </a:xfrm>
            <a:custGeom>
              <a:avLst/>
              <a:gdLst/>
              <a:ahLst/>
              <a:cxnLst/>
              <a:rect l="l" t="t" r="r" b="b"/>
              <a:pathLst>
                <a:path w="1234" h="1314" extrusionOk="0">
                  <a:moveTo>
                    <a:pt x="671" y="1"/>
                  </a:moveTo>
                  <a:cubicBezTo>
                    <a:pt x="335" y="1"/>
                    <a:pt x="1" y="194"/>
                    <a:pt x="1" y="594"/>
                  </a:cubicBezTo>
                  <a:cubicBezTo>
                    <a:pt x="1" y="777"/>
                    <a:pt x="206" y="1256"/>
                    <a:pt x="389" y="1256"/>
                  </a:cubicBezTo>
                  <a:cubicBezTo>
                    <a:pt x="471" y="1295"/>
                    <a:pt x="553" y="1313"/>
                    <a:pt x="631" y="1313"/>
                  </a:cubicBezTo>
                  <a:cubicBezTo>
                    <a:pt x="920" y="1313"/>
                    <a:pt x="1162" y="1063"/>
                    <a:pt x="1234" y="686"/>
                  </a:cubicBezTo>
                  <a:cubicBezTo>
                    <a:pt x="1142" y="503"/>
                    <a:pt x="1051" y="115"/>
                    <a:pt x="868" y="24"/>
                  </a:cubicBezTo>
                  <a:cubicBezTo>
                    <a:pt x="804" y="9"/>
                    <a:pt x="737" y="1"/>
                    <a:pt x="67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8" name="Google Shape;978;p18"/>
            <p:cNvSpPr/>
            <p:nvPr/>
          </p:nvSpPr>
          <p:spPr>
            <a:xfrm>
              <a:off x="7559578" y="4918613"/>
              <a:ext cx="27640" cy="27407"/>
            </a:xfrm>
            <a:custGeom>
              <a:avLst/>
              <a:gdLst/>
              <a:ahLst/>
              <a:cxnLst/>
              <a:rect l="l" t="t" r="r" b="b"/>
              <a:pathLst>
                <a:path w="1325" h="1314" extrusionOk="0">
                  <a:moveTo>
                    <a:pt x="730" y="1"/>
                  </a:moveTo>
                  <a:cubicBezTo>
                    <a:pt x="359" y="1"/>
                    <a:pt x="77" y="194"/>
                    <a:pt x="0" y="594"/>
                  </a:cubicBezTo>
                  <a:cubicBezTo>
                    <a:pt x="0" y="777"/>
                    <a:pt x="183" y="1256"/>
                    <a:pt x="388" y="1256"/>
                  </a:cubicBezTo>
                  <a:cubicBezTo>
                    <a:pt x="485" y="1295"/>
                    <a:pt x="575" y="1313"/>
                    <a:pt x="658" y="1313"/>
                  </a:cubicBezTo>
                  <a:cubicBezTo>
                    <a:pt x="966" y="1313"/>
                    <a:pt x="1181" y="1063"/>
                    <a:pt x="1324" y="686"/>
                  </a:cubicBezTo>
                  <a:cubicBezTo>
                    <a:pt x="1233" y="503"/>
                    <a:pt x="1142" y="115"/>
                    <a:pt x="959" y="24"/>
                  </a:cubicBezTo>
                  <a:cubicBezTo>
                    <a:pt x="880" y="9"/>
                    <a:pt x="803" y="1"/>
                    <a:pt x="73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9" name="Google Shape;979;p18"/>
            <p:cNvSpPr/>
            <p:nvPr/>
          </p:nvSpPr>
          <p:spPr>
            <a:xfrm>
              <a:off x="7748131" y="4918634"/>
              <a:ext cx="25720" cy="27386"/>
            </a:xfrm>
            <a:custGeom>
              <a:avLst/>
              <a:gdLst/>
              <a:ahLst/>
              <a:cxnLst/>
              <a:rect l="l" t="t" r="r" b="b"/>
              <a:pathLst>
                <a:path w="1233" h="1313" extrusionOk="0">
                  <a:moveTo>
                    <a:pt x="552" y="0"/>
                  </a:moveTo>
                  <a:cubicBezTo>
                    <a:pt x="491" y="0"/>
                    <a:pt x="428" y="8"/>
                    <a:pt x="365" y="23"/>
                  </a:cubicBezTo>
                  <a:cubicBezTo>
                    <a:pt x="183" y="114"/>
                    <a:pt x="0" y="502"/>
                    <a:pt x="0" y="685"/>
                  </a:cubicBezTo>
                  <a:cubicBezTo>
                    <a:pt x="0" y="1062"/>
                    <a:pt x="227" y="1312"/>
                    <a:pt x="557" y="1312"/>
                  </a:cubicBezTo>
                  <a:cubicBezTo>
                    <a:pt x="646" y="1312"/>
                    <a:pt x="743" y="1294"/>
                    <a:pt x="845" y="1255"/>
                  </a:cubicBezTo>
                  <a:cubicBezTo>
                    <a:pt x="1050" y="1255"/>
                    <a:pt x="1142" y="867"/>
                    <a:pt x="1233" y="685"/>
                  </a:cubicBezTo>
                  <a:cubicBezTo>
                    <a:pt x="1156" y="206"/>
                    <a:pt x="871" y="0"/>
                    <a:pt x="55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0" name="Google Shape;980;p18"/>
            <p:cNvSpPr/>
            <p:nvPr/>
          </p:nvSpPr>
          <p:spPr>
            <a:xfrm>
              <a:off x="5024149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27" y="0"/>
                  </a:moveTo>
                  <a:cubicBezTo>
                    <a:pt x="872" y="0"/>
                    <a:pt x="815" y="6"/>
                    <a:pt x="754" y="17"/>
                  </a:cubicBezTo>
                  <a:cubicBezTo>
                    <a:pt x="571" y="17"/>
                    <a:pt x="183" y="200"/>
                    <a:pt x="92" y="383"/>
                  </a:cubicBezTo>
                  <a:cubicBezTo>
                    <a:pt x="1" y="771"/>
                    <a:pt x="183" y="1250"/>
                    <a:pt x="571" y="1341"/>
                  </a:cubicBezTo>
                  <a:cubicBezTo>
                    <a:pt x="676" y="1375"/>
                    <a:pt x="767" y="1390"/>
                    <a:pt x="848" y="1390"/>
                  </a:cubicBezTo>
                  <a:cubicBezTo>
                    <a:pt x="1209" y="1390"/>
                    <a:pt x="1362" y="1088"/>
                    <a:pt x="1530" y="771"/>
                  </a:cubicBezTo>
                  <a:cubicBezTo>
                    <a:pt x="1530" y="272"/>
                    <a:pt x="1304" y="0"/>
                    <a:pt x="92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1" name="Google Shape;981;p18"/>
            <p:cNvSpPr/>
            <p:nvPr/>
          </p:nvSpPr>
          <p:spPr>
            <a:xfrm>
              <a:off x="5212953" y="5012034"/>
              <a:ext cx="33585" cy="29451"/>
            </a:xfrm>
            <a:custGeom>
              <a:avLst/>
              <a:gdLst/>
              <a:ahLst/>
              <a:cxnLst/>
              <a:rect l="l" t="t" r="r" b="b"/>
              <a:pathLst>
                <a:path w="1610" h="1412" extrusionOk="0">
                  <a:moveTo>
                    <a:pt x="628" y="1"/>
                  </a:moveTo>
                  <a:cubicBezTo>
                    <a:pt x="198" y="1"/>
                    <a:pt x="0" y="263"/>
                    <a:pt x="80" y="680"/>
                  </a:cubicBezTo>
                  <a:cubicBezTo>
                    <a:pt x="80" y="954"/>
                    <a:pt x="262" y="1342"/>
                    <a:pt x="468" y="1342"/>
                  </a:cubicBezTo>
                  <a:cubicBezTo>
                    <a:pt x="561" y="1389"/>
                    <a:pt x="662" y="1412"/>
                    <a:pt x="763" y="1412"/>
                  </a:cubicBezTo>
                  <a:cubicBezTo>
                    <a:pt x="1053" y="1412"/>
                    <a:pt x="1336" y="1219"/>
                    <a:pt x="1404" y="863"/>
                  </a:cubicBezTo>
                  <a:cubicBezTo>
                    <a:pt x="1609" y="384"/>
                    <a:pt x="1221" y="110"/>
                    <a:pt x="833" y="18"/>
                  </a:cubicBezTo>
                  <a:cubicBezTo>
                    <a:pt x="760" y="7"/>
                    <a:pt x="691" y="1"/>
                    <a:pt x="62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" name="Google Shape;982;p18"/>
            <p:cNvSpPr/>
            <p:nvPr/>
          </p:nvSpPr>
          <p:spPr>
            <a:xfrm>
              <a:off x="5398878" y="5011241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68" y="0"/>
                  </a:moveTo>
                  <a:cubicBezTo>
                    <a:pt x="886" y="0"/>
                    <a:pt x="792" y="18"/>
                    <a:pt x="685" y="56"/>
                  </a:cubicBezTo>
                  <a:cubicBezTo>
                    <a:pt x="480" y="56"/>
                    <a:pt x="206" y="330"/>
                    <a:pt x="114" y="536"/>
                  </a:cubicBezTo>
                  <a:cubicBezTo>
                    <a:pt x="0" y="992"/>
                    <a:pt x="297" y="1380"/>
                    <a:pt x="776" y="1380"/>
                  </a:cubicBezTo>
                  <a:cubicBezTo>
                    <a:pt x="838" y="1392"/>
                    <a:pt x="896" y="1398"/>
                    <a:pt x="951" y="1398"/>
                  </a:cubicBezTo>
                  <a:cubicBezTo>
                    <a:pt x="1322" y="1398"/>
                    <a:pt x="1530" y="1136"/>
                    <a:pt x="1530" y="718"/>
                  </a:cubicBezTo>
                  <a:cubicBezTo>
                    <a:pt x="1455" y="329"/>
                    <a:pt x="1321" y="0"/>
                    <a:pt x="96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" name="Google Shape;983;p18"/>
            <p:cNvSpPr/>
            <p:nvPr/>
          </p:nvSpPr>
          <p:spPr>
            <a:xfrm>
              <a:off x="5585512" y="5012409"/>
              <a:ext cx="35733" cy="28846"/>
            </a:xfrm>
            <a:custGeom>
              <a:avLst/>
              <a:gdLst/>
              <a:ahLst/>
              <a:cxnLst/>
              <a:rect l="l" t="t" r="r" b="b"/>
              <a:pathLst>
                <a:path w="1713" h="1383" extrusionOk="0">
                  <a:moveTo>
                    <a:pt x="959" y="0"/>
                  </a:moveTo>
                  <a:cubicBezTo>
                    <a:pt x="663" y="0"/>
                    <a:pt x="297" y="183"/>
                    <a:pt x="297" y="366"/>
                  </a:cubicBezTo>
                  <a:cubicBezTo>
                    <a:pt x="1" y="754"/>
                    <a:pt x="183" y="1233"/>
                    <a:pt x="663" y="1324"/>
                  </a:cubicBezTo>
                  <a:cubicBezTo>
                    <a:pt x="747" y="1364"/>
                    <a:pt x="832" y="1382"/>
                    <a:pt x="914" y="1382"/>
                  </a:cubicBezTo>
                  <a:cubicBezTo>
                    <a:pt x="1210" y="1382"/>
                    <a:pt x="1478" y="1148"/>
                    <a:pt x="1621" y="845"/>
                  </a:cubicBezTo>
                  <a:cubicBezTo>
                    <a:pt x="1713" y="274"/>
                    <a:pt x="1325" y="0"/>
                    <a:pt x="95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" name="Google Shape;984;p18"/>
            <p:cNvSpPr/>
            <p:nvPr/>
          </p:nvSpPr>
          <p:spPr>
            <a:xfrm>
              <a:off x="5774066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27" y="0"/>
                  </a:moveTo>
                  <a:cubicBezTo>
                    <a:pt x="872" y="0"/>
                    <a:pt x="814" y="6"/>
                    <a:pt x="754" y="17"/>
                  </a:cubicBezTo>
                  <a:cubicBezTo>
                    <a:pt x="571" y="17"/>
                    <a:pt x="183" y="200"/>
                    <a:pt x="92" y="383"/>
                  </a:cubicBezTo>
                  <a:cubicBezTo>
                    <a:pt x="1" y="771"/>
                    <a:pt x="183" y="1250"/>
                    <a:pt x="662" y="1341"/>
                  </a:cubicBezTo>
                  <a:cubicBezTo>
                    <a:pt x="750" y="1375"/>
                    <a:pt x="831" y="1390"/>
                    <a:pt x="905" y="1390"/>
                  </a:cubicBezTo>
                  <a:cubicBezTo>
                    <a:pt x="1237" y="1390"/>
                    <a:pt x="1437" y="1088"/>
                    <a:pt x="1530" y="771"/>
                  </a:cubicBezTo>
                  <a:cubicBezTo>
                    <a:pt x="1530" y="272"/>
                    <a:pt x="1303" y="0"/>
                    <a:pt x="92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" name="Google Shape;985;p18"/>
            <p:cNvSpPr/>
            <p:nvPr/>
          </p:nvSpPr>
          <p:spPr>
            <a:xfrm>
              <a:off x="5960721" y="5011241"/>
              <a:ext cx="33334" cy="29159"/>
            </a:xfrm>
            <a:custGeom>
              <a:avLst/>
              <a:gdLst/>
              <a:ahLst/>
              <a:cxnLst/>
              <a:rect l="l" t="t" r="r" b="b"/>
              <a:pathLst>
                <a:path w="1598" h="1398" extrusionOk="0">
                  <a:moveTo>
                    <a:pt x="1036" y="0"/>
                  </a:moveTo>
                  <a:cubicBezTo>
                    <a:pt x="954" y="0"/>
                    <a:pt x="861" y="18"/>
                    <a:pt x="753" y="56"/>
                  </a:cubicBezTo>
                  <a:cubicBezTo>
                    <a:pt x="571" y="56"/>
                    <a:pt x="274" y="330"/>
                    <a:pt x="183" y="536"/>
                  </a:cubicBezTo>
                  <a:cubicBezTo>
                    <a:pt x="0" y="992"/>
                    <a:pt x="365" y="1380"/>
                    <a:pt x="753" y="1380"/>
                  </a:cubicBezTo>
                  <a:cubicBezTo>
                    <a:pt x="827" y="1392"/>
                    <a:pt x="894" y="1398"/>
                    <a:pt x="955" y="1398"/>
                  </a:cubicBezTo>
                  <a:cubicBezTo>
                    <a:pt x="1369" y="1398"/>
                    <a:pt x="1518" y="1136"/>
                    <a:pt x="1598" y="718"/>
                  </a:cubicBezTo>
                  <a:cubicBezTo>
                    <a:pt x="1524" y="329"/>
                    <a:pt x="1389" y="0"/>
                    <a:pt x="103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" name="Google Shape;986;p18"/>
            <p:cNvSpPr/>
            <p:nvPr/>
          </p:nvSpPr>
          <p:spPr>
            <a:xfrm>
              <a:off x="6148795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48" y="0"/>
                  </a:moveTo>
                  <a:cubicBezTo>
                    <a:pt x="894" y="0"/>
                    <a:pt x="837" y="6"/>
                    <a:pt x="776" y="17"/>
                  </a:cubicBezTo>
                  <a:cubicBezTo>
                    <a:pt x="571" y="17"/>
                    <a:pt x="206" y="200"/>
                    <a:pt x="114" y="383"/>
                  </a:cubicBezTo>
                  <a:cubicBezTo>
                    <a:pt x="0" y="771"/>
                    <a:pt x="206" y="1250"/>
                    <a:pt x="685" y="1341"/>
                  </a:cubicBezTo>
                  <a:cubicBezTo>
                    <a:pt x="768" y="1375"/>
                    <a:pt x="846" y="1390"/>
                    <a:pt x="919" y="1390"/>
                  </a:cubicBezTo>
                  <a:cubicBezTo>
                    <a:pt x="1243" y="1390"/>
                    <a:pt x="1455" y="1088"/>
                    <a:pt x="1529" y="771"/>
                  </a:cubicBezTo>
                  <a:cubicBezTo>
                    <a:pt x="1529" y="272"/>
                    <a:pt x="1320" y="0"/>
                    <a:pt x="94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" name="Google Shape;987;p18"/>
            <p:cNvSpPr/>
            <p:nvPr/>
          </p:nvSpPr>
          <p:spPr>
            <a:xfrm>
              <a:off x="6335429" y="5011241"/>
              <a:ext cx="33835" cy="29159"/>
            </a:xfrm>
            <a:custGeom>
              <a:avLst/>
              <a:gdLst/>
              <a:ahLst/>
              <a:cxnLst/>
              <a:rect l="l" t="t" r="r" b="b"/>
              <a:pathLst>
                <a:path w="1622" h="1398" extrusionOk="0">
                  <a:moveTo>
                    <a:pt x="1039" y="0"/>
                  </a:moveTo>
                  <a:cubicBezTo>
                    <a:pt x="956" y="0"/>
                    <a:pt x="861" y="18"/>
                    <a:pt x="754" y="56"/>
                  </a:cubicBezTo>
                  <a:cubicBezTo>
                    <a:pt x="571" y="56"/>
                    <a:pt x="297" y="330"/>
                    <a:pt x="183" y="536"/>
                  </a:cubicBezTo>
                  <a:cubicBezTo>
                    <a:pt x="1" y="992"/>
                    <a:pt x="389" y="1380"/>
                    <a:pt x="868" y="1380"/>
                  </a:cubicBezTo>
                  <a:cubicBezTo>
                    <a:pt x="927" y="1392"/>
                    <a:pt x="981" y="1398"/>
                    <a:pt x="1032" y="1398"/>
                  </a:cubicBezTo>
                  <a:cubicBezTo>
                    <a:pt x="1375" y="1398"/>
                    <a:pt x="1542" y="1136"/>
                    <a:pt x="1621" y="718"/>
                  </a:cubicBezTo>
                  <a:cubicBezTo>
                    <a:pt x="1547" y="329"/>
                    <a:pt x="1398" y="0"/>
                    <a:pt x="103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" name="Google Shape;988;p18"/>
            <p:cNvSpPr/>
            <p:nvPr/>
          </p:nvSpPr>
          <p:spPr>
            <a:xfrm>
              <a:off x="6523983" y="5011241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94" y="0"/>
                  </a:moveTo>
                  <a:cubicBezTo>
                    <a:pt x="923" y="0"/>
                    <a:pt x="844" y="18"/>
                    <a:pt x="754" y="56"/>
                  </a:cubicBezTo>
                  <a:cubicBezTo>
                    <a:pt x="480" y="56"/>
                    <a:pt x="183" y="330"/>
                    <a:pt x="183" y="536"/>
                  </a:cubicBezTo>
                  <a:cubicBezTo>
                    <a:pt x="0" y="992"/>
                    <a:pt x="274" y="1380"/>
                    <a:pt x="754" y="1380"/>
                  </a:cubicBezTo>
                  <a:cubicBezTo>
                    <a:pt x="815" y="1392"/>
                    <a:pt x="874" y="1398"/>
                    <a:pt x="929" y="1398"/>
                  </a:cubicBezTo>
                  <a:cubicBezTo>
                    <a:pt x="1304" y="1398"/>
                    <a:pt x="1530" y="1136"/>
                    <a:pt x="1530" y="718"/>
                  </a:cubicBezTo>
                  <a:cubicBezTo>
                    <a:pt x="1437" y="329"/>
                    <a:pt x="1299" y="0"/>
                    <a:pt x="99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" name="Google Shape;989;p18"/>
            <p:cNvSpPr/>
            <p:nvPr/>
          </p:nvSpPr>
          <p:spPr>
            <a:xfrm>
              <a:off x="6712536" y="5011012"/>
              <a:ext cx="33814" cy="29034"/>
            </a:xfrm>
            <a:custGeom>
              <a:avLst/>
              <a:gdLst/>
              <a:ahLst/>
              <a:cxnLst/>
              <a:rect l="l" t="t" r="r" b="b"/>
              <a:pathLst>
                <a:path w="1621" h="1392" extrusionOk="0">
                  <a:moveTo>
                    <a:pt x="819" y="0"/>
                  </a:moveTo>
                  <a:cubicBezTo>
                    <a:pt x="737" y="0"/>
                    <a:pt x="653" y="21"/>
                    <a:pt x="571" y="67"/>
                  </a:cubicBezTo>
                  <a:cubicBezTo>
                    <a:pt x="92" y="159"/>
                    <a:pt x="0" y="638"/>
                    <a:pt x="183" y="1117"/>
                  </a:cubicBezTo>
                  <a:cubicBezTo>
                    <a:pt x="274" y="1300"/>
                    <a:pt x="662" y="1391"/>
                    <a:pt x="845" y="1391"/>
                  </a:cubicBezTo>
                  <a:cubicBezTo>
                    <a:pt x="1324" y="1391"/>
                    <a:pt x="1621" y="1117"/>
                    <a:pt x="1507" y="547"/>
                  </a:cubicBezTo>
                  <a:cubicBezTo>
                    <a:pt x="1365" y="246"/>
                    <a:pt x="1101" y="0"/>
                    <a:pt x="81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" name="Google Shape;990;p18"/>
            <p:cNvSpPr/>
            <p:nvPr/>
          </p:nvSpPr>
          <p:spPr>
            <a:xfrm>
              <a:off x="6898691" y="5012034"/>
              <a:ext cx="31937" cy="29493"/>
            </a:xfrm>
            <a:custGeom>
              <a:avLst/>
              <a:gdLst/>
              <a:ahLst/>
              <a:cxnLst/>
              <a:rect l="l" t="t" r="r" b="b"/>
              <a:pathLst>
                <a:path w="1531" h="1414" extrusionOk="0">
                  <a:moveTo>
                    <a:pt x="857" y="1"/>
                  </a:moveTo>
                  <a:cubicBezTo>
                    <a:pt x="802" y="1"/>
                    <a:pt x="745" y="6"/>
                    <a:pt x="686" y="18"/>
                  </a:cubicBezTo>
                  <a:cubicBezTo>
                    <a:pt x="206" y="201"/>
                    <a:pt x="1" y="589"/>
                    <a:pt x="115" y="954"/>
                  </a:cubicBezTo>
                  <a:cubicBezTo>
                    <a:pt x="249" y="1239"/>
                    <a:pt x="543" y="1413"/>
                    <a:pt x="835" y="1413"/>
                  </a:cubicBezTo>
                  <a:cubicBezTo>
                    <a:pt x="940" y="1413"/>
                    <a:pt x="1045" y="1391"/>
                    <a:pt x="1142" y="1342"/>
                  </a:cubicBezTo>
                  <a:cubicBezTo>
                    <a:pt x="1348" y="1160"/>
                    <a:pt x="1530" y="863"/>
                    <a:pt x="1530" y="589"/>
                  </a:cubicBezTo>
                  <a:cubicBezTo>
                    <a:pt x="1451" y="252"/>
                    <a:pt x="1216" y="1"/>
                    <a:pt x="85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" name="Google Shape;991;p18"/>
            <p:cNvSpPr/>
            <p:nvPr/>
          </p:nvSpPr>
          <p:spPr>
            <a:xfrm>
              <a:off x="7085346" y="5012034"/>
              <a:ext cx="33835" cy="29493"/>
            </a:xfrm>
            <a:custGeom>
              <a:avLst/>
              <a:gdLst/>
              <a:ahLst/>
              <a:cxnLst/>
              <a:rect l="l" t="t" r="r" b="b"/>
              <a:pathLst>
                <a:path w="1622" h="1414" extrusionOk="0">
                  <a:moveTo>
                    <a:pt x="872" y="1"/>
                  </a:moveTo>
                  <a:cubicBezTo>
                    <a:pt x="807" y="1"/>
                    <a:pt x="737" y="6"/>
                    <a:pt x="662" y="18"/>
                  </a:cubicBezTo>
                  <a:cubicBezTo>
                    <a:pt x="297" y="201"/>
                    <a:pt x="0" y="589"/>
                    <a:pt x="183" y="954"/>
                  </a:cubicBezTo>
                  <a:cubicBezTo>
                    <a:pt x="334" y="1239"/>
                    <a:pt x="633" y="1413"/>
                    <a:pt x="925" y="1413"/>
                  </a:cubicBezTo>
                  <a:cubicBezTo>
                    <a:pt x="1031" y="1413"/>
                    <a:pt x="1136" y="1391"/>
                    <a:pt x="1233" y="1342"/>
                  </a:cubicBezTo>
                  <a:cubicBezTo>
                    <a:pt x="1438" y="1160"/>
                    <a:pt x="1621" y="863"/>
                    <a:pt x="1530" y="589"/>
                  </a:cubicBezTo>
                  <a:cubicBezTo>
                    <a:pt x="1530" y="252"/>
                    <a:pt x="1306" y="1"/>
                    <a:pt x="87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" name="Google Shape;992;p18"/>
            <p:cNvSpPr/>
            <p:nvPr/>
          </p:nvSpPr>
          <p:spPr>
            <a:xfrm>
              <a:off x="7273900" y="5012054"/>
              <a:ext cx="33585" cy="28992"/>
            </a:xfrm>
            <a:custGeom>
              <a:avLst/>
              <a:gdLst/>
              <a:ahLst/>
              <a:cxnLst/>
              <a:rect l="l" t="t" r="r" b="b"/>
              <a:pathLst>
                <a:path w="1610" h="1390" extrusionOk="0">
                  <a:moveTo>
                    <a:pt x="1018" y="0"/>
                  </a:moveTo>
                  <a:cubicBezTo>
                    <a:pt x="963" y="0"/>
                    <a:pt x="905" y="6"/>
                    <a:pt x="845" y="17"/>
                  </a:cubicBezTo>
                  <a:cubicBezTo>
                    <a:pt x="571" y="17"/>
                    <a:pt x="183" y="200"/>
                    <a:pt x="183" y="383"/>
                  </a:cubicBezTo>
                  <a:cubicBezTo>
                    <a:pt x="0" y="771"/>
                    <a:pt x="183" y="1250"/>
                    <a:pt x="662" y="1341"/>
                  </a:cubicBezTo>
                  <a:cubicBezTo>
                    <a:pt x="750" y="1375"/>
                    <a:pt x="830" y="1390"/>
                    <a:pt x="905" y="1390"/>
                  </a:cubicBezTo>
                  <a:cubicBezTo>
                    <a:pt x="1236" y="1390"/>
                    <a:pt x="1436" y="1088"/>
                    <a:pt x="1530" y="771"/>
                  </a:cubicBezTo>
                  <a:cubicBezTo>
                    <a:pt x="1609" y="272"/>
                    <a:pt x="1393" y="0"/>
                    <a:pt x="10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" name="Google Shape;993;p18"/>
            <p:cNvSpPr/>
            <p:nvPr/>
          </p:nvSpPr>
          <p:spPr>
            <a:xfrm>
              <a:off x="7462453" y="5011241"/>
              <a:ext cx="31436" cy="29159"/>
            </a:xfrm>
            <a:custGeom>
              <a:avLst/>
              <a:gdLst/>
              <a:ahLst/>
              <a:cxnLst/>
              <a:rect l="l" t="t" r="r" b="b"/>
              <a:pathLst>
                <a:path w="1507" h="1398" extrusionOk="0">
                  <a:moveTo>
                    <a:pt x="945" y="0"/>
                  </a:moveTo>
                  <a:cubicBezTo>
                    <a:pt x="863" y="0"/>
                    <a:pt x="769" y="18"/>
                    <a:pt x="662" y="56"/>
                  </a:cubicBezTo>
                  <a:cubicBezTo>
                    <a:pt x="479" y="56"/>
                    <a:pt x="183" y="330"/>
                    <a:pt x="91" y="536"/>
                  </a:cubicBezTo>
                  <a:cubicBezTo>
                    <a:pt x="0" y="992"/>
                    <a:pt x="274" y="1380"/>
                    <a:pt x="753" y="1380"/>
                  </a:cubicBezTo>
                  <a:cubicBezTo>
                    <a:pt x="815" y="1392"/>
                    <a:pt x="873" y="1398"/>
                    <a:pt x="928" y="1398"/>
                  </a:cubicBezTo>
                  <a:cubicBezTo>
                    <a:pt x="1299" y="1398"/>
                    <a:pt x="1507" y="1136"/>
                    <a:pt x="1507" y="718"/>
                  </a:cubicBezTo>
                  <a:cubicBezTo>
                    <a:pt x="1432" y="329"/>
                    <a:pt x="1298" y="0"/>
                    <a:pt x="945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" name="Google Shape;994;p18"/>
            <p:cNvSpPr/>
            <p:nvPr/>
          </p:nvSpPr>
          <p:spPr>
            <a:xfrm>
              <a:off x="7648608" y="5011012"/>
              <a:ext cx="33835" cy="29034"/>
            </a:xfrm>
            <a:custGeom>
              <a:avLst/>
              <a:gdLst/>
              <a:ahLst/>
              <a:cxnLst/>
              <a:rect l="l" t="t" r="r" b="b"/>
              <a:pathLst>
                <a:path w="1622" h="1392" extrusionOk="0">
                  <a:moveTo>
                    <a:pt x="880" y="0"/>
                  </a:moveTo>
                  <a:cubicBezTo>
                    <a:pt x="783" y="0"/>
                    <a:pt x="679" y="21"/>
                    <a:pt x="571" y="67"/>
                  </a:cubicBezTo>
                  <a:cubicBezTo>
                    <a:pt x="206" y="159"/>
                    <a:pt x="1" y="638"/>
                    <a:pt x="298" y="1117"/>
                  </a:cubicBezTo>
                  <a:cubicBezTo>
                    <a:pt x="389" y="1300"/>
                    <a:pt x="686" y="1391"/>
                    <a:pt x="959" y="1391"/>
                  </a:cubicBezTo>
                  <a:cubicBezTo>
                    <a:pt x="1347" y="1391"/>
                    <a:pt x="1621" y="1117"/>
                    <a:pt x="1621" y="547"/>
                  </a:cubicBezTo>
                  <a:cubicBezTo>
                    <a:pt x="1480" y="246"/>
                    <a:pt x="1215" y="0"/>
                    <a:pt x="88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2">
  <p:cSld name="TITLE_AND_TWO_COLUMNS_1_1">
    <p:spTree>
      <p:nvGrpSpPr>
        <p:cNvPr id="1" name="Shape 9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6" name="Google Shape;996;p19"/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Paytone One"/>
                <a:ea typeface="Paytone One"/>
                <a:cs typeface="Paytone One"/>
                <a:sym typeface="Paytone On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997" name="Google Shape;997;p19"/>
          <p:cNvSpPr txBox="1">
            <a:spLocks noGrp="1"/>
          </p:cNvSpPr>
          <p:nvPr>
            <p:ph type="subTitle" idx="1"/>
          </p:nvPr>
        </p:nvSpPr>
        <p:spPr>
          <a:xfrm>
            <a:off x="4677249" y="1621688"/>
            <a:ext cx="3715800" cy="228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0">
                <a:latin typeface="Kumbh Sans"/>
                <a:ea typeface="Kumbh Sans"/>
                <a:cs typeface="Kumbh Sans"/>
                <a:sym typeface="Kumbh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8" name="Google Shape;998;p19"/>
          <p:cNvSpPr txBox="1">
            <a:spLocks noGrp="1"/>
          </p:cNvSpPr>
          <p:nvPr>
            <p:ph type="subTitle" idx="2"/>
          </p:nvPr>
        </p:nvSpPr>
        <p:spPr>
          <a:xfrm>
            <a:off x="750951" y="1621688"/>
            <a:ext cx="3715800" cy="228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0">
                <a:latin typeface="Kumbh Sans"/>
                <a:ea typeface="Kumbh Sans"/>
                <a:cs typeface="Kumbh Sans"/>
                <a:sym typeface="Kumbh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9" name="Google Shape;999;p19"/>
          <p:cNvSpPr/>
          <p:nvPr/>
        </p:nvSpPr>
        <p:spPr>
          <a:xfrm>
            <a:off x="329928" y="411308"/>
            <a:ext cx="230824" cy="68683"/>
          </a:xfrm>
          <a:custGeom>
            <a:avLst/>
            <a:gdLst/>
            <a:ahLst/>
            <a:cxnLst/>
            <a:rect l="l" t="t" r="r" b="b"/>
            <a:pathLst>
              <a:path w="2944" h="876" extrusionOk="0">
                <a:moveTo>
                  <a:pt x="1490" y="1"/>
                </a:moveTo>
                <a:cubicBezTo>
                  <a:pt x="1156" y="1"/>
                  <a:pt x="889" y="275"/>
                  <a:pt x="889" y="600"/>
                </a:cubicBezTo>
                <a:lnTo>
                  <a:pt x="889" y="623"/>
                </a:lnTo>
                <a:cubicBezTo>
                  <a:pt x="852" y="613"/>
                  <a:pt x="815" y="606"/>
                  <a:pt x="775" y="606"/>
                </a:cubicBezTo>
                <a:cubicBezTo>
                  <a:pt x="759" y="606"/>
                  <a:pt x="744" y="607"/>
                  <a:pt x="727" y="609"/>
                </a:cubicBezTo>
                <a:cubicBezTo>
                  <a:pt x="623" y="616"/>
                  <a:pt x="526" y="661"/>
                  <a:pt x="454" y="734"/>
                </a:cubicBezTo>
                <a:cubicBezTo>
                  <a:pt x="421" y="723"/>
                  <a:pt x="384" y="717"/>
                  <a:pt x="346" y="717"/>
                </a:cubicBezTo>
                <a:cubicBezTo>
                  <a:pt x="332" y="717"/>
                  <a:pt x="318" y="718"/>
                  <a:pt x="304" y="719"/>
                </a:cubicBezTo>
                <a:cubicBezTo>
                  <a:pt x="178" y="727"/>
                  <a:pt x="75" y="787"/>
                  <a:pt x="0" y="876"/>
                </a:cubicBezTo>
                <a:lnTo>
                  <a:pt x="2934" y="876"/>
                </a:lnTo>
                <a:cubicBezTo>
                  <a:pt x="2934" y="867"/>
                  <a:pt x="2943" y="860"/>
                  <a:pt x="2943" y="846"/>
                </a:cubicBezTo>
                <a:cubicBezTo>
                  <a:pt x="2921" y="625"/>
                  <a:pt x="2736" y="452"/>
                  <a:pt x="2509" y="452"/>
                </a:cubicBezTo>
                <a:cubicBezTo>
                  <a:pt x="2501" y="452"/>
                  <a:pt x="2492" y="452"/>
                  <a:pt x="2483" y="453"/>
                </a:cubicBezTo>
                <a:cubicBezTo>
                  <a:pt x="2365" y="460"/>
                  <a:pt x="2253" y="527"/>
                  <a:pt x="2179" y="616"/>
                </a:cubicBezTo>
                <a:cubicBezTo>
                  <a:pt x="2150" y="609"/>
                  <a:pt x="2120" y="609"/>
                  <a:pt x="2090" y="609"/>
                </a:cubicBezTo>
                <a:lnTo>
                  <a:pt x="2090" y="600"/>
                </a:lnTo>
                <a:cubicBezTo>
                  <a:pt x="2090" y="275"/>
                  <a:pt x="1823" y="1"/>
                  <a:pt x="1490" y="1"/>
                </a:cubicBezTo>
                <a:close/>
              </a:path>
            </a:pathLst>
          </a:custGeom>
          <a:solidFill>
            <a:srgbClr val="A1E1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0" name="Google Shape;1000;p19"/>
          <p:cNvGrpSpPr/>
          <p:nvPr/>
        </p:nvGrpSpPr>
        <p:grpSpPr>
          <a:xfrm>
            <a:off x="7615505" y="4138690"/>
            <a:ext cx="1189160" cy="799971"/>
            <a:chOff x="7584680" y="4192527"/>
            <a:chExt cx="1189160" cy="799971"/>
          </a:xfrm>
        </p:grpSpPr>
        <p:grpSp>
          <p:nvGrpSpPr>
            <p:cNvPr id="1001" name="Google Shape;1001;p19"/>
            <p:cNvGrpSpPr/>
            <p:nvPr/>
          </p:nvGrpSpPr>
          <p:grpSpPr>
            <a:xfrm>
              <a:off x="7584680" y="4192527"/>
              <a:ext cx="533390" cy="795972"/>
              <a:chOff x="5752054" y="2896539"/>
              <a:chExt cx="727086" cy="1085021"/>
            </a:xfrm>
          </p:grpSpPr>
          <p:sp>
            <p:nvSpPr>
              <p:cNvPr id="1002" name="Google Shape;1002;p19"/>
              <p:cNvSpPr/>
              <p:nvPr/>
            </p:nvSpPr>
            <p:spPr>
              <a:xfrm>
                <a:off x="5955656" y="3243358"/>
                <a:ext cx="312937" cy="738203"/>
              </a:xfrm>
              <a:custGeom>
                <a:avLst/>
                <a:gdLst/>
                <a:ahLst/>
                <a:cxnLst/>
                <a:rect l="l" t="t" r="r" b="b"/>
                <a:pathLst>
                  <a:path w="2928" h="6907" extrusionOk="0">
                    <a:moveTo>
                      <a:pt x="644" y="1"/>
                    </a:moveTo>
                    <a:lnTo>
                      <a:pt x="0" y="6906"/>
                    </a:lnTo>
                    <a:lnTo>
                      <a:pt x="2927" y="6906"/>
                    </a:lnTo>
                    <a:lnTo>
                      <a:pt x="2282" y="1"/>
                    </a:lnTo>
                    <a:close/>
                  </a:path>
                </a:pathLst>
              </a:custGeom>
              <a:solidFill>
                <a:srgbClr val="B3766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3" name="Google Shape;1003;p19"/>
              <p:cNvSpPr/>
              <p:nvPr/>
            </p:nvSpPr>
            <p:spPr>
              <a:xfrm>
                <a:off x="6199442" y="3243358"/>
                <a:ext cx="76204" cy="738203"/>
              </a:xfrm>
              <a:custGeom>
                <a:avLst/>
                <a:gdLst/>
                <a:ahLst/>
                <a:cxnLst/>
                <a:rect l="l" t="t" r="r" b="b"/>
                <a:pathLst>
                  <a:path w="713" h="6907" extrusionOk="0">
                    <a:moveTo>
                      <a:pt x="1" y="1"/>
                    </a:moveTo>
                    <a:lnTo>
                      <a:pt x="646" y="6906"/>
                    </a:lnTo>
                    <a:lnTo>
                      <a:pt x="712" y="6906"/>
                    </a:lnTo>
                    <a:lnTo>
                      <a:pt x="68" y="1"/>
                    </a:lnTo>
                    <a:close/>
                  </a:path>
                </a:pathLst>
              </a:custGeom>
              <a:solidFill>
                <a:srgbClr val="674F5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4" name="Google Shape;1004;p19"/>
              <p:cNvSpPr/>
              <p:nvPr/>
            </p:nvSpPr>
            <p:spPr>
              <a:xfrm>
                <a:off x="6109238" y="3243358"/>
                <a:ext cx="159354" cy="738203"/>
              </a:xfrm>
              <a:custGeom>
                <a:avLst/>
                <a:gdLst/>
                <a:ahLst/>
                <a:cxnLst/>
                <a:rect l="l" t="t" r="r" b="b"/>
                <a:pathLst>
                  <a:path w="1491" h="6907" extrusionOk="0">
                    <a:moveTo>
                      <a:pt x="82" y="1"/>
                    </a:moveTo>
                    <a:lnTo>
                      <a:pt x="0" y="6906"/>
                    </a:lnTo>
                    <a:lnTo>
                      <a:pt x="1490" y="6906"/>
                    </a:lnTo>
                    <a:lnTo>
                      <a:pt x="845" y="1"/>
                    </a:lnTo>
                    <a:close/>
                  </a:path>
                </a:pathLst>
              </a:custGeom>
              <a:solidFill>
                <a:srgbClr val="AA665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5" name="Google Shape;1005;p19"/>
              <p:cNvSpPr/>
              <p:nvPr/>
            </p:nvSpPr>
            <p:spPr>
              <a:xfrm>
                <a:off x="6090962" y="3513331"/>
                <a:ext cx="49271" cy="49271"/>
              </a:xfrm>
              <a:custGeom>
                <a:avLst/>
                <a:gdLst/>
                <a:ahLst/>
                <a:cxnLst/>
                <a:rect l="l" t="t" r="r" b="b"/>
                <a:pathLst>
                  <a:path w="461" h="461" extrusionOk="0">
                    <a:moveTo>
                      <a:pt x="0" y="0"/>
                    </a:moveTo>
                    <a:lnTo>
                      <a:pt x="0" y="461"/>
                    </a:lnTo>
                    <a:lnTo>
                      <a:pt x="461" y="461"/>
                    </a:lnTo>
                    <a:lnTo>
                      <a:pt x="461" y="0"/>
                    </a:ln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6" name="Google Shape;1006;p19"/>
              <p:cNvSpPr/>
              <p:nvPr/>
            </p:nvSpPr>
            <p:spPr>
              <a:xfrm>
                <a:off x="6087114" y="3508522"/>
                <a:ext cx="57928" cy="58034"/>
              </a:xfrm>
              <a:custGeom>
                <a:avLst/>
                <a:gdLst/>
                <a:ahLst/>
                <a:cxnLst/>
                <a:rect l="l" t="t" r="r" b="b"/>
                <a:pathLst>
                  <a:path w="542" h="543" extrusionOk="0">
                    <a:moveTo>
                      <a:pt x="460" y="82"/>
                    </a:moveTo>
                    <a:lnTo>
                      <a:pt x="460" y="468"/>
                    </a:lnTo>
                    <a:lnTo>
                      <a:pt x="74" y="468"/>
                    </a:lnTo>
                    <a:lnTo>
                      <a:pt x="74" y="82"/>
                    </a:lnTo>
                    <a:close/>
                    <a:moveTo>
                      <a:pt x="1" y="1"/>
                    </a:moveTo>
                    <a:lnTo>
                      <a:pt x="1" y="543"/>
                    </a:lnTo>
                    <a:lnTo>
                      <a:pt x="541" y="543"/>
                    </a:lnTo>
                    <a:lnTo>
                      <a:pt x="541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7" name="Google Shape;1007;p19"/>
              <p:cNvSpPr/>
              <p:nvPr/>
            </p:nvSpPr>
            <p:spPr>
              <a:xfrm>
                <a:off x="6090962" y="3634531"/>
                <a:ext cx="49271" cy="49164"/>
              </a:xfrm>
              <a:custGeom>
                <a:avLst/>
                <a:gdLst/>
                <a:ahLst/>
                <a:cxnLst/>
                <a:rect l="l" t="t" r="r" b="b"/>
                <a:pathLst>
                  <a:path w="461" h="460" extrusionOk="0">
                    <a:moveTo>
                      <a:pt x="0" y="1"/>
                    </a:moveTo>
                    <a:lnTo>
                      <a:pt x="0" y="459"/>
                    </a:lnTo>
                    <a:lnTo>
                      <a:pt x="461" y="459"/>
                    </a:lnTo>
                    <a:lnTo>
                      <a:pt x="461" y="1"/>
                    </a:ln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8" name="Google Shape;1008;p19"/>
              <p:cNvSpPr/>
              <p:nvPr/>
            </p:nvSpPr>
            <p:spPr>
              <a:xfrm>
                <a:off x="6087114" y="3630576"/>
                <a:ext cx="57928" cy="57821"/>
              </a:xfrm>
              <a:custGeom>
                <a:avLst/>
                <a:gdLst/>
                <a:ahLst/>
                <a:cxnLst/>
                <a:rect l="l" t="t" r="r" b="b"/>
                <a:pathLst>
                  <a:path w="542" h="541" extrusionOk="0">
                    <a:moveTo>
                      <a:pt x="460" y="75"/>
                    </a:moveTo>
                    <a:lnTo>
                      <a:pt x="460" y="459"/>
                    </a:lnTo>
                    <a:lnTo>
                      <a:pt x="74" y="459"/>
                    </a:lnTo>
                    <a:lnTo>
                      <a:pt x="74" y="75"/>
                    </a:lnTo>
                    <a:close/>
                    <a:moveTo>
                      <a:pt x="1" y="0"/>
                    </a:moveTo>
                    <a:lnTo>
                      <a:pt x="1" y="541"/>
                    </a:lnTo>
                    <a:lnTo>
                      <a:pt x="541" y="541"/>
                    </a:lnTo>
                    <a:lnTo>
                      <a:pt x="54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9" name="Google Shape;1009;p19"/>
              <p:cNvSpPr/>
              <p:nvPr/>
            </p:nvSpPr>
            <p:spPr>
              <a:xfrm>
                <a:off x="6090962" y="3755623"/>
                <a:ext cx="49271" cy="50126"/>
              </a:xfrm>
              <a:custGeom>
                <a:avLst/>
                <a:gdLst/>
                <a:ahLst/>
                <a:cxnLst/>
                <a:rect l="l" t="t" r="r" b="b"/>
                <a:pathLst>
                  <a:path w="461" h="469" extrusionOk="0">
                    <a:moveTo>
                      <a:pt x="0" y="0"/>
                    </a:moveTo>
                    <a:lnTo>
                      <a:pt x="0" y="468"/>
                    </a:lnTo>
                    <a:lnTo>
                      <a:pt x="461" y="468"/>
                    </a:lnTo>
                    <a:lnTo>
                      <a:pt x="461" y="0"/>
                    </a:ln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0" name="Google Shape;1010;p19"/>
              <p:cNvSpPr/>
              <p:nvPr/>
            </p:nvSpPr>
            <p:spPr>
              <a:xfrm>
                <a:off x="6087114" y="3751776"/>
                <a:ext cx="57928" cy="57928"/>
              </a:xfrm>
              <a:custGeom>
                <a:avLst/>
                <a:gdLst/>
                <a:ahLst/>
                <a:cxnLst/>
                <a:rect l="l" t="t" r="r" b="b"/>
                <a:pathLst>
                  <a:path w="542" h="542" extrusionOk="0">
                    <a:moveTo>
                      <a:pt x="460" y="74"/>
                    </a:moveTo>
                    <a:lnTo>
                      <a:pt x="460" y="460"/>
                    </a:lnTo>
                    <a:lnTo>
                      <a:pt x="74" y="460"/>
                    </a:lnTo>
                    <a:lnTo>
                      <a:pt x="74" y="74"/>
                    </a:lnTo>
                    <a:close/>
                    <a:moveTo>
                      <a:pt x="1" y="1"/>
                    </a:moveTo>
                    <a:lnTo>
                      <a:pt x="1" y="541"/>
                    </a:lnTo>
                    <a:lnTo>
                      <a:pt x="541" y="541"/>
                    </a:lnTo>
                    <a:lnTo>
                      <a:pt x="541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1" name="Google Shape;1011;p19"/>
              <p:cNvSpPr/>
              <p:nvPr/>
            </p:nvSpPr>
            <p:spPr>
              <a:xfrm>
                <a:off x="6090962" y="3876930"/>
                <a:ext cx="49271" cy="49805"/>
              </a:xfrm>
              <a:custGeom>
                <a:avLst/>
                <a:gdLst/>
                <a:ahLst/>
                <a:cxnLst/>
                <a:rect l="l" t="t" r="r" b="b"/>
                <a:pathLst>
                  <a:path w="461" h="466" extrusionOk="0">
                    <a:moveTo>
                      <a:pt x="0" y="0"/>
                    </a:moveTo>
                    <a:lnTo>
                      <a:pt x="0" y="466"/>
                    </a:lnTo>
                    <a:lnTo>
                      <a:pt x="461" y="466"/>
                    </a:lnTo>
                    <a:lnTo>
                      <a:pt x="461" y="0"/>
                    </a:ln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2" name="Google Shape;1012;p19"/>
              <p:cNvSpPr/>
              <p:nvPr/>
            </p:nvSpPr>
            <p:spPr>
              <a:xfrm>
                <a:off x="6087114" y="3872868"/>
                <a:ext cx="57928" cy="57928"/>
              </a:xfrm>
              <a:custGeom>
                <a:avLst/>
                <a:gdLst/>
                <a:ahLst/>
                <a:cxnLst/>
                <a:rect l="l" t="t" r="r" b="b"/>
                <a:pathLst>
                  <a:path w="542" h="542" extrusionOk="0">
                    <a:moveTo>
                      <a:pt x="460" y="82"/>
                    </a:moveTo>
                    <a:lnTo>
                      <a:pt x="460" y="468"/>
                    </a:lnTo>
                    <a:lnTo>
                      <a:pt x="74" y="468"/>
                    </a:lnTo>
                    <a:lnTo>
                      <a:pt x="74" y="82"/>
                    </a:lnTo>
                    <a:close/>
                    <a:moveTo>
                      <a:pt x="1" y="1"/>
                    </a:moveTo>
                    <a:lnTo>
                      <a:pt x="1" y="541"/>
                    </a:lnTo>
                    <a:lnTo>
                      <a:pt x="541" y="541"/>
                    </a:lnTo>
                    <a:lnTo>
                      <a:pt x="541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3" name="Google Shape;1013;p19"/>
              <p:cNvSpPr/>
              <p:nvPr/>
            </p:nvSpPr>
            <p:spPr>
              <a:xfrm>
                <a:off x="6090962" y="3391491"/>
                <a:ext cx="49271" cy="49805"/>
              </a:xfrm>
              <a:custGeom>
                <a:avLst/>
                <a:gdLst/>
                <a:ahLst/>
                <a:cxnLst/>
                <a:rect l="l" t="t" r="r" b="b"/>
                <a:pathLst>
                  <a:path w="461" h="466" extrusionOk="0">
                    <a:moveTo>
                      <a:pt x="0" y="0"/>
                    </a:moveTo>
                    <a:lnTo>
                      <a:pt x="0" y="466"/>
                    </a:lnTo>
                    <a:lnTo>
                      <a:pt x="461" y="466"/>
                    </a:lnTo>
                    <a:lnTo>
                      <a:pt x="461" y="0"/>
                    </a:ln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4" name="Google Shape;1014;p19"/>
              <p:cNvSpPr/>
              <p:nvPr/>
            </p:nvSpPr>
            <p:spPr>
              <a:xfrm>
                <a:off x="6087114" y="3387429"/>
                <a:ext cx="57928" cy="57928"/>
              </a:xfrm>
              <a:custGeom>
                <a:avLst/>
                <a:gdLst/>
                <a:ahLst/>
                <a:cxnLst/>
                <a:rect l="l" t="t" r="r" b="b"/>
                <a:pathLst>
                  <a:path w="542" h="542" extrusionOk="0">
                    <a:moveTo>
                      <a:pt x="460" y="83"/>
                    </a:moveTo>
                    <a:lnTo>
                      <a:pt x="460" y="467"/>
                    </a:lnTo>
                    <a:lnTo>
                      <a:pt x="74" y="467"/>
                    </a:lnTo>
                    <a:lnTo>
                      <a:pt x="74" y="83"/>
                    </a:lnTo>
                    <a:close/>
                    <a:moveTo>
                      <a:pt x="1" y="1"/>
                    </a:moveTo>
                    <a:lnTo>
                      <a:pt x="1" y="541"/>
                    </a:lnTo>
                    <a:lnTo>
                      <a:pt x="541" y="541"/>
                    </a:lnTo>
                    <a:lnTo>
                      <a:pt x="541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5" name="Google Shape;1015;p19"/>
              <p:cNvSpPr/>
              <p:nvPr/>
            </p:nvSpPr>
            <p:spPr>
              <a:xfrm>
                <a:off x="6057723" y="3202103"/>
                <a:ext cx="118848" cy="118955"/>
              </a:xfrm>
              <a:custGeom>
                <a:avLst/>
                <a:gdLst/>
                <a:ahLst/>
                <a:cxnLst/>
                <a:rect l="l" t="t" r="r" b="b"/>
                <a:pathLst>
                  <a:path w="1112" h="1113" extrusionOk="0">
                    <a:moveTo>
                      <a:pt x="53" y="1"/>
                    </a:moveTo>
                    <a:lnTo>
                      <a:pt x="0" y="52"/>
                    </a:lnTo>
                    <a:lnTo>
                      <a:pt x="1053" y="1112"/>
                    </a:lnTo>
                    <a:lnTo>
                      <a:pt x="1112" y="1054"/>
                    </a:lnTo>
                    <a:lnTo>
                      <a:pt x="53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6" name="Google Shape;1016;p19"/>
              <p:cNvSpPr/>
              <p:nvPr/>
            </p:nvSpPr>
            <p:spPr>
              <a:xfrm>
                <a:off x="5886613" y="3031098"/>
                <a:ext cx="111153" cy="111687"/>
              </a:xfrm>
              <a:custGeom>
                <a:avLst/>
                <a:gdLst/>
                <a:ahLst/>
                <a:cxnLst/>
                <a:rect l="l" t="t" r="r" b="b"/>
                <a:pathLst>
                  <a:path w="1040" h="1045" extrusionOk="0">
                    <a:moveTo>
                      <a:pt x="972" y="0"/>
                    </a:moveTo>
                    <a:lnTo>
                      <a:pt x="454" y="511"/>
                    </a:lnTo>
                    <a:lnTo>
                      <a:pt x="461" y="520"/>
                    </a:lnTo>
                    <a:lnTo>
                      <a:pt x="1" y="978"/>
                    </a:lnTo>
                    <a:lnTo>
                      <a:pt x="68" y="1044"/>
                    </a:lnTo>
                    <a:lnTo>
                      <a:pt x="587" y="527"/>
                    </a:lnTo>
                    <a:lnTo>
                      <a:pt x="579" y="527"/>
                    </a:lnTo>
                    <a:lnTo>
                      <a:pt x="1039" y="66"/>
                    </a:lnTo>
                    <a:lnTo>
                      <a:pt x="972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7" name="Google Shape;1017;p19"/>
              <p:cNvSpPr/>
              <p:nvPr/>
            </p:nvSpPr>
            <p:spPr>
              <a:xfrm>
                <a:off x="6012621" y="3120555"/>
                <a:ext cx="87960" cy="87212"/>
              </a:xfrm>
              <a:custGeom>
                <a:avLst/>
                <a:gdLst/>
                <a:ahLst/>
                <a:cxnLst/>
                <a:rect l="l" t="t" r="r" b="b"/>
                <a:pathLst>
                  <a:path w="823" h="816" extrusionOk="0">
                    <a:moveTo>
                      <a:pt x="401" y="111"/>
                    </a:moveTo>
                    <a:lnTo>
                      <a:pt x="712" y="415"/>
                    </a:lnTo>
                    <a:lnTo>
                      <a:pt x="422" y="705"/>
                    </a:lnTo>
                    <a:lnTo>
                      <a:pt x="111" y="401"/>
                    </a:lnTo>
                    <a:lnTo>
                      <a:pt x="401" y="111"/>
                    </a:lnTo>
                    <a:close/>
                    <a:moveTo>
                      <a:pt x="401" y="1"/>
                    </a:moveTo>
                    <a:lnTo>
                      <a:pt x="1" y="401"/>
                    </a:lnTo>
                    <a:lnTo>
                      <a:pt x="422" y="815"/>
                    </a:lnTo>
                    <a:lnTo>
                      <a:pt x="822" y="415"/>
                    </a:lnTo>
                    <a:lnTo>
                      <a:pt x="401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8" name="Google Shape;1018;p19"/>
              <p:cNvSpPr/>
              <p:nvPr/>
            </p:nvSpPr>
            <p:spPr>
              <a:xfrm>
                <a:off x="5975428" y="3076094"/>
                <a:ext cx="85609" cy="92877"/>
              </a:xfrm>
              <a:custGeom>
                <a:avLst/>
                <a:gdLst/>
                <a:ahLst/>
                <a:cxnLst/>
                <a:rect l="l" t="t" r="r" b="b"/>
                <a:pathLst>
                  <a:path w="801" h="869" extrusionOk="0">
                    <a:moveTo>
                      <a:pt x="452" y="127"/>
                    </a:moveTo>
                    <a:lnTo>
                      <a:pt x="697" y="468"/>
                    </a:lnTo>
                    <a:lnTo>
                      <a:pt x="407" y="757"/>
                    </a:lnTo>
                    <a:lnTo>
                      <a:pt x="112" y="461"/>
                    </a:lnTo>
                    <a:lnTo>
                      <a:pt x="452" y="127"/>
                    </a:lnTo>
                    <a:close/>
                    <a:moveTo>
                      <a:pt x="459" y="1"/>
                    </a:moveTo>
                    <a:lnTo>
                      <a:pt x="0" y="461"/>
                    </a:lnTo>
                    <a:lnTo>
                      <a:pt x="407" y="869"/>
                    </a:lnTo>
                    <a:lnTo>
                      <a:pt x="800" y="476"/>
                    </a:lnTo>
                    <a:lnTo>
                      <a:pt x="459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9" name="Google Shape;1019;p19"/>
              <p:cNvSpPr/>
              <p:nvPr/>
            </p:nvSpPr>
            <p:spPr>
              <a:xfrm>
                <a:off x="5936631" y="3031098"/>
                <a:ext cx="91915" cy="99075"/>
              </a:xfrm>
              <a:custGeom>
                <a:avLst/>
                <a:gdLst/>
                <a:ahLst/>
                <a:cxnLst/>
                <a:rect l="l" t="t" r="r" b="b"/>
                <a:pathLst>
                  <a:path w="860" h="927" extrusionOk="0">
                    <a:moveTo>
                      <a:pt x="511" y="127"/>
                    </a:moveTo>
                    <a:lnTo>
                      <a:pt x="756" y="466"/>
                    </a:lnTo>
                    <a:lnTo>
                      <a:pt x="407" y="815"/>
                    </a:lnTo>
                    <a:lnTo>
                      <a:pt x="111" y="527"/>
                    </a:lnTo>
                    <a:lnTo>
                      <a:pt x="511" y="127"/>
                    </a:lnTo>
                    <a:close/>
                    <a:moveTo>
                      <a:pt x="520" y="0"/>
                    </a:moveTo>
                    <a:lnTo>
                      <a:pt x="0" y="527"/>
                    </a:lnTo>
                    <a:lnTo>
                      <a:pt x="407" y="927"/>
                    </a:lnTo>
                    <a:lnTo>
                      <a:pt x="859" y="475"/>
                    </a:lnTo>
                    <a:lnTo>
                      <a:pt x="520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0" name="Google Shape;1020;p19"/>
              <p:cNvSpPr/>
              <p:nvPr/>
            </p:nvSpPr>
            <p:spPr>
              <a:xfrm>
                <a:off x="5973825" y="3075346"/>
                <a:ext cx="56431" cy="56431"/>
              </a:xfrm>
              <a:custGeom>
                <a:avLst/>
                <a:gdLst/>
                <a:ahLst/>
                <a:cxnLst/>
                <a:rect l="l" t="t" r="r" b="b"/>
                <a:pathLst>
                  <a:path w="528" h="528" extrusionOk="0">
                    <a:moveTo>
                      <a:pt x="460" y="1"/>
                    </a:moveTo>
                    <a:lnTo>
                      <a:pt x="1" y="461"/>
                    </a:lnTo>
                    <a:lnTo>
                      <a:pt x="67" y="527"/>
                    </a:lnTo>
                    <a:lnTo>
                      <a:pt x="527" y="68"/>
                    </a:lnTo>
                    <a:lnTo>
                      <a:pt x="460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1" name="Google Shape;1021;p19"/>
              <p:cNvSpPr/>
              <p:nvPr/>
            </p:nvSpPr>
            <p:spPr>
              <a:xfrm>
                <a:off x="5896125" y="2985034"/>
                <a:ext cx="99930" cy="107198"/>
              </a:xfrm>
              <a:custGeom>
                <a:avLst/>
                <a:gdLst/>
                <a:ahLst/>
                <a:cxnLst/>
                <a:rect l="l" t="t" r="r" b="b"/>
                <a:pathLst>
                  <a:path w="935" h="1003" extrusionOk="0">
                    <a:moveTo>
                      <a:pt x="571" y="127"/>
                    </a:moveTo>
                    <a:lnTo>
                      <a:pt x="831" y="483"/>
                    </a:lnTo>
                    <a:lnTo>
                      <a:pt x="424" y="883"/>
                    </a:lnTo>
                    <a:lnTo>
                      <a:pt x="112" y="579"/>
                    </a:lnTo>
                    <a:lnTo>
                      <a:pt x="571" y="127"/>
                    </a:lnTo>
                    <a:close/>
                    <a:moveTo>
                      <a:pt x="578" y="1"/>
                    </a:moveTo>
                    <a:lnTo>
                      <a:pt x="0" y="579"/>
                    </a:lnTo>
                    <a:lnTo>
                      <a:pt x="424" y="1002"/>
                    </a:lnTo>
                    <a:lnTo>
                      <a:pt x="934" y="490"/>
                    </a:lnTo>
                    <a:lnTo>
                      <a:pt x="578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2" name="Google Shape;1022;p19"/>
              <p:cNvSpPr/>
              <p:nvPr/>
            </p:nvSpPr>
            <p:spPr>
              <a:xfrm>
                <a:off x="5859039" y="2941535"/>
                <a:ext cx="103671" cy="111901"/>
              </a:xfrm>
              <a:custGeom>
                <a:avLst/>
                <a:gdLst/>
                <a:ahLst/>
                <a:cxnLst/>
                <a:rect l="l" t="t" r="r" b="b"/>
                <a:pathLst>
                  <a:path w="970" h="1047" extrusionOk="0">
                    <a:moveTo>
                      <a:pt x="623" y="127"/>
                    </a:moveTo>
                    <a:lnTo>
                      <a:pt x="867" y="468"/>
                    </a:lnTo>
                    <a:lnTo>
                      <a:pt x="408" y="927"/>
                    </a:lnTo>
                    <a:lnTo>
                      <a:pt x="111" y="637"/>
                    </a:lnTo>
                    <a:lnTo>
                      <a:pt x="623" y="127"/>
                    </a:lnTo>
                    <a:close/>
                    <a:moveTo>
                      <a:pt x="630" y="1"/>
                    </a:moveTo>
                    <a:lnTo>
                      <a:pt x="1" y="637"/>
                    </a:lnTo>
                    <a:lnTo>
                      <a:pt x="408" y="1046"/>
                    </a:lnTo>
                    <a:lnTo>
                      <a:pt x="970" y="475"/>
                    </a:lnTo>
                    <a:lnTo>
                      <a:pt x="630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3" name="Google Shape;1023;p19"/>
              <p:cNvSpPr/>
              <p:nvPr/>
            </p:nvSpPr>
            <p:spPr>
              <a:xfrm>
                <a:off x="5820135" y="2896539"/>
                <a:ext cx="110298" cy="117886"/>
              </a:xfrm>
              <a:custGeom>
                <a:avLst/>
                <a:gdLst/>
                <a:ahLst/>
                <a:cxnLst/>
                <a:rect l="l" t="t" r="r" b="b"/>
                <a:pathLst>
                  <a:path w="1032" h="1103" extrusionOk="0">
                    <a:moveTo>
                      <a:pt x="683" y="125"/>
                    </a:moveTo>
                    <a:lnTo>
                      <a:pt x="927" y="466"/>
                    </a:lnTo>
                    <a:lnTo>
                      <a:pt x="409" y="985"/>
                    </a:lnTo>
                    <a:lnTo>
                      <a:pt x="112" y="696"/>
                    </a:lnTo>
                    <a:lnTo>
                      <a:pt x="683" y="125"/>
                    </a:lnTo>
                    <a:close/>
                    <a:moveTo>
                      <a:pt x="690" y="0"/>
                    </a:moveTo>
                    <a:lnTo>
                      <a:pt x="0" y="696"/>
                    </a:lnTo>
                    <a:lnTo>
                      <a:pt x="409" y="1103"/>
                    </a:lnTo>
                    <a:lnTo>
                      <a:pt x="1032" y="473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4" name="Google Shape;1024;p19"/>
              <p:cNvSpPr/>
              <p:nvPr/>
            </p:nvSpPr>
            <p:spPr>
              <a:xfrm>
                <a:off x="5857329" y="2940787"/>
                <a:ext cx="74600" cy="74600"/>
              </a:xfrm>
              <a:custGeom>
                <a:avLst/>
                <a:gdLst/>
                <a:ahLst/>
                <a:cxnLst/>
                <a:rect l="l" t="t" r="r" b="b"/>
                <a:pathLst>
                  <a:path w="698" h="698" extrusionOk="0">
                    <a:moveTo>
                      <a:pt x="630" y="1"/>
                    </a:moveTo>
                    <a:lnTo>
                      <a:pt x="1" y="630"/>
                    </a:lnTo>
                    <a:lnTo>
                      <a:pt x="75" y="698"/>
                    </a:lnTo>
                    <a:lnTo>
                      <a:pt x="698" y="66"/>
                    </a:lnTo>
                    <a:lnTo>
                      <a:pt x="630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5" name="Google Shape;1025;p19"/>
              <p:cNvSpPr/>
              <p:nvPr/>
            </p:nvSpPr>
            <p:spPr>
              <a:xfrm>
                <a:off x="5976924" y="3157856"/>
                <a:ext cx="87319" cy="87960"/>
              </a:xfrm>
              <a:custGeom>
                <a:avLst/>
                <a:gdLst/>
                <a:ahLst/>
                <a:cxnLst/>
                <a:rect l="l" t="t" r="r" b="b"/>
                <a:pathLst>
                  <a:path w="817" h="823" extrusionOk="0">
                    <a:moveTo>
                      <a:pt x="400" y="111"/>
                    </a:moveTo>
                    <a:lnTo>
                      <a:pt x="704" y="422"/>
                    </a:lnTo>
                    <a:lnTo>
                      <a:pt x="416" y="703"/>
                    </a:lnTo>
                    <a:lnTo>
                      <a:pt x="112" y="401"/>
                    </a:lnTo>
                    <a:lnTo>
                      <a:pt x="400" y="111"/>
                    </a:lnTo>
                    <a:close/>
                    <a:moveTo>
                      <a:pt x="400" y="0"/>
                    </a:moveTo>
                    <a:lnTo>
                      <a:pt x="0" y="401"/>
                    </a:lnTo>
                    <a:lnTo>
                      <a:pt x="416" y="822"/>
                    </a:lnTo>
                    <a:lnTo>
                      <a:pt x="817" y="422"/>
                    </a:lnTo>
                    <a:lnTo>
                      <a:pt x="400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6" name="Google Shape;1026;p19"/>
              <p:cNvSpPr/>
              <p:nvPr/>
            </p:nvSpPr>
            <p:spPr>
              <a:xfrm>
                <a:off x="5932570" y="3120555"/>
                <a:ext cx="92877" cy="85716"/>
              </a:xfrm>
              <a:custGeom>
                <a:avLst/>
                <a:gdLst/>
                <a:ahLst/>
                <a:cxnLst/>
                <a:rect l="l" t="t" r="r" b="b"/>
                <a:pathLst>
                  <a:path w="869" h="802" extrusionOk="0">
                    <a:moveTo>
                      <a:pt x="460" y="111"/>
                    </a:moveTo>
                    <a:lnTo>
                      <a:pt x="757" y="408"/>
                    </a:lnTo>
                    <a:lnTo>
                      <a:pt x="469" y="696"/>
                    </a:lnTo>
                    <a:lnTo>
                      <a:pt x="120" y="453"/>
                    </a:lnTo>
                    <a:lnTo>
                      <a:pt x="460" y="111"/>
                    </a:lnTo>
                    <a:close/>
                    <a:moveTo>
                      <a:pt x="460" y="1"/>
                    </a:moveTo>
                    <a:lnTo>
                      <a:pt x="1" y="460"/>
                    </a:lnTo>
                    <a:lnTo>
                      <a:pt x="476" y="801"/>
                    </a:lnTo>
                    <a:lnTo>
                      <a:pt x="869" y="408"/>
                    </a:lnTo>
                    <a:lnTo>
                      <a:pt x="460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7" name="Google Shape;1027;p19"/>
              <p:cNvSpPr/>
              <p:nvPr/>
            </p:nvSpPr>
            <p:spPr>
              <a:xfrm>
                <a:off x="5887575" y="3081865"/>
                <a:ext cx="98969" cy="91915"/>
              </a:xfrm>
              <a:custGeom>
                <a:avLst/>
                <a:gdLst/>
                <a:ahLst/>
                <a:cxnLst/>
                <a:rect l="l" t="t" r="r" b="b"/>
                <a:pathLst>
                  <a:path w="926" h="860" extrusionOk="0">
                    <a:moveTo>
                      <a:pt x="518" y="110"/>
                    </a:moveTo>
                    <a:lnTo>
                      <a:pt x="815" y="407"/>
                    </a:lnTo>
                    <a:lnTo>
                      <a:pt x="466" y="756"/>
                    </a:lnTo>
                    <a:lnTo>
                      <a:pt x="125" y="503"/>
                    </a:lnTo>
                    <a:lnTo>
                      <a:pt x="518" y="110"/>
                    </a:lnTo>
                    <a:close/>
                    <a:moveTo>
                      <a:pt x="518" y="0"/>
                    </a:moveTo>
                    <a:lnTo>
                      <a:pt x="0" y="518"/>
                    </a:lnTo>
                    <a:lnTo>
                      <a:pt x="473" y="859"/>
                    </a:lnTo>
                    <a:lnTo>
                      <a:pt x="925" y="407"/>
                    </a:lnTo>
                    <a:lnTo>
                      <a:pt x="518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8" name="Google Shape;1028;p19"/>
              <p:cNvSpPr/>
              <p:nvPr/>
            </p:nvSpPr>
            <p:spPr>
              <a:xfrm>
                <a:off x="5931822" y="3118845"/>
                <a:ext cx="56431" cy="56431"/>
              </a:xfrm>
              <a:custGeom>
                <a:avLst/>
                <a:gdLst/>
                <a:ahLst/>
                <a:cxnLst/>
                <a:rect l="l" t="t" r="r" b="b"/>
                <a:pathLst>
                  <a:path w="528" h="528" extrusionOk="0">
                    <a:moveTo>
                      <a:pt x="460" y="1"/>
                    </a:moveTo>
                    <a:lnTo>
                      <a:pt x="1" y="461"/>
                    </a:lnTo>
                    <a:lnTo>
                      <a:pt x="67" y="527"/>
                    </a:lnTo>
                    <a:lnTo>
                      <a:pt x="527" y="68"/>
                    </a:lnTo>
                    <a:lnTo>
                      <a:pt x="460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9" name="Google Shape;1029;p19"/>
              <p:cNvSpPr/>
              <p:nvPr/>
            </p:nvSpPr>
            <p:spPr>
              <a:xfrm>
                <a:off x="5841618" y="3041359"/>
                <a:ext cx="106129" cy="99824"/>
              </a:xfrm>
              <a:custGeom>
                <a:avLst/>
                <a:gdLst/>
                <a:ahLst/>
                <a:cxnLst/>
                <a:rect l="l" t="t" r="r" b="b"/>
                <a:pathLst>
                  <a:path w="993" h="934" extrusionOk="0">
                    <a:moveTo>
                      <a:pt x="578" y="112"/>
                    </a:moveTo>
                    <a:lnTo>
                      <a:pt x="882" y="424"/>
                    </a:lnTo>
                    <a:lnTo>
                      <a:pt x="475" y="831"/>
                    </a:lnTo>
                    <a:lnTo>
                      <a:pt x="119" y="571"/>
                    </a:lnTo>
                    <a:lnTo>
                      <a:pt x="578" y="112"/>
                    </a:lnTo>
                    <a:close/>
                    <a:moveTo>
                      <a:pt x="578" y="0"/>
                    </a:moveTo>
                    <a:lnTo>
                      <a:pt x="0" y="578"/>
                    </a:lnTo>
                    <a:lnTo>
                      <a:pt x="482" y="934"/>
                    </a:lnTo>
                    <a:lnTo>
                      <a:pt x="992" y="424"/>
                    </a:lnTo>
                    <a:lnTo>
                      <a:pt x="578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0" name="Google Shape;1030;p19"/>
              <p:cNvSpPr/>
              <p:nvPr/>
            </p:nvSpPr>
            <p:spPr>
              <a:xfrm>
                <a:off x="5798012" y="3004058"/>
                <a:ext cx="110939" cy="103885"/>
              </a:xfrm>
              <a:custGeom>
                <a:avLst/>
                <a:gdLst/>
                <a:ahLst/>
                <a:cxnLst/>
                <a:rect l="l" t="t" r="r" b="b"/>
                <a:pathLst>
                  <a:path w="1038" h="972" extrusionOk="0">
                    <a:moveTo>
                      <a:pt x="630" y="113"/>
                    </a:moveTo>
                    <a:lnTo>
                      <a:pt x="927" y="408"/>
                    </a:lnTo>
                    <a:lnTo>
                      <a:pt x="467" y="869"/>
                    </a:lnTo>
                    <a:lnTo>
                      <a:pt x="118" y="623"/>
                    </a:lnTo>
                    <a:lnTo>
                      <a:pt x="630" y="113"/>
                    </a:lnTo>
                    <a:close/>
                    <a:moveTo>
                      <a:pt x="630" y="1"/>
                    </a:moveTo>
                    <a:lnTo>
                      <a:pt x="1" y="630"/>
                    </a:lnTo>
                    <a:lnTo>
                      <a:pt x="474" y="972"/>
                    </a:lnTo>
                    <a:lnTo>
                      <a:pt x="1038" y="408"/>
                    </a:lnTo>
                    <a:lnTo>
                      <a:pt x="630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1" name="Google Shape;1031;p19"/>
              <p:cNvSpPr/>
              <p:nvPr/>
            </p:nvSpPr>
            <p:spPr>
              <a:xfrm>
                <a:off x="5752803" y="2965262"/>
                <a:ext cx="117351" cy="110191"/>
              </a:xfrm>
              <a:custGeom>
                <a:avLst/>
                <a:gdLst/>
                <a:ahLst/>
                <a:cxnLst/>
                <a:rect l="l" t="t" r="r" b="b"/>
                <a:pathLst>
                  <a:path w="1098" h="1031" extrusionOk="0">
                    <a:moveTo>
                      <a:pt x="691" y="113"/>
                    </a:moveTo>
                    <a:lnTo>
                      <a:pt x="986" y="408"/>
                    </a:lnTo>
                    <a:lnTo>
                      <a:pt x="468" y="928"/>
                    </a:lnTo>
                    <a:lnTo>
                      <a:pt x="127" y="682"/>
                    </a:lnTo>
                    <a:lnTo>
                      <a:pt x="691" y="113"/>
                    </a:lnTo>
                    <a:close/>
                    <a:moveTo>
                      <a:pt x="691" y="1"/>
                    </a:moveTo>
                    <a:lnTo>
                      <a:pt x="1" y="691"/>
                    </a:lnTo>
                    <a:lnTo>
                      <a:pt x="475" y="1031"/>
                    </a:lnTo>
                    <a:lnTo>
                      <a:pt x="1098" y="408"/>
                    </a:lnTo>
                    <a:lnTo>
                      <a:pt x="691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2" name="Google Shape;1032;p19"/>
              <p:cNvSpPr/>
              <p:nvPr/>
            </p:nvSpPr>
            <p:spPr>
              <a:xfrm>
                <a:off x="5797264" y="3002562"/>
                <a:ext cx="74494" cy="74600"/>
              </a:xfrm>
              <a:custGeom>
                <a:avLst/>
                <a:gdLst/>
                <a:ahLst/>
                <a:cxnLst/>
                <a:rect l="l" t="t" r="r" b="b"/>
                <a:pathLst>
                  <a:path w="697" h="698" extrusionOk="0">
                    <a:moveTo>
                      <a:pt x="630" y="1"/>
                    </a:moveTo>
                    <a:lnTo>
                      <a:pt x="1" y="630"/>
                    </a:lnTo>
                    <a:lnTo>
                      <a:pt x="67" y="698"/>
                    </a:lnTo>
                    <a:lnTo>
                      <a:pt x="696" y="66"/>
                    </a:lnTo>
                    <a:lnTo>
                      <a:pt x="630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3" name="Google Shape;1033;p19"/>
              <p:cNvSpPr/>
              <p:nvPr/>
            </p:nvSpPr>
            <p:spPr>
              <a:xfrm>
                <a:off x="6234391" y="3377917"/>
                <a:ext cx="110191" cy="111687"/>
              </a:xfrm>
              <a:custGeom>
                <a:avLst/>
                <a:gdLst/>
                <a:ahLst/>
                <a:cxnLst/>
                <a:rect l="l" t="t" r="r" b="b"/>
                <a:pathLst>
                  <a:path w="1031" h="1045" extrusionOk="0">
                    <a:moveTo>
                      <a:pt x="963" y="1"/>
                    </a:moveTo>
                    <a:lnTo>
                      <a:pt x="453" y="511"/>
                    </a:lnTo>
                    <a:lnTo>
                      <a:pt x="453" y="520"/>
                    </a:lnTo>
                    <a:lnTo>
                      <a:pt x="1" y="979"/>
                    </a:lnTo>
                    <a:lnTo>
                      <a:pt x="67" y="1045"/>
                    </a:lnTo>
                    <a:lnTo>
                      <a:pt x="579" y="534"/>
                    </a:lnTo>
                    <a:lnTo>
                      <a:pt x="570" y="527"/>
                    </a:lnTo>
                    <a:lnTo>
                      <a:pt x="1031" y="67"/>
                    </a:lnTo>
                    <a:lnTo>
                      <a:pt x="963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4" name="Google Shape;1034;p19"/>
              <p:cNvSpPr/>
              <p:nvPr/>
            </p:nvSpPr>
            <p:spPr>
              <a:xfrm>
                <a:off x="6131469" y="3312187"/>
                <a:ext cx="87105" cy="88067"/>
              </a:xfrm>
              <a:custGeom>
                <a:avLst/>
                <a:gdLst/>
                <a:ahLst/>
                <a:cxnLst/>
                <a:rect l="l" t="t" r="r" b="b"/>
                <a:pathLst>
                  <a:path w="815" h="824" extrusionOk="0">
                    <a:moveTo>
                      <a:pt x="400" y="113"/>
                    </a:moveTo>
                    <a:lnTo>
                      <a:pt x="704" y="424"/>
                    </a:lnTo>
                    <a:lnTo>
                      <a:pt x="414" y="705"/>
                    </a:lnTo>
                    <a:lnTo>
                      <a:pt x="110" y="401"/>
                    </a:lnTo>
                    <a:lnTo>
                      <a:pt x="400" y="113"/>
                    </a:lnTo>
                    <a:close/>
                    <a:moveTo>
                      <a:pt x="400" y="0"/>
                    </a:moveTo>
                    <a:lnTo>
                      <a:pt x="0" y="401"/>
                    </a:lnTo>
                    <a:lnTo>
                      <a:pt x="414" y="824"/>
                    </a:lnTo>
                    <a:lnTo>
                      <a:pt x="815" y="424"/>
                    </a:lnTo>
                    <a:lnTo>
                      <a:pt x="400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5" name="Google Shape;1035;p19"/>
              <p:cNvSpPr/>
              <p:nvPr/>
            </p:nvSpPr>
            <p:spPr>
              <a:xfrm>
                <a:off x="6170158" y="3350984"/>
                <a:ext cx="85716" cy="92877"/>
              </a:xfrm>
              <a:custGeom>
                <a:avLst/>
                <a:gdLst/>
                <a:ahLst/>
                <a:cxnLst/>
                <a:rect l="l" t="t" r="r" b="b"/>
                <a:pathLst>
                  <a:path w="802" h="869" extrusionOk="0">
                    <a:moveTo>
                      <a:pt x="401" y="112"/>
                    </a:moveTo>
                    <a:lnTo>
                      <a:pt x="691" y="408"/>
                    </a:lnTo>
                    <a:lnTo>
                      <a:pt x="349" y="749"/>
                    </a:lnTo>
                    <a:lnTo>
                      <a:pt x="104" y="408"/>
                    </a:lnTo>
                    <a:lnTo>
                      <a:pt x="401" y="112"/>
                    </a:lnTo>
                    <a:close/>
                    <a:moveTo>
                      <a:pt x="401" y="0"/>
                    </a:moveTo>
                    <a:lnTo>
                      <a:pt x="1" y="393"/>
                    </a:lnTo>
                    <a:lnTo>
                      <a:pt x="342" y="868"/>
                    </a:lnTo>
                    <a:lnTo>
                      <a:pt x="801" y="408"/>
                    </a:lnTo>
                    <a:lnTo>
                      <a:pt x="401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6" name="Google Shape;1036;p19"/>
              <p:cNvSpPr/>
              <p:nvPr/>
            </p:nvSpPr>
            <p:spPr>
              <a:xfrm>
                <a:off x="6202649" y="3389780"/>
                <a:ext cx="91915" cy="99075"/>
              </a:xfrm>
              <a:custGeom>
                <a:avLst/>
                <a:gdLst/>
                <a:ahLst/>
                <a:cxnLst/>
                <a:rect l="l" t="t" r="r" b="b"/>
                <a:pathLst>
                  <a:path w="860" h="927" extrusionOk="0">
                    <a:moveTo>
                      <a:pt x="460" y="112"/>
                    </a:moveTo>
                    <a:lnTo>
                      <a:pt x="750" y="409"/>
                    </a:lnTo>
                    <a:lnTo>
                      <a:pt x="357" y="809"/>
                    </a:lnTo>
                    <a:lnTo>
                      <a:pt x="104" y="461"/>
                    </a:lnTo>
                    <a:lnTo>
                      <a:pt x="460" y="112"/>
                    </a:lnTo>
                    <a:close/>
                    <a:moveTo>
                      <a:pt x="460" y="0"/>
                    </a:moveTo>
                    <a:lnTo>
                      <a:pt x="1" y="454"/>
                    </a:lnTo>
                    <a:lnTo>
                      <a:pt x="342" y="927"/>
                    </a:lnTo>
                    <a:lnTo>
                      <a:pt x="860" y="409"/>
                    </a:lnTo>
                    <a:lnTo>
                      <a:pt x="460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7" name="Google Shape;1037;p19"/>
              <p:cNvSpPr/>
              <p:nvPr/>
            </p:nvSpPr>
            <p:spPr>
              <a:xfrm>
                <a:off x="6201152" y="3388177"/>
                <a:ext cx="56218" cy="56431"/>
              </a:xfrm>
              <a:custGeom>
                <a:avLst/>
                <a:gdLst/>
                <a:ahLst/>
                <a:cxnLst/>
                <a:rect l="l" t="t" r="r" b="b"/>
                <a:pathLst>
                  <a:path w="526" h="528" extrusionOk="0">
                    <a:moveTo>
                      <a:pt x="460" y="1"/>
                    </a:moveTo>
                    <a:lnTo>
                      <a:pt x="1" y="460"/>
                    </a:lnTo>
                    <a:lnTo>
                      <a:pt x="67" y="527"/>
                    </a:lnTo>
                    <a:lnTo>
                      <a:pt x="525" y="76"/>
                    </a:lnTo>
                    <a:lnTo>
                      <a:pt x="460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8" name="Google Shape;1038;p19"/>
              <p:cNvSpPr/>
              <p:nvPr/>
            </p:nvSpPr>
            <p:spPr>
              <a:xfrm>
                <a:off x="6235994" y="3428684"/>
                <a:ext cx="99075" cy="106129"/>
              </a:xfrm>
              <a:custGeom>
                <a:avLst/>
                <a:gdLst/>
                <a:ahLst/>
                <a:cxnLst/>
                <a:rect l="l" t="t" r="r" b="b"/>
                <a:pathLst>
                  <a:path w="927" h="993" extrusionOk="0">
                    <a:moveTo>
                      <a:pt x="503" y="111"/>
                    </a:moveTo>
                    <a:lnTo>
                      <a:pt x="815" y="422"/>
                    </a:lnTo>
                    <a:lnTo>
                      <a:pt x="363" y="874"/>
                    </a:lnTo>
                    <a:lnTo>
                      <a:pt x="103" y="518"/>
                    </a:lnTo>
                    <a:lnTo>
                      <a:pt x="503" y="111"/>
                    </a:lnTo>
                    <a:close/>
                    <a:moveTo>
                      <a:pt x="503" y="1"/>
                    </a:moveTo>
                    <a:lnTo>
                      <a:pt x="0" y="511"/>
                    </a:lnTo>
                    <a:lnTo>
                      <a:pt x="349" y="993"/>
                    </a:lnTo>
                    <a:lnTo>
                      <a:pt x="927" y="422"/>
                    </a:lnTo>
                    <a:lnTo>
                      <a:pt x="503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9" name="Google Shape;1039;p19"/>
              <p:cNvSpPr/>
              <p:nvPr/>
            </p:nvSpPr>
            <p:spPr>
              <a:xfrm>
                <a:off x="6268485" y="3467481"/>
                <a:ext cx="103885" cy="110939"/>
              </a:xfrm>
              <a:custGeom>
                <a:avLst/>
                <a:gdLst/>
                <a:ahLst/>
                <a:cxnLst/>
                <a:rect l="l" t="t" r="r" b="b"/>
                <a:pathLst>
                  <a:path w="972" h="1038" extrusionOk="0">
                    <a:moveTo>
                      <a:pt x="562" y="111"/>
                    </a:moveTo>
                    <a:lnTo>
                      <a:pt x="859" y="408"/>
                    </a:lnTo>
                    <a:lnTo>
                      <a:pt x="349" y="918"/>
                    </a:lnTo>
                    <a:lnTo>
                      <a:pt x="103" y="578"/>
                    </a:lnTo>
                    <a:lnTo>
                      <a:pt x="562" y="111"/>
                    </a:lnTo>
                    <a:close/>
                    <a:moveTo>
                      <a:pt x="562" y="0"/>
                    </a:moveTo>
                    <a:lnTo>
                      <a:pt x="0" y="562"/>
                    </a:lnTo>
                    <a:lnTo>
                      <a:pt x="340" y="1037"/>
                    </a:lnTo>
                    <a:lnTo>
                      <a:pt x="971" y="408"/>
                    </a:lnTo>
                    <a:lnTo>
                      <a:pt x="562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0" name="Google Shape;1040;p19"/>
              <p:cNvSpPr/>
              <p:nvPr/>
            </p:nvSpPr>
            <p:spPr>
              <a:xfrm>
                <a:off x="6300976" y="3506277"/>
                <a:ext cx="110191" cy="117351"/>
              </a:xfrm>
              <a:custGeom>
                <a:avLst/>
                <a:gdLst/>
                <a:ahLst/>
                <a:cxnLst/>
                <a:rect l="l" t="t" r="r" b="b"/>
                <a:pathLst>
                  <a:path w="1031" h="1098" extrusionOk="0">
                    <a:moveTo>
                      <a:pt x="623" y="110"/>
                    </a:moveTo>
                    <a:lnTo>
                      <a:pt x="918" y="407"/>
                    </a:lnTo>
                    <a:lnTo>
                      <a:pt x="356" y="978"/>
                    </a:lnTo>
                    <a:lnTo>
                      <a:pt x="104" y="630"/>
                    </a:lnTo>
                    <a:lnTo>
                      <a:pt x="623" y="110"/>
                    </a:lnTo>
                    <a:close/>
                    <a:moveTo>
                      <a:pt x="623" y="0"/>
                    </a:moveTo>
                    <a:lnTo>
                      <a:pt x="0" y="623"/>
                    </a:lnTo>
                    <a:lnTo>
                      <a:pt x="340" y="1097"/>
                    </a:lnTo>
                    <a:lnTo>
                      <a:pt x="1030" y="407"/>
                    </a:lnTo>
                    <a:lnTo>
                      <a:pt x="623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1" name="Google Shape;1041;p19"/>
              <p:cNvSpPr/>
              <p:nvPr/>
            </p:nvSpPr>
            <p:spPr>
              <a:xfrm>
                <a:off x="6299266" y="3504674"/>
                <a:ext cx="74600" cy="74494"/>
              </a:xfrm>
              <a:custGeom>
                <a:avLst/>
                <a:gdLst/>
                <a:ahLst/>
                <a:cxnLst/>
                <a:rect l="l" t="t" r="r" b="b"/>
                <a:pathLst>
                  <a:path w="698" h="697" extrusionOk="0">
                    <a:moveTo>
                      <a:pt x="630" y="1"/>
                    </a:moveTo>
                    <a:lnTo>
                      <a:pt x="0" y="631"/>
                    </a:lnTo>
                    <a:lnTo>
                      <a:pt x="68" y="696"/>
                    </a:lnTo>
                    <a:lnTo>
                      <a:pt x="697" y="74"/>
                    </a:lnTo>
                    <a:lnTo>
                      <a:pt x="630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2" name="Google Shape;1042;p19"/>
              <p:cNvSpPr/>
              <p:nvPr/>
            </p:nvSpPr>
            <p:spPr>
              <a:xfrm>
                <a:off x="6166952" y="3274887"/>
                <a:ext cx="88174" cy="87426"/>
              </a:xfrm>
              <a:custGeom>
                <a:avLst/>
                <a:gdLst/>
                <a:ahLst/>
                <a:cxnLst/>
                <a:rect l="l" t="t" r="r" b="b"/>
                <a:pathLst>
                  <a:path w="825" h="818" extrusionOk="0">
                    <a:moveTo>
                      <a:pt x="401" y="113"/>
                    </a:moveTo>
                    <a:lnTo>
                      <a:pt x="712" y="417"/>
                    </a:lnTo>
                    <a:lnTo>
                      <a:pt x="424" y="705"/>
                    </a:lnTo>
                    <a:lnTo>
                      <a:pt x="113" y="401"/>
                    </a:lnTo>
                    <a:lnTo>
                      <a:pt x="401" y="113"/>
                    </a:lnTo>
                    <a:close/>
                    <a:moveTo>
                      <a:pt x="401" y="1"/>
                    </a:moveTo>
                    <a:lnTo>
                      <a:pt x="1" y="401"/>
                    </a:lnTo>
                    <a:lnTo>
                      <a:pt x="424" y="817"/>
                    </a:lnTo>
                    <a:lnTo>
                      <a:pt x="824" y="417"/>
                    </a:lnTo>
                    <a:lnTo>
                      <a:pt x="401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3" name="Google Shape;1043;p19"/>
              <p:cNvSpPr/>
              <p:nvPr/>
            </p:nvSpPr>
            <p:spPr>
              <a:xfrm>
                <a:off x="6205962" y="3313683"/>
                <a:ext cx="92663" cy="86571"/>
              </a:xfrm>
              <a:custGeom>
                <a:avLst/>
                <a:gdLst/>
                <a:ahLst/>
                <a:cxnLst/>
                <a:rect l="l" t="t" r="r" b="b"/>
                <a:pathLst>
                  <a:path w="867" h="810" extrusionOk="0">
                    <a:moveTo>
                      <a:pt x="407" y="106"/>
                    </a:moveTo>
                    <a:lnTo>
                      <a:pt x="747" y="356"/>
                    </a:lnTo>
                    <a:lnTo>
                      <a:pt x="407" y="698"/>
                    </a:lnTo>
                    <a:lnTo>
                      <a:pt x="110" y="401"/>
                    </a:lnTo>
                    <a:lnTo>
                      <a:pt x="407" y="106"/>
                    </a:lnTo>
                    <a:close/>
                    <a:moveTo>
                      <a:pt x="400" y="1"/>
                    </a:moveTo>
                    <a:lnTo>
                      <a:pt x="0" y="401"/>
                    </a:lnTo>
                    <a:lnTo>
                      <a:pt x="407" y="810"/>
                    </a:lnTo>
                    <a:lnTo>
                      <a:pt x="866" y="342"/>
                    </a:lnTo>
                    <a:lnTo>
                      <a:pt x="400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4" name="Google Shape;1044;p19"/>
              <p:cNvSpPr/>
              <p:nvPr/>
            </p:nvSpPr>
            <p:spPr>
              <a:xfrm>
                <a:off x="6244651" y="3346922"/>
                <a:ext cx="99182" cy="92128"/>
              </a:xfrm>
              <a:custGeom>
                <a:avLst/>
                <a:gdLst/>
                <a:ahLst/>
                <a:cxnLst/>
                <a:rect l="l" t="t" r="r" b="b"/>
                <a:pathLst>
                  <a:path w="928" h="862" extrusionOk="0">
                    <a:moveTo>
                      <a:pt x="460" y="106"/>
                    </a:moveTo>
                    <a:lnTo>
                      <a:pt x="808" y="349"/>
                    </a:lnTo>
                    <a:lnTo>
                      <a:pt x="408" y="750"/>
                    </a:lnTo>
                    <a:lnTo>
                      <a:pt x="111" y="454"/>
                    </a:lnTo>
                    <a:lnTo>
                      <a:pt x="460" y="106"/>
                    </a:lnTo>
                    <a:close/>
                    <a:moveTo>
                      <a:pt x="453" y="1"/>
                    </a:moveTo>
                    <a:lnTo>
                      <a:pt x="1" y="454"/>
                    </a:lnTo>
                    <a:lnTo>
                      <a:pt x="408" y="862"/>
                    </a:lnTo>
                    <a:lnTo>
                      <a:pt x="928" y="342"/>
                    </a:lnTo>
                    <a:lnTo>
                      <a:pt x="453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5" name="Google Shape;1045;p19"/>
              <p:cNvSpPr/>
              <p:nvPr/>
            </p:nvSpPr>
            <p:spPr>
              <a:xfrm>
                <a:off x="6243903" y="3345426"/>
                <a:ext cx="55469" cy="55576"/>
              </a:xfrm>
              <a:custGeom>
                <a:avLst/>
                <a:gdLst/>
                <a:ahLst/>
                <a:cxnLst/>
                <a:rect l="l" t="t" r="r" b="b"/>
                <a:pathLst>
                  <a:path w="519" h="520" extrusionOk="0">
                    <a:moveTo>
                      <a:pt x="453" y="1"/>
                    </a:moveTo>
                    <a:lnTo>
                      <a:pt x="1" y="452"/>
                    </a:lnTo>
                    <a:lnTo>
                      <a:pt x="67" y="520"/>
                    </a:lnTo>
                    <a:lnTo>
                      <a:pt x="518" y="68"/>
                    </a:lnTo>
                    <a:lnTo>
                      <a:pt x="453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6" name="Google Shape;1046;p19"/>
              <p:cNvSpPr/>
              <p:nvPr/>
            </p:nvSpPr>
            <p:spPr>
              <a:xfrm>
                <a:off x="6283448" y="3379520"/>
                <a:ext cx="106236" cy="99075"/>
              </a:xfrm>
              <a:custGeom>
                <a:avLst/>
                <a:gdLst/>
                <a:ahLst/>
                <a:cxnLst/>
                <a:rect l="l" t="t" r="r" b="b"/>
                <a:pathLst>
                  <a:path w="994" h="927" extrusionOk="0">
                    <a:moveTo>
                      <a:pt x="520" y="105"/>
                    </a:moveTo>
                    <a:lnTo>
                      <a:pt x="876" y="363"/>
                    </a:lnTo>
                    <a:lnTo>
                      <a:pt x="422" y="816"/>
                    </a:lnTo>
                    <a:lnTo>
                      <a:pt x="111" y="512"/>
                    </a:lnTo>
                    <a:lnTo>
                      <a:pt x="520" y="105"/>
                    </a:lnTo>
                    <a:close/>
                    <a:moveTo>
                      <a:pt x="511" y="0"/>
                    </a:moveTo>
                    <a:lnTo>
                      <a:pt x="1" y="512"/>
                    </a:lnTo>
                    <a:lnTo>
                      <a:pt x="422" y="927"/>
                    </a:lnTo>
                    <a:lnTo>
                      <a:pt x="993" y="356"/>
                    </a:lnTo>
                    <a:lnTo>
                      <a:pt x="511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7" name="Google Shape;1047;p19"/>
              <p:cNvSpPr/>
              <p:nvPr/>
            </p:nvSpPr>
            <p:spPr>
              <a:xfrm>
                <a:off x="6322244" y="3412011"/>
                <a:ext cx="110939" cy="104633"/>
              </a:xfrm>
              <a:custGeom>
                <a:avLst/>
                <a:gdLst/>
                <a:ahLst/>
                <a:cxnLst/>
                <a:rect l="l" t="t" r="r" b="b"/>
                <a:pathLst>
                  <a:path w="1038" h="979" extrusionOk="0">
                    <a:moveTo>
                      <a:pt x="579" y="103"/>
                    </a:moveTo>
                    <a:lnTo>
                      <a:pt x="920" y="356"/>
                    </a:lnTo>
                    <a:lnTo>
                      <a:pt x="408" y="868"/>
                    </a:lnTo>
                    <a:lnTo>
                      <a:pt x="113" y="571"/>
                    </a:lnTo>
                    <a:lnTo>
                      <a:pt x="579" y="103"/>
                    </a:lnTo>
                    <a:close/>
                    <a:moveTo>
                      <a:pt x="571" y="0"/>
                    </a:moveTo>
                    <a:lnTo>
                      <a:pt x="1" y="571"/>
                    </a:lnTo>
                    <a:lnTo>
                      <a:pt x="408" y="978"/>
                    </a:lnTo>
                    <a:lnTo>
                      <a:pt x="1037" y="342"/>
                    </a:lnTo>
                    <a:lnTo>
                      <a:pt x="571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8" name="Google Shape;1048;p19"/>
              <p:cNvSpPr/>
              <p:nvPr/>
            </p:nvSpPr>
            <p:spPr>
              <a:xfrm>
                <a:off x="6361041" y="3445250"/>
                <a:ext cx="117351" cy="110191"/>
              </a:xfrm>
              <a:custGeom>
                <a:avLst/>
                <a:gdLst/>
                <a:ahLst/>
                <a:cxnLst/>
                <a:rect l="l" t="t" r="r" b="b"/>
                <a:pathLst>
                  <a:path w="1098" h="1031" extrusionOk="0">
                    <a:moveTo>
                      <a:pt x="630" y="96"/>
                    </a:moveTo>
                    <a:lnTo>
                      <a:pt x="978" y="349"/>
                    </a:lnTo>
                    <a:lnTo>
                      <a:pt x="408" y="920"/>
                    </a:lnTo>
                    <a:lnTo>
                      <a:pt x="112" y="623"/>
                    </a:lnTo>
                    <a:lnTo>
                      <a:pt x="630" y="96"/>
                    </a:lnTo>
                    <a:close/>
                    <a:moveTo>
                      <a:pt x="623" y="0"/>
                    </a:moveTo>
                    <a:lnTo>
                      <a:pt x="0" y="623"/>
                    </a:lnTo>
                    <a:lnTo>
                      <a:pt x="408" y="1030"/>
                    </a:lnTo>
                    <a:lnTo>
                      <a:pt x="1098" y="335"/>
                    </a:lnTo>
                    <a:lnTo>
                      <a:pt x="623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9" name="Google Shape;1049;p19"/>
              <p:cNvSpPr/>
              <p:nvPr/>
            </p:nvSpPr>
            <p:spPr>
              <a:xfrm>
                <a:off x="6359544" y="3443006"/>
                <a:ext cx="74600" cy="74387"/>
              </a:xfrm>
              <a:custGeom>
                <a:avLst/>
                <a:gdLst/>
                <a:ahLst/>
                <a:cxnLst/>
                <a:rect l="l" t="t" r="r" b="b"/>
                <a:pathLst>
                  <a:path w="698" h="696" extrusionOk="0">
                    <a:moveTo>
                      <a:pt x="630" y="0"/>
                    </a:moveTo>
                    <a:lnTo>
                      <a:pt x="0" y="630"/>
                    </a:lnTo>
                    <a:lnTo>
                      <a:pt x="75" y="695"/>
                    </a:lnTo>
                    <a:lnTo>
                      <a:pt x="697" y="66"/>
                    </a:lnTo>
                    <a:lnTo>
                      <a:pt x="630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0" name="Google Shape;1050;p19"/>
              <p:cNvSpPr/>
              <p:nvPr/>
            </p:nvSpPr>
            <p:spPr>
              <a:xfrm>
                <a:off x="6056120" y="3200607"/>
                <a:ext cx="118955" cy="118955"/>
              </a:xfrm>
              <a:custGeom>
                <a:avLst/>
                <a:gdLst/>
                <a:ahLst/>
                <a:cxnLst/>
                <a:rect l="l" t="t" r="r" b="b"/>
                <a:pathLst>
                  <a:path w="1113" h="1113" extrusionOk="0">
                    <a:moveTo>
                      <a:pt x="1054" y="1"/>
                    </a:moveTo>
                    <a:lnTo>
                      <a:pt x="1" y="1059"/>
                    </a:lnTo>
                    <a:lnTo>
                      <a:pt x="60" y="1112"/>
                    </a:lnTo>
                    <a:lnTo>
                      <a:pt x="1112" y="59"/>
                    </a:lnTo>
                    <a:lnTo>
                      <a:pt x="1054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1" name="Google Shape;1051;p19"/>
              <p:cNvSpPr/>
              <p:nvPr/>
            </p:nvSpPr>
            <p:spPr>
              <a:xfrm>
                <a:off x="6233536" y="3031098"/>
                <a:ext cx="111794" cy="110939"/>
              </a:xfrm>
              <a:custGeom>
                <a:avLst/>
                <a:gdLst/>
                <a:ahLst/>
                <a:cxnLst/>
                <a:rect l="l" t="t" r="r" b="b"/>
                <a:pathLst>
                  <a:path w="1046" h="1038" extrusionOk="0">
                    <a:moveTo>
                      <a:pt x="68" y="0"/>
                    </a:moveTo>
                    <a:lnTo>
                      <a:pt x="0" y="66"/>
                    </a:lnTo>
                    <a:lnTo>
                      <a:pt x="512" y="585"/>
                    </a:lnTo>
                    <a:lnTo>
                      <a:pt x="519" y="578"/>
                    </a:lnTo>
                    <a:lnTo>
                      <a:pt x="978" y="1037"/>
                    </a:lnTo>
                    <a:lnTo>
                      <a:pt x="1046" y="971"/>
                    </a:lnTo>
                    <a:lnTo>
                      <a:pt x="526" y="452"/>
                    </a:lnTo>
                    <a:lnTo>
                      <a:pt x="526" y="459"/>
                    </a:lnTo>
                    <a:lnTo>
                      <a:pt x="68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2" name="Google Shape;1052;p19"/>
              <p:cNvSpPr/>
              <p:nvPr/>
            </p:nvSpPr>
            <p:spPr>
              <a:xfrm>
                <a:off x="6167914" y="3156894"/>
                <a:ext cx="87960" cy="88067"/>
              </a:xfrm>
              <a:custGeom>
                <a:avLst/>
                <a:gdLst/>
                <a:ahLst/>
                <a:cxnLst/>
                <a:rect l="l" t="t" r="r" b="b"/>
                <a:pathLst>
                  <a:path w="823" h="824" extrusionOk="0">
                    <a:moveTo>
                      <a:pt x="422" y="113"/>
                    </a:moveTo>
                    <a:lnTo>
                      <a:pt x="703" y="401"/>
                    </a:lnTo>
                    <a:lnTo>
                      <a:pt x="401" y="712"/>
                    </a:lnTo>
                    <a:lnTo>
                      <a:pt x="111" y="424"/>
                    </a:lnTo>
                    <a:lnTo>
                      <a:pt x="422" y="113"/>
                    </a:lnTo>
                    <a:close/>
                    <a:moveTo>
                      <a:pt x="422" y="1"/>
                    </a:moveTo>
                    <a:lnTo>
                      <a:pt x="1" y="424"/>
                    </a:lnTo>
                    <a:lnTo>
                      <a:pt x="401" y="824"/>
                    </a:lnTo>
                    <a:lnTo>
                      <a:pt x="822" y="401"/>
                    </a:lnTo>
                    <a:lnTo>
                      <a:pt x="422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3" name="Google Shape;1053;p19"/>
              <p:cNvSpPr/>
              <p:nvPr/>
            </p:nvSpPr>
            <p:spPr>
              <a:xfrm>
                <a:off x="6206710" y="3119807"/>
                <a:ext cx="92663" cy="85716"/>
              </a:xfrm>
              <a:custGeom>
                <a:avLst/>
                <a:gdLst/>
                <a:ahLst/>
                <a:cxnLst/>
                <a:rect l="l" t="t" r="r" b="b"/>
                <a:pathLst>
                  <a:path w="867" h="802" extrusionOk="0">
                    <a:moveTo>
                      <a:pt x="408" y="111"/>
                    </a:moveTo>
                    <a:lnTo>
                      <a:pt x="749" y="452"/>
                    </a:lnTo>
                    <a:lnTo>
                      <a:pt x="408" y="696"/>
                    </a:lnTo>
                    <a:lnTo>
                      <a:pt x="111" y="408"/>
                    </a:lnTo>
                    <a:lnTo>
                      <a:pt x="408" y="111"/>
                    </a:lnTo>
                    <a:close/>
                    <a:moveTo>
                      <a:pt x="408" y="1"/>
                    </a:moveTo>
                    <a:lnTo>
                      <a:pt x="0" y="408"/>
                    </a:lnTo>
                    <a:lnTo>
                      <a:pt x="393" y="801"/>
                    </a:lnTo>
                    <a:lnTo>
                      <a:pt x="866" y="460"/>
                    </a:lnTo>
                    <a:lnTo>
                      <a:pt x="408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4" name="Google Shape;1054;p19"/>
              <p:cNvSpPr/>
              <p:nvPr/>
            </p:nvSpPr>
            <p:spPr>
              <a:xfrm>
                <a:off x="6245506" y="3080904"/>
                <a:ext cx="99075" cy="92022"/>
              </a:xfrm>
              <a:custGeom>
                <a:avLst/>
                <a:gdLst/>
                <a:ahLst/>
                <a:cxnLst/>
                <a:rect l="l" t="t" r="r" b="b"/>
                <a:pathLst>
                  <a:path w="927" h="861" extrusionOk="0">
                    <a:moveTo>
                      <a:pt x="407" y="112"/>
                    </a:moveTo>
                    <a:lnTo>
                      <a:pt x="807" y="512"/>
                    </a:lnTo>
                    <a:lnTo>
                      <a:pt x="459" y="756"/>
                    </a:lnTo>
                    <a:lnTo>
                      <a:pt x="110" y="409"/>
                    </a:lnTo>
                    <a:lnTo>
                      <a:pt x="407" y="112"/>
                    </a:lnTo>
                    <a:close/>
                    <a:moveTo>
                      <a:pt x="407" y="0"/>
                    </a:moveTo>
                    <a:lnTo>
                      <a:pt x="0" y="409"/>
                    </a:lnTo>
                    <a:lnTo>
                      <a:pt x="452" y="861"/>
                    </a:lnTo>
                    <a:lnTo>
                      <a:pt x="927" y="520"/>
                    </a:lnTo>
                    <a:lnTo>
                      <a:pt x="407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5" name="Google Shape;1055;p19"/>
              <p:cNvSpPr/>
              <p:nvPr/>
            </p:nvSpPr>
            <p:spPr>
              <a:xfrm>
                <a:off x="6243903" y="3118097"/>
                <a:ext cx="56218" cy="56431"/>
              </a:xfrm>
              <a:custGeom>
                <a:avLst/>
                <a:gdLst/>
                <a:ahLst/>
                <a:cxnLst/>
                <a:rect l="l" t="t" r="r" b="b"/>
                <a:pathLst>
                  <a:path w="526" h="528" extrusionOk="0">
                    <a:moveTo>
                      <a:pt x="74" y="1"/>
                    </a:moveTo>
                    <a:lnTo>
                      <a:pt x="1" y="68"/>
                    </a:lnTo>
                    <a:lnTo>
                      <a:pt x="460" y="527"/>
                    </a:lnTo>
                    <a:lnTo>
                      <a:pt x="525" y="461"/>
                    </a:lnTo>
                    <a:lnTo>
                      <a:pt x="74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6" name="Google Shape;1056;p19"/>
              <p:cNvSpPr/>
              <p:nvPr/>
            </p:nvSpPr>
            <p:spPr>
              <a:xfrm>
                <a:off x="6284196" y="3040611"/>
                <a:ext cx="106236" cy="99824"/>
              </a:xfrm>
              <a:custGeom>
                <a:avLst/>
                <a:gdLst/>
                <a:ahLst/>
                <a:cxnLst/>
                <a:rect l="l" t="t" r="r" b="b"/>
                <a:pathLst>
                  <a:path w="994" h="934" extrusionOk="0">
                    <a:moveTo>
                      <a:pt x="415" y="119"/>
                    </a:moveTo>
                    <a:lnTo>
                      <a:pt x="876" y="571"/>
                    </a:lnTo>
                    <a:lnTo>
                      <a:pt x="520" y="831"/>
                    </a:lnTo>
                    <a:lnTo>
                      <a:pt x="113" y="422"/>
                    </a:lnTo>
                    <a:lnTo>
                      <a:pt x="415" y="119"/>
                    </a:lnTo>
                    <a:close/>
                    <a:moveTo>
                      <a:pt x="415" y="0"/>
                    </a:moveTo>
                    <a:lnTo>
                      <a:pt x="1" y="422"/>
                    </a:lnTo>
                    <a:lnTo>
                      <a:pt x="513" y="934"/>
                    </a:lnTo>
                    <a:lnTo>
                      <a:pt x="993" y="578"/>
                    </a:lnTo>
                    <a:lnTo>
                      <a:pt x="415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7" name="Google Shape;1057;p19"/>
              <p:cNvSpPr/>
              <p:nvPr/>
            </p:nvSpPr>
            <p:spPr>
              <a:xfrm>
                <a:off x="6322992" y="3003310"/>
                <a:ext cx="111153" cy="103885"/>
              </a:xfrm>
              <a:custGeom>
                <a:avLst/>
                <a:gdLst/>
                <a:ahLst/>
                <a:cxnLst/>
                <a:rect l="l" t="t" r="r" b="b"/>
                <a:pathLst>
                  <a:path w="1040" h="972" extrusionOk="0">
                    <a:moveTo>
                      <a:pt x="408" y="113"/>
                    </a:moveTo>
                    <a:lnTo>
                      <a:pt x="920" y="623"/>
                    </a:lnTo>
                    <a:lnTo>
                      <a:pt x="579" y="876"/>
                    </a:lnTo>
                    <a:lnTo>
                      <a:pt x="113" y="408"/>
                    </a:lnTo>
                    <a:lnTo>
                      <a:pt x="408" y="113"/>
                    </a:lnTo>
                    <a:close/>
                    <a:moveTo>
                      <a:pt x="408" y="1"/>
                    </a:moveTo>
                    <a:lnTo>
                      <a:pt x="1" y="408"/>
                    </a:lnTo>
                    <a:lnTo>
                      <a:pt x="564" y="972"/>
                    </a:lnTo>
                    <a:lnTo>
                      <a:pt x="1039" y="637"/>
                    </a:lnTo>
                    <a:lnTo>
                      <a:pt x="408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8" name="Google Shape;1058;p19"/>
              <p:cNvSpPr/>
              <p:nvPr/>
            </p:nvSpPr>
            <p:spPr>
              <a:xfrm>
                <a:off x="6361789" y="2964514"/>
                <a:ext cx="117351" cy="110191"/>
              </a:xfrm>
              <a:custGeom>
                <a:avLst/>
                <a:gdLst/>
                <a:ahLst/>
                <a:cxnLst/>
                <a:rect l="l" t="t" r="r" b="b"/>
                <a:pathLst>
                  <a:path w="1098" h="1031" extrusionOk="0">
                    <a:moveTo>
                      <a:pt x="409" y="111"/>
                    </a:moveTo>
                    <a:lnTo>
                      <a:pt x="979" y="682"/>
                    </a:lnTo>
                    <a:lnTo>
                      <a:pt x="632" y="927"/>
                    </a:lnTo>
                    <a:lnTo>
                      <a:pt x="112" y="408"/>
                    </a:lnTo>
                    <a:lnTo>
                      <a:pt x="409" y="111"/>
                    </a:lnTo>
                    <a:close/>
                    <a:moveTo>
                      <a:pt x="409" y="1"/>
                    </a:moveTo>
                    <a:lnTo>
                      <a:pt x="0" y="408"/>
                    </a:lnTo>
                    <a:lnTo>
                      <a:pt x="623" y="1031"/>
                    </a:lnTo>
                    <a:lnTo>
                      <a:pt x="1098" y="689"/>
                    </a:lnTo>
                    <a:lnTo>
                      <a:pt x="409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9" name="Google Shape;1059;p19"/>
              <p:cNvSpPr/>
              <p:nvPr/>
            </p:nvSpPr>
            <p:spPr>
              <a:xfrm>
                <a:off x="6360293" y="3001814"/>
                <a:ext cx="74600" cy="74387"/>
              </a:xfrm>
              <a:custGeom>
                <a:avLst/>
                <a:gdLst/>
                <a:ahLst/>
                <a:cxnLst/>
                <a:rect l="l" t="t" r="r" b="b"/>
                <a:pathLst>
                  <a:path w="698" h="696" extrusionOk="0">
                    <a:moveTo>
                      <a:pt x="68" y="0"/>
                    </a:moveTo>
                    <a:lnTo>
                      <a:pt x="0" y="73"/>
                    </a:lnTo>
                    <a:lnTo>
                      <a:pt x="630" y="696"/>
                    </a:lnTo>
                    <a:lnTo>
                      <a:pt x="697" y="630"/>
                    </a:lnTo>
                    <a:lnTo>
                      <a:pt x="68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0" name="Google Shape;1060;p19"/>
              <p:cNvSpPr/>
              <p:nvPr/>
            </p:nvSpPr>
            <p:spPr>
              <a:xfrm>
                <a:off x="6130614" y="3121410"/>
                <a:ext cx="87212" cy="87105"/>
              </a:xfrm>
              <a:custGeom>
                <a:avLst/>
                <a:gdLst/>
                <a:ahLst/>
                <a:cxnLst/>
                <a:rect l="l" t="t" r="r" b="b"/>
                <a:pathLst>
                  <a:path w="816" h="815" extrusionOk="0">
                    <a:moveTo>
                      <a:pt x="415" y="110"/>
                    </a:moveTo>
                    <a:lnTo>
                      <a:pt x="705" y="400"/>
                    </a:lnTo>
                    <a:lnTo>
                      <a:pt x="401" y="704"/>
                    </a:lnTo>
                    <a:lnTo>
                      <a:pt x="111" y="414"/>
                    </a:lnTo>
                    <a:lnTo>
                      <a:pt x="415" y="110"/>
                    </a:lnTo>
                    <a:close/>
                    <a:moveTo>
                      <a:pt x="415" y="0"/>
                    </a:moveTo>
                    <a:lnTo>
                      <a:pt x="1" y="414"/>
                    </a:lnTo>
                    <a:lnTo>
                      <a:pt x="401" y="815"/>
                    </a:lnTo>
                    <a:lnTo>
                      <a:pt x="815" y="400"/>
                    </a:lnTo>
                    <a:lnTo>
                      <a:pt x="415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1" name="Google Shape;1061;p19"/>
              <p:cNvSpPr/>
              <p:nvPr/>
            </p:nvSpPr>
            <p:spPr>
              <a:xfrm>
                <a:off x="6169410" y="3077056"/>
                <a:ext cx="86464" cy="92663"/>
              </a:xfrm>
              <a:custGeom>
                <a:avLst/>
                <a:gdLst/>
                <a:ahLst/>
                <a:cxnLst/>
                <a:rect l="l" t="t" r="r" b="b"/>
                <a:pathLst>
                  <a:path w="809" h="867" extrusionOk="0">
                    <a:moveTo>
                      <a:pt x="356" y="118"/>
                    </a:moveTo>
                    <a:lnTo>
                      <a:pt x="698" y="459"/>
                    </a:lnTo>
                    <a:lnTo>
                      <a:pt x="401" y="756"/>
                    </a:lnTo>
                    <a:lnTo>
                      <a:pt x="104" y="467"/>
                    </a:lnTo>
                    <a:lnTo>
                      <a:pt x="356" y="118"/>
                    </a:lnTo>
                    <a:close/>
                    <a:moveTo>
                      <a:pt x="342" y="1"/>
                    </a:moveTo>
                    <a:lnTo>
                      <a:pt x="1" y="474"/>
                    </a:lnTo>
                    <a:lnTo>
                      <a:pt x="401" y="867"/>
                    </a:lnTo>
                    <a:lnTo>
                      <a:pt x="808" y="459"/>
                    </a:lnTo>
                    <a:lnTo>
                      <a:pt x="342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2" name="Google Shape;1062;p19"/>
              <p:cNvSpPr/>
              <p:nvPr/>
            </p:nvSpPr>
            <p:spPr>
              <a:xfrm>
                <a:off x="6202649" y="3031847"/>
                <a:ext cx="91915" cy="99075"/>
              </a:xfrm>
              <a:custGeom>
                <a:avLst/>
                <a:gdLst/>
                <a:ahLst/>
                <a:cxnLst/>
                <a:rect l="l" t="t" r="r" b="b"/>
                <a:pathLst>
                  <a:path w="860" h="927" extrusionOk="0">
                    <a:moveTo>
                      <a:pt x="350" y="127"/>
                    </a:moveTo>
                    <a:lnTo>
                      <a:pt x="750" y="520"/>
                    </a:lnTo>
                    <a:lnTo>
                      <a:pt x="453" y="815"/>
                    </a:lnTo>
                    <a:lnTo>
                      <a:pt x="104" y="468"/>
                    </a:lnTo>
                    <a:lnTo>
                      <a:pt x="350" y="127"/>
                    </a:lnTo>
                    <a:close/>
                    <a:moveTo>
                      <a:pt x="342" y="0"/>
                    </a:moveTo>
                    <a:lnTo>
                      <a:pt x="1" y="475"/>
                    </a:lnTo>
                    <a:lnTo>
                      <a:pt x="453" y="927"/>
                    </a:lnTo>
                    <a:lnTo>
                      <a:pt x="860" y="520"/>
                    </a:lnTo>
                    <a:lnTo>
                      <a:pt x="342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3" name="Google Shape;1063;p19"/>
              <p:cNvSpPr/>
              <p:nvPr/>
            </p:nvSpPr>
            <p:spPr>
              <a:xfrm>
                <a:off x="6200191" y="3076094"/>
                <a:ext cx="56431" cy="56431"/>
              </a:xfrm>
              <a:custGeom>
                <a:avLst/>
                <a:gdLst/>
                <a:ahLst/>
                <a:cxnLst/>
                <a:rect l="l" t="t" r="r" b="b"/>
                <a:pathLst>
                  <a:path w="528" h="528" extrusionOk="0">
                    <a:moveTo>
                      <a:pt x="76" y="1"/>
                    </a:moveTo>
                    <a:lnTo>
                      <a:pt x="1" y="68"/>
                    </a:lnTo>
                    <a:lnTo>
                      <a:pt x="461" y="527"/>
                    </a:lnTo>
                    <a:lnTo>
                      <a:pt x="527" y="461"/>
                    </a:lnTo>
                    <a:lnTo>
                      <a:pt x="76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4" name="Google Shape;1064;p19"/>
              <p:cNvSpPr/>
              <p:nvPr/>
            </p:nvSpPr>
            <p:spPr>
              <a:xfrm>
                <a:off x="6235246" y="2985889"/>
                <a:ext cx="99075" cy="106343"/>
              </a:xfrm>
              <a:custGeom>
                <a:avLst/>
                <a:gdLst/>
                <a:ahLst/>
                <a:cxnLst/>
                <a:rect l="l" t="t" r="r" b="b"/>
                <a:pathLst>
                  <a:path w="927" h="995" extrusionOk="0">
                    <a:moveTo>
                      <a:pt x="363" y="119"/>
                    </a:moveTo>
                    <a:lnTo>
                      <a:pt x="815" y="578"/>
                    </a:lnTo>
                    <a:lnTo>
                      <a:pt x="510" y="882"/>
                    </a:lnTo>
                    <a:lnTo>
                      <a:pt x="103" y="475"/>
                    </a:lnTo>
                    <a:lnTo>
                      <a:pt x="363" y="119"/>
                    </a:lnTo>
                    <a:close/>
                    <a:moveTo>
                      <a:pt x="349" y="0"/>
                    </a:moveTo>
                    <a:lnTo>
                      <a:pt x="0" y="482"/>
                    </a:lnTo>
                    <a:lnTo>
                      <a:pt x="510" y="994"/>
                    </a:lnTo>
                    <a:lnTo>
                      <a:pt x="927" y="578"/>
                    </a:lnTo>
                    <a:lnTo>
                      <a:pt x="349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5" name="Google Shape;1065;p19"/>
              <p:cNvSpPr/>
              <p:nvPr/>
            </p:nvSpPr>
            <p:spPr>
              <a:xfrm>
                <a:off x="6267737" y="2942283"/>
                <a:ext cx="104633" cy="111153"/>
              </a:xfrm>
              <a:custGeom>
                <a:avLst/>
                <a:gdLst/>
                <a:ahLst/>
                <a:cxnLst/>
                <a:rect l="l" t="t" r="r" b="b"/>
                <a:pathLst>
                  <a:path w="979" h="1040" extrusionOk="0">
                    <a:moveTo>
                      <a:pt x="347" y="120"/>
                    </a:moveTo>
                    <a:lnTo>
                      <a:pt x="859" y="630"/>
                    </a:lnTo>
                    <a:lnTo>
                      <a:pt x="569" y="927"/>
                    </a:lnTo>
                    <a:lnTo>
                      <a:pt x="103" y="468"/>
                    </a:lnTo>
                    <a:lnTo>
                      <a:pt x="347" y="120"/>
                    </a:lnTo>
                    <a:close/>
                    <a:moveTo>
                      <a:pt x="340" y="1"/>
                    </a:moveTo>
                    <a:lnTo>
                      <a:pt x="0" y="476"/>
                    </a:lnTo>
                    <a:lnTo>
                      <a:pt x="569" y="1039"/>
                    </a:lnTo>
                    <a:lnTo>
                      <a:pt x="978" y="630"/>
                    </a:lnTo>
                    <a:lnTo>
                      <a:pt x="340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6" name="Google Shape;1066;p19"/>
              <p:cNvSpPr/>
              <p:nvPr/>
            </p:nvSpPr>
            <p:spPr>
              <a:xfrm>
                <a:off x="6300014" y="2897287"/>
                <a:ext cx="111153" cy="117138"/>
              </a:xfrm>
              <a:custGeom>
                <a:avLst/>
                <a:gdLst/>
                <a:ahLst/>
                <a:cxnLst/>
                <a:rect l="l" t="t" r="r" b="b"/>
                <a:pathLst>
                  <a:path w="1040" h="1096" extrusionOk="0">
                    <a:moveTo>
                      <a:pt x="356" y="127"/>
                    </a:moveTo>
                    <a:lnTo>
                      <a:pt x="920" y="689"/>
                    </a:lnTo>
                    <a:lnTo>
                      <a:pt x="632" y="986"/>
                    </a:lnTo>
                    <a:lnTo>
                      <a:pt x="105" y="466"/>
                    </a:lnTo>
                    <a:lnTo>
                      <a:pt x="356" y="127"/>
                    </a:lnTo>
                    <a:close/>
                    <a:moveTo>
                      <a:pt x="342" y="0"/>
                    </a:moveTo>
                    <a:lnTo>
                      <a:pt x="0" y="473"/>
                    </a:lnTo>
                    <a:lnTo>
                      <a:pt x="632" y="1096"/>
                    </a:lnTo>
                    <a:lnTo>
                      <a:pt x="1039" y="689"/>
                    </a:lnTo>
                    <a:lnTo>
                      <a:pt x="342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7" name="Google Shape;1067;p19"/>
              <p:cNvSpPr/>
              <p:nvPr/>
            </p:nvSpPr>
            <p:spPr>
              <a:xfrm>
                <a:off x="6298518" y="2941535"/>
                <a:ext cx="74600" cy="74600"/>
              </a:xfrm>
              <a:custGeom>
                <a:avLst/>
                <a:gdLst/>
                <a:ahLst/>
                <a:cxnLst/>
                <a:rect l="l" t="t" r="r" b="b"/>
                <a:pathLst>
                  <a:path w="698" h="698" extrusionOk="0">
                    <a:moveTo>
                      <a:pt x="68" y="1"/>
                    </a:moveTo>
                    <a:lnTo>
                      <a:pt x="0" y="68"/>
                    </a:lnTo>
                    <a:lnTo>
                      <a:pt x="630" y="698"/>
                    </a:lnTo>
                    <a:lnTo>
                      <a:pt x="697" y="630"/>
                    </a:lnTo>
                    <a:lnTo>
                      <a:pt x="68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8" name="Google Shape;1068;p19"/>
              <p:cNvSpPr/>
              <p:nvPr/>
            </p:nvSpPr>
            <p:spPr>
              <a:xfrm>
                <a:off x="5885865" y="3378665"/>
                <a:ext cx="112649" cy="110191"/>
              </a:xfrm>
              <a:custGeom>
                <a:avLst/>
                <a:gdLst/>
                <a:ahLst/>
                <a:cxnLst/>
                <a:rect l="l" t="t" r="r" b="b"/>
                <a:pathLst>
                  <a:path w="1054" h="1031" extrusionOk="0">
                    <a:moveTo>
                      <a:pt x="75" y="1"/>
                    </a:moveTo>
                    <a:lnTo>
                      <a:pt x="0" y="69"/>
                    </a:lnTo>
                    <a:lnTo>
                      <a:pt x="520" y="579"/>
                    </a:lnTo>
                    <a:lnTo>
                      <a:pt x="527" y="572"/>
                    </a:lnTo>
                    <a:lnTo>
                      <a:pt x="979" y="1031"/>
                    </a:lnTo>
                    <a:lnTo>
                      <a:pt x="1053" y="965"/>
                    </a:lnTo>
                    <a:lnTo>
                      <a:pt x="534" y="453"/>
                    </a:lnTo>
                    <a:lnTo>
                      <a:pt x="527" y="453"/>
                    </a:lnTo>
                    <a:lnTo>
                      <a:pt x="75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9" name="Google Shape;1069;p19"/>
              <p:cNvSpPr/>
              <p:nvPr/>
            </p:nvSpPr>
            <p:spPr>
              <a:xfrm>
                <a:off x="5976176" y="3275742"/>
                <a:ext cx="87319" cy="87319"/>
              </a:xfrm>
              <a:custGeom>
                <a:avLst/>
                <a:gdLst/>
                <a:ahLst/>
                <a:cxnLst/>
                <a:rect l="l" t="t" r="r" b="b"/>
                <a:pathLst>
                  <a:path w="817" h="817" extrusionOk="0">
                    <a:moveTo>
                      <a:pt x="416" y="112"/>
                    </a:moveTo>
                    <a:lnTo>
                      <a:pt x="704" y="400"/>
                    </a:lnTo>
                    <a:lnTo>
                      <a:pt x="400" y="704"/>
                    </a:lnTo>
                    <a:lnTo>
                      <a:pt x="112" y="416"/>
                    </a:lnTo>
                    <a:lnTo>
                      <a:pt x="416" y="112"/>
                    </a:lnTo>
                    <a:close/>
                    <a:moveTo>
                      <a:pt x="416" y="0"/>
                    </a:moveTo>
                    <a:lnTo>
                      <a:pt x="0" y="416"/>
                    </a:lnTo>
                    <a:lnTo>
                      <a:pt x="400" y="816"/>
                    </a:lnTo>
                    <a:lnTo>
                      <a:pt x="816" y="400"/>
                    </a:lnTo>
                    <a:lnTo>
                      <a:pt x="416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0" name="Google Shape;1070;p19"/>
              <p:cNvSpPr/>
              <p:nvPr/>
            </p:nvSpPr>
            <p:spPr>
              <a:xfrm>
                <a:off x="5931822" y="3314645"/>
                <a:ext cx="92663" cy="86357"/>
              </a:xfrm>
              <a:custGeom>
                <a:avLst/>
                <a:gdLst/>
                <a:ahLst/>
                <a:cxnLst/>
                <a:rect l="l" t="t" r="r" b="b"/>
                <a:pathLst>
                  <a:path w="867" h="808" extrusionOk="0">
                    <a:moveTo>
                      <a:pt x="467" y="104"/>
                    </a:moveTo>
                    <a:lnTo>
                      <a:pt x="757" y="401"/>
                    </a:lnTo>
                    <a:lnTo>
                      <a:pt x="460" y="689"/>
                    </a:lnTo>
                    <a:lnTo>
                      <a:pt x="127" y="356"/>
                    </a:lnTo>
                    <a:lnTo>
                      <a:pt x="467" y="104"/>
                    </a:lnTo>
                    <a:close/>
                    <a:moveTo>
                      <a:pt x="476" y="1"/>
                    </a:moveTo>
                    <a:lnTo>
                      <a:pt x="1" y="340"/>
                    </a:lnTo>
                    <a:lnTo>
                      <a:pt x="460" y="808"/>
                    </a:lnTo>
                    <a:lnTo>
                      <a:pt x="867" y="401"/>
                    </a:lnTo>
                    <a:lnTo>
                      <a:pt x="476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1" name="Google Shape;1071;p19"/>
              <p:cNvSpPr/>
              <p:nvPr/>
            </p:nvSpPr>
            <p:spPr>
              <a:xfrm>
                <a:off x="5886613" y="3347884"/>
                <a:ext cx="99182" cy="91915"/>
              </a:xfrm>
              <a:custGeom>
                <a:avLst/>
                <a:gdLst/>
                <a:ahLst/>
                <a:cxnLst/>
                <a:rect l="l" t="t" r="r" b="b"/>
                <a:pathLst>
                  <a:path w="928" h="860" extrusionOk="0">
                    <a:moveTo>
                      <a:pt x="468" y="104"/>
                    </a:moveTo>
                    <a:lnTo>
                      <a:pt x="817" y="453"/>
                    </a:lnTo>
                    <a:lnTo>
                      <a:pt x="520" y="741"/>
                    </a:lnTo>
                    <a:lnTo>
                      <a:pt x="127" y="348"/>
                    </a:lnTo>
                    <a:lnTo>
                      <a:pt x="468" y="104"/>
                    </a:lnTo>
                    <a:close/>
                    <a:moveTo>
                      <a:pt x="475" y="1"/>
                    </a:moveTo>
                    <a:lnTo>
                      <a:pt x="1" y="333"/>
                    </a:lnTo>
                    <a:lnTo>
                      <a:pt x="520" y="860"/>
                    </a:lnTo>
                    <a:lnTo>
                      <a:pt x="927" y="453"/>
                    </a:lnTo>
                    <a:lnTo>
                      <a:pt x="475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2" name="Google Shape;1072;p19"/>
              <p:cNvSpPr/>
              <p:nvPr/>
            </p:nvSpPr>
            <p:spPr>
              <a:xfrm>
                <a:off x="5931074" y="3345426"/>
                <a:ext cx="56431" cy="56431"/>
              </a:xfrm>
              <a:custGeom>
                <a:avLst/>
                <a:gdLst/>
                <a:ahLst/>
                <a:cxnLst/>
                <a:rect l="l" t="t" r="r" b="b"/>
                <a:pathLst>
                  <a:path w="528" h="528" extrusionOk="0">
                    <a:moveTo>
                      <a:pt x="66" y="1"/>
                    </a:moveTo>
                    <a:lnTo>
                      <a:pt x="1" y="75"/>
                    </a:lnTo>
                    <a:lnTo>
                      <a:pt x="459" y="527"/>
                    </a:lnTo>
                    <a:lnTo>
                      <a:pt x="527" y="460"/>
                    </a:lnTo>
                    <a:lnTo>
                      <a:pt x="66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3" name="Google Shape;1073;p19"/>
              <p:cNvSpPr/>
              <p:nvPr/>
            </p:nvSpPr>
            <p:spPr>
              <a:xfrm>
                <a:off x="5840763" y="3380268"/>
                <a:ext cx="106236" cy="99075"/>
              </a:xfrm>
              <a:custGeom>
                <a:avLst/>
                <a:gdLst/>
                <a:ahLst/>
                <a:cxnLst/>
                <a:rect l="l" t="t" r="r" b="b"/>
                <a:pathLst>
                  <a:path w="994" h="927" extrusionOk="0">
                    <a:moveTo>
                      <a:pt x="474" y="105"/>
                    </a:moveTo>
                    <a:lnTo>
                      <a:pt x="883" y="512"/>
                    </a:lnTo>
                    <a:lnTo>
                      <a:pt x="579" y="816"/>
                    </a:lnTo>
                    <a:lnTo>
                      <a:pt x="127" y="365"/>
                    </a:lnTo>
                    <a:lnTo>
                      <a:pt x="474" y="105"/>
                    </a:lnTo>
                    <a:close/>
                    <a:moveTo>
                      <a:pt x="490" y="0"/>
                    </a:moveTo>
                    <a:lnTo>
                      <a:pt x="1" y="349"/>
                    </a:lnTo>
                    <a:lnTo>
                      <a:pt x="579" y="927"/>
                    </a:lnTo>
                    <a:lnTo>
                      <a:pt x="993" y="512"/>
                    </a:lnTo>
                    <a:lnTo>
                      <a:pt x="490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4" name="Google Shape;1074;p19"/>
              <p:cNvSpPr/>
              <p:nvPr/>
            </p:nvSpPr>
            <p:spPr>
              <a:xfrm>
                <a:off x="5797264" y="3412759"/>
                <a:ext cx="110939" cy="103885"/>
              </a:xfrm>
              <a:custGeom>
                <a:avLst/>
                <a:gdLst/>
                <a:ahLst/>
                <a:cxnLst/>
                <a:rect l="l" t="t" r="r" b="b"/>
                <a:pathLst>
                  <a:path w="1038" h="972" extrusionOk="0">
                    <a:moveTo>
                      <a:pt x="467" y="105"/>
                    </a:moveTo>
                    <a:lnTo>
                      <a:pt x="925" y="571"/>
                    </a:lnTo>
                    <a:lnTo>
                      <a:pt x="637" y="861"/>
                    </a:lnTo>
                    <a:lnTo>
                      <a:pt x="125" y="349"/>
                    </a:lnTo>
                    <a:lnTo>
                      <a:pt x="467" y="105"/>
                    </a:lnTo>
                    <a:close/>
                    <a:moveTo>
                      <a:pt x="474" y="0"/>
                    </a:moveTo>
                    <a:lnTo>
                      <a:pt x="1" y="342"/>
                    </a:lnTo>
                    <a:lnTo>
                      <a:pt x="637" y="971"/>
                    </a:lnTo>
                    <a:lnTo>
                      <a:pt x="1037" y="571"/>
                    </a:lnTo>
                    <a:lnTo>
                      <a:pt x="474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5" name="Google Shape;1075;p19"/>
              <p:cNvSpPr/>
              <p:nvPr/>
            </p:nvSpPr>
            <p:spPr>
              <a:xfrm>
                <a:off x="5752054" y="3445250"/>
                <a:ext cx="117351" cy="110191"/>
              </a:xfrm>
              <a:custGeom>
                <a:avLst/>
                <a:gdLst/>
                <a:ahLst/>
                <a:cxnLst/>
                <a:rect l="l" t="t" r="r" b="b"/>
                <a:pathLst>
                  <a:path w="1098" h="1031" extrusionOk="0">
                    <a:moveTo>
                      <a:pt x="468" y="103"/>
                    </a:moveTo>
                    <a:lnTo>
                      <a:pt x="986" y="630"/>
                    </a:lnTo>
                    <a:lnTo>
                      <a:pt x="698" y="920"/>
                    </a:lnTo>
                    <a:lnTo>
                      <a:pt x="127" y="356"/>
                    </a:lnTo>
                    <a:lnTo>
                      <a:pt x="468" y="103"/>
                    </a:lnTo>
                    <a:close/>
                    <a:moveTo>
                      <a:pt x="475" y="0"/>
                    </a:moveTo>
                    <a:lnTo>
                      <a:pt x="0" y="342"/>
                    </a:lnTo>
                    <a:lnTo>
                      <a:pt x="698" y="1030"/>
                    </a:lnTo>
                    <a:lnTo>
                      <a:pt x="1098" y="630"/>
                    </a:lnTo>
                    <a:lnTo>
                      <a:pt x="475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6" name="Google Shape;1076;p19"/>
              <p:cNvSpPr/>
              <p:nvPr/>
            </p:nvSpPr>
            <p:spPr>
              <a:xfrm>
                <a:off x="5796302" y="3443754"/>
                <a:ext cx="74600" cy="74387"/>
              </a:xfrm>
              <a:custGeom>
                <a:avLst/>
                <a:gdLst/>
                <a:ahLst/>
                <a:cxnLst/>
                <a:rect l="l" t="t" r="r" b="b"/>
                <a:pathLst>
                  <a:path w="698" h="696" extrusionOk="0">
                    <a:moveTo>
                      <a:pt x="68" y="0"/>
                    </a:moveTo>
                    <a:lnTo>
                      <a:pt x="1" y="66"/>
                    </a:lnTo>
                    <a:lnTo>
                      <a:pt x="632" y="695"/>
                    </a:lnTo>
                    <a:lnTo>
                      <a:pt x="698" y="630"/>
                    </a:lnTo>
                    <a:lnTo>
                      <a:pt x="68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7" name="Google Shape;1077;p19"/>
              <p:cNvSpPr/>
              <p:nvPr/>
            </p:nvSpPr>
            <p:spPr>
              <a:xfrm>
                <a:off x="6013369" y="3311439"/>
                <a:ext cx="88174" cy="87853"/>
              </a:xfrm>
              <a:custGeom>
                <a:avLst/>
                <a:gdLst/>
                <a:ahLst/>
                <a:cxnLst/>
                <a:rect l="l" t="t" r="r" b="b"/>
                <a:pathLst>
                  <a:path w="825" h="822" extrusionOk="0">
                    <a:moveTo>
                      <a:pt x="424" y="111"/>
                    </a:moveTo>
                    <a:lnTo>
                      <a:pt x="705" y="401"/>
                    </a:lnTo>
                    <a:lnTo>
                      <a:pt x="401" y="712"/>
                    </a:lnTo>
                    <a:lnTo>
                      <a:pt x="113" y="422"/>
                    </a:lnTo>
                    <a:lnTo>
                      <a:pt x="424" y="111"/>
                    </a:lnTo>
                    <a:close/>
                    <a:moveTo>
                      <a:pt x="424" y="0"/>
                    </a:moveTo>
                    <a:lnTo>
                      <a:pt x="1" y="422"/>
                    </a:lnTo>
                    <a:lnTo>
                      <a:pt x="401" y="822"/>
                    </a:lnTo>
                    <a:lnTo>
                      <a:pt x="824" y="401"/>
                    </a:lnTo>
                    <a:lnTo>
                      <a:pt x="424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8" name="Google Shape;1078;p19"/>
              <p:cNvSpPr/>
              <p:nvPr/>
            </p:nvSpPr>
            <p:spPr>
              <a:xfrm>
                <a:off x="5976176" y="3350236"/>
                <a:ext cx="85609" cy="93625"/>
              </a:xfrm>
              <a:custGeom>
                <a:avLst/>
                <a:gdLst/>
                <a:ahLst/>
                <a:cxnLst/>
                <a:rect l="l" t="t" r="r" b="b"/>
                <a:pathLst>
                  <a:path w="801" h="876" extrusionOk="0">
                    <a:moveTo>
                      <a:pt x="407" y="112"/>
                    </a:moveTo>
                    <a:lnTo>
                      <a:pt x="697" y="407"/>
                    </a:lnTo>
                    <a:lnTo>
                      <a:pt x="452" y="749"/>
                    </a:lnTo>
                    <a:lnTo>
                      <a:pt x="112" y="407"/>
                    </a:lnTo>
                    <a:lnTo>
                      <a:pt x="407" y="112"/>
                    </a:lnTo>
                    <a:close/>
                    <a:moveTo>
                      <a:pt x="407" y="0"/>
                    </a:moveTo>
                    <a:lnTo>
                      <a:pt x="0" y="407"/>
                    </a:lnTo>
                    <a:lnTo>
                      <a:pt x="461" y="875"/>
                    </a:lnTo>
                    <a:lnTo>
                      <a:pt x="800" y="400"/>
                    </a:lnTo>
                    <a:lnTo>
                      <a:pt x="407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9" name="Google Shape;1079;p19"/>
              <p:cNvSpPr/>
              <p:nvPr/>
            </p:nvSpPr>
            <p:spPr>
              <a:xfrm>
                <a:off x="5937380" y="3388925"/>
                <a:ext cx="91915" cy="99182"/>
              </a:xfrm>
              <a:custGeom>
                <a:avLst/>
                <a:gdLst/>
                <a:ahLst/>
                <a:cxnLst/>
                <a:rect l="l" t="t" r="r" b="b"/>
                <a:pathLst>
                  <a:path w="860" h="928" extrusionOk="0">
                    <a:moveTo>
                      <a:pt x="408" y="113"/>
                    </a:moveTo>
                    <a:lnTo>
                      <a:pt x="756" y="469"/>
                    </a:lnTo>
                    <a:lnTo>
                      <a:pt x="504" y="808"/>
                    </a:lnTo>
                    <a:lnTo>
                      <a:pt x="112" y="408"/>
                    </a:lnTo>
                    <a:lnTo>
                      <a:pt x="408" y="113"/>
                    </a:lnTo>
                    <a:close/>
                    <a:moveTo>
                      <a:pt x="408" y="1"/>
                    </a:moveTo>
                    <a:lnTo>
                      <a:pt x="0" y="408"/>
                    </a:lnTo>
                    <a:lnTo>
                      <a:pt x="520" y="927"/>
                    </a:lnTo>
                    <a:lnTo>
                      <a:pt x="859" y="453"/>
                    </a:lnTo>
                    <a:lnTo>
                      <a:pt x="408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0" name="Google Shape;1080;p19"/>
              <p:cNvSpPr/>
              <p:nvPr/>
            </p:nvSpPr>
            <p:spPr>
              <a:xfrm>
                <a:off x="5974573" y="3388177"/>
                <a:ext cx="56431" cy="56431"/>
              </a:xfrm>
              <a:custGeom>
                <a:avLst/>
                <a:gdLst/>
                <a:ahLst/>
                <a:cxnLst/>
                <a:rect l="l" t="t" r="r" b="b"/>
                <a:pathLst>
                  <a:path w="528" h="528" extrusionOk="0">
                    <a:moveTo>
                      <a:pt x="67" y="1"/>
                    </a:moveTo>
                    <a:lnTo>
                      <a:pt x="1" y="68"/>
                    </a:lnTo>
                    <a:lnTo>
                      <a:pt x="460" y="527"/>
                    </a:lnTo>
                    <a:lnTo>
                      <a:pt x="527" y="453"/>
                    </a:lnTo>
                    <a:lnTo>
                      <a:pt x="67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1" name="Google Shape;1081;p19"/>
              <p:cNvSpPr/>
              <p:nvPr/>
            </p:nvSpPr>
            <p:spPr>
              <a:xfrm>
                <a:off x="5897087" y="3427722"/>
                <a:ext cx="98969" cy="106343"/>
              </a:xfrm>
              <a:custGeom>
                <a:avLst/>
                <a:gdLst/>
                <a:ahLst/>
                <a:cxnLst/>
                <a:rect l="l" t="t" r="r" b="b"/>
                <a:pathLst>
                  <a:path w="926" h="995" extrusionOk="0">
                    <a:moveTo>
                      <a:pt x="422" y="113"/>
                    </a:moveTo>
                    <a:lnTo>
                      <a:pt x="822" y="520"/>
                    </a:lnTo>
                    <a:lnTo>
                      <a:pt x="569" y="876"/>
                    </a:lnTo>
                    <a:lnTo>
                      <a:pt x="111" y="424"/>
                    </a:lnTo>
                    <a:lnTo>
                      <a:pt x="422" y="113"/>
                    </a:lnTo>
                    <a:close/>
                    <a:moveTo>
                      <a:pt x="422" y="1"/>
                    </a:moveTo>
                    <a:lnTo>
                      <a:pt x="0" y="424"/>
                    </a:lnTo>
                    <a:lnTo>
                      <a:pt x="578" y="995"/>
                    </a:lnTo>
                    <a:lnTo>
                      <a:pt x="925" y="513"/>
                    </a:lnTo>
                    <a:lnTo>
                      <a:pt x="422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2" name="Google Shape;1082;p19"/>
              <p:cNvSpPr/>
              <p:nvPr/>
            </p:nvSpPr>
            <p:spPr>
              <a:xfrm>
                <a:off x="5859787" y="3466733"/>
                <a:ext cx="103885" cy="111687"/>
              </a:xfrm>
              <a:custGeom>
                <a:avLst/>
                <a:gdLst/>
                <a:ahLst/>
                <a:cxnLst/>
                <a:rect l="l" t="t" r="r" b="b"/>
                <a:pathLst>
                  <a:path w="972" h="1045" extrusionOk="0">
                    <a:moveTo>
                      <a:pt x="408" y="111"/>
                    </a:moveTo>
                    <a:lnTo>
                      <a:pt x="867" y="578"/>
                    </a:lnTo>
                    <a:lnTo>
                      <a:pt x="623" y="918"/>
                    </a:lnTo>
                    <a:lnTo>
                      <a:pt x="111" y="408"/>
                    </a:lnTo>
                    <a:lnTo>
                      <a:pt x="408" y="111"/>
                    </a:lnTo>
                    <a:close/>
                    <a:moveTo>
                      <a:pt x="408" y="0"/>
                    </a:moveTo>
                    <a:lnTo>
                      <a:pt x="1" y="408"/>
                    </a:lnTo>
                    <a:lnTo>
                      <a:pt x="630" y="1044"/>
                    </a:lnTo>
                    <a:lnTo>
                      <a:pt x="972" y="569"/>
                    </a:lnTo>
                    <a:lnTo>
                      <a:pt x="408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3" name="Google Shape;1083;p19"/>
              <p:cNvSpPr/>
              <p:nvPr/>
            </p:nvSpPr>
            <p:spPr>
              <a:xfrm>
                <a:off x="5821097" y="3505529"/>
                <a:ext cx="110084" cy="117138"/>
              </a:xfrm>
              <a:custGeom>
                <a:avLst/>
                <a:gdLst/>
                <a:ahLst/>
                <a:cxnLst/>
                <a:rect l="l" t="t" r="r" b="b"/>
                <a:pathLst>
                  <a:path w="1030" h="1096" extrusionOk="0">
                    <a:moveTo>
                      <a:pt x="407" y="110"/>
                    </a:moveTo>
                    <a:lnTo>
                      <a:pt x="925" y="637"/>
                    </a:lnTo>
                    <a:lnTo>
                      <a:pt x="681" y="978"/>
                    </a:lnTo>
                    <a:lnTo>
                      <a:pt x="110" y="407"/>
                    </a:lnTo>
                    <a:lnTo>
                      <a:pt x="407" y="110"/>
                    </a:lnTo>
                    <a:close/>
                    <a:moveTo>
                      <a:pt x="407" y="0"/>
                    </a:moveTo>
                    <a:lnTo>
                      <a:pt x="0" y="407"/>
                    </a:lnTo>
                    <a:lnTo>
                      <a:pt x="688" y="1096"/>
                    </a:lnTo>
                    <a:lnTo>
                      <a:pt x="1030" y="623"/>
                    </a:lnTo>
                    <a:lnTo>
                      <a:pt x="407" y="0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4" name="Google Shape;1084;p19"/>
              <p:cNvSpPr/>
              <p:nvPr/>
            </p:nvSpPr>
            <p:spPr>
              <a:xfrm>
                <a:off x="5858077" y="3504674"/>
                <a:ext cx="74600" cy="74494"/>
              </a:xfrm>
              <a:custGeom>
                <a:avLst/>
                <a:gdLst/>
                <a:ahLst/>
                <a:cxnLst/>
                <a:rect l="l" t="t" r="r" b="b"/>
                <a:pathLst>
                  <a:path w="698" h="697" extrusionOk="0">
                    <a:moveTo>
                      <a:pt x="68" y="1"/>
                    </a:moveTo>
                    <a:lnTo>
                      <a:pt x="1" y="67"/>
                    </a:lnTo>
                    <a:lnTo>
                      <a:pt x="632" y="696"/>
                    </a:lnTo>
                    <a:lnTo>
                      <a:pt x="698" y="623"/>
                    </a:lnTo>
                    <a:lnTo>
                      <a:pt x="68" y="1"/>
                    </a:ln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085" name="Google Shape;1085;p19"/>
            <p:cNvSpPr/>
            <p:nvPr/>
          </p:nvSpPr>
          <p:spPr>
            <a:xfrm>
              <a:off x="8024288" y="4784080"/>
              <a:ext cx="749552" cy="204402"/>
            </a:xfrm>
            <a:custGeom>
              <a:avLst/>
              <a:gdLst/>
              <a:ahLst/>
              <a:cxnLst/>
              <a:rect l="l" t="t" r="r" b="b"/>
              <a:pathLst>
                <a:path w="9560" h="2607" extrusionOk="0">
                  <a:moveTo>
                    <a:pt x="6988" y="1"/>
                  </a:moveTo>
                  <a:cubicBezTo>
                    <a:pt x="6936" y="1"/>
                    <a:pt x="6884" y="17"/>
                    <a:pt x="6840" y="51"/>
                  </a:cubicBezTo>
                  <a:cubicBezTo>
                    <a:pt x="6758" y="110"/>
                    <a:pt x="6639" y="370"/>
                    <a:pt x="6522" y="718"/>
                  </a:cubicBezTo>
                  <a:cubicBezTo>
                    <a:pt x="6461" y="592"/>
                    <a:pt x="6403" y="503"/>
                    <a:pt x="6358" y="466"/>
                  </a:cubicBezTo>
                  <a:cubicBezTo>
                    <a:pt x="6314" y="432"/>
                    <a:pt x="6262" y="415"/>
                    <a:pt x="6210" y="415"/>
                  </a:cubicBezTo>
                  <a:cubicBezTo>
                    <a:pt x="6158" y="415"/>
                    <a:pt x="6106" y="432"/>
                    <a:pt x="6061" y="466"/>
                  </a:cubicBezTo>
                  <a:cubicBezTo>
                    <a:pt x="5965" y="547"/>
                    <a:pt x="5810" y="896"/>
                    <a:pt x="5677" y="1355"/>
                  </a:cubicBezTo>
                  <a:cubicBezTo>
                    <a:pt x="5640" y="1303"/>
                    <a:pt x="5609" y="1266"/>
                    <a:pt x="5581" y="1252"/>
                  </a:cubicBezTo>
                  <a:cubicBezTo>
                    <a:pt x="5536" y="1225"/>
                    <a:pt x="5484" y="1212"/>
                    <a:pt x="5432" y="1212"/>
                  </a:cubicBezTo>
                  <a:cubicBezTo>
                    <a:pt x="5380" y="1212"/>
                    <a:pt x="5328" y="1225"/>
                    <a:pt x="5284" y="1252"/>
                  </a:cubicBezTo>
                  <a:cubicBezTo>
                    <a:pt x="5209" y="1296"/>
                    <a:pt x="5106" y="1474"/>
                    <a:pt x="5003" y="1710"/>
                  </a:cubicBezTo>
                  <a:cubicBezTo>
                    <a:pt x="4928" y="1570"/>
                    <a:pt x="4854" y="1474"/>
                    <a:pt x="4802" y="1444"/>
                  </a:cubicBezTo>
                  <a:cubicBezTo>
                    <a:pt x="4758" y="1414"/>
                    <a:pt x="4706" y="1400"/>
                    <a:pt x="4653" y="1400"/>
                  </a:cubicBezTo>
                  <a:cubicBezTo>
                    <a:pt x="4601" y="1400"/>
                    <a:pt x="4549" y="1414"/>
                    <a:pt x="4505" y="1444"/>
                  </a:cubicBezTo>
                  <a:cubicBezTo>
                    <a:pt x="4402" y="1509"/>
                    <a:pt x="4217" y="1865"/>
                    <a:pt x="4076" y="2295"/>
                  </a:cubicBezTo>
                  <a:cubicBezTo>
                    <a:pt x="4039" y="2237"/>
                    <a:pt x="4009" y="2199"/>
                    <a:pt x="3987" y="2176"/>
                  </a:cubicBezTo>
                  <a:cubicBezTo>
                    <a:pt x="3957" y="2159"/>
                    <a:pt x="3922" y="2150"/>
                    <a:pt x="3887" y="2150"/>
                  </a:cubicBezTo>
                  <a:cubicBezTo>
                    <a:pt x="3852" y="2150"/>
                    <a:pt x="3817" y="2159"/>
                    <a:pt x="3787" y="2176"/>
                  </a:cubicBezTo>
                  <a:cubicBezTo>
                    <a:pt x="3749" y="2199"/>
                    <a:pt x="3714" y="2265"/>
                    <a:pt x="3669" y="2347"/>
                  </a:cubicBezTo>
                  <a:cubicBezTo>
                    <a:pt x="3616" y="1814"/>
                    <a:pt x="3358" y="1214"/>
                    <a:pt x="3239" y="1132"/>
                  </a:cubicBezTo>
                  <a:cubicBezTo>
                    <a:pt x="3209" y="1110"/>
                    <a:pt x="3174" y="1099"/>
                    <a:pt x="3139" y="1099"/>
                  </a:cubicBezTo>
                  <a:cubicBezTo>
                    <a:pt x="3104" y="1099"/>
                    <a:pt x="3068" y="1110"/>
                    <a:pt x="3038" y="1132"/>
                  </a:cubicBezTo>
                  <a:cubicBezTo>
                    <a:pt x="2972" y="1177"/>
                    <a:pt x="2869" y="1392"/>
                    <a:pt x="2780" y="1659"/>
                  </a:cubicBezTo>
                  <a:cubicBezTo>
                    <a:pt x="2623" y="1044"/>
                    <a:pt x="2364" y="496"/>
                    <a:pt x="2223" y="398"/>
                  </a:cubicBezTo>
                  <a:cubicBezTo>
                    <a:pt x="2175" y="365"/>
                    <a:pt x="2120" y="349"/>
                    <a:pt x="2065" y="349"/>
                  </a:cubicBezTo>
                  <a:cubicBezTo>
                    <a:pt x="2010" y="349"/>
                    <a:pt x="1957" y="365"/>
                    <a:pt x="1912" y="398"/>
                  </a:cubicBezTo>
                  <a:cubicBezTo>
                    <a:pt x="1779" y="487"/>
                    <a:pt x="1556" y="962"/>
                    <a:pt x="1409" y="1533"/>
                  </a:cubicBezTo>
                  <a:cubicBezTo>
                    <a:pt x="1409" y="1525"/>
                    <a:pt x="1402" y="1525"/>
                    <a:pt x="1402" y="1525"/>
                  </a:cubicBezTo>
                  <a:cubicBezTo>
                    <a:pt x="1353" y="1495"/>
                    <a:pt x="1297" y="1480"/>
                    <a:pt x="1242" y="1480"/>
                  </a:cubicBezTo>
                  <a:cubicBezTo>
                    <a:pt x="1186" y="1480"/>
                    <a:pt x="1131" y="1495"/>
                    <a:pt x="1082" y="1525"/>
                  </a:cubicBezTo>
                  <a:cubicBezTo>
                    <a:pt x="957" y="1591"/>
                    <a:pt x="749" y="1954"/>
                    <a:pt x="601" y="2392"/>
                  </a:cubicBezTo>
                  <a:cubicBezTo>
                    <a:pt x="548" y="2288"/>
                    <a:pt x="497" y="2214"/>
                    <a:pt x="459" y="2185"/>
                  </a:cubicBezTo>
                  <a:cubicBezTo>
                    <a:pt x="426" y="2163"/>
                    <a:pt x="386" y="2152"/>
                    <a:pt x="345" y="2152"/>
                  </a:cubicBezTo>
                  <a:cubicBezTo>
                    <a:pt x="304" y="2152"/>
                    <a:pt x="264" y="2163"/>
                    <a:pt x="230" y="2185"/>
                  </a:cubicBezTo>
                  <a:cubicBezTo>
                    <a:pt x="171" y="2230"/>
                    <a:pt x="82" y="2384"/>
                    <a:pt x="0" y="2607"/>
                  </a:cubicBezTo>
                  <a:lnTo>
                    <a:pt x="9559" y="2607"/>
                  </a:lnTo>
                  <a:lnTo>
                    <a:pt x="9559" y="1954"/>
                  </a:lnTo>
                  <a:cubicBezTo>
                    <a:pt x="9419" y="1465"/>
                    <a:pt x="9241" y="1074"/>
                    <a:pt x="9138" y="992"/>
                  </a:cubicBezTo>
                  <a:cubicBezTo>
                    <a:pt x="9093" y="958"/>
                    <a:pt x="9041" y="941"/>
                    <a:pt x="8989" y="941"/>
                  </a:cubicBezTo>
                  <a:cubicBezTo>
                    <a:pt x="8937" y="941"/>
                    <a:pt x="8885" y="958"/>
                    <a:pt x="8841" y="992"/>
                  </a:cubicBezTo>
                  <a:cubicBezTo>
                    <a:pt x="8752" y="1058"/>
                    <a:pt x="8618" y="1341"/>
                    <a:pt x="8499" y="1710"/>
                  </a:cubicBezTo>
                  <a:cubicBezTo>
                    <a:pt x="8441" y="1570"/>
                    <a:pt x="8382" y="1474"/>
                    <a:pt x="8337" y="1444"/>
                  </a:cubicBezTo>
                  <a:cubicBezTo>
                    <a:pt x="8300" y="1414"/>
                    <a:pt x="8256" y="1400"/>
                    <a:pt x="8211" y="1400"/>
                  </a:cubicBezTo>
                  <a:cubicBezTo>
                    <a:pt x="8167" y="1400"/>
                    <a:pt x="8122" y="1414"/>
                    <a:pt x="8085" y="1444"/>
                  </a:cubicBezTo>
                  <a:cubicBezTo>
                    <a:pt x="8055" y="1465"/>
                    <a:pt x="8026" y="1509"/>
                    <a:pt x="7989" y="1577"/>
                  </a:cubicBezTo>
                  <a:cubicBezTo>
                    <a:pt x="7877" y="1273"/>
                    <a:pt x="7759" y="1051"/>
                    <a:pt x="7685" y="992"/>
                  </a:cubicBezTo>
                  <a:cubicBezTo>
                    <a:pt x="7647" y="962"/>
                    <a:pt x="7596" y="947"/>
                    <a:pt x="7544" y="947"/>
                  </a:cubicBezTo>
                  <a:cubicBezTo>
                    <a:pt x="7411" y="487"/>
                    <a:pt x="7240" y="124"/>
                    <a:pt x="7137" y="51"/>
                  </a:cubicBezTo>
                  <a:cubicBezTo>
                    <a:pt x="7093" y="17"/>
                    <a:pt x="7041" y="1"/>
                    <a:pt x="6988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086" name="Google Shape;1086;p19"/>
            <p:cNvGrpSpPr/>
            <p:nvPr/>
          </p:nvGrpSpPr>
          <p:grpSpPr>
            <a:xfrm>
              <a:off x="8144564" y="4593964"/>
              <a:ext cx="360977" cy="398535"/>
              <a:chOff x="5115280" y="3443754"/>
              <a:chExt cx="492063" cy="543259"/>
            </a:xfrm>
          </p:grpSpPr>
          <p:sp>
            <p:nvSpPr>
              <p:cNvPr id="1087" name="Google Shape;1087;p19"/>
              <p:cNvSpPr/>
              <p:nvPr/>
            </p:nvSpPr>
            <p:spPr>
              <a:xfrm>
                <a:off x="5375954" y="3655799"/>
                <a:ext cx="12825" cy="331213"/>
              </a:xfrm>
              <a:custGeom>
                <a:avLst/>
                <a:gdLst/>
                <a:ahLst/>
                <a:cxnLst/>
                <a:rect l="l" t="t" r="r" b="b"/>
                <a:pathLst>
                  <a:path w="120" h="3099" extrusionOk="0">
                    <a:moveTo>
                      <a:pt x="0" y="1"/>
                    </a:moveTo>
                    <a:lnTo>
                      <a:pt x="66" y="3099"/>
                    </a:lnTo>
                    <a:lnTo>
                      <a:pt x="119" y="3099"/>
                    </a:lnTo>
                    <a:lnTo>
                      <a:pt x="52" y="1"/>
                    </a:ln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8" name="Google Shape;1088;p19"/>
              <p:cNvSpPr/>
              <p:nvPr/>
            </p:nvSpPr>
            <p:spPr>
              <a:xfrm>
                <a:off x="5379908" y="3666273"/>
                <a:ext cx="145674" cy="78448"/>
              </a:xfrm>
              <a:custGeom>
                <a:avLst/>
                <a:gdLst/>
                <a:ahLst/>
                <a:cxnLst/>
                <a:rect l="l" t="t" r="r" b="b"/>
                <a:pathLst>
                  <a:path w="1363" h="734" extrusionOk="0">
                    <a:moveTo>
                      <a:pt x="1311" y="1"/>
                    </a:moveTo>
                    <a:lnTo>
                      <a:pt x="1311" y="548"/>
                    </a:lnTo>
                    <a:cubicBezTo>
                      <a:pt x="1311" y="623"/>
                      <a:pt x="1208" y="682"/>
                      <a:pt x="1089" y="682"/>
                    </a:cubicBezTo>
                    <a:lnTo>
                      <a:pt x="0" y="682"/>
                    </a:lnTo>
                    <a:lnTo>
                      <a:pt x="0" y="733"/>
                    </a:lnTo>
                    <a:lnTo>
                      <a:pt x="1089" y="733"/>
                    </a:lnTo>
                    <a:cubicBezTo>
                      <a:pt x="1238" y="733"/>
                      <a:pt x="1363" y="651"/>
                      <a:pt x="1363" y="548"/>
                    </a:cubicBezTo>
                    <a:lnTo>
                      <a:pt x="1363" y="1"/>
                    </a:ln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9" name="Google Shape;1089;p19"/>
              <p:cNvSpPr/>
              <p:nvPr/>
            </p:nvSpPr>
            <p:spPr>
              <a:xfrm>
                <a:off x="5377450" y="3764387"/>
                <a:ext cx="84113" cy="95121"/>
              </a:xfrm>
              <a:custGeom>
                <a:avLst/>
                <a:gdLst/>
                <a:ahLst/>
                <a:cxnLst/>
                <a:rect l="l" t="t" r="r" b="b"/>
                <a:pathLst>
                  <a:path w="787" h="890" extrusionOk="0">
                    <a:moveTo>
                      <a:pt x="728" y="0"/>
                    </a:moveTo>
                    <a:lnTo>
                      <a:pt x="697" y="534"/>
                    </a:lnTo>
                    <a:cubicBezTo>
                      <a:pt x="690" y="704"/>
                      <a:pt x="550" y="838"/>
                      <a:pt x="379" y="838"/>
                    </a:cubicBezTo>
                    <a:lnTo>
                      <a:pt x="363" y="838"/>
                    </a:lnTo>
                    <a:cubicBezTo>
                      <a:pt x="274" y="831"/>
                      <a:pt x="201" y="793"/>
                      <a:pt x="141" y="728"/>
                    </a:cubicBezTo>
                    <a:cubicBezTo>
                      <a:pt x="82" y="667"/>
                      <a:pt x="52" y="585"/>
                      <a:pt x="61" y="496"/>
                    </a:cubicBezTo>
                    <a:lnTo>
                      <a:pt x="0" y="496"/>
                    </a:lnTo>
                    <a:cubicBezTo>
                      <a:pt x="0" y="594"/>
                      <a:pt x="31" y="690"/>
                      <a:pt x="96" y="763"/>
                    </a:cubicBezTo>
                    <a:cubicBezTo>
                      <a:pt x="164" y="838"/>
                      <a:pt x="260" y="882"/>
                      <a:pt x="356" y="889"/>
                    </a:cubicBezTo>
                    <a:lnTo>
                      <a:pt x="379" y="889"/>
                    </a:lnTo>
                    <a:cubicBezTo>
                      <a:pt x="578" y="889"/>
                      <a:pt x="742" y="735"/>
                      <a:pt x="756" y="534"/>
                    </a:cubicBezTo>
                    <a:lnTo>
                      <a:pt x="786" y="7"/>
                    </a:lnTo>
                    <a:lnTo>
                      <a:pt x="728" y="0"/>
                    </a:ln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0" name="Google Shape;1090;p19"/>
              <p:cNvSpPr/>
              <p:nvPr/>
            </p:nvSpPr>
            <p:spPr>
              <a:xfrm>
                <a:off x="5250800" y="3681343"/>
                <a:ext cx="126757" cy="124405"/>
              </a:xfrm>
              <a:custGeom>
                <a:avLst/>
                <a:gdLst/>
                <a:ahLst/>
                <a:cxnLst/>
                <a:rect l="l" t="t" r="r" b="b"/>
                <a:pathLst>
                  <a:path w="1186" h="1164" extrusionOk="0">
                    <a:moveTo>
                      <a:pt x="1" y="0"/>
                    </a:moveTo>
                    <a:lnTo>
                      <a:pt x="1" y="695"/>
                    </a:lnTo>
                    <a:cubicBezTo>
                      <a:pt x="1" y="955"/>
                      <a:pt x="207" y="1163"/>
                      <a:pt x="467" y="1163"/>
                    </a:cubicBezTo>
                    <a:lnTo>
                      <a:pt x="1185" y="1163"/>
                    </a:lnTo>
                    <a:lnTo>
                      <a:pt x="1185" y="1112"/>
                    </a:lnTo>
                    <a:lnTo>
                      <a:pt x="467" y="1112"/>
                    </a:lnTo>
                    <a:cubicBezTo>
                      <a:pt x="237" y="1112"/>
                      <a:pt x="60" y="927"/>
                      <a:pt x="60" y="695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1" name="Google Shape;1091;p19"/>
              <p:cNvSpPr/>
              <p:nvPr/>
            </p:nvSpPr>
            <p:spPr>
              <a:xfrm>
                <a:off x="5393375" y="3682840"/>
                <a:ext cx="124405" cy="93625"/>
              </a:xfrm>
              <a:custGeom>
                <a:avLst/>
                <a:gdLst/>
                <a:ahLst/>
                <a:cxnLst/>
                <a:rect l="l" t="t" r="r" b="b"/>
                <a:pathLst>
                  <a:path w="1164" h="876" extrusionOk="0">
                    <a:moveTo>
                      <a:pt x="586" y="0"/>
                    </a:moveTo>
                    <a:cubicBezTo>
                      <a:pt x="259" y="0"/>
                      <a:pt x="1" y="192"/>
                      <a:pt x="1" y="438"/>
                    </a:cubicBezTo>
                    <a:cubicBezTo>
                      <a:pt x="1" y="674"/>
                      <a:pt x="259" y="875"/>
                      <a:pt x="586" y="875"/>
                    </a:cubicBezTo>
                    <a:cubicBezTo>
                      <a:pt x="904" y="875"/>
                      <a:pt x="1164" y="674"/>
                      <a:pt x="1164" y="438"/>
                    </a:cubicBezTo>
                    <a:cubicBezTo>
                      <a:pt x="1164" y="192"/>
                      <a:pt x="904" y="0"/>
                      <a:pt x="586" y="0"/>
                    </a:cubicBezTo>
                    <a:close/>
                  </a:path>
                </a:pathLst>
              </a:custGeom>
              <a:solidFill>
                <a:srgbClr val="00B44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2" name="Google Shape;1092;p19"/>
              <p:cNvSpPr/>
              <p:nvPr/>
            </p:nvSpPr>
            <p:spPr>
              <a:xfrm>
                <a:off x="5237334" y="3443754"/>
                <a:ext cx="263774" cy="223374"/>
              </a:xfrm>
              <a:custGeom>
                <a:avLst/>
                <a:gdLst/>
                <a:ahLst/>
                <a:cxnLst/>
                <a:rect l="l" t="t" r="r" b="b"/>
                <a:pathLst>
                  <a:path w="2468" h="2090" extrusionOk="0">
                    <a:moveTo>
                      <a:pt x="1238" y="0"/>
                    </a:moveTo>
                    <a:cubicBezTo>
                      <a:pt x="555" y="0"/>
                      <a:pt x="1" y="473"/>
                      <a:pt x="1" y="1044"/>
                    </a:cubicBezTo>
                    <a:cubicBezTo>
                      <a:pt x="1" y="1622"/>
                      <a:pt x="555" y="2090"/>
                      <a:pt x="1238" y="2090"/>
                    </a:cubicBezTo>
                    <a:cubicBezTo>
                      <a:pt x="1912" y="2090"/>
                      <a:pt x="2467" y="1622"/>
                      <a:pt x="2467" y="1044"/>
                    </a:cubicBezTo>
                    <a:cubicBezTo>
                      <a:pt x="2467" y="473"/>
                      <a:pt x="1912" y="0"/>
                      <a:pt x="1238" y="0"/>
                    </a:cubicBezTo>
                    <a:close/>
                  </a:path>
                </a:pathLst>
              </a:custGeom>
              <a:solidFill>
                <a:srgbClr val="00B44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3" name="Google Shape;1093;p19"/>
              <p:cNvSpPr/>
              <p:nvPr/>
            </p:nvSpPr>
            <p:spPr>
              <a:xfrm>
                <a:off x="5115280" y="3566450"/>
                <a:ext cx="284508" cy="129963"/>
              </a:xfrm>
              <a:custGeom>
                <a:avLst/>
                <a:gdLst/>
                <a:ahLst/>
                <a:cxnLst/>
                <a:rect l="l" t="t" r="r" b="b"/>
                <a:pathLst>
                  <a:path w="2662" h="1216" extrusionOk="0">
                    <a:moveTo>
                      <a:pt x="609" y="1"/>
                    </a:moveTo>
                    <a:cubicBezTo>
                      <a:pt x="275" y="1"/>
                      <a:pt x="1" y="275"/>
                      <a:pt x="1" y="607"/>
                    </a:cubicBezTo>
                    <a:cubicBezTo>
                      <a:pt x="1" y="949"/>
                      <a:pt x="275" y="1216"/>
                      <a:pt x="609" y="1216"/>
                    </a:cubicBezTo>
                    <a:lnTo>
                      <a:pt x="2053" y="1216"/>
                    </a:lnTo>
                    <a:cubicBezTo>
                      <a:pt x="2395" y="1216"/>
                      <a:pt x="2661" y="949"/>
                      <a:pt x="2661" y="607"/>
                    </a:cubicBezTo>
                    <a:cubicBezTo>
                      <a:pt x="2661" y="275"/>
                      <a:pt x="2395" y="1"/>
                      <a:pt x="2053" y="1"/>
                    </a:cubicBezTo>
                    <a:close/>
                  </a:path>
                </a:pathLst>
              </a:custGeom>
              <a:solidFill>
                <a:srgbClr val="00B44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4" name="Google Shape;1094;p19"/>
              <p:cNvSpPr/>
              <p:nvPr/>
            </p:nvSpPr>
            <p:spPr>
              <a:xfrm>
                <a:off x="5440935" y="3574252"/>
                <a:ext cx="166408" cy="100679"/>
              </a:xfrm>
              <a:custGeom>
                <a:avLst/>
                <a:gdLst/>
                <a:ahLst/>
                <a:cxnLst/>
                <a:rect l="l" t="t" r="r" b="b"/>
                <a:pathLst>
                  <a:path w="1557" h="942" extrusionOk="0">
                    <a:moveTo>
                      <a:pt x="466" y="1"/>
                    </a:moveTo>
                    <a:cubicBezTo>
                      <a:pt x="207" y="1"/>
                      <a:pt x="0" y="216"/>
                      <a:pt x="0" y="476"/>
                    </a:cubicBezTo>
                    <a:cubicBezTo>
                      <a:pt x="0" y="728"/>
                      <a:pt x="207" y="942"/>
                      <a:pt x="466" y="942"/>
                    </a:cubicBezTo>
                    <a:lnTo>
                      <a:pt x="1082" y="942"/>
                    </a:lnTo>
                    <a:cubicBezTo>
                      <a:pt x="1341" y="942"/>
                      <a:pt x="1556" y="728"/>
                      <a:pt x="1556" y="476"/>
                    </a:cubicBezTo>
                    <a:cubicBezTo>
                      <a:pt x="1556" y="216"/>
                      <a:pt x="1341" y="1"/>
                      <a:pt x="1082" y="1"/>
                    </a:cubicBezTo>
                    <a:close/>
                  </a:path>
                </a:pathLst>
              </a:custGeom>
              <a:solidFill>
                <a:srgbClr val="00B44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1095" name="Google Shape;1095;p19"/>
          <p:cNvSpPr/>
          <p:nvPr/>
        </p:nvSpPr>
        <p:spPr>
          <a:xfrm>
            <a:off x="7233675" y="4938650"/>
            <a:ext cx="2030700" cy="461700"/>
          </a:xfrm>
          <a:prstGeom prst="round2DiagRect">
            <a:avLst>
              <a:gd name="adj1" fmla="val 16667"/>
              <a:gd name="adj2" fmla="val 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96" name="Google Shape;1096;p19"/>
          <p:cNvGrpSpPr/>
          <p:nvPr/>
        </p:nvGrpSpPr>
        <p:grpSpPr>
          <a:xfrm>
            <a:off x="4382899" y="4938638"/>
            <a:ext cx="2749703" cy="122913"/>
            <a:chOff x="5024149" y="4918613"/>
            <a:chExt cx="2749703" cy="122913"/>
          </a:xfrm>
        </p:grpSpPr>
        <p:sp>
          <p:nvSpPr>
            <p:cNvPr id="1097" name="Google Shape;1097;p19"/>
            <p:cNvSpPr/>
            <p:nvPr/>
          </p:nvSpPr>
          <p:spPr>
            <a:xfrm>
              <a:off x="5121294" y="4919510"/>
              <a:ext cx="27619" cy="26802"/>
            </a:xfrm>
            <a:custGeom>
              <a:avLst/>
              <a:gdLst/>
              <a:ahLst/>
              <a:cxnLst/>
              <a:rect l="l" t="t" r="r" b="b"/>
              <a:pathLst>
                <a:path w="1324" h="1285" extrusionOk="0">
                  <a:moveTo>
                    <a:pt x="690" y="1"/>
                  </a:moveTo>
                  <a:cubicBezTo>
                    <a:pt x="379" y="1"/>
                    <a:pt x="134" y="175"/>
                    <a:pt x="0" y="460"/>
                  </a:cubicBezTo>
                  <a:cubicBezTo>
                    <a:pt x="0" y="643"/>
                    <a:pt x="183" y="1031"/>
                    <a:pt x="297" y="1213"/>
                  </a:cubicBezTo>
                  <a:cubicBezTo>
                    <a:pt x="418" y="1262"/>
                    <a:pt x="528" y="1284"/>
                    <a:pt x="629" y="1284"/>
                  </a:cubicBezTo>
                  <a:cubicBezTo>
                    <a:pt x="909" y="1284"/>
                    <a:pt x="1123" y="1110"/>
                    <a:pt x="1324" y="825"/>
                  </a:cubicBezTo>
                  <a:cubicBezTo>
                    <a:pt x="1233" y="551"/>
                    <a:pt x="1141" y="163"/>
                    <a:pt x="1050" y="72"/>
                  </a:cubicBezTo>
                  <a:cubicBezTo>
                    <a:pt x="923" y="24"/>
                    <a:pt x="802" y="1"/>
                    <a:pt x="69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" name="Google Shape;1098;p19"/>
            <p:cNvSpPr/>
            <p:nvPr/>
          </p:nvSpPr>
          <p:spPr>
            <a:xfrm>
              <a:off x="5307928" y="4919510"/>
              <a:ext cx="27639" cy="26802"/>
            </a:xfrm>
            <a:custGeom>
              <a:avLst/>
              <a:gdLst/>
              <a:ahLst/>
              <a:cxnLst/>
              <a:rect l="l" t="t" r="r" b="b"/>
              <a:pathLst>
                <a:path w="1325" h="1285" extrusionOk="0">
                  <a:moveTo>
                    <a:pt x="731" y="1"/>
                  </a:moveTo>
                  <a:cubicBezTo>
                    <a:pt x="435" y="1"/>
                    <a:pt x="159" y="175"/>
                    <a:pt x="92" y="460"/>
                  </a:cubicBezTo>
                  <a:cubicBezTo>
                    <a:pt x="1" y="643"/>
                    <a:pt x="183" y="1031"/>
                    <a:pt x="366" y="1213"/>
                  </a:cubicBezTo>
                  <a:cubicBezTo>
                    <a:pt x="469" y="1262"/>
                    <a:pt x="572" y="1284"/>
                    <a:pt x="671" y="1284"/>
                  </a:cubicBezTo>
                  <a:cubicBezTo>
                    <a:pt x="945" y="1284"/>
                    <a:pt x="1190" y="1110"/>
                    <a:pt x="1324" y="825"/>
                  </a:cubicBezTo>
                  <a:cubicBezTo>
                    <a:pt x="1233" y="551"/>
                    <a:pt x="1233" y="163"/>
                    <a:pt x="1051" y="72"/>
                  </a:cubicBezTo>
                  <a:cubicBezTo>
                    <a:pt x="948" y="24"/>
                    <a:pt x="838" y="1"/>
                    <a:pt x="73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" name="Google Shape;1099;p19"/>
            <p:cNvSpPr/>
            <p:nvPr/>
          </p:nvSpPr>
          <p:spPr>
            <a:xfrm>
              <a:off x="5496482" y="4919823"/>
              <a:ext cx="25720" cy="27365"/>
            </a:xfrm>
            <a:custGeom>
              <a:avLst/>
              <a:gdLst/>
              <a:ahLst/>
              <a:cxnLst/>
              <a:rect l="l" t="t" r="r" b="b"/>
              <a:pathLst>
                <a:path w="1233" h="1312" extrusionOk="0">
                  <a:moveTo>
                    <a:pt x="656" y="0"/>
                  </a:moveTo>
                  <a:cubicBezTo>
                    <a:pt x="565" y="0"/>
                    <a:pt x="467" y="18"/>
                    <a:pt x="366" y="57"/>
                  </a:cubicBezTo>
                  <a:cubicBezTo>
                    <a:pt x="183" y="57"/>
                    <a:pt x="92" y="445"/>
                    <a:pt x="0" y="628"/>
                  </a:cubicBezTo>
                  <a:cubicBezTo>
                    <a:pt x="77" y="1106"/>
                    <a:pt x="346" y="1312"/>
                    <a:pt x="660" y="1312"/>
                  </a:cubicBezTo>
                  <a:cubicBezTo>
                    <a:pt x="720" y="1312"/>
                    <a:pt x="782" y="1304"/>
                    <a:pt x="845" y="1290"/>
                  </a:cubicBezTo>
                  <a:cubicBezTo>
                    <a:pt x="1028" y="1198"/>
                    <a:pt x="1233" y="810"/>
                    <a:pt x="1233" y="628"/>
                  </a:cubicBezTo>
                  <a:cubicBezTo>
                    <a:pt x="1233" y="250"/>
                    <a:pt x="992" y="0"/>
                    <a:pt x="65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" name="Google Shape;1100;p19"/>
            <p:cNvSpPr/>
            <p:nvPr/>
          </p:nvSpPr>
          <p:spPr>
            <a:xfrm>
              <a:off x="5680738" y="4920490"/>
              <a:ext cx="33835" cy="26239"/>
            </a:xfrm>
            <a:custGeom>
              <a:avLst/>
              <a:gdLst/>
              <a:ahLst/>
              <a:cxnLst/>
              <a:rect l="l" t="t" r="r" b="b"/>
              <a:pathLst>
                <a:path w="1622" h="1258" extrusionOk="0">
                  <a:moveTo>
                    <a:pt x="743" y="1"/>
                  </a:moveTo>
                  <a:cubicBezTo>
                    <a:pt x="538" y="1"/>
                    <a:pt x="277" y="154"/>
                    <a:pt x="183" y="322"/>
                  </a:cubicBezTo>
                  <a:cubicBezTo>
                    <a:pt x="1" y="778"/>
                    <a:pt x="298" y="1166"/>
                    <a:pt x="754" y="1258"/>
                  </a:cubicBezTo>
                  <a:cubicBezTo>
                    <a:pt x="959" y="1166"/>
                    <a:pt x="1325" y="1075"/>
                    <a:pt x="1439" y="892"/>
                  </a:cubicBezTo>
                  <a:cubicBezTo>
                    <a:pt x="1621" y="413"/>
                    <a:pt x="1325" y="25"/>
                    <a:pt x="868" y="25"/>
                  </a:cubicBezTo>
                  <a:cubicBezTo>
                    <a:pt x="831" y="8"/>
                    <a:pt x="788" y="1"/>
                    <a:pt x="74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" name="Google Shape;1101;p19"/>
            <p:cNvSpPr/>
            <p:nvPr/>
          </p:nvSpPr>
          <p:spPr>
            <a:xfrm>
              <a:off x="5871190" y="4919823"/>
              <a:ext cx="27639" cy="27365"/>
            </a:xfrm>
            <a:custGeom>
              <a:avLst/>
              <a:gdLst/>
              <a:ahLst/>
              <a:cxnLst/>
              <a:rect l="l" t="t" r="r" b="b"/>
              <a:pathLst>
                <a:path w="1325" h="1312" extrusionOk="0">
                  <a:moveTo>
                    <a:pt x="677" y="0"/>
                  </a:moveTo>
                  <a:cubicBezTo>
                    <a:pt x="587" y="0"/>
                    <a:pt x="491" y="18"/>
                    <a:pt x="389" y="57"/>
                  </a:cubicBezTo>
                  <a:cubicBezTo>
                    <a:pt x="184" y="57"/>
                    <a:pt x="92" y="445"/>
                    <a:pt x="1" y="628"/>
                  </a:cubicBezTo>
                  <a:cubicBezTo>
                    <a:pt x="77" y="1106"/>
                    <a:pt x="363" y="1312"/>
                    <a:pt x="682" y="1312"/>
                  </a:cubicBezTo>
                  <a:cubicBezTo>
                    <a:pt x="743" y="1312"/>
                    <a:pt x="806" y="1304"/>
                    <a:pt x="868" y="1290"/>
                  </a:cubicBezTo>
                  <a:cubicBezTo>
                    <a:pt x="1051" y="1198"/>
                    <a:pt x="1325" y="810"/>
                    <a:pt x="1233" y="628"/>
                  </a:cubicBezTo>
                  <a:cubicBezTo>
                    <a:pt x="1233" y="250"/>
                    <a:pt x="1007" y="0"/>
                    <a:pt x="6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" name="Google Shape;1102;p19"/>
            <p:cNvSpPr/>
            <p:nvPr/>
          </p:nvSpPr>
          <p:spPr>
            <a:xfrm>
              <a:off x="6055947" y="4920490"/>
              <a:ext cx="33334" cy="26239"/>
            </a:xfrm>
            <a:custGeom>
              <a:avLst/>
              <a:gdLst/>
              <a:ahLst/>
              <a:cxnLst/>
              <a:rect l="l" t="t" r="r" b="b"/>
              <a:pathLst>
                <a:path w="1598" h="1258" extrusionOk="0">
                  <a:moveTo>
                    <a:pt x="728" y="1"/>
                  </a:moveTo>
                  <a:cubicBezTo>
                    <a:pt x="531" y="1"/>
                    <a:pt x="257" y="154"/>
                    <a:pt x="183" y="322"/>
                  </a:cubicBezTo>
                  <a:cubicBezTo>
                    <a:pt x="0" y="778"/>
                    <a:pt x="274" y="1166"/>
                    <a:pt x="753" y="1258"/>
                  </a:cubicBezTo>
                  <a:cubicBezTo>
                    <a:pt x="936" y="1166"/>
                    <a:pt x="1324" y="1075"/>
                    <a:pt x="1415" y="892"/>
                  </a:cubicBezTo>
                  <a:cubicBezTo>
                    <a:pt x="1598" y="413"/>
                    <a:pt x="1324" y="25"/>
                    <a:pt x="845" y="25"/>
                  </a:cubicBezTo>
                  <a:cubicBezTo>
                    <a:pt x="811" y="8"/>
                    <a:pt x="771" y="1"/>
                    <a:pt x="72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" name="Google Shape;1103;p19"/>
            <p:cNvSpPr/>
            <p:nvPr/>
          </p:nvSpPr>
          <p:spPr>
            <a:xfrm>
              <a:off x="6244021" y="4919093"/>
              <a:ext cx="31916" cy="27636"/>
            </a:xfrm>
            <a:custGeom>
              <a:avLst/>
              <a:gdLst/>
              <a:ahLst/>
              <a:cxnLst/>
              <a:rect l="l" t="t" r="r" b="b"/>
              <a:pathLst>
                <a:path w="1530" h="1325" extrusionOk="0">
                  <a:moveTo>
                    <a:pt x="571" y="1"/>
                  </a:moveTo>
                  <a:cubicBezTo>
                    <a:pt x="206" y="183"/>
                    <a:pt x="0" y="571"/>
                    <a:pt x="206" y="959"/>
                  </a:cubicBezTo>
                  <a:cubicBezTo>
                    <a:pt x="297" y="1142"/>
                    <a:pt x="685" y="1325"/>
                    <a:pt x="867" y="1325"/>
                  </a:cubicBezTo>
                  <a:cubicBezTo>
                    <a:pt x="1347" y="1142"/>
                    <a:pt x="1529" y="754"/>
                    <a:pt x="1256" y="389"/>
                  </a:cubicBezTo>
                  <a:cubicBezTo>
                    <a:pt x="1141" y="183"/>
                    <a:pt x="867" y="92"/>
                    <a:pt x="57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" name="Google Shape;1104;p19"/>
            <p:cNvSpPr/>
            <p:nvPr/>
          </p:nvSpPr>
          <p:spPr>
            <a:xfrm>
              <a:off x="6434473" y="4919823"/>
              <a:ext cx="26200" cy="27365"/>
            </a:xfrm>
            <a:custGeom>
              <a:avLst/>
              <a:gdLst/>
              <a:ahLst/>
              <a:cxnLst/>
              <a:rect l="l" t="t" r="r" b="b"/>
              <a:pathLst>
                <a:path w="1256" h="1312" extrusionOk="0">
                  <a:moveTo>
                    <a:pt x="679" y="0"/>
                  </a:moveTo>
                  <a:cubicBezTo>
                    <a:pt x="588" y="0"/>
                    <a:pt x="490" y="18"/>
                    <a:pt x="388" y="57"/>
                  </a:cubicBezTo>
                  <a:cubicBezTo>
                    <a:pt x="206" y="57"/>
                    <a:pt x="114" y="445"/>
                    <a:pt x="0" y="628"/>
                  </a:cubicBezTo>
                  <a:cubicBezTo>
                    <a:pt x="0" y="1106"/>
                    <a:pt x="273" y="1312"/>
                    <a:pt x="644" y="1312"/>
                  </a:cubicBezTo>
                  <a:cubicBezTo>
                    <a:pt x="715" y="1312"/>
                    <a:pt x="790" y="1304"/>
                    <a:pt x="868" y="1290"/>
                  </a:cubicBezTo>
                  <a:cubicBezTo>
                    <a:pt x="1050" y="1198"/>
                    <a:pt x="1256" y="810"/>
                    <a:pt x="1256" y="628"/>
                  </a:cubicBezTo>
                  <a:cubicBezTo>
                    <a:pt x="1256" y="250"/>
                    <a:pt x="1015" y="0"/>
                    <a:pt x="67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" name="Google Shape;1105;p19"/>
            <p:cNvSpPr/>
            <p:nvPr/>
          </p:nvSpPr>
          <p:spPr>
            <a:xfrm>
              <a:off x="6621107" y="4919176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02" y="1"/>
                  </a:moveTo>
                  <a:cubicBezTo>
                    <a:pt x="577" y="1"/>
                    <a:pt x="440" y="31"/>
                    <a:pt x="298" y="88"/>
                  </a:cubicBezTo>
                  <a:cubicBezTo>
                    <a:pt x="183" y="179"/>
                    <a:pt x="1" y="567"/>
                    <a:pt x="1" y="750"/>
                  </a:cubicBezTo>
                  <a:cubicBezTo>
                    <a:pt x="125" y="1077"/>
                    <a:pt x="346" y="1266"/>
                    <a:pt x="596" y="1266"/>
                  </a:cubicBezTo>
                  <a:cubicBezTo>
                    <a:pt x="713" y="1266"/>
                    <a:pt x="836" y="1225"/>
                    <a:pt x="959" y="1138"/>
                  </a:cubicBezTo>
                  <a:cubicBezTo>
                    <a:pt x="1142" y="1047"/>
                    <a:pt x="1233" y="659"/>
                    <a:pt x="1325" y="476"/>
                  </a:cubicBezTo>
                  <a:cubicBezTo>
                    <a:pt x="1199" y="147"/>
                    <a:pt x="977" y="1"/>
                    <a:pt x="70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" name="Google Shape;1106;p19"/>
            <p:cNvSpPr/>
            <p:nvPr/>
          </p:nvSpPr>
          <p:spPr>
            <a:xfrm>
              <a:off x="6807762" y="4919176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23" y="1"/>
                  </a:moveTo>
                  <a:cubicBezTo>
                    <a:pt x="608" y="1"/>
                    <a:pt x="487" y="31"/>
                    <a:pt x="366" y="88"/>
                  </a:cubicBezTo>
                  <a:cubicBezTo>
                    <a:pt x="183" y="179"/>
                    <a:pt x="0" y="567"/>
                    <a:pt x="92" y="750"/>
                  </a:cubicBezTo>
                  <a:cubicBezTo>
                    <a:pt x="154" y="1077"/>
                    <a:pt x="397" y="1266"/>
                    <a:pt x="668" y="1266"/>
                  </a:cubicBezTo>
                  <a:cubicBezTo>
                    <a:pt x="795" y="1266"/>
                    <a:pt x="927" y="1225"/>
                    <a:pt x="1050" y="1138"/>
                  </a:cubicBezTo>
                  <a:cubicBezTo>
                    <a:pt x="1233" y="1047"/>
                    <a:pt x="1233" y="659"/>
                    <a:pt x="1324" y="476"/>
                  </a:cubicBezTo>
                  <a:cubicBezTo>
                    <a:pt x="1199" y="147"/>
                    <a:pt x="976" y="1"/>
                    <a:pt x="72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" name="Google Shape;1107;p19"/>
            <p:cNvSpPr/>
            <p:nvPr/>
          </p:nvSpPr>
          <p:spPr>
            <a:xfrm>
              <a:off x="6998214" y="4918613"/>
              <a:ext cx="25720" cy="27407"/>
            </a:xfrm>
            <a:custGeom>
              <a:avLst/>
              <a:gdLst/>
              <a:ahLst/>
              <a:cxnLst/>
              <a:rect l="l" t="t" r="r" b="b"/>
              <a:pathLst>
                <a:path w="1233" h="1314" extrusionOk="0">
                  <a:moveTo>
                    <a:pt x="617" y="1"/>
                  </a:moveTo>
                  <a:cubicBezTo>
                    <a:pt x="255" y="1"/>
                    <a:pt x="0" y="194"/>
                    <a:pt x="0" y="594"/>
                  </a:cubicBezTo>
                  <a:cubicBezTo>
                    <a:pt x="0" y="777"/>
                    <a:pt x="183" y="1256"/>
                    <a:pt x="366" y="1256"/>
                  </a:cubicBezTo>
                  <a:cubicBezTo>
                    <a:pt x="448" y="1295"/>
                    <a:pt x="530" y="1313"/>
                    <a:pt x="610" y="1313"/>
                  </a:cubicBezTo>
                  <a:cubicBezTo>
                    <a:pt x="905" y="1313"/>
                    <a:pt x="1161" y="1063"/>
                    <a:pt x="1233" y="686"/>
                  </a:cubicBezTo>
                  <a:cubicBezTo>
                    <a:pt x="1142" y="503"/>
                    <a:pt x="1050" y="115"/>
                    <a:pt x="845" y="24"/>
                  </a:cubicBezTo>
                  <a:cubicBezTo>
                    <a:pt x="766" y="9"/>
                    <a:pt x="689" y="1"/>
                    <a:pt x="61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" name="Google Shape;1108;p19"/>
            <p:cNvSpPr/>
            <p:nvPr/>
          </p:nvSpPr>
          <p:spPr>
            <a:xfrm>
              <a:off x="7182470" y="4920490"/>
              <a:ext cx="31937" cy="26239"/>
            </a:xfrm>
            <a:custGeom>
              <a:avLst/>
              <a:gdLst/>
              <a:ahLst/>
              <a:cxnLst/>
              <a:rect l="l" t="t" r="r" b="b"/>
              <a:pathLst>
                <a:path w="1531" h="1258" extrusionOk="0">
                  <a:moveTo>
                    <a:pt x="651" y="1"/>
                  </a:moveTo>
                  <a:cubicBezTo>
                    <a:pt x="447" y="1"/>
                    <a:pt x="185" y="154"/>
                    <a:pt x="92" y="322"/>
                  </a:cubicBezTo>
                  <a:cubicBezTo>
                    <a:pt x="1" y="778"/>
                    <a:pt x="206" y="1166"/>
                    <a:pt x="663" y="1258"/>
                  </a:cubicBezTo>
                  <a:cubicBezTo>
                    <a:pt x="959" y="1166"/>
                    <a:pt x="1348" y="1075"/>
                    <a:pt x="1348" y="892"/>
                  </a:cubicBezTo>
                  <a:cubicBezTo>
                    <a:pt x="1530" y="413"/>
                    <a:pt x="1233" y="25"/>
                    <a:pt x="777" y="25"/>
                  </a:cubicBezTo>
                  <a:cubicBezTo>
                    <a:pt x="740" y="8"/>
                    <a:pt x="697" y="1"/>
                    <a:pt x="65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" name="Google Shape;1109;p19"/>
            <p:cNvSpPr/>
            <p:nvPr/>
          </p:nvSpPr>
          <p:spPr>
            <a:xfrm>
              <a:off x="7372922" y="4918613"/>
              <a:ext cx="25741" cy="27407"/>
            </a:xfrm>
            <a:custGeom>
              <a:avLst/>
              <a:gdLst/>
              <a:ahLst/>
              <a:cxnLst/>
              <a:rect l="l" t="t" r="r" b="b"/>
              <a:pathLst>
                <a:path w="1234" h="1314" extrusionOk="0">
                  <a:moveTo>
                    <a:pt x="671" y="1"/>
                  </a:moveTo>
                  <a:cubicBezTo>
                    <a:pt x="335" y="1"/>
                    <a:pt x="1" y="194"/>
                    <a:pt x="1" y="594"/>
                  </a:cubicBezTo>
                  <a:cubicBezTo>
                    <a:pt x="1" y="777"/>
                    <a:pt x="206" y="1256"/>
                    <a:pt x="389" y="1256"/>
                  </a:cubicBezTo>
                  <a:cubicBezTo>
                    <a:pt x="471" y="1295"/>
                    <a:pt x="553" y="1313"/>
                    <a:pt x="631" y="1313"/>
                  </a:cubicBezTo>
                  <a:cubicBezTo>
                    <a:pt x="920" y="1313"/>
                    <a:pt x="1162" y="1063"/>
                    <a:pt x="1234" y="686"/>
                  </a:cubicBezTo>
                  <a:cubicBezTo>
                    <a:pt x="1142" y="503"/>
                    <a:pt x="1051" y="115"/>
                    <a:pt x="868" y="24"/>
                  </a:cubicBezTo>
                  <a:cubicBezTo>
                    <a:pt x="804" y="9"/>
                    <a:pt x="737" y="1"/>
                    <a:pt x="67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" name="Google Shape;1110;p19"/>
            <p:cNvSpPr/>
            <p:nvPr/>
          </p:nvSpPr>
          <p:spPr>
            <a:xfrm>
              <a:off x="7559578" y="4918613"/>
              <a:ext cx="27640" cy="27407"/>
            </a:xfrm>
            <a:custGeom>
              <a:avLst/>
              <a:gdLst/>
              <a:ahLst/>
              <a:cxnLst/>
              <a:rect l="l" t="t" r="r" b="b"/>
              <a:pathLst>
                <a:path w="1325" h="1314" extrusionOk="0">
                  <a:moveTo>
                    <a:pt x="730" y="1"/>
                  </a:moveTo>
                  <a:cubicBezTo>
                    <a:pt x="359" y="1"/>
                    <a:pt x="77" y="194"/>
                    <a:pt x="0" y="594"/>
                  </a:cubicBezTo>
                  <a:cubicBezTo>
                    <a:pt x="0" y="777"/>
                    <a:pt x="183" y="1256"/>
                    <a:pt x="388" y="1256"/>
                  </a:cubicBezTo>
                  <a:cubicBezTo>
                    <a:pt x="485" y="1295"/>
                    <a:pt x="575" y="1313"/>
                    <a:pt x="658" y="1313"/>
                  </a:cubicBezTo>
                  <a:cubicBezTo>
                    <a:pt x="966" y="1313"/>
                    <a:pt x="1181" y="1063"/>
                    <a:pt x="1324" y="686"/>
                  </a:cubicBezTo>
                  <a:cubicBezTo>
                    <a:pt x="1233" y="503"/>
                    <a:pt x="1142" y="115"/>
                    <a:pt x="959" y="24"/>
                  </a:cubicBezTo>
                  <a:cubicBezTo>
                    <a:pt x="880" y="9"/>
                    <a:pt x="803" y="1"/>
                    <a:pt x="73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" name="Google Shape;1111;p19"/>
            <p:cNvSpPr/>
            <p:nvPr/>
          </p:nvSpPr>
          <p:spPr>
            <a:xfrm>
              <a:off x="7748131" y="4918634"/>
              <a:ext cx="25720" cy="27386"/>
            </a:xfrm>
            <a:custGeom>
              <a:avLst/>
              <a:gdLst/>
              <a:ahLst/>
              <a:cxnLst/>
              <a:rect l="l" t="t" r="r" b="b"/>
              <a:pathLst>
                <a:path w="1233" h="1313" extrusionOk="0">
                  <a:moveTo>
                    <a:pt x="552" y="0"/>
                  </a:moveTo>
                  <a:cubicBezTo>
                    <a:pt x="491" y="0"/>
                    <a:pt x="428" y="8"/>
                    <a:pt x="365" y="23"/>
                  </a:cubicBezTo>
                  <a:cubicBezTo>
                    <a:pt x="183" y="114"/>
                    <a:pt x="0" y="502"/>
                    <a:pt x="0" y="685"/>
                  </a:cubicBezTo>
                  <a:cubicBezTo>
                    <a:pt x="0" y="1062"/>
                    <a:pt x="227" y="1312"/>
                    <a:pt x="557" y="1312"/>
                  </a:cubicBezTo>
                  <a:cubicBezTo>
                    <a:pt x="646" y="1312"/>
                    <a:pt x="743" y="1294"/>
                    <a:pt x="845" y="1255"/>
                  </a:cubicBezTo>
                  <a:cubicBezTo>
                    <a:pt x="1050" y="1255"/>
                    <a:pt x="1142" y="867"/>
                    <a:pt x="1233" y="685"/>
                  </a:cubicBezTo>
                  <a:cubicBezTo>
                    <a:pt x="1156" y="206"/>
                    <a:pt x="871" y="0"/>
                    <a:pt x="55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" name="Google Shape;1112;p19"/>
            <p:cNvSpPr/>
            <p:nvPr/>
          </p:nvSpPr>
          <p:spPr>
            <a:xfrm>
              <a:off x="5024149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27" y="0"/>
                  </a:moveTo>
                  <a:cubicBezTo>
                    <a:pt x="872" y="0"/>
                    <a:pt x="815" y="6"/>
                    <a:pt x="754" y="17"/>
                  </a:cubicBezTo>
                  <a:cubicBezTo>
                    <a:pt x="571" y="17"/>
                    <a:pt x="183" y="200"/>
                    <a:pt x="92" y="383"/>
                  </a:cubicBezTo>
                  <a:cubicBezTo>
                    <a:pt x="1" y="771"/>
                    <a:pt x="183" y="1250"/>
                    <a:pt x="571" y="1341"/>
                  </a:cubicBezTo>
                  <a:cubicBezTo>
                    <a:pt x="676" y="1375"/>
                    <a:pt x="767" y="1390"/>
                    <a:pt x="848" y="1390"/>
                  </a:cubicBezTo>
                  <a:cubicBezTo>
                    <a:pt x="1209" y="1390"/>
                    <a:pt x="1362" y="1088"/>
                    <a:pt x="1530" y="771"/>
                  </a:cubicBezTo>
                  <a:cubicBezTo>
                    <a:pt x="1530" y="272"/>
                    <a:pt x="1304" y="0"/>
                    <a:pt x="92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" name="Google Shape;1113;p19"/>
            <p:cNvSpPr/>
            <p:nvPr/>
          </p:nvSpPr>
          <p:spPr>
            <a:xfrm>
              <a:off x="5212953" y="5012034"/>
              <a:ext cx="33585" cy="29451"/>
            </a:xfrm>
            <a:custGeom>
              <a:avLst/>
              <a:gdLst/>
              <a:ahLst/>
              <a:cxnLst/>
              <a:rect l="l" t="t" r="r" b="b"/>
              <a:pathLst>
                <a:path w="1610" h="1412" extrusionOk="0">
                  <a:moveTo>
                    <a:pt x="628" y="1"/>
                  </a:moveTo>
                  <a:cubicBezTo>
                    <a:pt x="198" y="1"/>
                    <a:pt x="0" y="263"/>
                    <a:pt x="80" y="680"/>
                  </a:cubicBezTo>
                  <a:cubicBezTo>
                    <a:pt x="80" y="954"/>
                    <a:pt x="262" y="1342"/>
                    <a:pt x="468" y="1342"/>
                  </a:cubicBezTo>
                  <a:cubicBezTo>
                    <a:pt x="561" y="1389"/>
                    <a:pt x="662" y="1412"/>
                    <a:pt x="763" y="1412"/>
                  </a:cubicBezTo>
                  <a:cubicBezTo>
                    <a:pt x="1053" y="1412"/>
                    <a:pt x="1336" y="1219"/>
                    <a:pt x="1404" y="863"/>
                  </a:cubicBezTo>
                  <a:cubicBezTo>
                    <a:pt x="1609" y="384"/>
                    <a:pt x="1221" y="110"/>
                    <a:pt x="833" y="18"/>
                  </a:cubicBezTo>
                  <a:cubicBezTo>
                    <a:pt x="760" y="7"/>
                    <a:pt x="691" y="1"/>
                    <a:pt x="62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" name="Google Shape;1114;p19"/>
            <p:cNvSpPr/>
            <p:nvPr/>
          </p:nvSpPr>
          <p:spPr>
            <a:xfrm>
              <a:off x="5398878" y="5011241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68" y="0"/>
                  </a:moveTo>
                  <a:cubicBezTo>
                    <a:pt x="886" y="0"/>
                    <a:pt x="792" y="18"/>
                    <a:pt x="685" y="56"/>
                  </a:cubicBezTo>
                  <a:cubicBezTo>
                    <a:pt x="480" y="56"/>
                    <a:pt x="206" y="330"/>
                    <a:pt x="114" y="536"/>
                  </a:cubicBezTo>
                  <a:cubicBezTo>
                    <a:pt x="0" y="992"/>
                    <a:pt x="297" y="1380"/>
                    <a:pt x="776" y="1380"/>
                  </a:cubicBezTo>
                  <a:cubicBezTo>
                    <a:pt x="838" y="1392"/>
                    <a:pt x="896" y="1398"/>
                    <a:pt x="951" y="1398"/>
                  </a:cubicBezTo>
                  <a:cubicBezTo>
                    <a:pt x="1322" y="1398"/>
                    <a:pt x="1530" y="1136"/>
                    <a:pt x="1530" y="718"/>
                  </a:cubicBezTo>
                  <a:cubicBezTo>
                    <a:pt x="1455" y="329"/>
                    <a:pt x="1321" y="0"/>
                    <a:pt x="96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" name="Google Shape;1115;p19"/>
            <p:cNvSpPr/>
            <p:nvPr/>
          </p:nvSpPr>
          <p:spPr>
            <a:xfrm>
              <a:off x="5585512" y="5012409"/>
              <a:ext cx="35733" cy="28846"/>
            </a:xfrm>
            <a:custGeom>
              <a:avLst/>
              <a:gdLst/>
              <a:ahLst/>
              <a:cxnLst/>
              <a:rect l="l" t="t" r="r" b="b"/>
              <a:pathLst>
                <a:path w="1713" h="1383" extrusionOk="0">
                  <a:moveTo>
                    <a:pt x="959" y="0"/>
                  </a:moveTo>
                  <a:cubicBezTo>
                    <a:pt x="663" y="0"/>
                    <a:pt x="297" y="183"/>
                    <a:pt x="297" y="366"/>
                  </a:cubicBezTo>
                  <a:cubicBezTo>
                    <a:pt x="1" y="754"/>
                    <a:pt x="183" y="1233"/>
                    <a:pt x="663" y="1324"/>
                  </a:cubicBezTo>
                  <a:cubicBezTo>
                    <a:pt x="747" y="1364"/>
                    <a:pt x="832" y="1382"/>
                    <a:pt x="914" y="1382"/>
                  </a:cubicBezTo>
                  <a:cubicBezTo>
                    <a:pt x="1210" y="1382"/>
                    <a:pt x="1478" y="1148"/>
                    <a:pt x="1621" y="845"/>
                  </a:cubicBezTo>
                  <a:cubicBezTo>
                    <a:pt x="1713" y="274"/>
                    <a:pt x="1325" y="0"/>
                    <a:pt x="95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" name="Google Shape;1116;p19"/>
            <p:cNvSpPr/>
            <p:nvPr/>
          </p:nvSpPr>
          <p:spPr>
            <a:xfrm>
              <a:off x="5774066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27" y="0"/>
                  </a:moveTo>
                  <a:cubicBezTo>
                    <a:pt x="872" y="0"/>
                    <a:pt x="814" y="6"/>
                    <a:pt x="754" y="17"/>
                  </a:cubicBezTo>
                  <a:cubicBezTo>
                    <a:pt x="571" y="17"/>
                    <a:pt x="183" y="200"/>
                    <a:pt x="92" y="383"/>
                  </a:cubicBezTo>
                  <a:cubicBezTo>
                    <a:pt x="1" y="771"/>
                    <a:pt x="183" y="1250"/>
                    <a:pt x="662" y="1341"/>
                  </a:cubicBezTo>
                  <a:cubicBezTo>
                    <a:pt x="750" y="1375"/>
                    <a:pt x="831" y="1390"/>
                    <a:pt x="905" y="1390"/>
                  </a:cubicBezTo>
                  <a:cubicBezTo>
                    <a:pt x="1237" y="1390"/>
                    <a:pt x="1437" y="1088"/>
                    <a:pt x="1530" y="771"/>
                  </a:cubicBezTo>
                  <a:cubicBezTo>
                    <a:pt x="1530" y="272"/>
                    <a:pt x="1303" y="0"/>
                    <a:pt x="92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" name="Google Shape;1117;p19"/>
            <p:cNvSpPr/>
            <p:nvPr/>
          </p:nvSpPr>
          <p:spPr>
            <a:xfrm>
              <a:off x="5960721" y="5011241"/>
              <a:ext cx="33334" cy="29159"/>
            </a:xfrm>
            <a:custGeom>
              <a:avLst/>
              <a:gdLst/>
              <a:ahLst/>
              <a:cxnLst/>
              <a:rect l="l" t="t" r="r" b="b"/>
              <a:pathLst>
                <a:path w="1598" h="1398" extrusionOk="0">
                  <a:moveTo>
                    <a:pt x="1036" y="0"/>
                  </a:moveTo>
                  <a:cubicBezTo>
                    <a:pt x="954" y="0"/>
                    <a:pt x="861" y="18"/>
                    <a:pt x="753" y="56"/>
                  </a:cubicBezTo>
                  <a:cubicBezTo>
                    <a:pt x="571" y="56"/>
                    <a:pt x="274" y="330"/>
                    <a:pt x="183" y="536"/>
                  </a:cubicBezTo>
                  <a:cubicBezTo>
                    <a:pt x="0" y="992"/>
                    <a:pt x="365" y="1380"/>
                    <a:pt x="753" y="1380"/>
                  </a:cubicBezTo>
                  <a:cubicBezTo>
                    <a:pt x="827" y="1392"/>
                    <a:pt x="894" y="1398"/>
                    <a:pt x="955" y="1398"/>
                  </a:cubicBezTo>
                  <a:cubicBezTo>
                    <a:pt x="1369" y="1398"/>
                    <a:pt x="1518" y="1136"/>
                    <a:pt x="1598" y="718"/>
                  </a:cubicBezTo>
                  <a:cubicBezTo>
                    <a:pt x="1524" y="329"/>
                    <a:pt x="1389" y="0"/>
                    <a:pt x="103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" name="Google Shape;1118;p19"/>
            <p:cNvSpPr/>
            <p:nvPr/>
          </p:nvSpPr>
          <p:spPr>
            <a:xfrm>
              <a:off x="6148795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48" y="0"/>
                  </a:moveTo>
                  <a:cubicBezTo>
                    <a:pt x="894" y="0"/>
                    <a:pt x="837" y="6"/>
                    <a:pt x="776" y="17"/>
                  </a:cubicBezTo>
                  <a:cubicBezTo>
                    <a:pt x="571" y="17"/>
                    <a:pt x="206" y="200"/>
                    <a:pt x="114" y="383"/>
                  </a:cubicBezTo>
                  <a:cubicBezTo>
                    <a:pt x="0" y="771"/>
                    <a:pt x="206" y="1250"/>
                    <a:pt x="685" y="1341"/>
                  </a:cubicBezTo>
                  <a:cubicBezTo>
                    <a:pt x="768" y="1375"/>
                    <a:pt x="846" y="1390"/>
                    <a:pt x="919" y="1390"/>
                  </a:cubicBezTo>
                  <a:cubicBezTo>
                    <a:pt x="1243" y="1390"/>
                    <a:pt x="1455" y="1088"/>
                    <a:pt x="1529" y="771"/>
                  </a:cubicBezTo>
                  <a:cubicBezTo>
                    <a:pt x="1529" y="272"/>
                    <a:pt x="1320" y="0"/>
                    <a:pt x="94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" name="Google Shape;1119;p19"/>
            <p:cNvSpPr/>
            <p:nvPr/>
          </p:nvSpPr>
          <p:spPr>
            <a:xfrm>
              <a:off x="6335429" y="5011241"/>
              <a:ext cx="33835" cy="29159"/>
            </a:xfrm>
            <a:custGeom>
              <a:avLst/>
              <a:gdLst/>
              <a:ahLst/>
              <a:cxnLst/>
              <a:rect l="l" t="t" r="r" b="b"/>
              <a:pathLst>
                <a:path w="1622" h="1398" extrusionOk="0">
                  <a:moveTo>
                    <a:pt x="1039" y="0"/>
                  </a:moveTo>
                  <a:cubicBezTo>
                    <a:pt x="956" y="0"/>
                    <a:pt x="861" y="18"/>
                    <a:pt x="754" y="56"/>
                  </a:cubicBezTo>
                  <a:cubicBezTo>
                    <a:pt x="571" y="56"/>
                    <a:pt x="297" y="330"/>
                    <a:pt x="183" y="536"/>
                  </a:cubicBezTo>
                  <a:cubicBezTo>
                    <a:pt x="1" y="992"/>
                    <a:pt x="389" y="1380"/>
                    <a:pt x="868" y="1380"/>
                  </a:cubicBezTo>
                  <a:cubicBezTo>
                    <a:pt x="927" y="1392"/>
                    <a:pt x="981" y="1398"/>
                    <a:pt x="1032" y="1398"/>
                  </a:cubicBezTo>
                  <a:cubicBezTo>
                    <a:pt x="1375" y="1398"/>
                    <a:pt x="1542" y="1136"/>
                    <a:pt x="1621" y="718"/>
                  </a:cubicBezTo>
                  <a:cubicBezTo>
                    <a:pt x="1547" y="329"/>
                    <a:pt x="1398" y="0"/>
                    <a:pt x="103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" name="Google Shape;1120;p19"/>
            <p:cNvSpPr/>
            <p:nvPr/>
          </p:nvSpPr>
          <p:spPr>
            <a:xfrm>
              <a:off x="6523983" y="5011241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94" y="0"/>
                  </a:moveTo>
                  <a:cubicBezTo>
                    <a:pt x="923" y="0"/>
                    <a:pt x="844" y="18"/>
                    <a:pt x="754" y="56"/>
                  </a:cubicBezTo>
                  <a:cubicBezTo>
                    <a:pt x="480" y="56"/>
                    <a:pt x="183" y="330"/>
                    <a:pt x="183" y="536"/>
                  </a:cubicBezTo>
                  <a:cubicBezTo>
                    <a:pt x="0" y="992"/>
                    <a:pt x="274" y="1380"/>
                    <a:pt x="754" y="1380"/>
                  </a:cubicBezTo>
                  <a:cubicBezTo>
                    <a:pt x="815" y="1392"/>
                    <a:pt x="874" y="1398"/>
                    <a:pt x="929" y="1398"/>
                  </a:cubicBezTo>
                  <a:cubicBezTo>
                    <a:pt x="1304" y="1398"/>
                    <a:pt x="1530" y="1136"/>
                    <a:pt x="1530" y="718"/>
                  </a:cubicBezTo>
                  <a:cubicBezTo>
                    <a:pt x="1437" y="329"/>
                    <a:pt x="1299" y="0"/>
                    <a:pt x="99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" name="Google Shape;1121;p19"/>
            <p:cNvSpPr/>
            <p:nvPr/>
          </p:nvSpPr>
          <p:spPr>
            <a:xfrm>
              <a:off x="6712536" y="5011012"/>
              <a:ext cx="33814" cy="29034"/>
            </a:xfrm>
            <a:custGeom>
              <a:avLst/>
              <a:gdLst/>
              <a:ahLst/>
              <a:cxnLst/>
              <a:rect l="l" t="t" r="r" b="b"/>
              <a:pathLst>
                <a:path w="1621" h="1392" extrusionOk="0">
                  <a:moveTo>
                    <a:pt x="819" y="0"/>
                  </a:moveTo>
                  <a:cubicBezTo>
                    <a:pt x="737" y="0"/>
                    <a:pt x="653" y="21"/>
                    <a:pt x="571" y="67"/>
                  </a:cubicBezTo>
                  <a:cubicBezTo>
                    <a:pt x="92" y="159"/>
                    <a:pt x="0" y="638"/>
                    <a:pt x="183" y="1117"/>
                  </a:cubicBezTo>
                  <a:cubicBezTo>
                    <a:pt x="274" y="1300"/>
                    <a:pt x="662" y="1391"/>
                    <a:pt x="845" y="1391"/>
                  </a:cubicBezTo>
                  <a:cubicBezTo>
                    <a:pt x="1324" y="1391"/>
                    <a:pt x="1621" y="1117"/>
                    <a:pt x="1507" y="547"/>
                  </a:cubicBezTo>
                  <a:cubicBezTo>
                    <a:pt x="1365" y="246"/>
                    <a:pt x="1101" y="0"/>
                    <a:pt x="81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" name="Google Shape;1122;p19"/>
            <p:cNvSpPr/>
            <p:nvPr/>
          </p:nvSpPr>
          <p:spPr>
            <a:xfrm>
              <a:off x="6898691" y="5012034"/>
              <a:ext cx="31937" cy="29493"/>
            </a:xfrm>
            <a:custGeom>
              <a:avLst/>
              <a:gdLst/>
              <a:ahLst/>
              <a:cxnLst/>
              <a:rect l="l" t="t" r="r" b="b"/>
              <a:pathLst>
                <a:path w="1531" h="1414" extrusionOk="0">
                  <a:moveTo>
                    <a:pt x="857" y="1"/>
                  </a:moveTo>
                  <a:cubicBezTo>
                    <a:pt x="802" y="1"/>
                    <a:pt x="745" y="6"/>
                    <a:pt x="686" y="18"/>
                  </a:cubicBezTo>
                  <a:cubicBezTo>
                    <a:pt x="206" y="201"/>
                    <a:pt x="1" y="589"/>
                    <a:pt x="115" y="954"/>
                  </a:cubicBezTo>
                  <a:cubicBezTo>
                    <a:pt x="249" y="1239"/>
                    <a:pt x="543" y="1413"/>
                    <a:pt x="835" y="1413"/>
                  </a:cubicBezTo>
                  <a:cubicBezTo>
                    <a:pt x="940" y="1413"/>
                    <a:pt x="1045" y="1391"/>
                    <a:pt x="1142" y="1342"/>
                  </a:cubicBezTo>
                  <a:cubicBezTo>
                    <a:pt x="1348" y="1160"/>
                    <a:pt x="1530" y="863"/>
                    <a:pt x="1530" y="589"/>
                  </a:cubicBezTo>
                  <a:cubicBezTo>
                    <a:pt x="1451" y="252"/>
                    <a:pt x="1216" y="1"/>
                    <a:pt x="85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" name="Google Shape;1123;p19"/>
            <p:cNvSpPr/>
            <p:nvPr/>
          </p:nvSpPr>
          <p:spPr>
            <a:xfrm>
              <a:off x="7085346" y="5012034"/>
              <a:ext cx="33835" cy="29493"/>
            </a:xfrm>
            <a:custGeom>
              <a:avLst/>
              <a:gdLst/>
              <a:ahLst/>
              <a:cxnLst/>
              <a:rect l="l" t="t" r="r" b="b"/>
              <a:pathLst>
                <a:path w="1622" h="1414" extrusionOk="0">
                  <a:moveTo>
                    <a:pt x="872" y="1"/>
                  </a:moveTo>
                  <a:cubicBezTo>
                    <a:pt x="807" y="1"/>
                    <a:pt x="737" y="6"/>
                    <a:pt x="662" y="18"/>
                  </a:cubicBezTo>
                  <a:cubicBezTo>
                    <a:pt x="297" y="201"/>
                    <a:pt x="0" y="589"/>
                    <a:pt x="183" y="954"/>
                  </a:cubicBezTo>
                  <a:cubicBezTo>
                    <a:pt x="334" y="1239"/>
                    <a:pt x="633" y="1413"/>
                    <a:pt x="925" y="1413"/>
                  </a:cubicBezTo>
                  <a:cubicBezTo>
                    <a:pt x="1031" y="1413"/>
                    <a:pt x="1136" y="1391"/>
                    <a:pt x="1233" y="1342"/>
                  </a:cubicBezTo>
                  <a:cubicBezTo>
                    <a:pt x="1438" y="1160"/>
                    <a:pt x="1621" y="863"/>
                    <a:pt x="1530" y="589"/>
                  </a:cubicBezTo>
                  <a:cubicBezTo>
                    <a:pt x="1530" y="252"/>
                    <a:pt x="1306" y="1"/>
                    <a:pt x="87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" name="Google Shape;1124;p19"/>
            <p:cNvSpPr/>
            <p:nvPr/>
          </p:nvSpPr>
          <p:spPr>
            <a:xfrm>
              <a:off x="7273900" y="5012054"/>
              <a:ext cx="33585" cy="28992"/>
            </a:xfrm>
            <a:custGeom>
              <a:avLst/>
              <a:gdLst/>
              <a:ahLst/>
              <a:cxnLst/>
              <a:rect l="l" t="t" r="r" b="b"/>
              <a:pathLst>
                <a:path w="1610" h="1390" extrusionOk="0">
                  <a:moveTo>
                    <a:pt x="1018" y="0"/>
                  </a:moveTo>
                  <a:cubicBezTo>
                    <a:pt x="963" y="0"/>
                    <a:pt x="905" y="6"/>
                    <a:pt x="845" y="17"/>
                  </a:cubicBezTo>
                  <a:cubicBezTo>
                    <a:pt x="571" y="17"/>
                    <a:pt x="183" y="200"/>
                    <a:pt x="183" y="383"/>
                  </a:cubicBezTo>
                  <a:cubicBezTo>
                    <a:pt x="0" y="771"/>
                    <a:pt x="183" y="1250"/>
                    <a:pt x="662" y="1341"/>
                  </a:cubicBezTo>
                  <a:cubicBezTo>
                    <a:pt x="750" y="1375"/>
                    <a:pt x="830" y="1390"/>
                    <a:pt x="905" y="1390"/>
                  </a:cubicBezTo>
                  <a:cubicBezTo>
                    <a:pt x="1236" y="1390"/>
                    <a:pt x="1436" y="1088"/>
                    <a:pt x="1530" y="771"/>
                  </a:cubicBezTo>
                  <a:cubicBezTo>
                    <a:pt x="1609" y="272"/>
                    <a:pt x="1393" y="0"/>
                    <a:pt x="10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" name="Google Shape;1125;p19"/>
            <p:cNvSpPr/>
            <p:nvPr/>
          </p:nvSpPr>
          <p:spPr>
            <a:xfrm>
              <a:off x="7462453" y="5011241"/>
              <a:ext cx="31436" cy="29159"/>
            </a:xfrm>
            <a:custGeom>
              <a:avLst/>
              <a:gdLst/>
              <a:ahLst/>
              <a:cxnLst/>
              <a:rect l="l" t="t" r="r" b="b"/>
              <a:pathLst>
                <a:path w="1507" h="1398" extrusionOk="0">
                  <a:moveTo>
                    <a:pt x="945" y="0"/>
                  </a:moveTo>
                  <a:cubicBezTo>
                    <a:pt x="863" y="0"/>
                    <a:pt x="769" y="18"/>
                    <a:pt x="662" y="56"/>
                  </a:cubicBezTo>
                  <a:cubicBezTo>
                    <a:pt x="479" y="56"/>
                    <a:pt x="183" y="330"/>
                    <a:pt x="91" y="536"/>
                  </a:cubicBezTo>
                  <a:cubicBezTo>
                    <a:pt x="0" y="992"/>
                    <a:pt x="274" y="1380"/>
                    <a:pt x="753" y="1380"/>
                  </a:cubicBezTo>
                  <a:cubicBezTo>
                    <a:pt x="815" y="1392"/>
                    <a:pt x="873" y="1398"/>
                    <a:pt x="928" y="1398"/>
                  </a:cubicBezTo>
                  <a:cubicBezTo>
                    <a:pt x="1299" y="1398"/>
                    <a:pt x="1507" y="1136"/>
                    <a:pt x="1507" y="718"/>
                  </a:cubicBezTo>
                  <a:cubicBezTo>
                    <a:pt x="1432" y="329"/>
                    <a:pt x="1298" y="0"/>
                    <a:pt x="945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" name="Google Shape;1126;p19"/>
            <p:cNvSpPr/>
            <p:nvPr/>
          </p:nvSpPr>
          <p:spPr>
            <a:xfrm>
              <a:off x="7648608" y="5011012"/>
              <a:ext cx="33835" cy="29034"/>
            </a:xfrm>
            <a:custGeom>
              <a:avLst/>
              <a:gdLst/>
              <a:ahLst/>
              <a:cxnLst/>
              <a:rect l="l" t="t" r="r" b="b"/>
              <a:pathLst>
                <a:path w="1622" h="1392" extrusionOk="0">
                  <a:moveTo>
                    <a:pt x="880" y="0"/>
                  </a:moveTo>
                  <a:cubicBezTo>
                    <a:pt x="783" y="0"/>
                    <a:pt x="679" y="21"/>
                    <a:pt x="571" y="67"/>
                  </a:cubicBezTo>
                  <a:cubicBezTo>
                    <a:pt x="206" y="159"/>
                    <a:pt x="1" y="638"/>
                    <a:pt x="298" y="1117"/>
                  </a:cubicBezTo>
                  <a:cubicBezTo>
                    <a:pt x="389" y="1300"/>
                    <a:pt x="686" y="1391"/>
                    <a:pt x="959" y="1391"/>
                  </a:cubicBezTo>
                  <a:cubicBezTo>
                    <a:pt x="1347" y="1391"/>
                    <a:pt x="1621" y="1117"/>
                    <a:pt x="1621" y="547"/>
                  </a:cubicBezTo>
                  <a:cubicBezTo>
                    <a:pt x="1480" y="246"/>
                    <a:pt x="1215" y="0"/>
                    <a:pt x="88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27" name="Google Shape;1127;p19"/>
          <p:cNvSpPr/>
          <p:nvPr/>
        </p:nvSpPr>
        <p:spPr>
          <a:xfrm>
            <a:off x="607435" y="241279"/>
            <a:ext cx="246884" cy="246892"/>
          </a:xfrm>
          <a:custGeom>
            <a:avLst/>
            <a:gdLst/>
            <a:ahLst/>
            <a:cxnLst/>
            <a:rect l="l" t="t" r="r" b="b"/>
            <a:pathLst>
              <a:path w="3535" h="3536" extrusionOk="0">
                <a:moveTo>
                  <a:pt x="1763" y="0"/>
                </a:moveTo>
                <a:cubicBezTo>
                  <a:pt x="785" y="0"/>
                  <a:pt x="1" y="794"/>
                  <a:pt x="1" y="1772"/>
                </a:cubicBezTo>
                <a:cubicBezTo>
                  <a:pt x="1" y="2750"/>
                  <a:pt x="785" y="3536"/>
                  <a:pt x="1763" y="3536"/>
                </a:cubicBezTo>
                <a:cubicBezTo>
                  <a:pt x="2741" y="3536"/>
                  <a:pt x="3534" y="2750"/>
                  <a:pt x="3534" y="1772"/>
                </a:cubicBezTo>
                <a:cubicBezTo>
                  <a:pt x="3534" y="794"/>
                  <a:pt x="2741" y="0"/>
                  <a:pt x="1763" y="0"/>
                </a:cubicBezTo>
                <a:close/>
              </a:path>
            </a:pathLst>
          </a:custGeom>
          <a:solidFill>
            <a:srgbClr val="FFD65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8" name="Google Shape;1128;p19"/>
          <p:cNvSpPr/>
          <p:nvPr/>
        </p:nvSpPr>
        <p:spPr>
          <a:xfrm>
            <a:off x="720010" y="241279"/>
            <a:ext cx="535741" cy="149440"/>
          </a:xfrm>
          <a:custGeom>
            <a:avLst/>
            <a:gdLst/>
            <a:ahLst/>
            <a:cxnLst/>
            <a:rect l="l" t="t" r="r" b="b"/>
            <a:pathLst>
              <a:path w="6833" h="1906" extrusionOk="0">
                <a:moveTo>
                  <a:pt x="3617" y="1"/>
                </a:moveTo>
                <a:cubicBezTo>
                  <a:pt x="2995" y="1"/>
                  <a:pt x="2490" y="518"/>
                  <a:pt x="2490" y="1164"/>
                </a:cubicBezTo>
                <a:lnTo>
                  <a:pt x="2490" y="1178"/>
                </a:lnTo>
                <a:cubicBezTo>
                  <a:pt x="2417" y="1157"/>
                  <a:pt x="2342" y="1134"/>
                  <a:pt x="2253" y="1134"/>
                </a:cubicBezTo>
                <a:cubicBezTo>
                  <a:pt x="2083" y="1134"/>
                  <a:pt x="1919" y="1201"/>
                  <a:pt x="1794" y="1304"/>
                </a:cubicBezTo>
                <a:cubicBezTo>
                  <a:pt x="1668" y="1141"/>
                  <a:pt x="1474" y="1030"/>
                  <a:pt x="1261" y="1030"/>
                </a:cubicBezTo>
                <a:cubicBezTo>
                  <a:pt x="950" y="1030"/>
                  <a:pt x="697" y="1246"/>
                  <a:pt x="608" y="1527"/>
                </a:cubicBezTo>
                <a:lnTo>
                  <a:pt x="557" y="1527"/>
                </a:lnTo>
                <a:cubicBezTo>
                  <a:pt x="311" y="1527"/>
                  <a:pt x="96" y="1683"/>
                  <a:pt x="0" y="1905"/>
                </a:cubicBezTo>
                <a:lnTo>
                  <a:pt x="6818" y="1905"/>
                </a:lnTo>
                <a:cubicBezTo>
                  <a:pt x="6825" y="1852"/>
                  <a:pt x="6833" y="1801"/>
                  <a:pt x="6833" y="1749"/>
                </a:cubicBezTo>
                <a:cubicBezTo>
                  <a:pt x="6833" y="1327"/>
                  <a:pt x="6498" y="986"/>
                  <a:pt x="6091" y="986"/>
                </a:cubicBezTo>
                <a:cubicBezTo>
                  <a:pt x="5876" y="986"/>
                  <a:pt x="5684" y="1075"/>
                  <a:pt x="5543" y="1230"/>
                </a:cubicBezTo>
                <a:cubicBezTo>
                  <a:pt x="5410" y="1075"/>
                  <a:pt x="5209" y="972"/>
                  <a:pt x="4987" y="972"/>
                </a:cubicBezTo>
                <a:cubicBezTo>
                  <a:pt x="4898" y="972"/>
                  <a:pt x="4809" y="993"/>
                  <a:pt x="4729" y="1023"/>
                </a:cubicBezTo>
                <a:cubicBezTo>
                  <a:pt x="4661" y="445"/>
                  <a:pt x="4195" y="1"/>
                  <a:pt x="3617" y="1"/>
                </a:cubicBezTo>
                <a:close/>
              </a:path>
            </a:pathLst>
          </a:custGeom>
          <a:solidFill>
            <a:srgbClr val="A1E1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3">
  <p:cSld name="CUSTOM_10">
    <p:spTree>
      <p:nvGrpSpPr>
        <p:cNvPr id="1" name="Shape 1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0" name="Google Shape;1130;p20"/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Paytone One"/>
                <a:ea typeface="Paytone One"/>
                <a:cs typeface="Paytone One"/>
                <a:sym typeface="Paytone On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1131" name="Google Shape;1131;p20"/>
          <p:cNvSpPr txBox="1">
            <a:spLocks noGrp="1"/>
          </p:cNvSpPr>
          <p:nvPr>
            <p:ph type="subTitle" idx="1"/>
          </p:nvPr>
        </p:nvSpPr>
        <p:spPr>
          <a:xfrm>
            <a:off x="5189623" y="1884525"/>
            <a:ext cx="3227700" cy="2643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●"/>
              <a:defRPr b="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○"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■"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●"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○"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■"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●"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○"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1132" name="Google Shape;1132;p20"/>
          <p:cNvSpPr txBox="1">
            <a:spLocks noGrp="1"/>
          </p:cNvSpPr>
          <p:nvPr>
            <p:ph type="subTitle" idx="2"/>
          </p:nvPr>
        </p:nvSpPr>
        <p:spPr>
          <a:xfrm>
            <a:off x="713225" y="1884525"/>
            <a:ext cx="4195800" cy="2643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●"/>
              <a:defRPr b="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○"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■"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●"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○"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■"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●"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○"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1133" name="Google Shape;1133;p20"/>
          <p:cNvSpPr txBox="1">
            <a:spLocks noGrp="1"/>
          </p:cNvSpPr>
          <p:nvPr>
            <p:ph type="subTitle" idx="3"/>
          </p:nvPr>
        </p:nvSpPr>
        <p:spPr>
          <a:xfrm>
            <a:off x="720000" y="977650"/>
            <a:ext cx="7710900" cy="358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Kumbh Sans Light"/>
              <a:buChar char="●"/>
              <a:defRPr>
                <a:latin typeface="Kumbh Sans"/>
                <a:ea typeface="Kumbh Sans"/>
                <a:cs typeface="Kumbh Sans"/>
                <a:sym typeface="Kumbh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76A28"/>
              </a:buClr>
              <a:buSzPts val="1400"/>
              <a:buFont typeface="Kumbh Sans Light"/>
              <a:buChar char="○"/>
              <a:defRPr sz="1200">
                <a:latin typeface="Kumbh Sans"/>
                <a:ea typeface="Kumbh Sans"/>
                <a:cs typeface="Kumbh Sans"/>
                <a:sym typeface="Kumbh Sans"/>
              </a:defRPr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E76A28"/>
              </a:buClr>
              <a:buSzPts val="1300"/>
              <a:buFont typeface="Kumbh Sans Light"/>
              <a:buChar char="■"/>
              <a:defRPr sz="1200">
                <a:latin typeface="Kumbh Sans"/>
                <a:ea typeface="Kumbh Sans"/>
                <a:cs typeface="Kumbh Sans"/>
                <a:sym typeface="Kumbh Sans"/>
              </a:defRPr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E76A28"/>
              </a:buClr>
              <a:buSzPts val="1300"/>
              <a:buFont typeface="Kumbh Sans Light"/>
              <a:buChar char="●"/>
              <a:defRPr sz="1200">
                <a:latin typeface="Kumbh Sans"/>
                <a:ea typeface="Kumbh Sans"/>
                <a:cs typeface="Kumbh Sans"/>
                <a:sym typeface="Kumbh Sans"/>
              </a:defRPr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E76A28"/>
              </a:buClr>
              <a:buSzPts val="1200"/>
              <a:buFont typeface="Kumbh Sans Light"/>
              <a:buChar char="○"/>
              <a:defRPr sz="1200">
                <a:latin typeface="Kumbh Sans"/>
                <a:ea typeface="Kumbh Sans"/>
                <a:cs typeface="Kumbh Sans"/>
                <a:sym typeface="Kumbh Sans"/>
              </a:defRPr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999999"/>
              </a:buClr>
              <a:buSzPts val="1200"/>
              <a:buFont typeface="Kumbh Sans Light"/>
              <a:buChar char="■"/>
              <a:defRPr sz="1200">
                <a:latin typeface="Kumbh Sans"/>
                <a:ea typeface="Kumbh Sans"/>
                <a:cs typeface="Kumbh Sans"/>
                <a:sym typeface="Kumbh Sans"/>
              </a:defRPr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999999"/>
              </a:buClr>
              <a:buSzPts val="1100"/>
              <a:buFont typeface="Kumbh Sans Light"/>
              <a:buChar char="●"/>
              <a:defRPr sz="1200">
                <a:latin typeface="Kumbh Sans"/>
                <a:ea typeface="Kumbh Sans"/>
                <a:cs typeface="Kumbh Sans"/>
                <a:sym typeface="Kumbh Sans"/>
              </a:defRPr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999999"/>
              </a:buClr>
              <a:buSzPts val="1100"/>
              <a:buFont typeface="Kumbh Sans Light"/>
              <a:buChar char="○"/>
              <a:defRPr sz="1200">
                <a:latin typeface="Kumbh Sans"/>
                <a:ea typeface="Kumbh Sans"/>
                <a:cs typeface="Kumbh Sans"/>
                <a:sym typeface="Kumbh Sans"/>
              </a:defRPr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>
                <a:srgbClr val="999999"/>
              </a:buClr>
              <a:buSzPts val="1200"/>
              <a:buFont typeface="Kumbh Sans Light"/>
              <a:buChar char="■"/>
              <a:defRPr sz="1200">
                <a:latin typeface="Kumbh Sans"/>
                <a:ea typeface="Kumbh Sans"/>
                <a:cs typeface="Kumbh Sans"/>
                <a:sym typeface="Kumbh Sans"/>
              </a:defRPr>
            </a:lvl9pPr>
          </a:lstStyle>
          <a:p>
            <a:endParaRPr/>
          </a:p>
        </p:txBody>
      </p:sp>
      <p:sp>
        <p:nvSpPr>
          <p:cNvPr id="1134" name="Google Shape;1134;p20"/>
          <p:cNvSpPr/>
          <p:nvPr/>
        </p:nvSpPr>
        <p:spPr>
          <a:xfrm>
            <a:off x="7691225" y="4938650"/>
            <a:ext cx="2030700" cy="461700"/>
          </a:xfrm>
          <a:prstGeom prst="round2DiagRect">
            <a:avLst>
              <a:gd name="adj1" fmla="val 16667"/>
              <a:gd name="adj2" fmla="val 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5" name="Google Shape;1135;p20"/>
          <p:cNvGrpSpPr/>
          <p:nvPr/>
        </p:nvGrpSpPr>
        <p:grpSpPr>
          <a:xfrm>
            <a:off x="4786599" y="4938638"/>
            <a:ext cx="2749703" cy="122913"/>
            <a:chOff x="5024149" y="4918613"/>
            <a:chExt cx="2749703" cy="122913"/>
          </a:xfrm>
        </p:grpSpPr>
        <p:sp>
          <p:nvSpPr>
            <p:cNvPr id="1136" name="Google Shape;1136;p20"/>
            <p:cNvSpPr/>
            <p:nvPr/>
          </p:nvSpPr>
          <p:spPr>
            <a:xfrm>
              <a:off x="5121294" y="4919510"/>
              <a:ext cx="27619" cy="26802"/>
            </a:xfrm>
            <a:custGeom>
              <a:avLst/>
              <a:gdLst/>
              <a:ahLst/>
              <a:cxnLst/>
              <a:rect l="l" t="t" r="r" b="b"/>
              <a:pathLst>
                <a:path w="1324" h="1285" extrusionOk="0">
                  <a:moveTo>
                    <a:pt x="690" y="1"/>
                  </a:moveTo>
                  <a:cubicBezTo>
                    <a:pt x="379" y="1"/>
                    <a:pt x="134" y="175"/>
                    <a:pt x="0" y="460"/>
                  </a:cubicBezTo>
                  <a:cubicBezTo>
                    <a:pt x="0" y="643"/>
                    <a:pt x="183" y="1031"/>
                    <a:pt x="297" y="1213"/>
                  </a:cubicBezTo>
                  <a:cubicBezTo>
                    <a:pt x="418" y="1262"/>
                    <a:pt x="528" y="1284"/>
                    <a:pt x="629" y="1284"/>
                  </a:cubicBezTo>
                  <a:cubicBezTo>
                    <a:pt x="909" y="1284"/>
                    <a:pt x="1123" y="1110"/>
                    <a:pt x="1324" y="825"/>
                  </a:cubicBezTo>
                  <a:cubicBezTo>
                    <a:pt x="1233" y="551"/>
                    <a:pt x="1141" y="163"/>
                    <a:pt x="1050" y="72"/>
                  </a:cubicBezTo>
                  <a:cubicBezTo>
                    <a:pt x="923" y="24"/>
                    <a:pt x="802" y="1"/>
                    <a:pt x="69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" name="Google Shape;1137;p20"/>
            <p:cNvSpPr/>
            <p:nvPr/>
          </p:nvSpPr>
          <p:spPr>
            <a:xfrm>
              <a:off x="5307928" y="4919510"/>
              <a:ext cx="27639" cy="26802"/>
            </a:xfrm>
            <a:custGeom>
              <a:avLst/>
              <a:gdLst/>
              <a:ahLst/>
              <a:cxnLst/>
              <a:rect l="l" t="t" r="r" b="b"/>
              <a:pathLst>
                <a:path w="1325" h="1285" extrusionOk="0">
                  <a:moveTo>
                    <a:pt x="731" y="1"/>
                  </a:moveTo>
                  <a:cubicBezTo>
                    <a:pt x="435" y="1"/>
                    <a:pt x="159" y="175"/>
                    <a:pt x="92" y="460"/>
                  </a:cubicBezTo>
                  <a:cubicBezTo>
                    <a:pt x="1" y="643"/>
                    <a:pt x="183" y="1031"/>
                    <a:pt x="366" y="1213"/>
                  </a:cubicBezTo>
                  <a:cubicBezTo>
                    <a:pt x="469" y="1262"/>
                    <a:pt x="572" y="1284"/>
                    <a:pt x="671" y="1284"/>
                  </a:cubicBezTo>
                  <a:cubicBezTo>
                    <a:pt x="945" y="1284"/>
                    <a:pt x="1190" y="1110"/>
                    <a:pt x="1324" y="825"/>
                  </a:cubicBezTo>
                  <a:cubicBezTo>
                    <a:pt x="1233" y="551"/>
                    <a:pt x="1233" y="163"/>
                    <a:pt x="1051" y="72"/>
                  </a:cubicBezTo>
                  <a:cubicBezTo>
                    <a:pt x="948" y="24"/>
                    <a:pt x="838" y="1"/>
                    <a:pt x="73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" name="Google Shape;1138;p20"/>
            <p:cNvSpPr/>
            <p:nvPr/>
          </p:nvSpPr>
          <p:spPr>
            <a:xfrm>
              <a:off x="5496482" y="4919823"/>
              <a:ext cx="25720" cy="27365"/>
            </a:xfrm>
            <a:custGeom>
              <a:avLst/>
              <a:gdLst/>
              <a:ahLst/>
              <a:cxnLst/>
              <a:rect l="l" t="t" r="r" b="b"/>
              <a:pathLst>
                <a:path w="1233" h="1312" extrusionOk="0">
                  <a:moveTo>
                    <a:pt x="656" y="0"/>
                  </a:moveTo>
                  <a:cubicBezTo>
                    <a:pt x="565" y="0"/>
                    <a:pt x="467" y="18"/>
                    <a:pt x="366" y="57"/>
                  </a:cubicBezTo>
                  <a:cubicBezTo>
                    <a:pt x="183" y="57"/>
                    <a:pt x="92" y="445"/>
                    <a:pt x="0" y="628"/>
                  </a:cubicBezTo>
                  <a:cubicBezTo>
                    <a:pt x="77" y="1106"/>
                    <a:pt x="346" y="1312"/>
                    <a:pt x="660" y="1312"/>
                  </a:cubicBezTo>
                  <a:cubicBezTo>
                    <a:pt x="720" y="1312"/>
                    <a:pt x="782" y="1304"/>
                    <a:pt x="845" y="1290"/>
                  </a:cubicBezTo>
                  <a:cubicBezTo>
                    <a:pt x="1028" y="1198"/>
                    <a:pt x="1233" y="810"/>
                    <a:pt x="1233" y="628"/>
                  </a:cubicBezTo>
                  <a:cubicBezTo>
                    <a:pt x="1233" y="250"/>
                    <a:pt x="992" y="0"/>
                    <a:pt x="65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" name="Google Shape;1139;p20"/>
            <p:cNvSpPr/>
            <p:nvPr/>
          </p:nvSpPr>
          <p:spPr>
            <a:xfrm>
              <a:off x="5680738" y="4920490"/>
              <a:ext cx="33835" cy="26239"/>
            </a:xfrm>
            <a:custGeom>
              <a:avLst/>
              <a:gdLst/>
              <a:ahLst/>
              <a:cxnLst/>
              <a:rect l="l" t="t" r="r" b="b"/>
              <a:pathLst>
                <a:path w="1622" h="1258" extrusionOk="0">
                  <a:moveTo>
                    <a:pt x="743" y="1"/>
                  </a:moveTo>
                  <a:cubicBezTo>
                    <a:pt x="538" y="1"/>
                    <a:pt x="277" y="154"/>
                    <a:pt x="183" y="322"/>
                  </a:cubicBezTo>
                  <a:cubicBezTo>
                    <a:pt x="1" y="778"/>
                    <a:pt x="298" y="1166"/>
                    <a:pt x="754" y="1258"/>
                  </a:cubicBezTo>
                  <a:cubicBezTo>
                    <a:pt x="959" y="1166"/>
                    <a:pt x="1325" y="1075"/>
                    <a:pt x="1439" y="892"/>
                  </a:cubicBezTo>
                  <a:cubicBezTo>
                    <a:pt x="1621" y="413"/>
                    <a:pt x="1325" y="25"/>
                    <a:pt x="868" y="25"/>
                  </a:cubicBezTo>
                  <a:cubicBezTo>
                    <a:pt x="831" y="8"/>
                    <a:pt x="788" y="1"/>
                    <a:pt x="74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" name="Google Shape;1140;p20"/>
            <p:cNvSpPr/>
            <p:nvPr/>
          </p:nvSpPr>
          <p:spPr>
            <a:xfrm>
              <a:off x="5871190" y="4919823"/>
              <a:ext cx="27639" cy="27365"/>
            </a:xfrm>
            <a:custGeom>
              <a:avLst/>
              <a:gdLst/>
              <a:ahLst/>
              <a:cxnLst/>
              <a:rect l="l" t="t" r="r" b="b"/>
              <a:pathLst>
                <a:path w="1325" h="1312" extrusionOk="0">
                  <a:moveTo>
                    <a:pt x="677" y="0"/>
                  </a:moveTo>
                  <a:cubicBezTo>
                    <a:pt x="587" y="0"/>
                    <a:pt x="491" y="18"/>
                    <a:pt x="389" y="57"/>
                  </a:cubicBezTo>
                  <a:cubicBezTo>
                    <a:pt x="184" y="57"/>
                    <a:pt x="92" y="445"/>
                    <a:pt x="1" y="628"/>
                  </a:cubicBezTo>
                  <a:cubicBezTo>
                    <a:pt x="77" y="1106"/>
                    <a:pt x="363" y="1312"/>
                    <a:pt x="682" y="1312"/>
                  </a:cubicBezTo>
                  <a:cubicBezTo>
                    <a:pt x="743" y="1312"/>
                    <a:pt x="806" y="1304"/>
                    <a:pt x="868" y="1290"/>
                  </a:cubicBezTo>
                  <a:cubicBezTo>
                    <a:pt x="1051" y="1198"/>
                    <a:pt x="1325" y="810"/>
                    <a:pt x="1233" y="628"/>
                  </a:cubicBezTo>
                  <a:cubicBezTo>
                    <a:pt x="1233" y="250"/>
                    <a:pt x="1007" y="0"/>
                    <a:pt x="6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" name="Google Shape;1141;p20"/>
            <p:cNvSpPr/>
            <p:nvPr/>
          </p:nvSpPr>
          <p:spPr>
            <a:xfrm>
              <a:off x="6055947" y="4920490"/>
              <a:ext cx="33334" cy="26239"/>
            </a:xfrm>
            <a:custGeom>
              <a:avLst/>
              <a:gdLst/>
              <a:ahLst/>
              <a:cxnLst/>
              <a:rect l="l" t="t" r="r" b="b"/>
              <a:pathLst>
                <a:path w="1598" h="1258" extrusionOk="0">
                  <a:moveTo>
                    <a:pt x="728" y="1"/>
                  </a:moveTo>
                  <a:cubicBezTo>
                    <a:pt x="531" y="1"/>
                    <a:pt x="257" y="154"/>
                    <a:pt x="183" y="322"/>
                  </a:cubicBezTo>
                  <a:cubicBezTo>
                    <a:pt x="0" y="778"/>
                    <a:pt x="274" y="1166"/>
                    <a:pt x="753" y="1258"/>
                  </a:cubicBezTo>
                  <a:cubicBezTo>
                    <a:pt x="936" y="1166"/>
                    <a:pt x="1324" y="1075"/>
                    <a:pt x="1415" y="892"/>
                  </a:cubicBezTo>
                  <a:cubicBezTo>
                    <a:pt x="1598" y="413"/>
                    <a:pt x="1324" y="25"/>
                    <a:pt x="845" y="25"/>
                  </a:cubicBezTo>
                  <a:cubicBezTo>
                    <a:pt x="811" y="8"/>
                    <a:pt x="771" y="1"/>
                    <a:pt x="72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" name="Google Shape;1142;p20"/>
            <p:cNvSpPr/>
            <p:nvPr/>
          </p:nvSpPr>
          <p:spPr>
            <a:xfrm>
              <a:off x="6244021" y="4919093"/>
              <a:ext cx="31916" cy="27636"/>
            </a:xfrm>
            <a:custGeom>
              <a:avLst/>
              <a:gdLst/>
              <a:ahLst/>
              <a:cxnLst/>
              <a:rect l="l" t="t" r="r" b="b"/>
              <a:pathLst>
                <a:path w="1530" h="1325" extrusionOk="0">
                  <a:moveTo>
                    <a:pt x="571" y="1"/>
                  </a:moveTo>
                  <a:cubicBezTo>
                    <a:pt x="206" y="183"/>
                    <a:pt x="0" y="571"/>
                    <a:pt x="206" y="959"/>
                  </a:cubicBezTo>
                  <a:cubicBezTo>
                    <a:pt x="297" y="1142"/>
                    <a:pt x="685" y="1325"/>
                    <a:pt x="867" y="1325"/>
                  </a:cubicBezTo>
                  <a:cubicBezTo>
                    <a:pt x="1347" y="1142"/>
                    <a:pt x="1529" y="754"/>
                    <a:pt x="1256" y="389"/>
                  </a:cubicBezTo>
                  <a:cubicBezTo>
                    <a:pt x="1141" y="183"/>
                    <a:pt x="867" y="92"/>
                    <a:pt x="57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" name="Google Shape;1143;p20"/>
            <p:cNvSpPr/>
            <p:nvPr/>
          </p:nvSpPr>
          <p:spPr>
            <a:xfrm>
              <a:off x="6434473" y="4919823"/>
              <a:ext cx="26200" cy="27365"/>
            </a:xfrm>
            <a:custGeom>
              <a:avLst/>
              <a:gdLst/>
              <a:ahLst/>
              <a:cxnLst/>
              <a:rect l="l" t="t" r="r" b="b"/>
              <a:pathLst>
                <a:path w="1256" h="1312" extrusionOk="0">
                  <a:moveTo>
                    <a:pt x="679" y="0"/>
                  </a:moveTo>
                  <a:cubicBezTo>
                    <a:pt x="588" y="0"/>
                    <a:pt x="490" y="18"/>
                    <a:pt x="388" y="57"/>
                  </a:cubicBezTo>
                  <a:cubicBezTo>
                    <a:pt x="206" y="57"/>
                    <a:pt x="114" y="445"/>
                    <a:pt x="0" y="628"/>
                  </a:cubicBezTo>
                  <a:cubicBezTo>
                    <a:pt x="0" y="1106"/>
                    <a:pt x="273" y="1312"/>
                    <a:pt x="644" y="1312"/>
                  </a:cubicBezTo>
                  <a:cubicBezTo>
                    <a:pt x="715" y="1312"/>
                    <a:pt x="790" y="1304"/>
                    <a:pt x="868" y="1290"/>
                  </a:cubicBezTo>
                  <a:cubicBezTo>
                    <a:pt x="1050" y="1198"/>
                    <a:pt x="1256" y="810"/>
                    <a:pt x="1256" y="628"/>
                  </a:cubicBezTo>
                  <a:cubicBezTo>
                    <a:pt x="1256" y="250"/>
                    <a:pt x="1015" y="0"/>
                    <a:pt x="67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" name="Google Shape;1144;p20"/>
            <p:cNvSpPr/>
            <p:nvPr/>
          </p:nvSpPr>
          <p:spPr>
            <a:xfrm>
              <a:off x="6621107" y="4919176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02" y="1"/>
                  </a:moveTo>
                  <a:cubicBezTo>
                    <a:pt x="577" y="1"/>
                    <a:pt x="440" y="31"/>
                    <a:pt x="298" y="88"/>
                  </a:cubicBezTo>
                  <a:cubicBezTo>
                    <a:pt x="183" y="179"/>
                    <a:pt x="1" y="567"/>
                    <a:pt x="1" y="750"/>
                  </a:cubicBezTo>
                  <a:cubicBezTo>
                    <a:pt x="125" y="1077"/>
                    <a:pt x="346" y="1266"/>
                    <a:pt x="596" y="1266"/>
                  </a:cubicBezTo>
                  <a:cubicBezTo>
                    <a:pt x="713" y="1266"/>
                    <a:pt x="836" y="1225"/>
                    <a:pt x="959" y="1138"/>
                  </a:cubicBezTo>
                  <a:cubicBezTo>
                    <a:pt x="1142" y="1047"/>
                    <a:pt x="1233" y="659"/>
                    <a:pt x="1325" y="476"/>
                  </a:cubicBezTo>
                  <a:cubicBezTo>
                    <a:pt x="1199" y="147"/>
                    <a:pt x="977" y="1"/>
                    <a:pt x="70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" name="Google Shape;1145;p20"/>
            <p:cNvSpPr/>
            <p:nvPr/>
          </p:nvSpPr>
          <p:spPr>
            <a:xfrm>
              <a:off x="6807762" y="4919176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23" y="1"/>
                  </a:moveTo>
                  <a:cubicBezTo>
                    <a:pt x="608" y="1"/>
                    <a:pt x="487" y="31"/>
                    <a:pt x="366" y="88"/>
                  </a:cubicBezTo>
                  <a:cubicBezTo>
                    <a:pt x="183" y="179"/>
                    <a:pt x="0" y="567"/>
                    <a:pt x="92" y="750"/>
                  </a:cubicBezTo>
                  <a:cubicBezTo>
                    <a:pt x="154" y="1077"/>
                    <a:pt x="397" y="1266"/>
                    <a:pt x="668" y="1266"/>
                  </a:cubicBezTo>
                  <a:cubicBezTo>
                    <a:pt x="795" y="1266"/>
                    <a:pt x="927" y="1225"/>
                    <a:pt x="1050" y="1138"/>
                  </a:cubicBezTo>
                  <a:cubicBezTo>
                    <a:pt x="1233" y="1047"/>
                    <a:pt x="1233" y="659"/>
                    <a:pt x="1324" y="476"/>
                  </a:cubicBezTo>
                  <a:cubicBezTo>
                    <a:pt x="1199" y="147"/>
                    <a:pt x="976" y="1"/>
                    <a:pt x="72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" name="Google Shape;1146;p20"/>
            <p:cNvSpPr/>
            <p:nvPr/>
          </p:nvSpPr>
          <p:spPr>
            <a:xfrm>
              <a:off x="6998214" y="4918613"/>
              <a:ext cx="25720" cy="27407"/>
            </a:xfrm>
            <a:custGeom>
              <a:avLst/>
              <a:gdLst/>
              <a:ahLst/>
              <a:cxnLst/>
              <a:rect l="l" t="t" r="r" b="b"/>
              <a:pathLst>
                <a:path w="1233" h="1314" extrusionOk="0">
                  <a:moveTo>
                    <a:pt x="617" y="1"/>
                  </a:moveTo>
                  <a:cubicBezTo>
                    <a:pt x="255" y="1"/>
                    <a:pt x="0" y="194"/>
                    <a:pt x="0" y="594"/>
                  </a:cubicBezTo>
                  <a:cubicBezTo>
                    <a:pt x="0" y="777"/>
                    <a:pt x="183" y="1256"/>
                    <a:pt x="366" y="1256"/>
                  </a:cubicBezTo>
                  <a:cubicBezTo>
                    <a:pt x="448" y="1295"/>
                    <a:pt x="530" y="1313"/>
                    <a:pt x="610" y="1313"/>
                  </a:cubicBezTo>
                  <a:cubicBezTo>
                    <a:pt x="905" y="1313"/>
                    <a:pt x="1161" y="1063"/>
                    <a:pt x="1233" y="686"/>
                  </a:cubicBezTo>
                  <a:cubicBezTo>
                    <a:pt x="1142" y="503"/>
                    <a:pt x="1050" y="115"/>
                    <a:pt x="845" y="24"/>
                  </a:cubicBezTo>
                  <a:cubicBezTo>
                    <a:pt x="766" y="9"/>
                    <a:pt x="689" y="1"/>
                    <a:pt x="61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" name="Google Shape;1147;p20"/>
            <p:cNvSpPr/>
            <p:nvPr/>
          </p:nvSpPr>
          <p:spPr>
            <a:xfrm>
              <a:off x="7182470" y="4920490"/>
              <a:ext cx="31937" cy="26239"/>
            </a:xfrm>
            <a:custGeom>
              <a:avLst/>
              <a:gdLst/>
              <a:ahLst/>
              <a:cxnLst/>
              <a:rect l="l" t="t" r="r" b="b"/>
              <a:pathLst>
                <a:path w="1531" h="1258" extrusionOk="0">
                  <a:moveTo>
                    <a:pt x="651" y="1"/>
                  </a:moveTo>
                  <a:cubicBezTo>
                    <a:pt x="447" y="1"/>
                    <a:pt x="185" y="154"/>
                    <a:pt x="92" y="322"/>
                  </a:cubicBezTo>
                  <a:cubicBezTo>
                    <a:pt x="1" y="778"/>
                    <a:pt x="206" y="1166"/>
                    <a:pt x="663" y="1258"/>
                  </a:cubicBezTo>
                  <a:cubicBezTo>
                    <a:pt x="959" y="1166"/>
                    <a:pt x="1348" y="1075"/>
                    <a:pt x="1348" y="892"/>
                  </a:cubicBezTo>
                  <a:cubicBezTo>
                    <a:pt x="1530" y="413"/>
                    <a:pt x="1233" y="25"/>
                    <a:pt x="777" y="25"/>
                  </a:cubicBezTo>
                  <a:cubicBezTo>
                    <a:pt x="740" y="8"/>
                    <a:pt x="697" y="1"/>
                    <a:pt x="65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" name="Google Shape;1148;p20"/>
            <p:cNvSpPr/>
            <p:nvPr/>
          </p:nvSpPr>
          <p:spPr>
            <a:xfrm>
              <a:off x="7372922" y="4918613"/>
              <a:ext cx="25741" cy="27407"/>
            </a:xfrm>
            <a:custGeom>
              <a:avLst/>
              <a:gdLst/>
              <a:ahLst/>
              <a:cxnLst/>
              <a:rect l="l" t="t" r="r" b="b"/>
              <a:pathLst>
                <a:path w="1234" h="1314" extrusionOk="0">
                  <a:moveTo>
                    <a:pt x="671" y="1"/>
                  </a:moveTo>
                  <a:cubicBezTo>
                    <a:pt x="335" y="1"/>
                    <a:pt x="1" y="194"/>
                    <a:pt x="1" y="594"/>
                  </a:cubicBezTo>
                  <a:cubicBezTo>
                    <a:pt x="1" y="777"/>
                    <a:pt x="206" y="1256"/>
                    <a:pt x="389" y="1256"/>
                  </a:cubicBezTo>
                  <a:cubicBezTo>
                    <a:pt x="471" y="1295"/>
                    <a:pt x="553" y="1313"/>
                    <a:pt x="631" y="1313"/>
                  </a:cubicBezTo>
                  <a:cubicBezTo>
                    <a:pt x="920" y="1313"/>
                    <a:pt x="1162" y="1063"/>
                    <a:pt x="1234" y="686"/>
                  </a:cubicBezTo>
                  <a:cubicBezTo>
                    <a:pt x="1142" y="503"/>
                    <a:pt x="1051" y="115"/>
                    <a:pt x="868" y="24"/>
                  </a:cubicBezTo>
                  <a:cubicBezTo>
                    <a:pt x="804" y="9"/>
                    <a:pt x="737" y="1"/>
                    <a:pt x="67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" name="Google Shape;1149;p20"/>
            <p:cNvSpPr/>
            <p:nvPr/>
          </p:nvSpPr>
          <p:spPr>
            <a:xfrm>
              <a:off x="7559578" y="4918613"/>
              <a:ext cx="27640" cy="27407"/>
            </a:xfrm>
            <a:custGeom>
              <a:avLst/>
              <a:gdLst/>
              <a:ahLst/>
              <a:cxnLst/>
              <a:rect l="l" t="t" r="r" b="b"/>
              <a:pathLst>
                <a:path w="1325" h="1314" extrusionOk="0">
                  <a:moveTo>
                    <a:pt x="730" y="1"/>
                  </a:moveTo>
                  <a:cubicBezTo>
                    <a:pt x="359" y="1"/>
                    <a:pt x="77" y="194"/>
                    <a:pt x="0" y="594"/>
                  </a:cubicBezTo>
                  <a:cubicBezTo>
                    <a:pt x="0" y="777"/>
                    <a:pt x="183" y="1256"/>
                    <a:pt x="388" y="1256"/>
                  </a:cubicBezTo>
                  <a:cubicBezTo>
                    <a:pt x="485" y="1295"/>
                    <a:pt x="575" y="1313"/>
                    <a:pt x="658" y="1313"/>
                  </a:cubicBezTo>
                  <a:cubicBezTo>
                    <a:pt x="966" y="1313"/>
                    <a:pt x="1181" y="1063"/>
                    <a:pt x="1324" y="686"/>
                  </a:cubicBezTo>
                  <a:cubicBezTo>
                    <a:pt x="1233" y="503"/>
                    <a:pt x="1142" y="115"/>
                    <a:pt x="959" y="24"/>
                  </a:cubicBezTo>
                  <a:cubicBezTo>
                    <a:pt x="880" y="9"/>
                    <a:pt x="803" y="1"/>
                    <a:pt x="73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" name="Google Shape;1150;p20"/>
            <p:cNvSpPr/>
            <p:nvPr/>
          </p:nvSpPr>
          <p:spPr>
            <a:xfrm>
              <a:off x="7748131" y="4918634"/>
              <a:ext cx="25720" cy="27386"/>
            </a:xfrm>
            <a:custGeom>
              <a:avLst/>
              <a:gdLst/>
              <a:ahLst/>
              <a:cxnLst/>
              <a:rect l="l" t="t" r="r" b="b"/>
              <a:pathLst>
                <a:path w="1233" h="1313" extrusionOk="0">
                  <a:moveTo>
                    <a:pt x="552" y="0"/>
                  </a:moveTo>
                  <a:cubicBezTo>
                    <a:pt x="491" y="0"/>
                    <a:pt x="428" y="8"/>
                    <a:pt x="365" y="23"/>
                  </a:cubicBezTo>
                  <a:cubicBezTo>
                    <a:pt x="183" y="114"/>
                    <a:pt x="0" y="502"/>
                    <a:pt x="0" y="685"/>
                  </a:cubicBezTo>
                  <a:cubicBezTo>
                    <a:pt x="0" y="1062"/>
                    <a:pt x="227" y="1312"/>
                    <a:pt x="557" y="1312"/>
                  </a:cubicBezTo>
                  <a:cubicBezTo>
                    <a:pt x="646" y="1312"/>
                    <a:pt x="743" y="1294"/>
                    <a:pt x="845" y="1255"/>
                  </a:cubicBezTo>
                  <a:cubicBezTo>
                    <a:pt x="1050" y="1255"/>
                    <a:pt x="1142" y="867"/>
                    <a:pt x="1233" y="685"/>
                  </a:cubicBezTo>
                  <a:cubicBezTo>
                    <a:pt x="1156" y="206"/>
                    <a:pt x="871" y="0"/>
                    <a:pt x="55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5024149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27" y="0"/>
                  </a:moveTo>
                  <a:cubicBezTo>
                    <a:pt x="872" y="0"/>
                    <a:pt x="815" y="6"/>
                    <a:pt x="754" y="17"/>
                  </a:cubicBezTo>
                  <a:cubicBezTo>
                    <a:pt x="571" y="17"/>
                    <a:pt x="183" y="200"/>
                    <a:pt x="92" y="383"/>
                  </a:cubicBezTo>
                  <a:cubicBezTo>
                    <a:pt x="1" y="771"/>
                    <a:pt x="183" y="1250"/>
                    <a:pt x="571" y="1341"/>
                  </a:cubicBezTo>
                  <a:cubicBezTo>
                    <a:pt x="676" y="1375"/>
                    <a:pt x="767" y="1390"/>
                    <a:pt x="848" y="1390"/>
                  </a:cubicBezTo>
                  <a:cubicBezTo>
                    <a:pt x="1209" y="1390"/>
                    <a:pt x="1362" y="1088"/>
                    <a:pt x="1530" y="771"/>
                  </a:cubicBezTo>
                  <a:cubicBezTo>
                    <a:pt x="1530" y="272"/>
                    <a:pt x="1304" y="0"/>
                    <a:pt x="92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5212953" y="5012034"/>
              <a:ext cx="33585" cy="29451"/>
            </a:xfrm>
            <a:custGeom>
              <a:avLst/>
              <a:gdLst/>
              <a:ahLst/>
              <a:cxnLst/>
              <a:rect l="l" t="t" r="r" b="b"/>
              <a:pathLst>
                <a:path w="1610" h="1412" extrusionOk="0">
                  <a:moveTo>
                    <a:pt x="628" y="1"/>
                  </a:moveTo>
                  <a:cubicBezTo>
                    <a:pt x="198" y="1"/>
                    <a:pt x="0" y="263"/>
                    <a:pt x="80" y="680"/>
                  </a:cubicBezTo>
                  <a:cubicBezTo>
                    <a:pt x="80" y="954"/>
                    <a:pt x="262" y="1342"/>
                    <a:pt x="468" y="1342"/>
                  </a:cubicBezTo>
                  <a:cubicBezTo>
                    <a:pt x="561" y="1389"/>
                    <a:pt x="662" y="1412"/>
                    <a:pt x="763" y="1412"/>
                  </a:cubicBezTo>
                  <a:cubicBezTo>
                    <a:pt x="1053" y="1412"/>
                    <a:pt x="1336" y="1219"/>
                    <a:pt x="1404" y="863"/>
                  </a:cubicBezTo>
                  <a:cubicBezTo>
                    <a:pt x="1609" y="384"/>
                    <a:pt x="1221" y="110"/>
                    <a:pt x="833" y="18"/>
                  </a:cubicBezTo>
                  <a:cubicBezTo>
                    <a:pt x="760" y="7"/>
                    <a:pt x="691" y="1"/>
                    <a:pt x="62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" name="Google Shape;1153;p20"/>
            <p:cNvSpPr/>
            <p:nvPr/>
          </p:nvSpPr>
          <p:spPr>
            <a:xfrm>
              <a:off x="5398878" y="5011241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68" y="0"/>
                  </a:moveTo>
                  <a:cubicBezTo>
                    <a:pt x="886" y="0"/>
                    <a:pt x="792" y="18"/>
                    <a:pt x="685" y="56"/>
                  </a:cubicBezTo>
                  <a:cubicBezTo>
                    <a:pt x="480" y="56"/>
                    <a:pt x="206" y="330"/>
                    <a:pt x="114" y="536"/>
                  </a:cubicBezTo>
                  <a:cubicBezTo>
                    <a:pt x="0" y="992"/>
                    <a:pt x="297" y="1380"/>
                    <a:pt x="776" y="1380"/>
                  </a:cubicBezTo>
                  <a:cubicBezTo>
                    <a:pt x="838" y="1392"/>
                    <a:pt x="896" y="1398"/>
                    <a:pt x="951" y="1398"/>
                  </a:cubicBezTo>
                  <a:cubicBezTo>
                    <a:pt x="1322" y="1398"/>
                    <a:pt x="1530" y="1136"/>
                    <a:pt x="1530" y="718"/>
                  </a:cubicBezTo>
                  <a:cubicBezTo>
                    <a:pt x="1455" y="329"/>
                    <a:pt x="1321" y="0"/>
                    <a:pt x="96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" name="Google Shape;1154;p20"/>
            <p:cNvSpPr/>
            <p:nvPr/>
          </p:nvSpPr>
          <p:spPr>
            <a:xfrm>
              <a:off x="5585512" y="5012409"/>
              <a:ext cx="35733" cy="28846"/>
            </a:xfrm>
            <a:custGeom>
              <a:avLst/>
              <a:gdLst/>
              <a:ahLst/>
              <a:cxnLst/>
              <a:rect l="l" t="t" r="r" b="b"/>
              <a:pathLst>
                <a:path w="1713" h="1383" extrusionOk="0">
                  <a:moveTo>
                    <a:pt x="959" y="0"/>
                  </a:moveTo>
                  <a:cubicBezTo>
                    <a:pt x="663" y="0"/>
                    <a:pt x="297" y="183"/>
                    <a:pt x="297" y="366"/>
                  </a:cubicBezTo>
                  <a:cubicBezTo>
                    <a:pt x="1" y="754"/>
                    <a:pt x="183" y="1233"/>
                    <a:pt x="663" y="1324"/>
                  </a:cubicBezTo>
                  <a:cubicBezTo>
                    <a:pt x="747" y="1364"/>
                    <a:pt x="832" y="1382"/>
                    <a:pt x="914" y="1382"/>
                  </a:cubicBezTo>
                  <a:cubicBezTo>
                    <a:pt x="1210" y="1382"/>
                    <a:pt x="1478" y="1148"/>
                    <a:pt x="1621" y="845"/>
                  </a:cubicBezTo>
                  <a:cubicBezTo>
                    <a:pt x="1713" y="274"/>
                    <a:pt x="1325" y="0"/>
                    <a:pt x="95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" name="Google Shape;1155;p20"/>
            <p:cNvSpPr/>
            <p:nvPr/>
          </p:nvSpPr>
          <p:spPr>
            <a:xfrm>
              <a:off x="5774066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27" y="0"/>
                  </a:moveTo>
                  <a:cubicBezTo>
                    <a:pt x="872" y="0"/>
                    <a:pt x="814" y="6"/>
                    <a:pt x="754" y="17"/>
                  </a:cubicBezTo>
                  <a:cubicBezTo>
                    <a:pt x="571" y="17"/>
                    <a:pt x="183" y="200"/>
                    <a:pt x="92" y="383"/>
                  </a:cubicBezTo>
                  <a:cubicBezTo>
                    <a:pt x="1" y="771"/>
                    <a:pt x="183" y="1250"/>
                    <a:pt x="662" y="1341"/>
                  </a:cubicBezTo>
                  <a:cubicBezTo>
                    <a:pt x="750" y="1375"/>
                    <a:pt x="831" y="1390"/>
                    <a:pt x="905" y="1390"/>
                  </a:cubicBezTo>
                  <a:cubicBezTo>
                    <a:pt x="1237" y="1390"/>
                    <a:pt x="1437" y="1088"/>
                    <a:pt x="1530" y="771"/>
                  </a:cubicBezTo>
                  <a:cubicBezTo>
                    <a:pt x="1530" y="272"/>
                    <a:pt x="1303" y="0"/>
                    <a:pt x="92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" name="Google Shape;1156;p20"/>
            <p:cNvSpPr/>
            <p:nvPr/>
          </p:nvSpPr>
          <p:spPr>
            <a:xfrm>
              <a:off x="5960721" y="5011241"/>
              <a:ext cx="33334" cy="29159"/>
            </a:xfrm>
            <a:custGeom>
              <a:avLst/>
              <a:gdLst/>
              <a:ahLst/>
              <a:cxnLst/>
              <a:rect l="l" t="t" r="r" b="b"/>
              <a:pathLst>
                <a:path w="1598" h="1398" extrusionOk="0">
                  <a:moveTo>
                    <a:pt x="1036" y="0"/>
                  </a:moveTo>
                  <a:cubicBezTo>
                    <a:pt x="954" y="0"/>
                    <a:pt x="861" y="18"/>
                    <a:pt x="753" y="56"/>
                  </a:cubicBezTo>
                  <a:cubicBezTo>
                    <a:pt x="571" y="56"/>
                    <a:pt x="274" y="330"/>
                    <a:pt x="183" y="536"/>
                  </a:cubicBezTo>
                  <a:cubicBezTo>
                    <a:pt x="0" y="992"/>
                    <a:pt x="365" y="1380"/>
                    <a:pt x="753" y="1380"/>
                  </a:cubicBezTo>
                  <a:cubicBezTo>
                    <a:pt x="827" y="1392"/>
                    <a:pt x="894" y="1398"/>
                    <a:pt x="955" y="1398"/>
                  </a:cubicBezTo>
                  <a:cubicBezTo>
                    <a:pt x="1369" y="1398"/>
                    <a:pt x="1518" y="1136"/>
                    <a:pt x="1598" y="718"/>
                  </a:cubicBezTo>
                  <a:cubicBezTo>
                    <a:pt x="1524" y="329"/>
                    <a:pt x="1389" y="0"/>
                    <a:pt x="103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" name="Google Shape;1157;p20"/>
            <p:cNvSpPr/>
            <p:nvPr/>
          </p:nvSpPr>
          <p:spPr>
            <a:xfrm>
              <a:off x="6148795" y="5012054"/>
              <a:ext cx="31916" cy="28992"/>
            </a:xfrm>
            <a:custGeom>
              <a:avLst/>
              <a:gdLst/>
              <a:ahLst/>
              <a:cxnLst/>
              <a:rect l="l" t="t" r="r" b="b"/>
              <a:pathLst>
                <a:path w="1530" h="1390" extrusionOk="0">
                  <a:moveTo>
                    <a:pt x="948" y="0"/>
                  </a:moveTo>
                  <a:cubicBezTo>
                    <a:pt x="894" y="0"/>
                    <a:pt x="837" y="6"/>
                    <a:pt x="776" y="17"/>
                  </a:cubicBezTo>
                  <a:cubicBezTo>
                    <a:pt x="571" y="17"/>
                    <a:pt x="206" y="200"/>
                    <a:pt x="114" y="383"/>
                  </a:cubicBezTo>
                  <a:cubicBezTo>
                    <a:pt x="0" y="771"/>
                    <a:pt x="206" y="1250"/>
                    <a:pt x="685" y="1341"/>
                  </a:cubicBezTo>
                  <a:cubicBezTo>
                    <a:pt x="768" y="1375"/>
                    <a:pt x="846" y="1390"/>
                    <a:pt x="919" y="1390"/>
                  </a:cubicBezTo>
                  <a:cubicBezTo>
                    <a:pt x="1243" y="1390"/>
                    <a:pt x="1455" y="1088"/>
                    <a:pt x="1529" y="771"/>
                  </a:cubicBezTo>
                  <a:cubicBezTo>
                    <a:pt x="1529" y="272"/>
                    <a:pt x="1320" y="0"/>
                    <a:pt x="94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" name="Google Shape;1158;p20"/>
            <p:cNvSpPr/>
            <p:nvPr/>
          </p:nvSpPr>
          <p:spPr>
            <a:xfrm>
              <a:off x="6335429" y="5011241"/>
              <a:ext cx="33835" cy="29159"/>
            </a:xfrm>
            <a:custGeom>
              <a:avLst/>
              <a:gdLst/>
              <a:ahLst/>
              <a:cxnLst/>
              <a:rect l="l" t="t" r="r" b="b"/>
              <a:pathLst>
                <a:path w="1622" h="1398" extrusionOk="0">
                  <a:moveTo>
                    <a:pt x="1039" y="0"/>
                  </a:moveTo>
                  <a:cubicBezTo>
                    <a:pt x="956" y="0"/>
                    <a:pt x="861" y="18"/>
                    <a:pt x="754" y="56"/>
                  </a:cubicBezTo>
                  <a:cubicBezTo>
                    <a:pt x="571" y="56"/>
                    <a:pt x="297" y="330"/>
                    <a:pt x="183" y="536"/>
                  </a:cubicBezTo>
                  <a:cubicBezTo>
                    <a:pt x="1" y="992"/>
                    <a:pt x="389" y="1380"/>
                    <a:pt x="868" y="1380"/>
                  </a:cubicBezTo>
                  <a:cubicBezTo>
                    <a:pt x="927" y="1392"/>
                    <a:pt x="981" y="1398"/>
                    <a:pt x="1032" y="1398"/>
                  </a:cubicBezTo>
                  <a:cubicBezTo>
                    <a:pt x="1375" y="1398"/>
                    <a:pt x="1542" y="1136"/>
                    <a:pt x="1621" y="718"/>
                  </a:cubicBezTo>
                  <a:cubicBezTo>
                    <a:pt x="1547" y="329"/>
                    <a:pt x="1398" y="0"/>
                    <a:pt x="103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" name="Google Shape;1159;p20"/>
            <p:cNvSpPr/>
            <p:nvPr/>
          </p:nvSpPr>
          <p:spPr>
            <a:xfrm>
              <a:off x="6523983" y="5011241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94" y="0"/>
                  </a:moveTo>
                  <a:cubicBezTo>
                    <a:pt x="923" y="0"/>
                    <a:pt x="844" y="18"/>
                    <a:pt x="754" y="56"/>
                  </a:cubicBezTo>
                  <a:cubicBezTo>
                    <a:pt x="480" y="56"/>
                    <a:pt x="183" y="330"/>
                    <a:pt x="183" y="536"/>
                  </a:cubicBezTo>
                  <a:cubicBezTo>
                    <a:pt x="0" y="992"/>
                    <a:pt x="274" y="1380"/>
                    <a:pt x="754" y="1380"/>
                  </a:cubicBezTo>
                  <a:cubicBezTo>
                    <a:pt x="815" y="1392"/>
                    <a:pt x="874" y="1398"/>
                    <a:pt x="929" y="1398"/>
                  </a:cubicBezTo>
                  <a:cubicBezTo>
                    <a:pt x="1304" y="1398"/>
                    <a:pt x="1530" y="1136"/>
                    <a:pt x="1530" y="718"/>
                  </a:cubicBezTo>
                  <a:cubicBezTo>
                    <a:pt x="1437" y="329"/>
                    <a:pt x="1299" y="0"/>
                    <a:pt x="99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" name="Google Shape;1160;p20"/>
            <p:cNvSpPr/>
            <p:nvPr/>
          </p:nvSpPr>
          <p:spPr>
            <a:xfrm>
              <a:off x="6712536" y="5011012"/>
              <a:ext cx="33814" cy="29034"/>
            </a:xfrm>
            <a:custGeom>
              <a:avLst/>
              <a:gdLst/>
              <a:ahLst/>
              <a:cxnLst/>
              <a:rect l="l" t="t" r="r" b="b"/>
              <a:pathLst>
                <a:path w="1621" h="1392" extrusionOk="0">
                  <a:moveTo>
                    <a:pt x="819" y="0"/>
                  </a:moveTo>
                  <a:cubicBezTo>
                    <a:pt x="737" y="0"/>
                    <a:pt x="653" y="21"/>
                    <a:pt x="571" y="67"/>
                  </a:cubicBezTo>
                  <a:cubicBezTo>
                    <a:pt x="92" y="159"/>
                    <a:pt x="0" y="638"/>
                    <a:pt x="183" y="1117"/>
                  </a:cubicBezTo>
                  <a:cubicBezTo>
                    <a:pt x="274" y="1300"/>
                    <a:pt x="662" y="1391"/>
                    <a:pt x="845" y="1391"/>
                  </a:cubicBezTo>
                  <a:cubicBezTo>
                    <a:pt x="1324" y="1391"/>
                    <a:pt x="1621" y="1117"/>
                    <a:pt x="1507" y="547"/>
                  </a:cubicBezTo>
                  <a:cubicBezTo>
                    <a:pt x="1365" y="246"/>
                    <a:pt x="1101" y="0"/>
                    <a:pt x="81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" name="Google Shape;1161;p20"/>
            <p:cNvSpPr/>
            <p:nvPr/>
          </p:nvSpPr>
          <p:spPr>
            <a:xfrm>
              <a:off x="6898691" y="5012034"/>
              <a:ext cx="31937" cy="29493"/>
            </a:xfrm>
            <a:custGeom>
              <a:avLst/>
              <a:gdLst/>
              <a:ahLst/>
              <a:cxnLst/>
              <a:rect l="l" t="t" r="r" b="b"/>
              <a:pathLst>
                <a:path w="1531" h="1414" extrusionOk="0">
                  <a:moveTo>
                    <a:pt x="857" y="1"/>
                  </a:moveTo>
                  <a:cubicBezTo>
                    <a:pt x="802" y="1"/>
                    <a:pt x="745" y="6"/>
                    <a:pt x="686" y="18"/>
                  </a:cubicBezTo>
                  <a:cubicBezTo>
                    <a:pt x="206" y="201"/>
                    <a:pt x="1" y="589"/>
                    <a:pt x="115" y="954"/>
                  </a:cubicBezTo>
                  <a:cubicBezTo>
                    <a:pt x="249" y="1239"/>
                    <a:pt x="543" y="1413"/>
                    <a:pt x="835" y="1413"/>
                  </a:cubicBezTo>
                  <a:cubicBezTo>
                    <a:pt x="940" y="1413"/>
                    <a:pt x="1045" y="1391"/>
                    <a:pt x="1142" y="1342"/>
                  </a:cubicBezTo>
                  <a:cubicBezTo>
                    <a:pt x="1348" y="1160"/>
                    <a:pt x="1530" y="863"/>
                    <a:pt x="1530" y="589"/>
                  </a:cubicBezTo>
                  <a:cubicBezTo>
                    <a:pt x="1451" y="252"/>
                    <a:pt x="1216" y="1"/>
                    <a:pt x="85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" name="Google Shape;1162;p20"/>
            <p:cNvSpPr/>
            <p:nvPr/>
          </p:nvSpPr>
          <p:spPr>
            <a:xfrm>
              <a:off x="7085346" y="5012034"/>
              <a:ext cx="33835" cy="29493"/>
            </a:xfrm>
            <a:custGeom>
              <a:avLst/>
              <a:gdLst/>
              <a:ahLst/>
              <a:cxnLst/>
              <a:rect l="l" t="t" r="r" b="b"/>
              <a:pathLst>
                <a:path w="1622" h="1414" extrusionOk="0">
                  <a:moveTo>
                    <a:pt x="872" y="1"/>
                  </a:moveTo>
                  <a:cubicBezTo>
                    <a:pt x="807" y="1"/>
                    <a:pt x="737" y="6"/>
                    <a:pt x="662" y="18"/>
                  </a:cubicBezTo>
                  <a:cubicBezTo>
                    <a:pt x="297" y="201"/>
                    <a:pt x="0" y="589"/>
                    <a:pt x="183" y="954"/>
                  </a:cubicBezTo>
                  <a:cubicBezTo>
                    <a:pt x="334" y="1239"/>
                    <a:pt x="633" y="1413"/>
                    <a:pt x="925" y="1413"/>
                  </a:cubicBezTo>
                  <a:cubicBezTo>
                    <a:pt x="1031" y="1413"/>
                    <a:pt x="1136" y="1391"/>
                    <a:pt x="1233" y="1342"/>
                  </a:cubicBezTo>
                  <a:cubicBezTo>
                    <a:pt x="1438" y="1160"/>
                    <a:pt x="1621" y="863"/>
                    <a:pt x="1530" y="589"/>
                  </a:cubicBezTo>
                  <a:cubicBezTo>
                    <a:pt x="1530" y="252"/>
                    <a:pt x="1306" y="1"/>
                    <a:pt x="87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" name="Google Shape;1163;p20"/>
            <p:cNvSpPr/>
            <p:nvPr/>
          </p:nvSpPr>
          <p:spPr>
            <a:xfrm>
              <a:off x="7273900" y="5012054"/>
              <a:ext cx="33585" cy="28992"/>
            </a:xfrm>
            <a:custGeom>
              <a:avLst/>
              <a:gdLst/>
              <a:ahLst/>
              <a:cxnLst/>
              <a:rect l="l" t="t" r="r" b="b"/>
              <a:pathLst>
                <a:path w="1610" h="1390" extrusionOk="0">
                  <a:moveTo>
                    <a:pt x="1018" y="0"/>
                  </a:moveTo>
                  <a:cubicBezTo>
                    <a:pt x="963" y="0"/>
                    <a:pt x="905" y="6"/>
                    <a:pt x="845" y="17"/>
                  </a:cubicBezTo>
                  <a:cubicBezTo>
                    <a:pt x="571" y="17"/>
                    <a:pt x="183" y="200"/>
                    <a:pt x="183" y="383"/>
                  </a:cubicBezTo>
                  <a:cubicBezTo>
                    <a:pt x="0" y="771"/>
                    <a:pt x="183" y="1250"/>
                    <a:pt x="662" y="1341"/>
                  </a:cubicBezTo>
                  <a:cubicBezTo>
                    <a:pt x="750" y="1375"/>
                    <a:pt x="830" y="1390"/>
                    <a:pt x="905" y="1390"/>
                  </a:cubicBezTo>
                  <a:cubicBezTo>
                    <a:pt x="1236" y="1390"/>
                    <a:pt x="1436" y="1088"/>
                    <a:pt x="1530" y="771"/>
                  </a:cubicBezTo>
                  <a:cubicBezTo>
                    <a:pt x="1609" y="272"/>
                    <a:pt x="1393" y="0"/>
                    <a:pt x="10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" name="Google Shape;1164;p20"/>
            <p:cNvSpPr/>
            <p:nvPr/>
          </p:nvSpPr>
          <p:spPr>
            <a:xfrm>
              <a:off x="7462453" y="5011241"/>
              <a:ext cx="31436" cy="29159"/>
            </a:xfrm>
            <a:custGeom>
              <a:avLst/>
              <a:gdLst/>
              <a:ahLst/>
              <a:cxnLst/>
              <a:rect l="l" t="t" r="r" b="b"/>
              <a:pathLst>
                <a:path w="1507" h="1398" extrusionOk="0">
                  <a:moveTo>
                    <a:pt x="945" y="0"/>
                  </a:moveTo>
                  <a:cubicBezTo>
                    <a:pt x="863" y="0"/>
                    <a:pt x="769" y="18"/>
                    <a:pt x="662" y="56"/>
                  </a:cubicBezTo>
                  <a:cubicBezTo>
                    <a:pt x="479" y="56"/>
                    <a:pt x="183" y="330"/>
                    <a:pt x="91" y="536"/>
                  </a:cubicBezTo>
                  <a:cubicBezTo>
                    <a:pt x="0" y="992"/>
                    <a:pt x="274" y="1380"/>
                    <a:pt x="753" y="1380"/>
                  </a:cubicBezTo>
                  <a:cubicBezTo>
                    <a:pt x="815" y="1392"/>
                    <a:pt x="873" y="1398"/>
                    <a:pt x="928" y="1398"/>
                  </a:cubicBezTo>
                  <a:cubicBezTo>
                    <a:pt x="1299" y="1398"/>
                    <a:pt x="1507" y="1136"/>
                    <a:pt x="1507" y="718"/>
                  </a:cubicBezTo>
                  <a:cubicBezTo>
                    <a:pt x="1432" y="329"/>
                    <a:pt x="1298" y="0"/>
                    <a:pt x="945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" name="Google Shape;1165;p20"/>
            <p:cNvSpPr/>
            <p:nvPr/>
          </p:nvSpPr>
          <p:spPr>
            <a:xfrm>
              <a:off x="7648608" y="5011012"/>
              <a:ext cx="33835" cy="29034"/>
            </a:xfrm>
            <a:custGeom>
              <a:avLst/>
              <a:gdLst/>
              <a:ahLst/>
              <a:cxnLst/>
              <a:rect l="l" t="t" r="r" b="b"/>
              <a:pathLst>
                <a:path w="1622" h="1392" extrusionOk="0">
                  <a:moveTo>
                    <a:pt x="880" y="0"/>
                  </a:moveTo>
                  <a:cubicBezTo>
                    <a:pt x="783" y="0"/>
                    <a:pt x="679" y="21"/>
                    <a:pt x="571" y="67"/>
                  </a:cubicBezTo>
                  <a:cubicBezTo>
                    <a:pt x="206" y="159"/>
                    <a:pt x="1" y="638"/>
                    <a:pt x="298" y="1117"/>
                  </a:cubicBezTo>
                  <a:cubicBezTo>
                    <a:pt x="389" y="1300"/>
                    <a:pt x="686" y="1391"/>
                    <a:pt x="959" y="1391"/>
                  </a:cubicBezTo>
                  <a:cubicBezTo>
                    <a:pt x="1347" y="1391"/>
                    <a:pt x="1621" y="1117"/>
                    <a:pt x="1621" y="547"/>
                  </a:cubicBezTo>
                  <a:cubicBezTo>
                    <a:pt x="1480" y="246"/>
                    <a:pt x="1215" y="0"/>
                    <a:pt x="88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6" name="Google Shape;1166;p20"/>
          <p:cNvGrpSpPr/>
          <p:nvPr/>
        </p:nvGrpSpPr>
        <p:grpSpPr>
          <a:xfrm>
            <a:off x="7727735" y="4476944"/>
            <a:ext cx="629337" cy="461701"/>
            <a:chOff x="4891675" y="2045050"/>
            <a:chExt cx="168200" cy="123400"/>
          </a:xfrm>
        </p:grpSpPr>
        <p:sp>
          <p:nvSpPr>
            <p:cNvPr id="1167" name="Google Shape;1167;p20"/>
            <p:cNvSpPr/>
            <p:nvPr/>
          </p:nvSpPr>
          <p:spPr>
            <a:xfrm>
              <a:off x="4949100" y="2045050"/>
              <a:ext cx="110775" cy="107675"/>
            </a:xfrm>
            <a:custGeom>
              <a:avLst/>
              <a:gdLst/>
              <a:ahLst/>
              <a:cxnLst/>
              <a:rect l="l" t="t" r="r" b="b"/>
              <a:pathLst>
                <a:path w="4431" h="4307" extrusionOk="0">
                  <a:moveTo>
                    <a:pt x="2149" y="0"/>
                  </a:moveTo>
                  <a:cubicBezTo>
                    <a:pt x="2071" y="0"/>
                    <a:pt x="1994" y="21"/>
                    <a:pt x="1927" y="61"/>
                  </a:cubicBezTo>
                  <a:cubicBezTo>
                    <a:pt x="1438" y="366"/>
                    <a:pt x="1" y="4306"/>
                    <a:pt x="2149" y="4306"/>
                  </a:cubicBezTo>
                  <a:cubicBezTo>
                    <a:pt x="4431" y="4306"/>
                    <a:pt x="2868" y="366"/>
                    <a:pt x="2371" y="61"/>
                  </a:cubicBezTo>
                  <a:cubicBezTo>
                    <a:pt x="2305" y="21"/>
                    <a:pt x="2227" y="0"/>
                    <a:pt x="2149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" name="Google Shape;1168;p20"/>
            <p:cNvSpPr/>
            <p:nvPr/>
          </p:nvSpPr>
          <p:spPr>
            <a:xfrm>
              <a:off x="4949100" y="2046550"/>
              <a:ext cx="53750" cy="106175"/>
            </a:xfrm>
            <a:custGeom>
              <a:avLst/>
              <a:gdLst/>
              <a:ahLst/>
              <a:cxnLst/>
              <a:rect l="l" t="t" r="r" b="b"/>
              <a:pathLst>
                <a:path w="2150" h="4247" extrusionOk="0">
                  <a:moveTo>
                    <a:pt x="1930" y="0"/>
                  </a:moveTo>
                  <a:lnTo>
                    <a:pt x="1930" y="0"/>
                  </a:lnTo>
                  <a:cubicBezTo>
                    <a:pt x="1929" y="0"/>
                    <a:pt x="1928" y="1"/>
                    <a:pt x="1927" y="1"/>
                  </a:cubicBezTo>
                  <a:cubicBezTo>
                    <a:pt x="1438" y="306"/>
                    <a:pt x="1" y="4246"/>
                    <a:pt x="2149" y="4246"/>
                  </a:cubicBezTo>
                  <a:cubicBezTo>
                    <a:pt x="2149" y="4246"/>
                    <a:pt x="1609" y="4202"/>
                    <a:pt x="1578" y="2662"/>
                  </a:cubicBezTo>
                  <a:cubicBezTo>
                    <a:pt x="1542" y="1142"/>
                    <a:pt x="1985" y="0"/>
                    <a:pt x="1930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" name="Google Shape;1169;p20"/>
            <p:cNvSpPr/>
            <p:nvPr/>
          </p:nvSpPr>
          <p:spPr>
            <a:xfrm>
              <a:off x="5001125" y="2093950"/>
              <a:ext cx="7800" cy="74500"/>
            </a:xfrm>
            <a:custGeom>
              <a:avLst/>
              <a:gdLst/>
              <a:ahLst/>
              <a:cxnLst/>
              <a:rect l="l" t="t" r="r" b="b"/>
              <a:pathLst>
                <a:path w="312" h="2980" extrusionOk="0">
                  <a:moveTo>
                    <a:pt x="159" y="1"/>
                  </a:moveTo>
                  <a:cubicBezTo>
                    <a:pt x="158" y="1"/>
                    <a:pt x="157" y="5"/>
                    <a:pt x="157" y="17"/>
                  </a:cubicBezTo>
                  <a:lnTo>
                    <a:pt x="1" y="2980"/>
                  </a:lnTo>
                  <a:lnTo>
                    <a:pt x="312" y="2980"/>
                  </a:lnTo>
                  <a:cubicBezTo>
                    <a:pt x="305" y="1714"/>
                    <a:pt x="187" y="17"/>
                    <a:pt x="164" y="17"/>
                  </a:cubicBezTo>
                  <a:cubicBezTo>
                    <a:pt x="164" y="17"/>
                    <a:pt x="161" y="1"/>
                    <a:pt x="15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" name="Google Shape;1170;p20"/>
            <p:cNvSpPr/>
            <p:nvPr/>
          </p:nvSpPr>
          <p:spPr>
            <a:xfrm>
              <a:off x="4984100" y="2120275"/>
              <a:ext cx="20975" cy="17075"/>
            </a:xfrm>
            <a:custGeom>
              <a:avLst/>
              <a:gdLst/>
              <a:ahLst/>
              <a:cxnLst/>
              <a:rect l="l" t="t" r="r" b="b"/>
              <a:pathLst>
                <a:path w="839" h="683" extrusionOk="0">
                  <a:moveTo>
                    <a:pt x="0" y="1"/>
                  </a:moveTo>
                  <a:lnTo>
                    <a:pt x="0" y="1"/>
                  </a:lnTo>
                  <a:cubicBezTo>
                    <a:pt x="404" y="662"/>
                    <a:pt x="782" y="682"/>
                    <a:pt x="826" y="682"/>
                  </a:cubicBezTo>
                  <a:cubicBezTo>
                    <a:pt x="829" y="682"/>
                    <a:pt x="831" y="682"/>
                    <a:pt x="831" y="682"/>
                  </a:cubicBezTo>
                  <a:lnTo>
                    <a:pt x="838" y="586"/>
                  </a:lnTo>
                  <a:lnTo>
                    <a:pt x="838" y="586"/>
                  </a:lnTo>
                  <a:cubicBezTo>
                    <a:pt x="838" y="586"/>
                    <a:pt x="830" y="592"/>
                    <a:pt x="807" y="592"/>
                  </a:cubicBezTo>
                  <a:cubicBezTo>
                    <a:pt x="757" y="592"/>
                    <a:pt x="639" y="564"/>
                    <a:pt x="386" y="387"/>
                  </a:cubicBezTo>
                  <a:cubicBezTo>
                    <a:pt x="164" y="23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" name="Google Shape;1171;p20"/>
            <p:cNvSpPr/>
            <p:nvPr/>
          </p:nvSpPr>
          <p:spPr>
            <a:xfrm>
              <a:off x="5005050" y="2115675"/>
              <a:ext cx="17975" cy="14475"/>
            </a:xfrm>
            <a:custGeom>
              <a:avLst/>
              <a:gdLst/>
              <a:ahLst/>
              <a:cxnLst/>
              <a:rect l="l" t="t" r="r" b="b"/>
              <a:pathLst>
                <a:path w="719" h="579" extrusionOk="0">
                  <a:moveTo>
                    <a:pt x="719" y="0"/>
                  </a:moveTo>
                  <a:lnTo>
                    <a:pt x="719" y="0"/>
                  </a:lnTo>
                  <a:cubicBezTo>
                    <a:pt x="718" y="0"/>
                    <a:pt x="578" y="192"/>
                    <a:pt x="393" y="325"/>
                  </a:cubicBezTo>
                  <a:cubicBezTo>
                    <a:pt x="185" y="471"/>
                    <a:pt x="81" y="496"/>
                    <a:pt x="34" y="496"/>
                  </a:cubicBezTo>
                  <a:cubicBezTo>
                    <a:pt x="9" y="496"/>
                    <a:pt x="0" y="489"/>
                    <a:pt x="0" y="489"/>
                  </a:cubicBezTo>
                  <a:lnTo>
                    <a:pt x="0" y="489"/>
                  </a:lnTo>
                  <a:lnTo>
                    <a:pt x="7" y="578"/>
                  </a:lnTo>
                  <a:cubicBezTo>
                    <a:pt x="7" y="578"/>
                    <a:pt x="8" y="578"/>
                    <a:pt x="9" y="578"/>
                  </a:cubicBezTo>
                  <a:cubicBezTo>
                    <a:pt x="39" y="578"/>
                    <a:pt x="366" y="565"/>
                    <a:pt x="719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" name="Google Shape;1172;p20"/>
            <p:cNvSpPr/>
            <p:nvPr/>
          </p:nvSpPr>
          <p:spPr>
            <a:xfrm>
              <a:off x="4990600" y="2105300"/>
              <a:ext cx="14475" cy="11675"/>
            </a:xfrm>
            <a:custGeom>
              <a:avLst/>
              <a:gdLst/>
              <a:ahLst/>
              <a:cxnLst/>
              <a:rect l="l" t="t" r="r" b="b"/>
              <a:pathLst>
                <a:path w="579" h="467" extrusionOk="0">
                  <a:moveTo>
                    <a:pt x="0" y="1"/>
                  </a:moveTo>
                  <a:lnTo>
                    <a:pt x="0" y="1"/>
                  </a:lnTo>
                  <a:cubicBezTo>
                    <a:pt x="295" y="460"/>
                    <a:pt x="562" y="467"/>
                    <a:pt x="577" y="467"/>
                  </a:cubicBezTo>
                  <a:cubicBezTo>
                    <a:pt x="578" y="467"/>
                    <a:pt x="578" y="467"/>
                    <a:pt x="578" y="467"/>
                  </a:cubicBezTo>
                  <a:lnTo>
                    <a:pt x="578" y="392"/>
                  </a:lnTo>
                  <a:cubicBezTo>
                    <a:pt x="578" y="392"/>
                    <a:pt x="572" y="397"/>
                    <a:pt x="555" y="397"/>
                  </a:cubicBezTo>
                  <a:cubicBezTo>
                    <a:pt x="521" y="397"/>
                    <a:pt x="440" y="377"/>
                    <a:pt x="267" y="259"/>
                  </a:cubicBezTo>
                  <a:cubicBezTo>
                    <a:pt x="119" y="155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" name="Google Shape;1173;p20"/>
            <p:cNvSpPr/>
            <p:nvPr/>
          </p:nvSpPr>
          <p:spPr>
            <a:xfrm>
              <a:off x="4891675" y="2046750"/>
              <a:ext cx="64475" cy="81525"/>
            </a:xfrm>
            <a:custGeom>
              <a:avLst/>
              <a:gdLst/>
              <a:ahLst/>
              <a:cxnLst/>
              <a:rect l="l" t="t" r="r" b="b"/>
              <a:pathLst>
                <a:path w="2579" h="3261" extrusionOk="0">
                  <a:moveTo>
                    <a:pt x="1290" y="1"/>
                  </a:moveTo>
                  <a:cubicBezTo>
                    <a:pt x="726" y="1"/>
                    <a:pt x="274" y="452"/>
                    <a:pt x="274" y="1016"/>
                  </a:cubicBezTo>
                  <a:cubicBezTo>
                    <a:pt x="274" y="1068"/>
                    <a:pt x="281" y="1112"/>
                    <a:pt x="281" y="1157"/>
                  </a:cubicBezTo>
                  <a:cubicBezTo>
                    <a:pt x="103" y="1379"/>
                    <a:pt x="0" y="1660"/>
                    <a:pt x="0" y="1964"/>
                  </a:cubicBezTo>
                  <a:cubicBezTo>
                    <a:pt x="0" y="2682"/>
                    <a:pt x="578" y="3260"/>
                    <a:pt x="1290" y="3260"/>
                  </a:cubicBezTo>
                  <a:cubicBezTo>
                    <a:pt x="2001" y="3260"/>
                    <a:pt x="2579" y="2682"/>
                    <a:pt x="2579" y="1964"/>
                  </a:cubicBezTo>
                  <a:cubicBezTo>
                    <a:pt x="2579" y="1660"/>
                    <a:pt x="2476" y="1379"/>
                    <a:pt x="2298" y="1157"/>
                  </a:cubicBezTo>
                  <a:cubicBezTo>
                    <a:pt x="2305" y="1112"/>
                    <a:pt x="2305" y="1068"/>
                    <a:pt x="2305" y="1016"/>
                  </a:cubicBezTo>
                  <a:cubicBezTo>
                    <a:pt x="2305" y="452"/>
                    <a:pt x="1853" y="1"/>
                    <a:pt x="1290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" name="Google Shape;1174;p20"/>
            <p:cNvSpPr/>
            <p:nvPr/>
          </p:nvSpPr>
          <p:spPr>
            <a:xfrm>
              <a:off x="4923900" y="2071625"/>
              <a:ext cx="3000" cy="96825"/>
            </a:xfrm>
            <a:custGeom>
              <a:avLst/>
              <a:gdLst/>
              <a:ahLst/>
              <a:cxnLst/>
              <a:rect l="l" t="t" r="r" b="b"/>
              <a:pathLst>
                <a:path w="120" h="3873" extrusionOk="0">
                  <a:moveTo>
                    <a:pt x="54" y="0"/>
                  </a:moveTo>
                  <a:cubicBezTo>
                    <a:pt x="53" y="0"/>
                    <a:pt x="52" y="4"/>
                    <a:pt x="52" y="14"/>
                  </a:cubicBezTo>
                  <a:lnTo>
                    <a:pt x="1" y="3821"/>
                  </a:lnTo>
                  <a:cubicBezTo>
                    <a:pt x="1" y="3852"/>
                    <a:pt x="22" y="3873"/>
                    <a:pt x="52" y="3873"/>
                  </a:cubicBezTo>
                  <a:lnTo>
                    <a:pt x="59" y="3873"/>
                  </a:lnTo>
                  <a:cubicBezTo>
                    <a:pt x="89" y="3873"/>
                    <a:pt x="120" y="3852"/>
                    <a:pt x="120" y="3821"/>
                  </a:cubicBezTo>
                  <a:cubicBezTo>
                    <a:pt x="120" y="3821"/>
                    <a:pt x="89" y="14"/>
                    <a:pt x="59" y="14"/>
                  </a:cubicBezTo>
                  <a:cubicBezTo>
                    <a:pt x="59" y="14"/>
                    <a:pt x="56" y="0"/>
                    <a:pt x="54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" name="Google Shape;1175;p20"/>
            <p:cNvSpPr/>
            <p:nvPr/>
          </p:nvSpPr>
          <p:spPr>
            <a:xfrm>
              <a:off x="4907050" y="2095075"/>
              <a:ext cx="18350" cy="15050"/>
            </a:xfrm>
            <a:custGeom>
              <a:avLst/>
              <a:gdLst/>
              <a:ahLst/>
              <a:cxnLst/>
              <a:rect l="l" t="t" r="r" b="b"/>
              <a:pathLst>
                <a:path w="734" h="602" extrusionOk="0">
                  <a:moveTo>
                    <a:pt x="1" y="1"/>
                  </a:moveTo>
                  <a:lnTo>
                    <a:pt x="1" y="1"/>
                  </a:lnTo>
                  <a:cubicBezTo>
                    <a:pt x="353" y="583"/>
                    <a:pt x="681" y="602"/>
                    <a:pt x="722" y="602"/>
                  </a:cubicBezTo>
                  <a:cubicBezTo>
                    <a:pt x="725" y="602"/>
                    <a:pt x="726" y="602"/>
                    <a:pt x="726" y="602"/>
                  </a:cubicBezTo>
                  <a:lnTo>
                    <a:pt x="733" y="513"/>
                  </a:lnTo>
                  <a:lnTo>
                    <a:pt x="733" y="513"/>
                  </a:lnTo>
                  <a:cubicBezTo>
                    <a:pt x="733" y="513"/>
                    <a:pt x="724" y="520"/>
                    <a:pt x="699" y="520"/>
                  </a:cubicBezTo>
                  <a:cubicBezTo>
                    <a:pt x="651" y="520"/>
                    <a:pt x="544" y="494"/>
                    <a:pt x="333" y="342"/>
                  </a:cubicBezTo>
                  <a:cubicBezTo>
                    <a:pt x="141" y="20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" name="Google Shape;1176;p20"/>
            <p:cNvSpPr/>
            <p:nvPr/>
          </p:nvSpPr>
          <p:spPr>
            <a:xfrm>
              <a:off x="4925375" y="2090850"/>
              <a:ext cx="15575" cy="12800"/>
            </a:xfrm>
            <a:custGeom>
              <a:avLst/>
              <a:gdLst/>
              <a:ahLst/>
              <a:cxnLst/>
              <a:rect l="l" t="t" r="r" b="b"/>
              <a:pathLst>
                <a:path w="623" h="512" extrusionOk="0">
                  <a:moveTo>
                    <a:pt x="623" y="1"/>
                  </a:moveTo>
                  <a:cubicBezTo>
                    <a:pt x="622" y="1"/>
                    <a:pt x="496" y="179"/>
                    <a:pt x="335" y="289"/>
                  </a:cubicBezTo>
                  <a:cubicBezTo>
                    <a:pt x="156" y="420"/>
                    <a:pt x="68" y="443"/>
                    <a:pt x="28" y="443"/>
                  </a:cubicBezTo>
                  <a:cubicBezTo>
                    <a:pt x="7" y="443"/>
                    <a:pt x="0" y="436"/>
                    <a:pt x="0" y="436"/>
                  </a:cubicBezTo>
                  <a:lnTo>
                    <a:pt x="0" y="511"/>
                  </a:lnTo>
                  <a:cubicBezTo>
                    <a:pt x="0" y="511"/>
                    <a:pt x="1" y="511"/>
                    <a:pt x="3" y="511"/>
                  </a:cubicBezTo>
                  <a:cubicBezTo>
                    <a:pt x="31" y="511"/>
                    <a:pt x="314" y="498"/>
                    <a:pt x="623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" name="Google Shape;1177;p20"/>
            <p:cNvSpPr/>
            <p:nvPr/>
          </p:nvSpPr>
          <p:spPr>
            <a:xfrm>
              <a:off x="4912775" y="2081750"/>
              <a:ext cx="12625" cy="10250"/>
            </a:xfrm>
            <a:custGeom>
              <a:avLst/>
              <a:gdLst/>
              <a:ahLst/>
              <a:cxnLst/>
              <a:rect l="l" t="t" r="r" b="b"/>
              <a:pathLst>
                <a:path w="505" h="410" extrusionOk="0">
                  <a:moveTo>
                    <a:pt x="1" y="0"/>
                  </a:moveTo>
                  <a:lnTo>
                    <a:pt x="1" y="0"/>
                  </a:lnTo>
                  <a:cubicBezTo>
                    <a:pt x="244" y="397"/>
                    <a:pt x="467" y="409"/>
                    <a:pt x="494" y="409"/>
                  </a:cubicBezTo>
                  <a:cubicBezTo>
                    <a:pt x="496" y="409"/>
                    <a:pt x="497" y="409"/>
                    <a:pt x="497" y="409"/>
                  </a:cubicBezTo>
                  <a:lnTo>
                    <a:pt x="504" y="349"/>
                  </a:lnTo>
                  <a:lnTo>
                    <a:pt x="504" y="349"/>
                  </a:lnTo>
                  <a:cubicBezTo>
                    <a:pt x="504" y="349"/>
                    <a:pt x="498" y="354"/>
                    <a:pt x="479" y="354"/>
                  </a:cubicBezTo>
                  <a:cubicBezTo>
                    <a:pt x="446" y="354"/>
                    <a:pt x="374" y="336"/>
                    <a:pt x="230" y="231"/>
                  </a:cubicBezTo>
                  <a:cubicBezTo>
                    <a:pt x="97" y="143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78" name="Google Shape;1178;p20"/>
          <p:cNvSpPr/>
          <p:nvPr/>
        </p:nvSpPr>
        <p:spPr>
          <a:xfrm>
            <a:off x="8357075" y="4775225"/>
            <a:ext cx="628785" cy="171475"/>
          </a:xfrm>
          <a:custGeom>
            <a:avLst/>
            <a:gdLst/>
            <a:ahLst/>
            <a:cxnLst/>
            <a:rect l="l" t="t" r="r" b="b"/>
            <a:pathLst>
              <a:path w="9560" h="2607" extrusionOk="0">
                <a:moveTo>
                  <a:pt x="6988" y="1"/>
                </a:moveTo>
                <a:cubicBezTo>
                  <a:pt x="6936" y="1"/>
                  <a:pt x="6884" y="17"/>
                  <a:pt x="6840" y="51"/>
                </a:cubicBezTo>
                <a:cubicBezTo>
                  <a:pt x="6758" y="110"/>
                  <a:pt x="6639" y="370"/>
                  <a:pt x="6522" y="718"/>
                </a:cubicBezTo>
                <a:cubicBezTo>
                  <a:pt x="6461" y="592"/>
                  <a:pt x="6403" y="503"/>
                  <a:pt x="6358" y="466"/>
                </a:cubicBezTo>
                <a:cubicBezTo>
                  <a:pt x="6314" y="432"/>
                  <a:pt x="6262" y="415"/>
                  <a:pt x="6210" y="415"/>
                </a:cubicBezTo>
                <a:cubicBezTo>
                  <a:pt x="6158" y="415"/>
                  <a:pt x="6106" y="432"/>
                  <a:pt x="6061" y="466"/>
                </a:cubicBezTo>
                <a:cubicBezTo>
                  <a:pt x="5965" y="547"/>
                  <a:pt x="5810" y="896"/>
                  <a:pt x="5677" y="1355"/>
                </a:cubicBezTo>
                <a:cubicBezTo>
                  <a:pt x="5640" y="1303"/>
                  <a:pt x="5609" y="1266"/>
                  <a:pt x="5581" y="1252"/>
                </a:cubicBezTo>
                <a:cubicBezTo>
                  <a:pt x="5536" y="1225"/>
                  <a:pt x="5484" y="1212"/>
                  <a:pt x="5432" y="1212"/>
                </a:cubicBezTo>
                <a:cubicBezTo>
                  <a:pt x="5380" y="1212"/>
                  <a:pt x="5328" y="1225"/>
                  <a:pt x="5284" y="1252"/>
                </a:cubicBezTo>
                <a:cubicBezTo>
                  <a:pt x="5209" y="1296"/>
                  <a:pt x="5106" y="1474"/>
                  <a:pt x="5003" y="1710"/>
                </a:cubicBezTo>
                <a:cubicBezTo>
                  <a:pt x="4928" y="1570"/>
                  <a:pt x="4854" y="1474"/>
                  <a:pt x="4802" y="1444"/>
                </a:cubicBezTo>
                <a:cubicBezTo>
                  <a:pt x="4758" y="1414"/>
                  <a:pt x="4706" y="1400"/>
                  <a:pt x="4653" y="1400"/>
                </a:cubicBezTo>
                <a:cubicBezTo>
                  <a:pt x="4601" y="1400"/>
                  <a:pt x="4549" y="1414"/>
                  <a:pt x="4505" y="1444"/>
                </a:cubicBezTo>
                <a:cubicBezTo>
                  <a:pt x="4402" y="1509"/>
                  <a:pt x="4217" y="1865"/>
                  <a:pt x="4076" y="2295"/>
                </a:cubicBezTo>
                <a:cubicBezTo>
                  <a:pt x="4039" y="2237"/>
                  <a:pt x="4009" y="2199"/>
                  <a:pt x="3987" y="2176"/>
                </a:cubicBezTo>
                <a:cubicBezTo>
                  <a:pt x="3957" y="2159"/>
                  <a:pt x="3922" y="2150"/>
                  <a:pt x="3887" y="2150"/>
                </a:cubicBezTo>
                <a:cubicBezTo>
                  <a:pt x="3852" y="2150"/>
                  <a:pt x="3817" y="2159"/>
                  <a:pt x="3787" y="2176"/>
                </a:cubicBezTo>
                <a:cubicBezTo>
                  <a:pt x="3749" y="2199"/>
                  <a:pt x="3714" y="2265"/>
                  <a:pt x="3669" y="2347"/>
                </a:cubicBezTo>
                <a:cubicBezTo>
                  <a:pt x="3616" y="1814"/>
                  <a:pt x="3358" y="1214"/>
                  <a:pt x="3239" y="1132"/>
                </a:cubicBezTo>
                <a:cubicBezTo>
                  <a:pt x="3209" y="1110"/>
                  <a:pt x="3174" y="1099"/>
                  <a:pt x="3139" y="1099"/>
                </a:cubicBezTo>
                <a:cubicBezTo>
                  <a:pt x="3104" y="1099"/>
                  <a:pt x="3068" y="1110"/>
                  <a:pt x="3038" y="1132"/>
                </a:cubicBezTo>
                <a:cubicBezTo>
                  <a:pt x="2972" y="1177"/>
                  <a:pt x="2869" y="1392"/>
                  <a:pt x="2780" y="1659"/>
                </a:cubicBezTo>
                <a:cubicBezTo>
                  <a:pt x="2623" y="1044"/>
                  <a:pt x="2364" y="496"/>
                  <a:pt x="2223" y="398"/>
                </a:cubicBezTo>
                <a:cubicBezTo>
                  <a:pt x="2175" y="365"/>
                  <a:pt x="2120" y="349"/>
                  <a:pt x="2065" y="349"/>
                </a:cubicBezTo>
                <a:cubicBezTo>
                  <a:pt x="2010" y="349"/>
                  <a:pt x="1957" y="365"/>
                  <a:pt x="1912" y="398"/>
                </a:cubicBezTo>
                <a:cubicBezTo>
                  <a:pt x="1779" y="487"/>
                  <a:pt x="1556" y="962"/>
                  <a:pt x="1409" y="1533"/>
                </a:cubicBezTo>
                <a:cubicBezTo>
                  <a:pt x="1409" y="1525"/>
                  <a:pt x="1402" y="1525"/>
                  <a:pt x="1402" y="1525"/>
                </a:cubicBezTo>
                <a:cubicBezTo>
                  <a:pt x="1353" y="1495"/>
                  <a:pt x="1297" y="1480"/>
                  <a:pt x="1242" y="1480"/>
                </a:cubicBezTo>
                <a:cubicBezTo>
                  <a:pt x="1186" y="1480"/>
                  <a:pt x="1131" y="1495"/>
                  <a:pt x="1082" y="1525"/>
                </a:cubicBezTo>
                <a:cubicBezTo>
                  <a:pt x="957" y="1591"/>
                  <a:pt x="749" y="1954"/>
                  <a:pt x="601" y="2392"/>
                </a:cubicBezTo>
                <a:cubicBezTo>
                  <a:pt x="548" y="2288"/>
                  <a:pt x="497" y="2214"/>
                  <a:pt x="459" y="2185"/>
                </a:cubicBezTo>
                <a:cubicBezTo>
                  <a:pt x="426" y="2163"/>
                  <a:pt x="386" y="2152"/>
                  <a:pt x="345" y="2152"/>
                </a:cubicBezTo>
                <a:cubicBezTo>
                  <a:pt x="304" y="2152"/>
                  <a:pt x="264" y="2163"/>
                  <a:pt x="230" y="2185"/>
                </a:cubicBezTo>
                <a:cubicBezTo>
                  <a:pt x="171" y="2230"/>
                  <a:pt x="82" y="2384"/>
                  <a:pt x="0" y="2607"/>
                </a:cubicBezTo>
                <a:lnTo>
                  <a:pt x="9559" y="2607"/>
                </a:lnTo>
                <a:lnTo>
                  <a:pt x="9559" y="1954"/>
                </a:lnTo>
                <a:cubicBezTo>
                  <a:pt x="9419" y="1465"/>
                  <a:pt x="9241" y="1074"/>
                  <a:pt x="9138" y="992"/>
                </a:cubicBezTo>
                <a:cubicBezTo>
                  <a:pt x="9093" y="958"/>
                  <a:pt x="9041" y="941"/>
                  <a:pt x="8989" y="941"/>
                </a:cubicBezTo>
                <a:cubicBezTo>
                  <a:pt x="8937" y="941"/>
                  <a:pt x="8885" y="958"/>
                  <a:pt x="8841" y="992"/>
                </a:cubicBezTo>
                <a:cubicBezTo>
                  <a:pt x="8752" y="1058"/>
                  <a:pt x="8618" y="1341"/>
                  <a:pt x="8499" y="1710"/>
                </a:cubicBezTo>
                <a:cubicBezTo>
                  <a:pt x="8441" y="1570"/>
                  <a:pt x="8382" y="1474"/>
                  <a:pt x="8337" y="1444"/>
                </a:cubicBezTo>
                <a:cubicBezTo>
                  <a:pt x="8300" y="1414"/>
                  <a:pt x="8256" y="1400"/>
                  <a:pt x="8211" y="1400"/>
                </a:cubicBezTo>
                <a:cubicBezTo>
                  <a:pt x="8167" y="1400"/>
                  <a:pt x="8122" y="1414"/>
                  <a:pt x="8085" y="1444"/>
                </a:cubicBezTo>
                <a:cubicBezTo>
                  <a:pt x="8055" y="1465"/>
                  <a:pt x="8026" y="1509"/>
                  <a:pt x="7989" y="1577"/>
                </a:cubicBezTo>
                <a:cubicBezTo>
                  <a:pt x="7877" y="1273"/>
                  <a:pt x="7759" y="1051"/>
                  <a:pt x="7685" y="992"/>
                </a:cubicBezTo>
                <a:cubicBezTo>
                  <a:pt x="7647" y="962"/>
                  <a:pt x="7596" y="947"/>
                  <a:pt x="7544" y="947"/>
                </a:cubicBezTo>
                <a:cubicBezTo>
                  <a:pt x="7411" y="487"/>
                  <a:pt x="7240" y="124"/>
                  <a:pt x="7137" y="51"/>
                </a:cubicBezTo>
                <a:cubicBezTo>
                  <a:pt x="7093" y="17"/>
                  <a:pt x="7041" y="1"/>
                  <a:pt x="6988" y="1"/>
                </a:cubicBezTo>
                <a:close/>
              </a:path>
            </a:pathLst>
          </a:custGeom>
          <a:solidFill>
            <a:srgbClr val="8AC93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9" name="Google Shape;1179;p20"/>
          <p:cNvSpPr/>
          <p:nvPr/>
        </p:nvSpPr>
        <p:spPr>
          <a:xfrm>
            <a:off x="382103" y="291163"/>
            <a:ext cx="248263" cy="248333"/>
          </a:xfrm>
          <a:custGeom>
            <a:avLst/>
            <a:gdLst/>
            <a:ahLst/>
            <a:cxnLst/>
            <a:rect l="l" t="t" r="r" b="b"/>
            <a:pathLst>
              <a:path w="3535" h="3536" extrusionOk="0">
                <a:moveTo>
                  <a:pt x="1763" y="0"/>
                </a:moveTo>
                <a:cubicBezTo>
                  <a:pt x="785" y="0"/>
                  <a:pt x="1" y="794"/>
                  <a:pt x="1" y="1772"/>
                </a:cubicBezTo>
                <a:cubicBezTo>
                  <a:pt x="1" y="2750"/>
                  <a:pt x="785" y="3536"/>
                  <a:pt x="1763" y="3536"/>
                </a:cubicBezTo>
                <a:cubicBezTo>
                  <a:pt x="2741" y="3536"/>
                  <a:pt x="3534" y="2750"/>
                  <a:pt x="3534" y="1772"/>
                </a:cubicBezTo>
                <a:cubicBezTo>
                  <a:pt x="3534" y="794"/>
                  <a:pt x="2741" y="0"/>
                  <a:pt x="1763" y="0"/>
                </a:cubicBezTo>
                <a:close/>
              </a:path>
            </a:pathLst>
          </a:custGeom>
          <a:solidFill>
            <a:srgbClr val="FFD65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0" name="Google Shape;1180;p20"/>
          <p:cNvSpPr/>
          <p:nvPr/>
        </p:nvSpPr>
        <p:spPr>
          <a:xfrm>
            <a:off x="678137" y="594675"/>
            <a:ext cx="662243" cy="178361"/>
          </a:xfrm>
          <a:custGeom>
            <a:avLst/>
            <a:gdLst/>
            <a:ahLst/>
            <a:cxnLst/>
            <a:rect l="l" t="t" r="r" b="b"/>
            <a:pathLst>
              <a:path w="7812" h="2104" extrusionOk="0">
                <a:moveTo>
                  <a:pt x="4136" y="0"/>
                </a:moveTo>
                <a:cubicBezTo>
                  <a:pt x="3424" y="0"/>
                  <a:pt x="2846" y="571"/>
                  <a:pt x="2846" y="1282"/>
                </a:cubicBezTo>
                <a:lnTo>
                  <a:pt x="2846" y="1304"/>
                </a:lnTo>
                <a:cubicBezTo>
                  <a:pt x="2765" y="1273"/>
                  <a:pt x="2676" y="1252"/>
                  <a:pt x="2580" y="1252"/>
                </a:cubicBezTo>
                <a:cubicBezTo>
                  <a:pt x="2380" y="1252"/>
                  <a:pt x="2194" y="1327"/>
                  <a:pt x="2046" y="1444"/>
                </a:cubicBezTo>
                <a:cubicBezTo>
                  <a:pt x="1906" y="1259"/>
                  <a:pt x="1683" y="1140"/>
                  <a:pt x="1438" y="1140"/>
                </a:cubicBezTo>
                <a:cubicBezTo>
                  <a:pt x="1082" y="1140"/>
                  <a:pt x="794" y="1371"/>
                  <a:pt x="691" y="1690"/>
                </a:cubicBezTo>
                <a:cubicBezTo>
                  <a:pt x="675" y="1690"/>
                  <a:pt x="654" y="1682"/>
                  <a:pt x="638" y="1682"/>
                </a:cubicBezTo>
                <a:cubicBezTo>
                  <a:pt x="350" y="1682"/>
                  <a:pt x="104" y="1860"/>
                  <a:pt x="1" y="2104"/>
                </a:cubicBezTo>
                <a:lnTo>
                  <a:pt x="7796" y="2104"/>
                </a:lnTo>
                <a:cubicBezTo>
                  <a:pt x="7812" y="2052"/>
                  <a:pt x="7812" y="1994"/>
                  <a:pt x="7812" y="1933"/>
                </a:cubicBezTo>
                <a:cubicBezTo>
                  <a:pt x="7812" y="1467"/>
                  <a:pt x="7433" y="1081"/>
                  <a:pt x="6967" y="1081"/>
                </a:cubicBezTo>
                <a:cubicBezTo>
                  <a:pt x="6714" y="1081"/>
                  <a:pt x="6499" y="1193"/>
                  <a:pt x="6344" y="1355"/>
                </a:cubicBezTo>
                <a:cubicBezTo>
                  <a:pt x="6181" y="1185"/>
                  <a:pt x="5958" y="1074"/>
                  <a:pt x="5706" y="1074"/>
                </a:cubicBezTo>
                <a:cubicBezTo>
                  <a:pt x="5603" y="1074"/>
                  <a:pt x="5500" y="1096"/>
                  <a:pt x="5411" y="1126"/>
                </a:cubicBezTo>
                <a:cubicBezTo>
                  <a:pt x="5329" y="489"/>
                  <a:pt x="4795" y="0"/>
                  <a:pt x="4136" y="0"/>
                </a:cubicBezTo>
                <a:close/>
              </a:path>
            </a:pathLst>
          </a:custGeom>
          <a:solidFill>
            <a:srgbClr val="A1E1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1" name="Google Shape;1181;p20"/>
          <p:cNvSpPr/>
          <p:nvPr/>
        </p:nvSpPr>
        <p:spPr>
          <a:xfrm>
            <a:off x="530744" y="330929"/>
            <a:ext cx="364946" cy="108763"/>
          </a:xfrm>
          <a:custGeom>
            <a:avLst/>
            <a:gdLst/>
            <a:ahLst/>
            <a:cxnLst/>
            <a:rect l="l" t="t" r="r" b="b"/>
            <a:pathLst>
              <a:path w="4305" h="1283" extrusionOk="0">
                <a:moveTo>
                  <a:pt x="2179" y="0"/>
                </a:moveTo>
                <a:cubicBezTo>
                  <a:pt x="1690" y="0"/>
                  <a:pt x="1297" y="400"/>
                  <a:pt x="1297" y="882"/>
                </a:cubicBezTo>
                <a:lnTo>
                  <a:pt x="1297" y="912"/>
                </a:lnTo>
                <a:cubicBezTo>
                  <a:pt x="1223" y="889"/>
                  <a:pt x="1148" y="882"/>
                  <a:pt x="1068" y="882"/>
                </a:cubicBezTo>
                <a:cubicBezTo>
                  <a:pt x="904" y="896"/>
                  <a:pt x="764" y="971"/>
                  <a:pt x="659" y="1074"/>
                </a:cubicBezTo>
                <a:cubicBezTo>
                  <a:pt x="593" y="1053"/>
                  <a:pt x="518" y="1046"/>
                  <a:pt x="445" y="1046"/>
                </a:cubicBezTo>
                <a:cubicBezTo>
                  <a:pt x="259" y="1060"/>
                  <a:pt x="104" y="1149"/>
                  <a:pt x="1" y="1282"/>
                </a:cubicBezTo>
                <a:lnTo>
                  <a:pt x="4297" y="1282"/>
                </a:lnTo>
                <a:cubicBezTo>
                  <a:pt x="4297" y="1268"/>
                  <a:pt x="4304" y="1261"/>
                  <a:pt x="4304" y="1245"/>
                </a:cubicBezTo>
                <a:cubicBezTo>
                  <a:pt x="4277" y="910"/>
                  <a:pt x="4002" y="659"/>
                  <a:pt x="3677" y="659"/>
                </a:cubicBezTo>
                <a:cubicBezTo>
                  <a:pt x="3664" y="659"/>
                  <a:pt x="3651" y="659"/>
                  <a:pt x="3638" y="660"/>
                </a:cubicBezTo>
                <a:cubicBezTo>
                  <a:pt x="3453" y="674"/>
                  <a:pt x="3298" y="772"/>
                  <a:pt x="3193" y="905"/>
                </a:cubicBezTo>
                <a:cubicBezTo>
                  <a:pt x="3149" y="889"/>
                  <a:pt x="3104" y="889"/>
                  <a:pt x="3060" y="889"/>
                </a:cubicBezTo>
                <a:lnTo>
                  <a:pt x="3060" y="882"/>
                </a:lnTo>
                <a:cubicBezTo>
                  <a:pt x="3060" y="400"/>
                  <a:pt x="2660" y="0"/>
                  <a:pt x="2179" y="0"/>
                </a:cubicBezTo>
                <a:close/>
              </a:path>
            </a:pathLst>
          </a:custGeom>
          <a:solidFill>
            <a:srgbClr val="A1E1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2" name="Google Shape;1182;p20"/>
          <p:cNvSpPr/>
          <p:nvPr/>
        </p:nvSpPr>
        <p:spPr>
          <a:xfrm>
            <a:off x="1002600" y="245571"/>
            <a:ext cx="94149" cy="45600"/>
          </a:xfrm>
          <a:custGeom>
            <a:avLst/>
            <a:gdLst/>
            <a:ahLst/>
            <a:cxnLst/>
            <a:rect l="l" t="t" r="r" b="b"/>
            <a:pathLst>
              <a:path w="993" h="481" extrusionOk="0">
                <a:moveTo>
                  <a:pt x="851" y="0"/>
                </a:moveTo>
                <a:cubicBezTo>
                  <a:pt x="787" y="0"/>
                  <a:pt x="715" y="30"/>
                  <a:pt x="644" y="89"/>
                </a:cubicBezTo>
                <a:cubicBezTo>
                  <a:pt x="578" y="141"/>
                  <a:pt x="534" y="207"/>
                  <a:pt x="511" y="267"/>
                </a:cubicBezTo>
                <a:cubicBezTo>
                  <a:pt x="459" y="230"/>
                  <a:pt x="394" y="192"/>
                  <a:pt x="312" y="178"/>
                </a:cubicBezTo>
                <a:cubicBezTo>
                  <a:pt x="281" y="173"/>
                  <a:pt x="251" y="170"/>
                  <a:pt x="224" y="170"/>
                </a:cubicBezTo>
                <a:cubicBezTo>
                  <a:pt x="93" y="170"/>
                  <a:pt x="6" y="227"/>
                  <a:pt x="1" y="326"/>
                </a:cubicBezTo>
                <a:cubicBezTo>
                  <a:pt x="1" y="326"/>
                  <a:pt x="33" y="251"/>
                  <a:pt x="203" y="251"/>
                </a:cubicBezTo>
                <a:cubicBezTo>
                  <a:pt x="233" y="251"/>
                  <a:pt x="266" y="253"/>
                  <a:pt x="305" y="258"/>
                </a:cubicBezTo>
                <a:cubicBezTo>
                  <a:pt x="386" y="274"/>
                  <a:pt x="445" y="303"/>
                  <a:pt x="490" y="333"/>
                </a:cubicBezTo>
                <a:lnTo>
                  <a:pt x="490" y="480"/>
                </a:lnTo>
                <a:lnTo>
                  <a:pt x="555" y="466"/>
                </a:lnTo>
                <a:lnTo>
                  <a:pt x="630" y="452"/>
                </a:lnTo>
                <a:lnTo>
                  <a:pt x="555" y="319"/>
                </a:lnTo>
                <a:cubicBezTo>
                  <a:pt x="586" y="274"/>
                  <a:pt x="623" y="214"/>
                  <a:pt x="689" y="162"/>
                </a:cubicBezTo>
                <a:cubicBezTo>
                  <a:pt x="782" y="77"/>
                  <a:pt x="862" y="57"/>
                  <a:pt x="916" y="57"/>
                </a:cubicBezTo>
                <a:cubicBezTo>
                  <a:pt x="964" y="57"/>
                  <a:pt x="993" y="73"/>
                  <a:pt x="993" y="73"/>
                </a:cubicBezTo>
                <a:cubicBezTo>
                  <a:pt x="958" y="24"/>
                  <a:pt x="908" y="0"/>
                  <a:pt x="851" y="0"/>
                </a:cubicBezTo>
                <a:close/>
              </a:path>
            </a:pathLst>
          </a:custGeom>
          <a:solidFill>
            <a:srgbClr val="AAACB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3" name="Google Shape;1183;p20"/>
          <p:cNvSpPr/>
          <p:nvPr/>
        </p:nvSpPr>
        <p:spPr>
          <a:xfrm>
            <a:off x="1014250" y="406050"/>
            <a:ext cx="152274" cy="73751"/>
          </a:xfrm>
          <a:custGeom>
            <a:avLst/>
            <a:gdLst/>
            <a:ahLst/>
            <a:cxnLst/>
            <a:rect l="l" t="t" r="r" b="b"/>
            <a:pathLst>
              <a:path w="993" h="481" extrusionOk="0">
                <a:moveTo>
                  <a:pt x="851" y="0"/>
                </a:moveTo>
                <a:cubicBezTo>
                  <a:pt x="787" y="0"/>
                  <a:pt x="715" y="30"/>
                  <a:pt x="644" y="89"/>
                </a:cubicBezTo>
                <a:cubicBezTo>
                  <a:pt x="578" y="141"/>
                  <a:pt x="534" y="207"/>
                  <a:pt x="511" y="267"/>
                </a:cubicBezTo>
                <a:cubicBezTo>
                  <a:pt x="459" y="230"/>
                  <a:pt x="394" y="192"/>
                  <a:pt x="312" y="178"/>
                </a:cubicBezTo>
                <a:cubicBezTo>
                  <a:pt x="281" y="173"/>
                  <a:pt x="251" y="170"/>
                  <a:pt x="224" y="170"/>
                </a:cubicBezTo>
                <a:cubicBezTo>
                  <a:pt x="93" y="170"/>
                  <a:pt x="6" y="227"/>
                  <a:pt x="1" y="326"/>
                </a:cubicBezTo>
                <a:cubicBezTo>
                  <a:pt x="1" y="326"/>
                  <a:pt x="33" y="251"/>
                  <a:pt x="203" y="251"/>
                </a:cubicBezTo>
                <a:cubicBezTo>
                  <a:pt x="233" y="251"/>
                  <a:pt x="266" y="253"/>
                  <a:pt x="305" y="258"/>
                </a:cubicBezTo>
                <a:cubicBezTo>
                  <a:pt x="386" y="274"/>
                  <a:pt x="445" y="303"/>
                  <a:pt x="490" y="333"/>
                </a:cubicBezTo>
                <a:lnTo>
                  <a:pt x="490" y="480"/>
                </a:lnTo>
                <a:lnTo>
                  <a:pt x="555" y="466"/>
                </a:lnTo>
                <a:lnTo>
                  <a:pt x="630" y="452"/>
                </a:lnTo>
                <a:lnTo>
                  <a:pt x="555" y="319"/>
                </a:lnTo>
                <a:cubicBezTo>
                  <a:pt x="586" y="274"/>
                  <a:pt x="623" y="214"/>
                  <a:pt x="689" y="162"/>
                </a:cubicBezTo>
                <a:cubicBezTo>
                  <a:pt x="782" y="77"/>
                  <a:pt x="862" y="57"/>
                  <a:pt x="916" y="57"/>
                </a:cubicBezTo>
                <a:cubicBezTo>
                  <a:pt x="964" y="57"/>
                  <a:pt x="993" y="73"/>
                  <a:pt x="993" y="73"/>
                </a:cubicBezTo>
                <a:cubicBezTo>
                  <a:pt x="958" y="24"/>
                  <a:pt x="908" y="0"/>
                  <a:pt x="851" y="0"/>
                </a:cubicBezTo>
                <a:close/>
              </a:path>
            </a:pathLst>
          </a:custGeom>
          <a:solidFill>
            <a:srgbClr val="AAACB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4" name="Google Shape;1184;p20"/>
          <p:cNvSpPr/>
          <p:nvPr/>
        </p:nvSpPr>
        <p:spPr>
          <a:xfrm>
            <a:off x="1285075" y="378463"/>
            <a:ext cx="152274" cy="73751"/>
          </a:xfrm>
          <a:custGeom>
            <a:avLst/>
            <a:gdLst/>
            <a:ahLst/>
            <a:cxnLst/>
            <a:rect l="l" t="t" r="r" b="b"/>
            <a:pathLst>
              <a:path w="993" h="481" extrusionOk="0">
                <a:moveTo>
                  <a:pt x="851" y="0"/>
                </a:moveTo>
                <a:cubicBezTo>
                  <a:pt x="787" y="0"/>
                  <a:pt x="715" y="30"/>
                  <a:pt x="644" y="89"/>
                </a:cubicBezTo>
                <a:cubicBezTo>
                  <a:pt x="578" y="141"/>
                  <a:pt x="534" y="207"/>
                  <a:pt x="511" y="267"/>
                </a:cubicBezTo>
                <a:cubicBezTo>
                  <a:pt x="459" y="230"/>
                  <a:pt x="394" y="192"/>
                  <a:pt x="312" y="178"/>
                </a:cubicBezTo>
                <a:cubicBezTo>
                  <a:pt x="281" y="173"/>
                  <a:pt x="251" y="170"/>
                  <a:pt x="224" y="170"/>
                </a:cubicBezTo>
                <a:cubicBezTo>
                  <a:pt x="93" y="170"/>
                  <a:pt x="6" y="227"/>
                  <a:pt x="1" y="326"/>
                </a:cubicBezTo>
                <a:cubicBezTo>
                  <a:pt x="1" y="326"/>
                  <a:pt x="33" y="251"/>
                  <a:pt x="203" y="251"/>
                </a:cubicBezTo>
                <a:cubicBezTo>
                  <a:pt x="233" y="251"/>
                  <a:pt x="266" y="253"/>
                  <a:pt x="305" y="258"/>
                </a:cubicBezTo>
                <a:cubicBezTo>
                  <a:pt x="386" y="274"/>
                  <a:pt x="445" y="303"/>
                  <a:pt x="490" y="333"/>
                </a:cubicBezTo>
                <a:lnTo>
                  <a:pt x="490" y="480"/>
                </a:lnTo>
                <a:lnTo>
                  <a:pt x="555" y="466"/>
                </a:lnTo>
                <a:lnTo>
                  <a:pt x="630" y="452"/>
                </a:lnTo>
                <a:lnTo>
                  <a:pt x="555" y="319"/>
                </a:lnTo>
                <a:cubicBezTo>
                  <a:pt x="586" y="274"/>
                  <a:pt x="623" y="214"/>
                  <a:pt x="689" y="162"/>
                </a:cubicBezTo>
                <a:cubicBezTo>
                  <a:pt x="782" y="77"/>
                  <a:pt x="862" y="57"/>
                  <a:pt x="916" y="57"/>
                </a:cubicBezTo>
                <a:cubicBezTo>
                  <a:pt x="964" y="57"/>
                  <a:pt x="993" y="73"/>
                  <a:pt x="993" y="73"/>
                </a:cubicBezTo>
                <a:cubicBezTo>
                  <a:pt x="958" y="24"/>
                  <a:pt x="908" y="0"/>
                  <a:pt x="851" y="0"/>
                </a:cubicBezTo>
                <a:close/>
              </a:path>
            </a:pathLst>
          </a:custGeom>
          <a:solidFill>
            <a:srgbClr val="AAACB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5" name="Google Shape;1185;p20"/>
          <p:cNvGrpSpPr/>
          <p:nvPr/>
        </p:nvGrpSpPr>
        <p:grpSpPr>
          <a:xfrm>
            <a:off x="8219788" y="4673082"/>
            <a:ext cx="292041" cy="265579"/>
            <a:chOff x="2902325" y="2072636"/>
            <a:chExt cx="187941" cy="170900"/>
          </a:xfrm>
        </p:grpSpPr>
        <p:sp>
          <p:nvSpPr>
            <p:cNvPr id="1186" name="Google Shape;1186;p20"/>
            <p:cNvSpPr/>
            <p:nvPr/>
          </p:nvSpPr>
          <p:spPr>
            <a:xfrm>
              <a:off x="2902325" y="2072636"/>
              <a:ext cx="187941" cy="84772"/>
            </a:xfrm>
            <a:custGeom>
              <a:avLst/>
              <a:gdLst/>
              <a:ahLst/>
              <a:cxnLst/>
              <a:rect l="l" t="t" r="r" b="b"/>
              <a:pathLst>
                <a:path w="2217" h="1000" extrusionOk="0">
                  <a:moveTo>
                    <a:pt x="157" y="0"/>
                  </a:moveTo>
                  <a:lnTo>
                    <a:pt x="0" y="1000"/>
                  </a:lnTo>
                  <a:lnTo>
                    <a:pt x="2216" y="1000"/>
                  </a:lnTo>
                  <a:lnTo>
                    <a:pt x="206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" name="Google Shape;1187;p20"/>
            <p:cNvSpPr/>
            <p:nvPr/>
          </p:nvSpPr>
          <p:spPr>
            <a:xfrm>
              <a:off x="2902325" y="2157322"/>
              <a:ext cx="187347" cy="86214"/>
            </a:xfrm>
            <a:custGeom>
              <a:avLst/>
              <a:gdLst/>
              <a:ahLst/>
              <a:cxnLst/>
              <a:rect l="l" t="t" r="r" b="b"/>
              <a:pathLst>
                <a:path w="2210" h="1017" extrusionOk="0">
                  <a:moveTo>
                    <a:pt x="0" y="1"/>
                  </a:moveTo>
                  <a:lnTo>
                    <a:pt x="0" y="1016"/>
                  </a:lnTo>
                  <a:lnTo>
                    <a:pt x="2209" y="1016"/>
                  </a:lnTo>
                  <a:lnTo>
                    <a:pt x="220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" name="Google Shape;1188;p20"/>
            <p:cNvSpPr/>
            <p:nvPr/>
          </p:nvSpPr>
          <p:spPr>
            <a:xfrm>
              <a:off x="2936827" y="2187501"/>
              <a:ext cx="18904" cy="28399"/>
            </a:xfrm>
            <a:custGeom>
              <a:avLst/>
              <a:gdLst/>
              <a:ahLst/>
              <a:cxnLst/>
              <a:rect l="l" t="t" r="r" b="b"/>
              <a:pathLst>
                <a:path w="223" h="335" extrusionOk="0">
                  <a:moveTo>
                    <a:pt x="8" y="0"/>
                  </a:moveTo>
                  <a:lnTo>
                    <a:pt x="1" y="16"/>
                  </a:lnTo>
                  <a:lnTo>
                    <a:pt x="216" y="335"/>
                  </a:lnTo>
                  <a:lnTo>
                    <a:pt x="223" y="32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" name="Google Shape;1189;p20"/>
            <p:cNvSpPr/>
            <p:nvPr/>
          </p:nvSpPr>
          <p:spPr>
            <a:xfrm>
              <a:off x="2936827" y="2187501"/>
              <a:ext cx="18904" cy="28399"/>
            </a:xfrm>
            <a:custGeom>
              <a:avLst/>
              <a:gdLst/>
              <a:ahLst/>
              <a:cxnLst/>
              <a:rect l="l" t="t" r="r" b="b"/>
              <a:pathLst>
                <a:path w="223" h="335" extrusionOk="0">
                  <a:moveTo>
                    <a:pt x="216" y="0"/>
                  </a:moveTo>
                  <a:lnTo>
                    <a:pt x="1" y="320"/>
                  </a:lnTo>
                  <a:lnTo>
                    <a:pt x="8" y="335"/>
                  </a:lnTo>
                  <a:lnTo>
                    <a:pt x="223" y="16"/>
                  </a:lnTo>
                  <a:lnTo>
                    <a:pt x="2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" name="Google Shape;1190;p20"/>
            <p:cNvSpPr/>
            <p:nvPr/>
          </p:nvSpPr>
          <p:spPr>
            <a:xfrm>
              <a:off x="2936827" y="2187501"/>
              <a:ext cx="18904" cy="28399"/>
            </a:xfrm>
            <a:custGeom>
              <a:avLst/>
              <a:gdLst/>
              <a:ahLst/>
              <a:cxnLst/>
              <a:rect l="l" t="t" r="r" b="b"/>
              <a:pathLst>
                <a:path w="223" h="335" extrusionOk="0">
                  <a:moveTo>
                    <a:pt x="209" y="16"/>
                  </a:moveTo>
                  <a:lnTo>
                    <a:pt x="209" y="320"/>
                  </a:lnTo>
                  <a:lnTo>
                    <a:pt x="17" y="320"/>
                  </a:lnTo>
                  <a:lnTo>
                    <a:pt x="17" y="16"/>
                  </a:lnTo>
                  <a:close/>
                  <a:moveTo>
                    <a:pt x="1" y="0"/>
                  </a:moveTo>
                  <a:lnTo>
                    <a:pt x="1" y="335"/>
                  </a:lnTo>
                  <a:lnTo>
                    <a:pt x="223" y="335"/>
                  </a:lnTo>
                  <a:lnTo>
                    <a:pt x="2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" name="Google Shape;1191;p20"/>
            <p:cNvSpPr/>
            <p:nvPr/>
          </p:nvSpPr>
          <p:spPr>
            <a:xfrm>
              <a:off x="2936827" y="2214628"/>
              <a:ext cx="18904" cy="28229"/>
            </a:xfrm>
            <a:custGeom>
              <a:avLst/>
              <a:gdLst/>
              <a:ahLst/>
              <a:cxnLst/>
              <a:rect l="l" t="t" r="r" b="b"/>
              <a:pathLst>
                <a:path w="223" h="333" extrusionOk="0">
                  <a:moveTo>
                    <a:pt x="8" y="0"/>
                  </a:moveTo>
                  <a:lnTo>
                    <a:pt x="1" y="15"/>
                  </a:lnTo>
                  <a:lnTo>
                    <a:pt x="216" y="333"/>
                  </a:lnTo>
                  <a:lnTo>
                    <a:pt x="223" y="319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" name="Google Shape;1192;p20"/>
            <p:cNvSpPr/>
            <p:nvPr/>
          </p:nvSpPr>
          <p:spPr>
            <a:xfrm>
              <a:off x="2936827" y="2214628"/>
              <a:ext cx="18904" cy="28229"/>
            </a:xfrm>
            <a:custGeom>
              <a:avLst/>
              <a:gdLst/>
              <a:ahLst/>
              <a:cxnLst/>
              <a:rect l="l" t="t" r="r" b="b"/>
              <a:pathLst>
                <a:path w="223" h="333" extrusionOk="0">
                  <a:moveTo>
                    <a:pt x="216" y="0"/>
                  </a:moveTo>
                  <a:lnTo>
                    <a:pt x="1" y="319"/>
                  </a:lnTo>
                  <a:lnTo>
                    <a:pt x="8" y="333"/>
                  </a:lnTo>
                  <a:lnTo>
                    <a:pt x="223" y="15"/>
                  </a:lnTo>
                  <a:lnTo>
                    <a:pt x="2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" name="Google Shape;1193;p20"/>
            <p:cNvSpPr/>
            <p:nvPr/>
          </p:nvSpPr>
          <p:spPr>
            <a:xfrm>
              <a:off x="2936827" y="2214628"/>
              <a:ext cx="18904" cy="28229"/>
            </a:xfrm>
            <a:custGeom>
              <a:avLst/>
              <a:gdLst/>
              <a:ahLst/>
              <a:cxnLst/>
              <a:rect l="l" t="t" r="r" b="b"/>
              <a:pathLst>
                <a:path w="223" h="333" extrusionOk="0">
                  <a:moveTo>
                    <a:pt x="209" y="15"/>
                  </a:moveTo>
                  <a:lnTo>
                    <a:pt x="209" y="319"/>
                  </a:lnTo>
                  <a:lnTo>
                    <a:pt x="17" y="319"/>
                  </a:lnTo>
                  <a:lnTo>
                    <a:pt x="17" y="15"/>
                  </a:lnTo>
                  <a:close/>
                  <a:moveTo>
                    <a:pt x="1" y="0"/>
                  </a:moveTo>
                  <a:lnTo>
                    <a:pt x="1" y="333"/>
                  </a:lnTo>
                  <a:lnTo>
                    <a:pt x="223" y="333"/>
                  </a:lnTo>
                  <a:lnTo>
                    <a:pt x="2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" name="Google Shape;1194;p20"/>
            <p:cNvSpPr/>
            <p:nvPr/>
          </p:nvSpPr>
          <p:spPr>
            <a:xfrm>
              <a:off x="2954459" y="2187501"/>
              <a:ext cx="18989" cy="28399"/>
            </a:xfrm>
            <a:custGeom>
              <a:avLst/>
              <a:gdLst/>
              <a:ahLst/>
              <a:cxnLst/>
              <a:rect l="l" t="t" r="r" b="b"/>
              <a:pathLst>
                <a:path w="224" h="335" extrusionOk="0">
                  <a:moveTo>
                    <a:pt x="15" y="0"/>
                  </a:moveTo>
                  <a:lnTo>
                    <a:pt x="1" y="16"/>
                  </a:lnTo>
                  <a:lnTo>
                    <a:pt x="216" y="335"/>
                  </a:lnTo>
                  <a:lnTo>
                    <a:pt x="223" y="32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" name="Google Shape;1195;p20"/>
            <p:cNvSpPr/>
            <p:nvPr/>
          </p:nvSpPr>
          <p:spPr>
            <a:xfrm>
              <a:off x="2954459" y="2187501"/>
              <a:ext cx="18989" cy="28399"/>
            </a:xfrm>
            <a:custGeom>
              <a:avLst/>
              <a:gdLst/>
              <a:ahLst/>
              <a:cxnLst/>
              <a:rect l="l" t="t" r="r" b="b"/>
              <a:pathLst>
                <a:path w="224" h="335" extrusionOk="0">
                  <a:moveTo>
                    <a:pt x="216" y="0"/>
                  </a:moveTo>
                  <a:lnTo>
                    <a:pt x="1" y="320"/>
                  </a:lnTo>
                  <a:lnTo>
                    <a:pt x="15" y="335"/>
                  </a:lnTo>
                  <a:lnTo>
                    <a:pt x="223" y="16"/>
                  </a:lnTo>
                  <a:lnTo>
                    <a:pt x="2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" name="Google Shape;1196;p20"/>
            <p:cNvSpPr/>
            <p:nvPr/>
          </p:nvSpPr>
          <p:spPr>
            <a:xfrm>
              <a:off x="2954459" y="2187501"/>
              <a:ext cx="19582" cy="28399"/>
            </a:xfrm>
            <a:custGeom>
              <a:avLst/>
              <a:gdLst/>
              <a:ahLst/>
              <a:cxnLst/>
              <a:rect l="l" t="t" r="r" b="b"/>
              <a:pathLst>
                <a:path w="231" h="335" extrusionOk="0">
                  <a:moveTo>
                    <a:pt x="216" y="16"/>
                  </a:moveTo>
                  <a:lnTo>
                    <a:pt x="216" y="320"/>
                  </a:lnTo>
                  <a:lnTo>
                    <a:pt x="15" y="320"/>
                  </a:lnTo>
                  <a:lnTo>
                    <a:pt x="15" y="16"/>
                  </a:lnTo>
                  <a:close/>
                  <a:moveTo>
                    <a:pt x="1" y="0"/>
                  </a:moveTo>
                  <a:lnTo>
                    <a:pt x="1" y="335"/>
                  </a:lnTo>
                  <a:lnTo>
                    <a:pt x="230" y="335"/>
                  </a:lnTo>
                  <a:lnTo>
                    <a:pt x="23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" name="Google Shape;1197;p20"/>
            <p:cNvSpPr/>
            <p:nvPr/>
          </p:nvSpPr>
          <p:spPr>
            <a:xfrm>
              <a:off x="2954459" y="2214628"/>
              <a:ext cx="18989" cy="28229"/>
            </a:xfrm>
            <a:custGeom>
              <a:avLst/>
              <a:gdLst/>
              <a:ahLst/>
              <a:cxnLst/>
              <a:rect l="l" t="t" r="r" b="b"/>
              <a:pathLst>
                <a:path w="224" h="333" extrusionOk="0">
                  <a:moveTo>
                    <a:pt x="15" y="0"/>
                  </a:moveTo>
                  <a:lnTo>
                    <a:pt x="1" y="15"/>
                  </a:lnTo>
                  <a:lnTo>
                    <a:pt x="216" y="333"/>
                  </a:lnTo>
                  <a:lnTo>
                    <a:pt x="223" y="319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" name="Google Shape;1198;p20"/>
            <p:cNvSpPr/>
            <p:nvPr/>
          </p:nvSpPr>
          <p:spPr>
            <a:xfrm>
              <a:off x="2954459" y="2214628"/>
              <a:ext cx="18989" cy="28229"/>
            </a:xfrm>
            <a:custGeom>
              <a:avLst/>
              <a:gdLst/>
              <a:ahLst/>
              <a:cxnLst/>
              <a:rect l="l" t="t" r="r" b="b"/>
              <a:pathLst>
                <a:path w="224" h="333" extrusionOk="0">
                  <a:moveTo>
                    <a:pt x="216" y="0"/>
                  </a:moveTo>
                  <a:lnTo>
                    <a:pt x="1" y="319"/>
                  </a:lnTo>
                  <a:lnTo>
                    <a:pt x="15" y="333"/>
                  </a:lnTo>
                  <a:lnTo>
                    <a:pt x="223" y="15"/>
                  </a:lnTo>
                  <a:lnTo>
                    <a:pt x="2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" name="Google Shape;1199;p20"/>
            <p:cNvSpPr/>
            <p:nvPr/>
          </p:nvSpPr>
          <p:spPr>
            <a:xfrm>
              <a:off x="2954459" y="2214628"/>
              <a:ext cx="19582" cy="28229"/>
            </a:xfrm>
            <a:custGeom>
              <a:avLst/>
              <a:gdLst/>
              <a:ahLst/>
              <a:cxnLst/>
              <a:rect l="l" t="t" r="r" b="b"/>
              <a:pathLst>
                <a:path w="231" h="333" extrusionOk="0">
                  <a:moveTo>
                    <a:pt x="216" y="15"/>
                  </a:moveTo>
                  <a:lnTo>
                    <a:pt x="216" y="319"/>
                  </a:lnTo>
                  <a:lnTo>
                    <a:pt x="15" y="319"/>
                  </a:lnTo>
                  <a:lnTo>
                    <a:pt x="15" y="15"/>
                  </a:lnTo>
                  <a:close/>
                  <a:moveTo>
                    <a:pt x="1" y="0"/>
                  </a:moveTo>
                  <a:lnTo>
                    <a:pt x="1" y="333"/>
                  </a:lnTo>
                  <a:lnTo>
                    <a:pt x="230" y="333"/>
                  </a:lnTo>
                  <a:lnTo>
                    <a:pt x="23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" name="Google Shape;1200;p20"/>
            <p:cNvSpPr/>
            <p:nvPr/>
          </p:nvSpPr>
          <p:spPr>
            <a:xfrm>
              <a:off x="3018547" y="2187501"/>
              <a:ext cx="18904" cy="28399"/>
            </a:xfrm>
            <a:custGeom>
              <a:avLst/>
              <a:gdLst/>
              <a:ahLst/>
              <a:cxnLst/>
              <a:rect l="l" t="t" r="r" b="b"/>
              <a:pathLst>
                <a:path w="223" h="335" extrusionOk="0">
                  <a:moveTo>
                    <a:pt x="8" y="0"/>
                  </a:moveTo>
                  <a:lnTo>
                    <a:pt x="1" y="16"/>
                  </a:lnTo>
                  <a:lnTo>
                    <a:pt x="216" y="335"/>
                  </a:lnTo>
                  <a:lnTo>
                    <a:pt x="223" y="32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" name="Google Shape;1201;p20"/>
            <p:cNvSpPr/>
            <p:nvPr/>
          </p:nvSpPr>
          <p:spPr>
            <a:xfrm>
              <a:off x="3018547" y="2187501"/>
              <a:ext cx="18904" cy="28399"/>
            </a:xfrm>
            <a:custGeom>
              <a:avLst/>
              <a:gdLst/>
              <a:ahLst/>
              <a:cxnLst/>
              <a:rect l="l" t="t" r="r" b="b"/>
              <a:pathLst>
                <a:path w="223" h="335" extrusionOk="0">
                  <a:moveTo>
                    <a:pt x="216" y="0"/>
                  </a:moveTo>
                  <a:lnTo>
                    <a:pt x="1" y="320"/>
                  </a:lnTo>
                  <a:lnTo>
                    <a:pt x="8" y="335"/>
                  </a:lnTo>
                  <a:lnTo>
                    <a:pt x="223" y="16"/>
                  </a:lnTo>
                  <a:lnTo>
                    <a:pt x="2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" name="Google Shape;1202;p20"/>
            <p:cNvSpPr/>
            <p:nvPr/>
          </p:nvSpPr>
          <p:spPr>
            <a:xfrm>
              <a:off x="3018547" y="2187501"/>
              <a:ext cx="18904" cy="28399"/>
            </a:xfrm>
            <a:custGeom>
              <a:avLst/>
              <a:gdLst/>
              <a:ahLst/>
              <a:cxnLst/>
              <a:rect l="l" t="t" r="r" b="b"/>
              <a:pathLst>
                <a:path w="223" h="335" extrusionOk="0">
                  <a:moveTo>
                    <a:pt x="209" y="16"/>
                  </a:moveTo>
                  <a:lnTo>
                    <a:pt x="209" y="320"/>
                  </a:lnTo>
                  <a:lnTo>
                    <a:pt x="15" y="320"/>
                  </a:lnTo>
                  <a:lnTo>
                    <a:pt x="15" y="16"/>
                  </a:lnTo>
                  <a:close/>
                  <a:moveTo>
                    <a:pt x="1" y="0"/>
                  </a:moveTo>
                  <a:lnTo>
                    <a:pt x="1" y="335"/>
                  </a:lnTo>
                  <a:lnTo>
                    <a:pt x="223" y="335"/>
                  </a:lnTo>
                  <a:lnTo>
                    <a:pt x="2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" name="Google Shape;1203;p20"/>
            <p:cNvSpPr/>
            <p:nvPr/>
          </p:nvSpPr>
          <p:spPr>
            <a:xfrm>
              <a:off x="3018547" y="2214628"/>
              <a:ext cx="18904" cy="28229"/>
            </a:xfrm>
            <a:custGeom>
              <a:avLst/>
              <a:gdLst/>
              <a:ahLst/>
              <a:cxnLst/>
              <a:rect l="l" t="t" r="r" b="b"/>
              <a:pathLst>
                <a:path w="223" h="333" extrusionOk="0">
                  <a:moveTo>
                    <a:pt x="8" y="0"/>
                  </a:moveTo>
                  <a:lnTo>
                    <a:pt x="1" y="15"/>
                  </a:lnTo>
                  <a:lnTo>
                    <a:pt x="216" y="333"/>
                  </a:lnTo>
                  <a:lnTo>
                    <a:pt x="223" y="319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" name="Google Shape;1204;p20"/>
            <p:cNvSpPr/>
            <p:nvPr/>
          </p:nvSpPr>
          <p:spPr>
            <a:xfrm>
              <a:off x="3018547" y="2214628"/>
              <a:ext cx="18904" cy="28229"/>
            </a:xfrm>
            <a:custGeom>
              <a:avLst/>
              <a:gdLst/>
              <a:ahLst/>
              <a:cxnLst/>
              <a:rect l="l" t="t" r="r" b="b"/>
              <a:pathLst>
                <a:path w="223" h="333" extrusionOk="0">
                  <a:moveTo>
                    <a:pt x="216" y="0"/>
                  </a:moveTo>
                  <a:lnTo>
                    <a:pt x="1" y="319"/>
                  </a:lnTo>
                  <a:lnTo>
                    <a:pt x="8" y="333"/>
                  </a:lnTo>
                  <a:lnTo>
                    <a:pt x="223" y="15"/>
                  </a:lnTo>
                  <a:lnTo>
                    <a:pt x="2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" name="Google Shape;1205;p20"/>
            <p:cNvSpPr/>
            <p:nvPr/>
          </p:nvSpPr>
          <p:spPr>
            <a:xfrm>
              <a:off x="3018547" y="2214628"/>
              <a:ext cx="18904" cy="28229"/>
            </a:xfrm>
            <a:custGeom>
              <a:avLst/>
              <a:gdLst/>
              <a:ahLst/>
              <a:cxnLst/>
              <a:rect l="l" t="t" r="r" b="b"/>
              <a:pathLst>
                <a:path w="223" h="333" extrusionOk="0">
                  <a:moveTo>
                    <a:pt x="209" y="15"/>
                  </a:moveTo>
                  <a:lnTo>
                    <a:pt x="209" y="319"/>
                  </a:lnTo>
                  <a:lnTo>
                    <a:pt x="15" y="319"/>
                  </a:lnTo>
                  <a:lnTo>
                    <a:pt x="15" y="15"/>
                  </a:lnTo>
                  <a:close/>
                  <a:moveTo>
                    <a:pt x="1" y="0"/>
                  </a:moveTo>
                  <a:lnTo>
                    <a:pt x="1" y="333"/>
                  </a:lnTo>
                  <a:lnTo>
                    <a:pt x="223" y="333"/>
                  </a:lnTo>
                  <a:lnTo>
                    <a:pt x="2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" name="Google Shape;1206;p20"/>
            <p:cNvSpPr/>
            <p:nvPr/>
          </p:nvSpPr>
          <p:spPr>
            <a:xfrm>
              <a:off x="3036179" y="2187501"/>
              <a:ext cx="18904" cy="28399"/>
            </a:xfrm>
            <a:custGeom>
              <a:avLst/>
              <a:gdLst/>
              <a:ahLst/>
              <a:cxnLst/>
              <a:rect l="l" t="t" r="r" b="b"/>
              <a:pathLst>
                <a:path w="223" h="335" extrusionOk="0">
                  <a:moveTo>
                    <a:pt x="15" y="0"/>
                  </a:moveTo>
                  <a:lnTo>
                    <a:pt x="1" y="16"/>
                  </a:lnTo>
                  <a:lnTo>
                    <a:pt x="214" y="335"/>
                  </a:lnTo>
                  <a:lnTo>
                    <a:pt x="223" y="32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" name="Google Shape;1207;p20"/>
            <p:cNvSpPr/>
            <p:nvPr/>
          </p:nvSpPr>
          <p:spPr>
            <a:xfrm>
              <a:off x="3036179" y="2187501"/>
              <a:ext cx="18904" cy="28399"/>
            </a:xfrm>
            <a:custGeom>
              <a:avLst/>
              <a:gdLst/>
              <a:ahLst/>
              <a:cxnLst/>
              <a:rect l="l" t="t" r="r" b="b"/>
              <a:pathLst>
                <a:path w="223" h="335" extrusionOk="0">
                  <a:moveTo>
                    <a:pt x="214" y="0"/>
                  </a:moveTo>
                  <a:lnTo>
                    <a:pt x="1" y="320"/>
                  </a:lnTo>
                  <a:lnTo>
                    <a:pt x="15" y="335"/>
                  </a:lnTo>
                  <a:lnTo>
                    <a:pt x="223" y="16"/>
                  </a:lnTo>
                  <a:lnTo>
                    <a:pt x="2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" name="Google Shape;1208;p20"/>
            <p:cNvSpPr/>
            <p:nvPr/>
          </p:nvSpPr>
          <p:spPr>
            <a:xfrm>
              <a:off x="3036179" y="2187501"/>
              <a:ext cx="19498" cy="28399"/>
            </a:xfrm>
            <a:custGeom>
              <a:avLst/>
              <a:gdLst/>
              <a:ahLst/>
              <a:cxnLst/>
              <a:rect l="l" t="t" r="r" b="b"/>
              <a:pathLst>
                <a:path w="230" h="335" extrusionOk="0">
                  <a:moveTo>
                    <a:pt x="214" y="16"/>
                  </a:moveTo>
                  <a:lnTo>
                    <a:pt x="214" y="320"/>
                  </a:lnTo>
                  <a:lnTo>
                    <a:pt x="15" y="320"/>
                  </a:lnTo>
                  <a:lnTo>
                    <a:pt x="15" y="16"/>
                  </a:lnTo>
                  <a:close/>
                  <a:moveTo>
                    <a:pt x="1" y="0"/>
                  </a:moveTo>
                  <a:lnTo>
                    <a:pt x="1" y="335"/>
                  </a:lnTo>
                  <a:lnTo>
                    <a:pt x="230" y="335"/>
                  </a:lnTo>
                  <a:lnTo>
                    <a:pt x="23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" name="Google Shape;1209;p20"/>
            <p:cNvSpPr/>
            <p:nvPr/>
          </p:nvSpPr>
          <p:spPr>
            <a:xfrm>
              <a:off x="3036179" y="2214628"/>
              <a:ext cx="18904" cy="28229"/>
            </a:xfrm>
            <a:custGeom>
              <a:avLst/>
              <a:gdLst/>
              <a:ahLst/>
              <a:cxnLst/>
              <a:rect l="l" t="t" r="r" b="b"/>
              <a:pathLst>
                <a:path w="223" h="333" extrusionOk="0">
                  <a:moveTo>
                    <a:pt x="15" y="0"/>
                  </a:moveTo>
                  <a:lnTo>
                    <a:pt x="1" y="15"/>
                  </a:lnTo>
                  <a:lnTo>
                    <a:pt x="214" y="333"/>
                  </a:lnTo>
                  <a:lnTo>
                    <a:pt x="223" y="319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" name="Google Shape;1210;p20"/>
            <p:cNvSpPr/>
            <p:nvPr/>
          </p:nvSpPr>
          <p:spPr>
            <a:xfrm>
              <a:off x="3036179" y="2214628"/>
              <a:ext cx="18904" cy="28229"/>
            </a:xfrm>
            <a:custGeom>
              <a:avLst/>
              <a:gdLst/>
              <a:ahLst/>
              <a:cxnLst/>
              <a:rect l="l" t="t" r="r" b="b"/>
              <a:pathLst>
                <a:path w="223" h="333" extrusionOk="0">
                  <a:moveTo>
                    <a:pt x="214" y="0"/>
                  </a:moveTo>
                  <a:lnTo>
                    <a:pt x="1" y="319"/>
                  </a:lnTo>
                  <a:lnTo>
                    <a:pt x="15" y="333"/>
                  </a:lnTo>
                  <a:lnTo>
                    <a:pt x="223" y="15"/>
                  </a:lnTo>
                  <a:lnTo>
                    <a:pt x="2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" name="Google Shape;1211;p20"/>
            <p:cNvSpPr/>
            <p:nvPr/>
          </p:nvSpPr>
          <p:spPr>
            <a:xfrm>
              <a:off x="3036179" y="2214628"/>
              <a:ext cx="19498" cy="28229"/>
            </a:xfrm>
            <a:custGeom>
              <a:avLst/>
              <a:gdLst/>
              <a:ahLst/>
              <a:cxnLst/>
              <a:rect l="l" t="t" r="r" b="b"/>
              <a:pathLst>
                <a:path w="230" h="333" extrusionOk="0">
                  <a:moveTo>
                    <a:pt x="214" y="15"/>
                  </a:moveTo>
                  <a:lnTo>
                    <a:pt x="214" y="319"/>
                  </a:lnTo>
                  <a:lnTo>
                    <a:pt x="15" y="319"/>
                  </a:lnTo>
                  <a:lnTo>
                    <a:pt x="15" y="15"/>
                  </a:lnTo>
                  <a:close/>
                  <a:moveTo>
                    <a:pt x="1" y="0"/>
                  </a:moveTo>
                  <a:lnTo>
                    <a:pt x="1" y="333"/>
                  </a:lnTo>
                  <a:lnTo>
                    <a:pt x="230" y="333"/>
                  </a:lnTo>
                  <a:lnTo>
                    <a:pt x="23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11587B6-D3CD-3837-44DD-773CBC026E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391695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78" imgH="377" progId="TCLayout.ActiveDocument.1">
                  <p:embed/>
                </p:oleObj>
              </mc:Choice>
              <mc:Fallback>
                <p:oleObj name="think-cell Slide" r:id="rId16" imgW="378" imgH="37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1587B6-D3CD-3837-44DD-773CBC026E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aytone One"/>
              <a:buNone/>
              <a:defRPr sz="3000">
                <a:solidFill>
                  <a:schemeClr val="dk1"/>
                </a:solidFill>
                <a:latin typeface="Paytone One"/>
                <a:ea typeface="Paytone One"/>
                <a:cs typeface="Paytone One"/>
                <a:sym typeface="Paytone On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ebas Neue"/>
              <a:buNone/>
              <a:defRPr sz="35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ebas Neue"/>
              <a:buNone/>
              <a:defRPr sz="35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ebas Neue"/>
              <a:buNone/>
              <a:defRPr sz="35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ebas Neue"/>
              <a:buNone/>
              <a:defRPr sz="35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ebas Neue"/>
              <a:buNone/>
              <a:defRPr sz="35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ebas Neue"/>
              <a:buNone/>
              <a:defRPr sz="35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ebas Neue"/>
              <a:buNone/>
              <a:defRPr sz="35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ebas Neue"/>
              <a:buNone/>
              <a:defRPr sz="35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713225" y="1152475"/>
            <a:ext cx="77175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●"/>
              <a:defRPr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914400" lvl="1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○"/>
              <a:defRPr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371600" lvl="2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■"/>
              <a:defRPr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1828800" lvl="3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●"/>
              <a:defRPr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2286000" lvl="4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○"/>
              <a:defRPr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2743200" lvl="5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■"/>
              <a:defRPr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3200400" lvl="6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●"/>
              <a:defRPr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3657600" lvl="7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○"/>
              <a:defRPr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4114800" lvl="8" indent="-3175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400"/>
              <a:buFont typeface="Roboto"/>
              <a:buChar char="■"/>
              <a:defRPr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4" r:id="rId2"/>
    <p:sldLayoutId id="2147483657" r:id="rId3"/>
    <p:sldLayoutId id="2147483658" r:id="rId4"/>
    <p:sldLayoutId id="2147483662" r:id="rId5"/>
    <p:sldLayoutId id="2147483663" r:id="rId6"/>
    <p:sldLayoutId id="2147483664" r:id="rId7"/>
    <p:sldLayoutId id="2147483665" r:id="rId8"/>
    <p:sldLayoutId id="2147483666" r:id="rId9"/>
    <p:sldLayoutId id="2147483671" r:id="rId10"/>
    <p:sldLayoutId id="2147483673" r:id="rId11"/>
    <p:sldLayoutId id="2147483678" r:id="rId12"/>
    <p:sldLayoutId id="2147483679" r:id="rId1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microsoft.com/office/2018/10/relationships/comments" Target="../comments/modernComment_100_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2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6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7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microsoft.com/office/2018/10/relationships/comments" Target="../comments/modernComment_160_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microsoft.com/office/2018/10/relationships/comments" Target="../comments/modernComment_140_E2FAD14E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7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8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microsoft.com/office/2018/10/relationships/comments" Target="../comments/modernComment_161_DFAE94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9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2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3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5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hyperlink" Target="https://ourworldindata.org/co2-emissions" TargetMode="External"/><Relationship Id="rId3" Type="http://schemas.openxmlformats.org/officeDocument/2006/relationships/hyperlink" Target="https://19january2017snapshot.epa.gov/climatechange/social-cost-carbon_.html" TargetMode="External"/><Relationship Id="rId7" Type="http://schemas.openxmlformats.org/officeDocument/2006/relationships/hyperlink" Target="https://climateactiontracker.org/countries/india/targets/" TargetMode="Externa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orfonline.org/expert-speak/social-cost-of-carbon-as-a-policy-tool-challenges-in-the-indian-context#:~:text=A%20paper%20that%20analysed%20the,cost%20of%20US$%204.6%20billion" TargetMode="External"/><Relationship Id="rId11" Type="http://schemas.openxmlformats.org/officeDocument/2006/relationships/hyperlink" Target="https://www.indiabudget.gov.in/economicsurvey/" TargetMode="External"/><Relationship Id="rId5" Type="http://schemas.openxmlformats.org/officeDocument/2006/relationships/hyperlink" Target="https://www.rff.org/publications/data-tools/scc-explorer/" TargetMode="External"/><Relationship Id="rId10" Type="http://schemas.openxmlformats.org/officeDocument/2006/relationships/hyperlink" Target="https://ourworldindata.org/emissions-by-sector" TargetMode="External"/><Relationship Id="rId4" Type="http://schemas.openxmlformats.org/officeDocument/2006/relationships/hyperlink" Target="https://aneconomicsense.org/2023/09/04/estimating-the-social-cost-of-carbon/" TargetMode="External"/><Relationship Id="rId9" Type="http://schemas.openxmlformats.org/officeDocument/2006/relationships/hyperlink" Target="https://www.epa.gov/" TargetMode="Externa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microsoft.com/office/2018/10/relationships/comments" Target="../comments/modernComment_162_67B1D44A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450AF6F-33C5-AE08-913D-D229B970DA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5120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50AF6F-33C5-AE08-913D-D229B970DA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92" name="Google Shape;2492;p37"/>
          <p:cNvSpPr/>
          <p:nvPr/>
        </p:nvSpPr>
        <p:spPr>
          <a:xfrm>
            <a:off x="6208225" y="1611088"/>
            <a:ext cx="3611700" cy="3611700"/>
          </a:xfrm>
          <a:prstGeom prst="round2DiagRect">
            <a:avLst>
              <a:gd name="adj1" fmla="val 16667"/>
              <a:gd name="adj2" fmla="val 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93" name="Google Shape;2493;p37"/>
          <p:cNvSpPr txBox="1">
            <a:spLocks noGrp="1"/>
          </p:cNvSpPr>
          <p:nvPr>
            <p:ph type="ctrTitle"/>
          </p:nvPr>
        </p:nvSpPr>
        <p:spPr>
          <a:xfrm>
            <a:off x="161762" y="1445835"/>
            <a:ext cx="5113482" cy="18041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ethods and Policy Implications </a:t>
            </a:r>
            <a:endParaRPr dirty="0"/>
          </a:p>
        </p:txBody>
      </p:sp>
      <p:sp>
        <p:nvSpPr>
          <p:cNvPr id="2494" name="Google Shape;2494;p37"/>
          <p:cNvSpPr txBox="1">
            <a:spLocks noGrp="1"/>
          </p:cNvSpPr>
          <p:nvPr>
            <p:ph type="subTitle" idx="1"/>
          </p:nvPr>
        </p:nvSpPr>
        <p:spPr>
          <a:xfrm>
            <a:off x="314172" y="3416937"/>
            <a:ext cx="2621603" cy="156213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A1E1FD"/>
                </a:solidFill>
              </a:rPr>
              <a:t>Presented by:</a:t>
            </a:r>
          </a:p>
          <a:p>
            <a:pPr marL="0" lvl="0" indent="0"/>
            <a:r>
              <a:rPr lang="en-US" dirty="0"/>
              <a:t>Aditya Jagdale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Vishal Singh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aman Agnihotri</a:t>
            </a:r>
          </a:p>
          <a:p>
            <a:pPr marL="0" indent="0"/>
            <a:r>
              <a:rPr lang="en-US" dirty="0"/>
              <a:t>Shashank Singh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2495" name="Google Shape;2495;p37"/>
          <p:cNvGrpSpPr/>
          <p:nvPr/>
        </p:nvGrpSpPr>
        <p:grpSpPr>
          <a:xfrm>
            <a:off x="3567017" y="2459611"/>
            <a:ext cx="4962455" cy="2353774"/>
            <a:chOff x="3543047" y="2291777"/>
            <a:chExt cx="4962455" cy="2353774"/>
          </a:xfrm>
        </p:grpSpPr>
        <p:grpSp>
          <p:nvGrpSpPr>
            <p:cNvPr id="2496" name="Google Shape;2496;p37"/>
            <p:cNvGrpSpPr/>
            <p:nvPr/>
          </p:nvGrpSpPr>
          <p:grpSpPr>
            <a:xfrm>
              <a:off x="5144543" y="3090517"/>
              <a:ext cx="711915" cy="309843"/>
              <a:chOff x="5089506" y="3133229"/>
              <a:chExt cx="711915" cy="309843"/>
            </a:xfrm>
          </p:grpSpPr>
          <p:sp>
            <p:nvSpPr>
              <p:cNvPr id="2497" name="Google Shape;2497;p37"/>
              <p:cNvSpPr/>
              <p:nvPr/>
            </p:nvSpPr>
            <p:spPr>
              <a:xfrm>
                <a:off x="5089506" y="3133229"/>
                <a:ext cx="711915" cy="309843"/>
              </a:xfrm>
              <a:custGeom>
                <a:avLst/>
                <a:gdLst/>
                <a:ahLst/>
                <a:cxnLst/>
                <a:rect l="l" t="t" r="r" b="b"/>
                <a:pathLst>
                  <a:path w="8568" h="3729" extrusionOk="0">
                    <a:moveTo>
                      <a:pt x="4485" y="1"/>
                    </a:moveTo>
                    <a:cubicBezTo>
                      <a:pt x="4480" y="1"/>
                      <a:pt x="4475" y="1"/>
                      <a:pt x="4470" y="1"/>
                    </a:cubicBezTo>
                    <a:cubicBezTo>
                      <a:pt x="3848" y="17"/>
                      <a:pt x="3328" y="424"/>
                      <a:pt x="3150" y="995"/>
                    </a:cubicBezTo>
                    <a:cubicBezTo>
                      <a:pt x="3069" y="972"/>
                      <a:pt x="2987" y="965"/>
                      <a:pt x="2898" y="965"/>
                    </a:cubicBezTo>
                    <a:cubicBezTo>
                      <a:pt x="2231" y="979"/>
                      <a:pt x="1706" y="1521"/>
                      <a:pt x="1714" y="2188"/>
                    </a:cubicBezTo>
                    <a:lnTo>
                      <a:pt x="1632" y="2188"/>
                    </a:lnTo>
                    <a:cubicBezTo>
                      <a:pt x="698" y="2202"/>
                      <a:pt x="209" y="2862"/>
                      <a:pt x="1" y="3728"/>
                    </a:cubicBezTo>
                    <a:lnTo>
                      <a:pt x="8567" y="3602"/>
                    </a:lnTo>
                    <a:cubicBezTo>
                      <a:pt x="8382" y="2907"/>
                      <a:pt x="7826" y="2357"/>
                      <a:pt x="7130" y="2179"/>
                    </a:cubicBezTo>
                    <a:cubicBezTo>
                      <a:pt x="7108" y="1592"/>
                      <a:pt x="6626" y="1128"/>
                      <a:pt x="6033" y="1128"/>
                    </a:cubicBezTo>
                    <a:cubicBezTo>
                      <a:pt x="6028" y="1128"/>
                      <a:pt x="6024" y="1128"/>
                      <a:pt x="6019" y="1128"/>
                    </a:cubicBezTo>
                    <a:cubicBezTo>
                      <a:pt x="5975" y="1128"/>
                      <a:pt x="5921" y="1135"/>
                      <a:pt x="5877" y="1143"/>
                    </a:cubicBezTo>
                    <a:cubicBezTo>
                      <a:pt x="5744" y="488"/>
                      <a:pt x="5174" y="1"/>
                      <a:pt x="4485" y="1"/>
                    </a:cubicBezTo>
                    <a:close/>
                  </a:path>
                </a:pathLst>
              </a:custGeom>
              <a:solidFill>
                <a:srgbClr val="A1E1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98" name="Google Shape;2498;p37"/>
              <p:cNvSpPr/>
              <p:nvPr/>
            </p:nvSpPr>
            <p:spPr>
              <a:xfrm>
                <a:off x="5497810" y="3229281"/>
                <a:ext cx="78271" cy="156625"/>
              </a:xfrm>
              <a:custGeom>
                <a:avLst/>
                <a:gdLst/>
                <a:ahLst/>
                <a:cxnLst/>
                <a:rect l="l" t="t" r="r" b="b"/>
                <a:pathLst>
                  <a:path w="942" h="1885" extrusionOk="0">
                    <a:moveTo>
                      <a:pt x="941" y="1"/>
                    </a:moveTo>
                    <a:cubicBezTo>
                      <a:pt x="422" y="1"/>
                      <a:pt x="1" y="424"/>
                      <a:pt x="1" y="943"/>
                    </a:cubicBezTo>
                    <a:cubicBezTo>
                      <a:pt x="1" y="1461"/>
                      <a:pt x="422" y="1884"/>
                      <a:pt x="941" y="1884"/>
                    </a:cubicBezTo>
                    <a:cubicBezTo>
                      <a:pt x="941" y="1884"/>
                      <a:pt x="274" y="1713"/>
                      <a:pt x="230" y="943"/>
                    </a:cubicBezTo>
                    <a:cubicBezTo>
                      <a:pt x="193" y="246"/>
                      <a:pt x="941" y="1"/>
                      <a:pt x="941" y="1"/>
                    </a:cubicBezTo>
                    <a:close/>
                  </a:path>
                </a:pathLst>
              </a:custGeom>
              <a:solidFill>
                <a:srgbClr val="CBEFF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99" name="Google Shape;2499;p37"/>
              <p:cNvSpPr/>
              <p:nvPr/>
            </p:nvSpPr>
            <p:spPr>
              <a:xfrm>
                <a:off x="5098230" y="3321096"/>
                <a:ext cx="222349" cy="113418"/>
              </a:xfrm>
              <a:custGeom>
                <a:avLst/>
                <a:gdLst/>
                <a:ahLst/>
                <a:cxnLst/>
                <a:rect l="l" t="t" r="r" b="b"/>
                <a:pathLst>
                  <a:path w="2676" h="1365" extrusionOk="0">
                    <a:moveTo>
                      <a:pt x="1260" y="0"/>
                    </a:moveTo>
                    <a:cubicBezTo>
                      <a:pt x="1148" y="0"/>
                      <a:pt x="1045" y="16"/>
                      <a:pt x="942" y="38"/>
                    </a:cubicBezTo>
                    <a:cubicBezTo>
                      <a:pt x="481" y="222"/>
                      <a:pt x="186" y="616"/>
                      <a:pt x="1" y="1119"/>
                    </a:cubicBezTo>
                    <a:cubicBezTo>
                      <a:pt x="163" y="800"/>
                      <a:pt x="518" y="319"/>
                      <a:pt x="1267" y="267"/>
                    </a:cubicBezTo>
                    <a:lnTo>
                      <a:pt x="1356" y="267"/>
                    </a:lnTo>
                    <a:cubicBezTo>
                      <a:pt x="2320" y="267"/>
                      <a:pt x="2676" y="1364"/>
                      <a:pt x="2676" y="1364"/>
                    </a:cubicBezTo>
                    <a:cubicBezTo>
                      <a:pt x="2660" y="608"/>
                      <a:pt x="2037" y="0"/>
                      <a:pt x="1281" y="0"/>
                    </a:cubicBezTo>
                    <a:close/>
                  </a:path>
                </a:pathLst>
              </a:custGeom>
              <a:solidFill>
                <a:srgbClr val="CBEFF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00" name="Google Shape;2500;p37"/>
              <p:cNvSpPr/>
              <p:nvPr/>
            </p:nvSpPr>
            <p:spPr>
              <a:xfrm>
                <a:off x="5389445" y="3256351"/>
                <a:ext cx="42044" cy="41877"/>
              </a:xfrm>
              <a:custGeom>
                <a:avLst/>
                <a:gdLst/>
                <a:ahLst/>
                <a:cxnLst/>
                <a:rect l="l" t="t" r="r" b="b"/>
                <a:pathLst>
                  <a:path w="506" h="504" extrusionOk="0">
                    <a:moveTo>
                      <a:pt x="253" y="1"/>
                    </a:moveTo>
                    <a:cubicBezTo>
                      <a:pt x="113" y="1"/>
                      <a:pt x="0" y="113"/>
                      <a:pt x="0" y="253"/>
                    </a:cubicBezTo>
                    <a:cubicBezTo>
                      <a:pt x="0" y="394"/>
                      <a:pt x="113" y="504"/>
                      <a:pt x="253" y="504"/>
                    </a:cubicBezTo>
                    <a:cubicBezTo>
                      <a:pt x="394" y="504"/>
                      <a:pt x="506" y="394"/>
                      <a:pt x="506" y="253"/>
                    </a:cubicBezTo>
                    <a:cubicBezTo>
                      <a:pt x="506" y="113"/>
                      <a:pt x="394" y="1"/>
                      <a:pt x="253" y="1"/>
                    </a:cubicBezTo>
                    <a:close/>
                  </a:path>
                </a:pathLst>
              </a:custGeom>
              <a:solidFill>
                <a:srgbClr val="CBEFF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501" name="Google Shape;2501;p37"/>
            <p:cNvGrpSpPr/>
            <p:nvPr/>
          </p:nvGrpSpPr>
          <p:grpSpPr>
            <a:xfrm>
              <a:off x="3543047" y="3827485"/>
              <a:ext cx="564098" cy="245780"/>
              <a:chOff x="3406747" y="3772073"/>
              <a:chExt cx="564098" cy="245780"/>
            </a:xfrm>
          </p:grpSpPr>
          <p:sp>
            <p:nvSpPr>
              <p:cNvPr id="2502" name="Google Shape;2502;p37"/>
              <p:cNvSpPr/>
              <p:nvPr/>
            </p:nvSpPr>
            <p:spPr>
              <a:xfrm>
                <a:off x="3406747" y="3772073"/>
                <a:ext cx="564098" cy="245780"/>
              </a:xfrm>
              <a:custGeom>
                <a:avLst/>
                <a:gdLst/>
                <a:ahLst/>
                <a:cxnLst/>
                <a:rect l="l" t="t" r="r" b="b"/>
                <a:pathLst>
                  <a:path w="6789" h="2958" extrusionOk="0">
                    <a:moveTo>
                      <a:pt x="3232" y="0"/>
                    </a:moveTo>
                    <a:cubicBezTo>
                      <a:pt x="2690" y="0"/>
                      <a:pt x="2239" y="391"/>
                      <a:pt x="2135" y="906"/>
                    </a:cubicBezTo>
                    <a:cubicBezTo>
                      <a:pt x="2097" y="899"/>
                      <a:pt x="2062" y="899"/>
                      <a:pt x="2017" y="890"/>
                    </a:cubicBezTo>
                    <a:cubicBezTo>
                      <a:pt x="1550" y="890"/>
                      <a:pt x="1157" y="1261"/>
                      <a:pt x="1135" y="1727"/>
                    </a:cubicBezTo>
                    <a:cubicBezTo>
                      <a:pt x="586" y="1868"/>
                      <a:pt x="150" y="2305"/>
                      <a:pt x="1" y="2855"/>
                    </a:cubicBezTo>
                    <a:lnTo>
                      <a:pt x="6789" y="2958"/>
                    </a:lnTo>
                    <a:cubicBezTo>
                      <a:pt x="6625" y="2268"/>
                      <a:pt x="6241" y="1743"/>
                      <a:pt x="5499" y="1734"/>
                    </a:cubicBezTo>
                    <a:lnTo>
                      <a:pt x="5432" y="1734"/>
                    </a:lnTo>
                    <a:cubicBezTo>
                      <a:pt x="5441" y="1210"/>
                      <a:pt x="5025" y="772"/>
                      <a:pt x="4498" y="765"/>
                    </a:cubicBezTo>
                    <a:cubicBezTo>
                      <a:pt x="4425" y="765"/>
                      <a:pt x="4358" y="772"/>
                      <a:pt x="4292" y="787"/>
                    </a:cubicBezTo>
                    <a:cubicBezTo>
                      <a:pt x="4159" y="335"/>
                      <a:pt x="3742" y="9"/>
                      <a:pt x="3246" y="1"/>
                    </a:cubicBezTo>
                    <a:cubicBezTo>
                      <a:pt x="3241" y="1"/>
                      <a:pt x="3237" y="0"/>
                      <a:pt x="3232" y="0"/>
                    </a:cubicBezTo>
                    <a:close/>
                  </a:path>
                </a:pathLst>
              </a:custGeom>
              <a:solidFill>
                <a:srgbClr val="A1E1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03" name="Google Shape;2503;p37"/>
              <p:cNvSpPr/>
              <p:nvPr/>
            </p:nvSpPr>
            <p:spPr>
              <a:xfrm>
                <a:off x="3585390" y="3847851"/>
                <a:ext cx="62151" cy="124552"/>
              </a:xfrm>
              <a:custGeom>
                <a:avLst/>
                <a:gdLst/>
                <a:ahLst/>
                <a:cxnLst/>
                <a:rect l="l" t="t" r="r" b="b"/>
                <a:pathLst>
                  <a:path w="748" h="1499" extrusionOk="0">
                    <a:moveTo>
                      <a:pt x="1" y="1"/>
                    </a:moveTo>
                    <a:cubicBezTo>
                      <a:pt x="1" y="1"/>
                      <a:pt x="593" y="193"/>
                      <a:pt x="563" y="750"/>
                    </a:cubicBezTo>
                    <a:cubicBezTo>
                      <a:pt x="534" y="1365"/>
                      <a:pt x="1" y="1498"/>
                      <a:pt x="1" y="1498"/>
                    </a:cubicBezTo>
                    <a:cubicBezTo>
                      <a:pt x="415" y="1498"/>
                      <a:pt x="748" y="1164"/>
                      <a:pt x="748" y="750"/>
                    </a:cubicBezTo>
                    <a:cubicBezTo>
                      <a:pt x="748" y="333"/>
                      <a:pt x="415" y="1"/>
                      <a:pt x="1" y="1"/>
                    </a:cubicBezTo>
                    <a:close/>
                  </a:path>
                </a:pathLst>
              </a:custGeom>
              <a:solidFill>
                <a:srgbClr val="CBEFF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04" name="Google Shape;2504;p37"/>
              <p:cNvSpPr/>
              <p:nvPr/>
            </p:nvSpPr>
            <p:spPr>
              <a:xfrm>
                <a:off x="3901797" y="3923546"/>
                <a:ext cx="37557" cy="23598"/>
              </a:xfrm>
              <a:custGeom>
                <a:avLst/>
                <a:gdLst/>
                <a:ahLst/>
                <a:cxnLst/>
                <a:rect l="l" t="t" r="r" b="b"/>
                <a:pathLst>
                  <a:path w="452" h="284" extrusionOk="0">
                    <a:moveTo>
                      <a:pt x="0" y="0"/>
                    </a:moveTo>
                    <a:lnTo>
                      <a:pt x="0" y="0"/>
                    </a:lnTo>
                    <a:cubicBezTo>
                      <a:pt x="164" y="61"/>
                      <a:pt x="297" y="157"/>
                      <a:pt x="416" y="283"/>
                    </a:cubicBezTo>
                    <a:lnTo>
                      <a:pt x="452" y="232"/>
                    </a:lnTo>
                    <a:cubicBezTo>
                      <a:pt x="319" y="120"/>
                      <a:pt x="171" y="38"/>
                      <a:pt x="0" y="0"/>
                    </a:cubicBezTo>
                    <a:close/>
                  </a:path>
                </a:pathLst>
              </a:custGeom>
              <a:solidFill>
                <a:srgbClr val="959DA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05" name="Google Shape;2505;p37"/>
              <p:cNvSpPr/>
              <p:nvPr/>
            </p:nvSpPr>
            <p:spPr>
              <a:xfrm>
                <a:off x="3787880" y="3920554"/>
                <a:ext cx="148565" cy="90568"/>
              </a:xfrm>
              <a:custGeom>
                <a:avLst/>
                <a:gdLst/>
                <a:ahLst/>
                <a:cxnLst/>
                <a:rect l="l" t="t" r="r" b="b"/>
                <a:pathLst>
                  <a:path w="1788" h="1090" extrusionOk="0">
                    <a:moveTo>
                      <a:pt x="1105" y="1"/>
                    </a:moveTo>
                    <a:cubicBezTo>
                      <a:pt x="505" y="1"/>
                      <a:pt x="16" y="481"/>
                      <a:pt x="0" y="1089"/>
                    </a:cubicBezTo>
                    <a:cubicBezTo>
                      <a:pt x="0" y="1089"/>
                      <a:pt x="283" y="214"/>
                      <a:pt x="1046" y="214"/>
                    </a:cubicBezTo>
                    <a:lnTo>
                      <a:pt x="1121" y="214"/>
                    </a:lnTo>
                    <a:cubicBezTo>
                      <a:pt x="1364" y="237"/>
                      <a:pt x="1565" y="312"/>
                      <a:pt x="1713" y="415"/>
                    </a:cubicBezTo>
                    <a:lnTo>
                      <a:pt x="1787" y="319"/>
                    </a:lnTo>
                    <a:cubicBezTo>
                      <a:pt x="1668" y="193"/>
                      <a:pt x="1535" y="97"/>
                      <a:pt x="1371" y="36"/>
                    </a:cubicBezTo>
                    <a:cubicBezTo>
                      <a:pt x="1298" y="15"/>
                      <a:pt x="1209" y="1"/>
                      <a:pt x="1121" y="1"/>
                    </a:cubicBezTo>
                    <a:close/>
                  </a:path>
                </a:pathLst>
              </a:custGeom>
              <a:solidFill>
                <a:srgbClr val="CBEFF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506" name="Google Shape;2506;p37"/>
            <p:cNvSpPr/>
            <p:nvPr/>
          </p:nvSpPr>
          <p:spPr>
            <a:xfrm>
              <a:off x="4583678" y="2820859"/>
              <a:ext cx="603981" cy="219275"/>
            </a:xfrm>
            <a:custGeom>
              <a:avLst/>
              <a:gdLst/>
              <a:ahLst/>
              <a:cxnLst/>
              <a:rect l="l" t="t" r="r" b="b"/>
              <a:pathLst>
                <a:path w="7269" h="2639" extrusionOk="0">
                  <a:moveTo>
                    <a:pt x="3113" y="1"/>
                  </a:moveTo>
                  <a:cubicBezTo>
                    <a:pt x="2305" y="1"/>
                    <a:pt x="1615" y="497"/>
                    <a:pt x="1334" y="1192"/>
                  </a:cubicBezTo>
                  <a:cubicBezTo>
                    <a:pt x="1283" y="1185"/>
                    <a:pt x="1238" y="1185"/>
                    <a:pt x="1187" y="1185"/>
                  </a:cubicBezTo>
                  <a:cubicBezTo>
                    <a:pt x="534" y="1185"/>
                    <a:pt x="1" y="1712"/>
                    <a:pt x="1" y="2371"/>
                  </a:cubicBezTo>
                  <a:cubicBezTo>
                    <a:pt x="1" y="2460"/>
                    <a:pt x="15" y="2549"/>
                    <a:pt x="38" y="2638"/>
                  </a:cubicBezTo>
                  <a:lnTo>
                    <a:pt x="5876" y="2638"/>
                  </a:lnTo>
                  <a:cubicBezTo>
                    <a:pt x="5891" y="2624"/>
                    <a:pt x="5907" y="2615"/>
                    <a:pt x="5921" y="2601"/>
                  </a:cubicBezTo>
                  <a:cubicBezTo>
                    <a:pt x="5921" y="2615"/>
                    <a:pt x="5928" y="2624"/>
                    <a:pt x="5935" y="2638"/>
                  </a:cubicBezTo>
                  <a:lnTo>
                    <a:pt x="7217" y="2638"/>
                  </a:lnTo>
                  <a:cubicBezTo>
                    <a:pt x="7248" y="2556"/>
                    <a:pt x="7269" y="2467"/>
                    <a:pt x="7269" y="2371"/>
                  </a:cubicBezTo>
                  <a:cubicBezTo>
                    <a:pt x="7269" y="1986"/>
                    <a:pt x="6958" y="1674"/>
                    <a:pt x="6573" y="1674"/>
                  </a:cubicBezTo>
                  <a:cubicBezTo>
                    <a:pt x="6440" y="1674"/>
                    <a:pt x="6314" y="1712"/>
                    <a:pt x="6202" y="1779"/>
                  </a:cubicBezTo>
                  <a:cubicBezTo>
                    <a:pt x="6136" y="1335"/>
                    <a:pt x="5750" y="993"/>
                    <a:pt x="5291" y="993"/>
                  </a:cubicBezTo>
                  <a:cubicBezTo>
                    <a:pt x="5128" y="993"/>
                    <a:pt x="4980" y="1038"/>
                    <a:pt x="4854" y="1103"/>
                  </a:cubicBezTo>
                  <a:cubicBezTo>
                    <a:pt x="4543" y="453"/>
                    <a:pt x="3883" y="1"/>
                    <a:pt x="3113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2507" name="Google Shape;2507;p37"/>
            <p:cNvGrpSpPr/>
            <p:nvPr/>
          </p:nvGrpSpPr>
          <p:grpSpPr>
            <a:xfrm>
              <a:off x="5369392" y="2716836"/>
              <a:ext cx="335102" cy="121976"/>
              <a:chOff x="5369379" y="2651511"/>
              <a:chExt cx="335102" cy="121976"/>
            </a:xfrm>
          </p:grpSpPr>
          <p:sp>
            <p:nvSpPr>
              <p:cNvPr id="2508" name="Google Shape;2508;p37"/>
              <p:cNvSpPr/>
              <p:nvPr/>
            </p:nvSpPr>
            <p:spPr>
              <a:xfrm>
                <a:off x="5369379" y="2651511"/>
                <a:ext cx="335102" cy="121976"/>
              </a:xfrm>
              <a:custGeom>
                <a:avLst/>
                <a:gdLst/>
                <a:ahLst/>
                <a:cxnLst/>
                <a:rect l="l" t="t" r="r" b="b"/>
                <a:pathLst>
                  <a:path w="4033" h="1468" extrusionOk="0">
                    <a:moveTo>
                      <a:pt x="2306" y="0"/>
                    </a:moveTo>
                    <a:cubicBezTo>
                      <a:pt x="1875" y="0"/>
                      <a:pt x="1512" y="253"/>
                      <a:pt x="1342" y="616"/>
                    </a:cubicBezTo>
                    <a:cubicBezTo>
                      <a:pt x="1267" y="578"/>
                      <a:pt x="1187" y="557"/>
                      <a:pt x="1098" y="557"/>
                    </a:cubicBezTo>
                    <a:cubicBezTo>
                      <a:pt x="838" y="557"/>
                      <a:pt x="623" y="742"/>
                      <a:pt x="586" y="986"/>
                    </a:cubicBezTo>
                    <a:cubicBezTo>
                      <a:pt x="527" y="950"/>
                      <a:pt x="460" y="927"/>
                      <a:pt x="387" y="927"/>
                    </a:cubicBezTo>
                    <a:cubicBezTo>
                      <a:pt x="171" y="927"/>
                      <a:pt x="1" y="1105"/>
                      <a:pt x="1" y="1320"/>
                    </a:cubicBezTo>
                    <a:cubicBezTo>
                      <a:pt x="1" y="1372"/>
                      <a:pt x="8" y="1416"/>
                      <a:pt x="31" y="1468"/>
                    </a:cubicBezTo>
                    <a:lnTo>
                      <a:pt x="742" y="1468"/>
                    </a:lnTo>
                    <a:cubicBezTo>
                      <a:pt x="742" y="1460"/>
                      <a:pt x="742" y="1453"/>
                      <a:pt x="749" y="1446"/>
                    </a:cubicBezTo>
                    <a:cubicBezTo>
                      <a:pt x="757" y="1453"/>
                      <a:pt x="764" y="1460"/>
                      <a:pt x="771" y="1468"/>
                    </a:cubicBezTo>
                    <a:lnTo>
                      <a:pt x="4009" y="1468"/>
                    </a:lnTo>
                    <a:cubicBezTo>
                      <a:pt x="4023" y="1416"/>
                      <a:pt x="4032" y="1364"/>
                      <a:pt x="4032" y="1320"/>
                    </a:cubicBezTo>
                    <a:cubicBezTo>
                      <a:pt x="4032" y="957"/>
                      <a:pt x="3735" y="660"/>
                      <a:pt x="3373" y="660"/>
                    </a:cubicBezTo>
                    <a:cubicBezTo>
                      <a:pt x="3342" y="660"/>
                      <a:pt x="3321" y="660"/>
                      <a:pt x="3291" y="667"/>
                    </a:cubicBezTo>
                    <a:cubicBezTo>
                      <a:pt x="3134" y="274"/>
                      <a:pt x="2750" y="0"/>
                      <a:pt x="230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09" name="Google Shape;2509;p37"/>
              <p:cNvSpPr/>
              <p:nvPr/>
            </p:nvSpPr>
            <p:spPr>
              <a:xfrm>
                <a:off x="5480803" y="2651511"/>
                <a:ext cx="162025" cy="109097"/>
              </a:xfrm>
              <a:custGeom>
                <a:avLst/>
                <a:gdLst/>
                <a:ahLst/>
                <a:cxnLst/>
                <a:rect l="l" t="t" r="r" b="b"/>
                <a:pathLst>
                  <a:path w="1950" h="1313" extrusionOk="0">
                    <a:moveTo>
                      <a:pt x="965" y="0"/>
                    </a:moveTo>
                    <a:cubicBezTo>
                      <a:pt x="534" y="0"/>
                      <a:pt x="171" y="253"/>
                      <a:pt x="1" y="616"/>
                    </a:cubicBezTo>
                    <a:lnTo>
                      <a:pt x="1372" y="1313"/>
                    </a:lnTo>
                    <a:cubicBezTo>
                      <a:pt x="1372" y="979"/>
                      <a:pt x="1624" y="705"/>
                      <a:pt x="1950" y="660"/>
                    </a:cubicBezTo>
                    <a:cubicBezTo>
                      <a:pt x="1793" y="274"/>
                      <a:pt x="1409" y="0"/>
                      <a:pt x="96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10" name="Google Shape;2510;p37"/>
              <p:cNvSpPr/>
              <p:nvPr/>
            </p:nvSpPr>
            <p:spPr>
              <a:xfrm>
                <a:off x="5642745" y="2706350"/>
                <a:ext cx="61736" cy="54258"/>
              </a:xfrm>
              <a:custGeom>
                <a:avLst/>
                <a:gdLst/>
                <a:ahLst/>
                <a:cxnLst/>
                <a:rect l="l" t="t" r="r" b="b"/>
                <a:pathLst>
                  <a:path w="743" h="653" extrusionOk="0">
                    <a:moveTo>
                      <a:pt x="1" y="0"/>
                    </a:moveTo>
                    <a:lnTo>
                      <a:pt x="742" y="653"/>
                    </a:lnTo>
                    <a:cubicBezTo>
                      <a:pt x="742" y="290"/>
                      <a:pt x="445" y="0"/>
                      <a:pt x="8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11" name="Google Shape;2511;p37"/>
              <p:cNvSpPr/>
              <p:nvPr/>
            </p:nvSpPr>
            <p:spPr>
              <a:xfrm>
                <a:off x="5594719" y="2706350"/>
                <a:ext cx="48109" cy="54258"/>
              </a:xfrm>
              <a:custGeom>
                <a:avLst/>
                <a:gdLst/>
                <a:ahLst/>
                <a:cxnLst/>
                <a:rect l="l" t="t" r="r" b="b"/>
                <a:pathLst>
                  <a:path w="579" h="653" extrusionOk="0">
                    <a:moveTo>
                      <a:pt x="579" y="0"/>
                    </a:moveTo>
                    <a:cubicBezTo>
                      <a:pt x="253" y="45"/>
                      <a:pt x="1" y="319"/>
                      <a:pt x="1" y="653"/>
                    </a:cubicBezTo>
                    <a:lnTo>
                      <a:pt x="57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12" name="Google Shape;2512;p37"/>
              <p:cNvSpPr/>
              <p:nvPr/>
            </p:nvSpPr>
            <p:spPr>
              <a:xfrm>
                <a:off x="5417987" y="2697792"/>
                <a:ext cx="62899" cy="35646"/>
              </a:xfrm>
              <a:custGeom>
                <a:avLst/>
                <a:gdLst/>
                <a:ahLst/>
                <a:cxnLst/>
                <a:rect l="l" t="t" r="r" b="b"/>
                <a:pathLst>
                  <a:path w="757" h="429" extrusionOk="0">
                    <a:moveTo>
                      <a:pt x="513" y="0"/>
                    </a:moveTo>
                    <a:cubicBezTo>
                      <a:pt x="253" y="0"/>
                      <a:pt x="38" y="185"/>
                      <a:pt x="1" y="429"/>
                    </a:cubicBezTo>
                    <a:lnTo>
                      <a:pt x="757" y="59"/>
                    </a:lnTo>
                    <a:cubicBezTo>
                      <a:pt x="682" y="21"/>
                      <a:pt x="602" y="0"/>
                      <a:pt x="51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513" name="Google Shape;2513;p37"/>
            <p:cNvSpPr/>
            <p:nvPr/>
          </p:nvSpPr>
          <p:spPr>
            <a:xfrm>
              <a:off x="3698744" y="3470154"/>
              <a:ext cx="409551" cy="200745"/>
            </a:xfrm>
            <a:custGeom>
              <a:avLst/>
              <a:gdLst/>
              <a:ahLst/>
              <a:cxnLst/>
              <a:rect l="l" t="t" r="r" b="b"/>
              <a:pathLst>
                <a:path w="4929" h="2416" extrusionOk="0">
                  <a:moveTo>
                    <a:pt x="2165" y="1"/>
                  </a:moveTo>
                  <a:cubicBezTo>
                    <a:pt x="1290" y="1"/>
                    <a:pt x="579" y="682"/>
                    <a:pt x="527" y="1541"/>
                  </a:cubicBezTo>
                  <a:cubicBezTo>
                    <a:pt x="223" y="1601"/>
                    <a:pt x="1" y="1868"/>
                    <a:pt x="1" y="2186"/>
                  </a:cubicBezTo>
                  <a:cubicBezTo>
                    <a:pt x="1" y="2261"/>
                    <a:pt x="15" y="2341"/>
                    <a:pt x="45" y="2416"/>
                  </a:cubicBezTo>
                  <a:lnTo>
                    <a:pt x="4922" y="2416"/>
                  </a:lnTo>
                  <a:cubicBezTo>
                    <a:pt x="4922" y="2394"/>
                    <a:pt x="4929" y="2371"/>
                    <a:pt x="4929" y="2357"/>
                  </a:cubicBezTo>
                  <a:cubicBezTo>
                    <a:pt x="4929" y="1889"/>
                    <a:pt x="4550" y="1512"/>
                    <a:pt x="4084" y="1512"/>
                  </a:cubicBezTo>
                  <a:cubicBezTo>
                    <a:pt x="3988" y="1512"/>
                    <a:pt x="3890" y="1534"/>
                    <a:pt x="3810" y="1564"/>
                  </a:cubicBezTo>
                  <a:cubicBezTo>
                    <a:pt x="3766" y="696"/>
                    <a:pt x="3045" y="1"/>
                    <a:pt x="216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4" name="Google Shape;2514;p37"/>
            <p:cNvSpPr/>
            <p:nvPr/>
          </p:nvSpPr>
          <p:spPr>
            <a:xfrm>
              <a:off x="7550383" y="3515693"/>
              <a:ext cx="296382" cy="145324"/>
            </a:xfrm>
            <a:custGeom>
              <a:avLst/>
              <a:gdLst/>
              <a:ahLst/>
              <a:cxnLst/>
              <a:rect l="l" t="t" r="r" b="b"/>
              <a:pathLst>
                <a:path w="3567" h="1749" extrusionOk="0">
                  <a:moveTo>
                    <a:pt x="1566" y="0"/>
                  </a:moveTo>
                  <a:cubicBezTo>
                    <a:pt x="935" y="0"/>
                    <a:pt x="424" y="496"/>
                    <a:pt x="380" y="1112"/>
                  </a:cubicBezTo>
                  <a:cubicBezTo>
                    <a:pt x="165" y="1156"/>
                    <a:pt x="1" y="1348"/>
                    <a:pt x="1" y="1578"/>
                  </a:cubicBezTo>
                  <a:cubicBezTo>
                    <a:pt x="1" y="1638"/>
                    <a:pt x="17" y="1697"/>
                    <a:pt x="31" y="1748"/>
                  </a:cubicBezTo>
                  <a:lnTo>
                    <a:pt x="3567" y="1748"/>
                  </a:lnTo>
                  <a:lnTo>
                    <a:pt x="3567" y="1704"/>
                  </a:lnTo>
                  <a:cubicBezTo>
                    <a:pt x="3567" y="1371"/>
                    <a:pt x="3291" y="1098"/>
                    <a:pt x="2958" y="1098"/>
                  </a:cubicBezTo>
                  <a:cubicBezTo>
                    <a:pt x="2884" y="1098"/>
                    <a:pt x="2818" y="1112"/>
                    <a:pt x="2750" y="1133"/>
                  </a:cubicBezTo>
                  <a:cubicBezTo>
                    <a:pt x="2722" y="504"/>
                    <a:pt x="2203" y="0"/>
                    <a:pt x="1566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5" name="Google Shape;2515;p37"/>
            <p:cNvSpPr/>
            <p:nvPr/>
          </p:nvSpPr>
          <p:spPr>
            <a:xfrm>
              <a:off x="4270820" y="3715773"/>
              <a:ext cx="1197493" cy="666216"/>
            </a:xfrm>
            <a:custGeom>
              <a:avLst/>
              <a:gdLst/>
              <a:ahLst/>
              <a:cxnLst/>
              <a:rect l="l" t="t" r="r" b="b"/>
              <a:pathLst>
                <a:path w="14412" h="8018" extrusionOk="0">
                  <a:moveTo>
                    <a:pt x="8469" y="0"/>
                  </a:moveTo>
                  <a:cubicBezTo>
                    <a:pt x="8269" y="0"/>
                    <a:pt x="8106" y="171"/>
                    <a:pt x="8106" y="370"/>
                  </a:cubicBezTo>
                  <a:lnTo>
                    <a:pt x="8106" y="1675"/>
                  </a:lnTo>
                  <a:cubicBezTo>
                    <a:pt x="8106" y="1875"/>
                    <a:pt x="7935" y="2038"/>
                    <a:pt x="7736" y="2038"/>
                  </a:cubicBezTo>
                  <a:cubicBezTo>
                    <a:pt x="7542" y="2038"/>
                    <a:pt x="7387" y="1891"/>
                    <a:pt x="7371" y="1704"/>
                  </a:cubicBezTo>
                  <a:lnTo>
                    <a:pt x="7371" y="1037"/>
                  </a:lnTo>
                  <a:cubicBezTo>
                    <a:pt x="7371" y="838"/>
                    <a:pt x="7210" y="667"/>
                    <a:pt x="7009" y="667"/>
                  </a:cubicBezTo>
                  <a:cubicBezTo>
                    <a:pt x="6802" y="667"/>
                    <a:pt x="6639" y="838"/>
                    <a:pt x="6639" y="1037"/>
                  </a:cubicBezTo>
                  <a:lnTo>
                    <a:pt x="6639" y="1809"/>
                  </a:lnTo>
                  <a:cubicBezTo>
                    <a:pt x="6639" y="2015"/>
                    <a:pt x="6475" y="2179"/>
                    <a:pt x="6276" y="2179"/>
                  </a:cubicBezTo>
                  <a:cubicBezTo>
                    <a:pt x="6068" y="2179"/>
                    <a:pt x="5904" y="2015"/>
                    <a:pt x="5904" y="1809"/>
                  </a:cubicBezTo>
                  <a:lnTo>
                    <a:pt x="5904" y="601"/>
                  </a:lnTo>
                  <a:cubicBezTo>
                    <a:pt x="5904" y="393"/>
                    <a:pt x="5742" y="230"/>
                    <a:pt x="5534" y="230"/>
                  </a:cubicBezTo>
                  <a:cubicBezTo>
                    <a:pt x="5408" y="230"/>
                    <a:pt x="5298" y="297"/>
                    <a:pt x="5237" y="393"/>
                  </a:cubicBezTo>
                  <a:cubicBezTo>
                    <a:pt x="5193" y="452"/>
                    <a:pt x="5172" y="519"/>
                    <a:pt x="5172" y="601"/>
                  </a:cubicBezTo>
                  <a:lnTo>
                    <a:pt x="5172" y="993"/>
                  </a:lnTo>
                  <a:cubicBezTo>
                    <a:pt x="5172" y="1179"/>
                    <a:pt x="5015" y="1334"/>
                    <a:pt x="4830" y="1334"/>
                  </a:cubicBezTo>
                  <a:lnTo>
                    <a:pt x="4802" y="1334"/>
                  </a:lnTo>
                  <a:cubicBezTo>
                    <a:pt x="4631" y="1334"/>
                    <a:pt x="4490" y="1201"/>
                    <a:pt x="4467" y="1037"/>
                  </a:cubicBezTo>
                  <a:lnTo>
                    <a:pt x="288" y="6959"/>
                  </a:lnTo>
                  <a:cubicBezTo>
                    <a:pt x="0" y="7366"/>
                    <a:pt x="237" y="7982"/>
                    <a:pt x="711" y="8010"/>
                  </a:cubicBezTo>
                  <a:cubicBezTo>
                    <a:pt x="726" y="8017"/>
                    <a:pt x="740" y="8017"/>
                    <a:pt x="756" y="8017"/>
                  </a:cubicBezTo>
                  <a:lnTo>
                    <a:pt x="13656" y="8017"/>
                  </a:lnTo>
                  <a:cubicBezTo>
                    <a:pt x="13670" y="8017"/>
                    <a:pt x="13685" y="8017"/>
                    <a:pt x="13701" y="8010"/>
                  </a:cubicBezTo>
                  <a:cubicBezTo>
                    <a:pt x="14174" y="7982"/>
                    <a:pt x="14412" y="7366"/>
                    <a:pt x="14122" y="6959"/>
                  </a:cubicBezTo>
                  <a:lnTo>
                    <a:pt x="9550" y="527"/>
                  </a:lnTo>
                  <a:lnTo>
                    <a:pt x="9550" y="1341"/>
                  </a:lnTo>
                  <a:cubicBezTo>
                    <a:pt x="9550" y="1526"/>
                    <a:pt x="9395" y="1683"/>
                    <a:pt x="9210" y="1683"/>
                  </a:cubicBezTo>
                  <a:lnTo>
                    <a:pt x="9180" y="1683"/>
                  </a:lnTo>
                  <a:cubicBezTo>
                    <a:pt x="8988" y="1683"/>
                    <a:pt x="8839" y="1526"/>
                    <a:pt x="8839" y="1341"/>
                  </a:cubicBezTo>
                  <a:lnTo>
                    <a:pt x="8839" y="393"/>
                  </a:lnTo>
                  <a:lnTo>
                    <a:pt x="8839" y="370"/>
                  </a:lnTo>
                  <a:cubicBezTo>
                    <a:pt x="8839" y="171"/>
                    <a:pt x="8670" y="0"/>
                    <a:pt x="846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6" name="Google Shape;2516;p37"/>
            <p:cNvSpPr/>
            <p:nvPr/>
          </p:nvSpPr>
          <p:spPr>
            <a:xfrm>
              <a:off x="4628356" y="3569203"/>
              <a:ext cx="435973" cy="327624"/>
            </a:xfrm>
            <a:custGeom>
              <a:avLst/>
              <a:gdLst/>
              <a:ahLst/>
              <a:cxnLst/>
              <a:rect l="l" t="t" r="r" b="b"/>
              <a:pathLst>
                <a:path w="5247" h="3943" extrusionOk="0">
                  <a:moveTo>
                    <a:pt x="2891" y="0"/>
                  </a:moveTo>
                  <a:cubicBezTo>
                    <a:pt x="2418" y="0"/>
                    <a:pt x="1973" y="238"/>
                    <a:pt x="1683" y="646"/>
                  </a:cubicBezTo>
                  <a:lnTo>
                    <a:pt x="890" y="1771"/>
                  </a:lnTo>
                  <a:lnTo>
                    <a:pt x="890" y="1764"/>
                  </a:lnTo>
                  <a:lnTo>
                    <a:pt x="165" y="2804"/>
                  </a:lnTo>
                  <a:lnTo>
                    <a:pt x="165" y="2804"/>
                  </a:lnTo>
                  <a:cubicBezTo>
                    <a:pt x="165" y="2803"/>
                    <a:pt x="164" y="2802"/>
                    <a:pt x="164" y="2801"/>
                  </a:cubicBezTo>
                  <a:lnTo>
                    <a:pt x="1" y="3039"/>
                  </a:lnTo>
                  <a:lnTo>
                    <a:pt x="1" y="3039"/>
                  </a:lnTo>
                  <a:lnTo>
                    <a:pt x="165" y="2804"/>
                  </a:lnTo>
                  <a:lnTo>
                    <a:pt x="165" y="2804"/>
                  </a:lnTo>
                  <a:cubicBezTo>
                    <a:pt x="189" y="2966"/>
                    <a:pt x="329" y="3091"/>
                    <a:pt x="499" y="3091"/>
                  </a:cubicBezTo>
                  <a:lnTo>
                    <a:pt x="534" y="3091"/>
                  </a:lnTo>
                  <a:cubicBezTo>
                    <a:pt x="721" y="3091"/>
                    <a:pt x="876" y="2943"/>
                    <a:pt x="876" y="2749"/>
                  </a:cubicBezTo>
                  <a:lnTo>
                    <a:pt x="876" y="2356"/>
                  </a:lnTo>
                  <a:cubicBezTo>
                    <a:pt x="876" y="2283"/>
                    <a:pt x="899" y="2209"/>
                    <a:pt x="934" y="2157"/>
                  </a:cubicBezTo>
                  <a:cubicBezTo>
                    <a:pt x="943" y="2143"/>
                    <a:pt x="957" y="2127"/>
                    <a:pt x="965" y="2120"/>
                  </a:cubicBezTo>
                  <a:cubicBezTo>
                    <a:pt x="972" y="2113"/>
                    <a:pt x="972" y="2106"/>
                    <a:pt x="979" y="2099"/>
                  </a:cubicBezTo>
                  <a:cubicBezTo>
                    <a:pt x="988" y="2090"/>
                    <a:pt x="1002" y="2083"/>
                    <a:pt x="1009" y="2075"/>
                  </a:cubicBezTo>
                  <a:cubicBezTo>
                    <a:pt x="1023" y="2068"/>
                    <a:pt x="1032" y="2054"/>
                    <a:pt x="1046" y="2045"/>
                  </a:cubicBezTo>
                  <a:cubicBezTo>
                    <a:pt x="1053" y="2045"/>
                    <a:pt x="1061" y="2038"/>
                    <a:pt x="1068" y="2038"/>
                  </a:cubicBezTo>
                  <a:cubicBezTo>
                    <a:pt x="1091" y="2024"/>
                    <a:pt x="1121" y="2017"/>
                    <a:pt x="1142" y="2010"/>
                  </a:cubicBezTo>
                  <a:cubicBezTo>
                    <a:pt x="1173" y="2001"/>
                    <a:pt x="1201" y="1994"/>
                    <a:pt x="1231" y="1994"/>
                  </a:cubicBezTo>
                  <a:cubicBezTo>
                    <a:pt x="1439" y="1994"/>
                    <a:pt x="1601" y="2157"/>
                    <a:pt x="1601" y="2365"/>
                  </a:cubicBezTo>
                  <a:lnTo>
                    <a:pt x="1601" y="3573"/>
                  </a:lnTo>
                  <a:cubicBezTo>
                    <a:pt x="1601" y="3779"/>
                    <a:pt x="1765" y="3943"/>
                    <a:pt x="1973" y="3943"/>
                  </a:cubicBezTo>
                  <a:cubicBezTo>
                    <a:pt x="2172" y="3943"/>
                    <a:pt x="2336" y="3779"/>
                    <a:pt x="2336" y="3573"/>
                  </a:cubicBezTo>
                  <a:lnTo>
                    <a:pt x="2336" y="2801"/>
                  </a:lnTo>
                  <a:cubicBezTo>
                    <a:pt x="2336" y="2602"/>
                    <a:pt x="2499" y="2431"/>
                    <a:pt x="2706" y="2431"/>
                  </a:cubicBezTo>
                  <a:cubicBezTo>
                    <a:pt x="2907" y="2431"/>
                    <a:pt x="3068" y="2602"/>
                    <a:pt x="3068" y="2801"/>
                  </a:cubicBezTo>
                  <a:lnTo>
                    <a:pt x="3068" y="3468"/>
                  </a:lnTo>
                  <a:cubicBezTo>
                    <a:pt x="3084" y="3655"/>
                    <a:pt x="3239" y="3802"/>
                    <a:pt x="3433" y="3802"/>
                  </a:cubicBezTo>
                  <a:cubicBezTo>
                    <a:pt x="3632" y="3802"/>
                    <a:pt x="3803" y="3639"/>
                    <a:pt x="3803" y="3439"/>
                  </a:cubicBezTo>
                  <a:lnTo>
                    <a:pt x="3803" y="2134"/>
                  </a:lnTo>
                  <a:cubicBezTo>
                    <a:pt x="3803" y="1935"/>
                    <a:pt x="3966" y="1764"/>
                    <a:pt x="4166" y="1764"/>
                  </a:cubicBezTo>
                  <a:cubicBezTo>
                    <a:pt x="4367" y="1764"/>
                    <a:pt x="4536" y="1935"/>
                    <a:pt x="4536" y="2134"/>
                  </a:cubicBezTo>
                  <a:lnTo>
                    <a:pt x="4536" y="2157"/>
                  </a:lnTo>
                  <a:lnTo>
                    <a:pt x="4536" y="3105"/>
                  </a:lnTo>
                  <a:cubicBezTo>
                    <a:pt x="4536" y="3290"/>
                    <a:pt x="4685" y="3447"/>
                    <a:pt x="4870" y="3447"/>
                  </a:cubicBezTo>
                  <a:lnTo>
                    <a:pt x="4907" y="3447"/>
                  </a:lnTo>
                  <a:cubicBezTo>
                    <a:pt x="5092" y="3447"/>
                    <a:pt x="5247" y="3290"/>
                    <a:pt x="5247" y="3105"/>
                  </a:cubicBezTo>
                  <a:lnTo>
                    <a:pt x="5247" y="2291"/>
                  </a:lnTo>
                  <a:lnTo>
                    <a:pt x="4062" y="631"/>
                  </a:lnTo>
                  <a:cubicBezTo>
                    <a:pt x="3780" y="231"/>
                    <a:pt x="3351" y="0"/>
                    <a:pt x="2891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7" name="Google Shape;2517;p37"/>
            <p:cNvSpPr/>
            <p:nvPr/>
          </p:nvSpPr>
          <p:spPr>
            <a:xfrm>
              <a:off x="4317517" y="4131971"/>
              <a:ext cx="759276" cy="249353"/>
            </a:xfrm>
            <a:custGeom>
              <a:avLst/>
              <a:gdLst/>
              <a:ahLst/>
              <a:cxnLst/>
              <a:rect l="l" t="t" r="r" b="b"/>
              <a:pathLst>
                <a:path w="9138" h="3001" extrusionOk="0">
                  <a:moveTo>
                    <a:pt x="1104" y="1"/>
                  </a:moveTo>
                  <a:lnTo>
                    <a:pt x="0" y="1571"/>
                  </a:lnTo>
                  <a:cubicBezTo>
                    <a:pt x="75" y="1550"/>
                    <a:pt x="149" y="1534"/>
                    <a:pt x="229" y="1534"/>
                  </a:cubicBezTo>
                  <a:cubicBezTo>
                    <a:pt x="608" y="1534"/>
                    <a:pt x="912" y="1808"/>
                    <a:pt x="971" y="2172"/>
                  </a:cubicBezTo>
                  <a:cubicBezTo>
                    <a:pt x="1015" y="2149"/>
                    <a:pt x="1067" y="2135"/>
                    <a:pt x="1128" y="2135"/>
                  </a:cubicBezTo>
                  <a:cubicBezTo>
                    <a:pt x="1163" y="2135"/>
                    <a:pt x="1200" y="2142"/>
                    <a:pt x="1238" y="2156"/>
                  </a:cubicBezTo>
                  <a:cubicBezTo>
                    <a:pt x="1341" y="2030"/>
                    <a:pt x="1490" y="1957"/>
                    <a:pt x="1661" y="1957"/>
                  </a:cubicBezTo>
                  <a:cubicBezTo>
                    <a:pt x="1956" y="1957"/>
                    <a:pt x="2195" y="2201"/>
                    <a:pt x="2195" y="2498"/>
                  </a:cubicBezTo>
                  <a:lnTo>
                    <a:pt x="2195" y="2535"/>
                  </a:lnTo>
                  <a:cubicBezTo>
                    <a:pt x="2246" y="2498"/>
                    <a:pt x="2305" y="2467"/>
                    <a:pt x="2372" y="2467"/>
                  </a:cubicBezTo>
                  <a:cubicBezTo>
                    <a:pt x="2527" y="2467"/>
                    <a:pt x="2653" y="2594"/>
                    <a:pt x="2653" y="2750"/>
                  </a:cubicBezTo>
                  <a:cubicBezTo>
                    <a:pt x="2653" y="2860"/>
                    <a:pt x="2595" y="2957"/>
                    <a:pt x="2497" y="3001"/>
                  </a:cubicBezTo>
                  <a:lnTo>
                    <a:pt x="5188" y="3001"/>
                  </a:lnTo>
                  <a:cubicBezTo>
                    <a:pt x="5136" y="2973"/>
                    <a:pt x="5106" y="2912"/>
                    <a:pt x="5106" y="2853"/>
                  </a:cubicBezTo>
                  <a:cubicBezTo>
                    <a:pt x="5106" y="2750"/>
                    <a:pt x="5188" y="2668"/>
                    <a:pt x="5291" y="2668"/>
                  </a:cubicBezTo>
                  <a:cubicBezTo>
                    <a:pt x="5335" y="2668"/>
                    <a:pt x="5380" y="2683"/>
                    <a:pt x="5410" y="2706"/>
                  </a:cubicBezTo>
                  <a:lnTo>
                    <a:pt x="5410" y="2683"/>
                  </a:lnTo>
                  <a:cubicBezTo>
                    <a:pt x="5410" y="2483"/>
                    <a:pt x="5573" y="2327"/>
                    <a:pt x="5765" y="2327"/>
                  </a:cubicBezTo>
                  <a:cubicBezTo>
                    <a:pt x="5876" y="2327"/>
                    <a:pt x="5981" y="2379"/>
                    <a:pt x="6039" y="2453"/>
                  </a:cubicBezTo>
                  <a:cubicBezTo>
                    <a:pt x="6070" y="2446"/>
                    <a:pt x="6091" y="2446"/>
                    <a:pt x="6121" y="2446"/>
                  </a:cubicBezTo>
                  <a:cubicBezTo>
                    <a:pt x="6159" y="2446"/>
                    <a:pt x="6187" y="2453"/>
                    <a:pt x="6224" y="2467"/>
                  </a:cubicBezTo>
                  <a:cubicBezTo>
                    <a:pt x="6240" y="2357"/>
                    <a:pt x="6292" y="2261"/>
                    <a:pt x="6365" y="2186"/>
                  </a:cubicBezTo>
                  <a:lnTo>
                    <a:pt x="6388" y="734"/>
                  </a:lnTo>
                  <a:cubicBezTo>
                    <a:pt x="6402" y="734"/>
                    <a:pt x="6409" y="1505"/>
                    <a:pt x="6418" y="2142"/>
                  </a:cubicBezTo>
                  <a:cubicBezTo>
                    <a:pt x="6498" y="2083"/>
                    <a:pt x="6603" y="2046"/>
                    <a:pt x="6713" y="2046"/>
                  </a:cubicBezTo>
                  <a:cubicBezTo>
                    <a:pt x="6774" y="2046"/>
                    <a:pt x="6833" y="2060"/>
                    <a:pt x="6884" y="2074"/>
                  </a:cubicBezTo>
                  <a:cubicBezTo>
                    <a:pt x="7076" y="2135"/>
                    <a:pt x="7218" y="2306"/>
                    <a:pt x="7218" y="2512"/>
                  </a:cubicBezTo>
                  <a:lnTo>
                    <a:pt x="7218" y="2549"/>
                  </a:lnTo>
                  <a:cubicBezTo>
                    <a:pt x="7233" y="2542"/>
                    <a:pt x="7247" y="2542"/>
                    <a:pt x="7270" y="2542"/>
                  </a:cubicBezTo>
                  <a:lnTo>
                    <a:pt x="7284" y="2542"/>
                  </a:lnTo>
                  <a:cubicBezTo>
                    <a:pt x="7441" y="2386"/>
                    <a:pt x="7626" y="2245"/>
                    <a:pt x="7832" y="2112"/>
                  </a:cubicBezTo>
                  <a:cubicBezTo>
                    <a:pt x="7841" y="1934"/>
                    <a:pt x="7900" y="1756"/>
                    <a:pt x="8010" y="1601"/>
                  </a:cubicBezTo>
                  <a:lnTo>
                    <a:pt x="9137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8" name="Google Shape;2518;p37"/>
            <p:cNvSpPr/>
            <p:nvPr/>
          </p:nvSpPr>
          <p:spPr>
            <a:xfrm>
              <a:off x="4949749" y="3411082"/>
              <a:ext cx="1654488" cy="975310"/>
            </a:xfrm>
            <a:custGeom>
              <a:avLst/>
              <a:gdLst/>
              <a:ahLst/>
              <a:cxnLst/>
              <a:rect l="l" t="t" r="r" b="b"/>
              <a:pathLst>
                <a:path w="19912" h="11738" extrusionOk="0">
                  <a:moveTo>
                    <a:pt x="8752" y="0"/>
                  </a:moveTo>
                  <a:cubicBezTo>
                    <a:pt x="8604" y="0"/>
                    <a:pt x="8471" y="59"/>
                    <a:pt x="8368" y="155"/>
                  </a:cubicBezTo>
                  <a:cubicBezTo>
                    <a:pt x="8270" y="251"/>
                    <a:pt x="8211" y="391"/>
                    <a:pt x="8211" y="541"/>
                  </a:cubicBezTo>
                  <a:lnTo>
                    <a:pt x="8211" y="770"/>
                  </a:lnTo>
                  <a:lnTo>
                    <a:pt x="8211" y="3512"/>
                  </a:lnTo>
                  <a:lnTo>
                    <a:pt x="8211" y="3742"/>
                  </a:lnTo>
                  <a:cubicBezTo>
                    <a:pt x="8211" y="3890"/>
                    <a:pt x="8153" y="4023"/>
                    <a:pt x="8048" y="4126"/>
                  </a:cubicBezTo>
                  <a:cubicBezTo>
                    <a:pt x="7952" y="4224"/>
                    <a:pt x="7818" y="4283"/>
                    <a:pt x="7664" y="4283"/>
                  </a:cubicBezTo>
                  <a:cubicBezTo>
                    <a:pt x="7367" y="4283"/>
                    <a:pt x="7123" y="4037"/>
                    <a:pt x="7123" y="3742"/>
                  </a:cubicBezTo>
                  <a:lnTo>
                    <a:pt x="7123" y="770"/>
                  </a:lnTo>
                  <a:lnTo>
                    <a:pt x="7123" y="756"/>
                  </a:lnTo>
                  <a:lnTo>
                    <a:pt x="401" y="10277"/>
                  </a:lnTo>
                  <a:cubicBezTo>
                    <a:pt x="1" y="10848"/>
                    <a:pt x="328" y="11693"/>
                    <a:pt x="979" y="11737"/>
                  </a:cubicBezTo>
                  <a:lnTo>
                    <a:pt x="18933" y="11737"/>
                  </a:lnTo>
                  <a:cubicBezTo>
                    <a:pt x="19586" y="11693"/>
                    <a:pt x="19911" y="10839"/>
                    <a:pt x="19511" y="10277"/>
                  </a:cubicBezTo>
                  <a:lnTo>
                    <a:pt x="12561" y="496"/>
                  </a:lnTo>
                  <a:lnTo>
                    <a:pt x="12561" y="3393"/>
                  </a:lnTo>
                  <a:cubicBezTo>
                    <a:pt x="12561" y="3541"/>
                    <a:pt x="12494" y="3674"/>
                    <a:pt x="12398" y="3770"/>
                  </a:cubicBezTo>
                  <a:cubicBezTo>
                    <a:pt x="12302" y="3875"/>
                    <a:pt x="12161" y="3934"/>
                    <a:pt x="12014" y="3934"/>
                  </a:cubicBezTo>
                  <a:cubicBezTo>
                    <a:pt x="11717" y="3934"/>
                    <a:pt x="11471" y="3690"/>
                    <a:pt x="11471" y="3393"/>
                  </a:cubicBezTo>
                  <a:lnTo>
                    <a:pt x="11471" y="1592"/>
                  </a:lnTo>
                  <a:cubicBezTo>
                    <a:pt x="11471" y="1290"/>
                    <a:pt x="11227" y="1044"/>
                    <a:pt x="10923" y="1044"/>
                  </a:cubicBezTo>
                  <a:cubicBezTo>
                    <a:pt x="10776" y="1044"/>
                    <a:pt x="10642" y="1112"/>
                    <a:pt x="10537" y="1208"/>
                  </a:cubicBezTo>
                  <a:cubicBezTo>
                    <a:pt x="10441" y="1304"/>
                    <a:pt x="10383" y="1444"/>
                    <a:pt x="10383" y="1592"/>
                  </a:cubicBezTo>
                  <a:lnTo>
                    <a:pt x="10383" y="2734"/>
                  </a:lnTo>
                  <a:cubicBezTo>
                    <a:pt x="10383" y="2890"/>
                    <a:pt x="10324" y="3023"/>
                    <a:pt x="10219" y="3119"/>
                  </a:cubicBezTo>
                  <a:cubicBezTo>
                    <a:pt x="10123" y="3223"/>
                    <a:pt x="9990" y="3281"/>
                    <a:pt x="9835" y="3281"/>
                  </a:cubicBezTo>
                  <a:cubicBezTo>
                    <a:pt x="9538" y="3281"/>
                    <a:pt x="9293" y="3038"/>
                    <a:pt x="9293" y="2734"/>
                  </a:cubicBezTo>
                  <a:lnTo>
                    <a:pt x="9302" y="2734"/>
                  </a:lnTo>
                  <a:lnTo>
                    <a:pt x="9302" y="541"/>
                  </a:lnTo>
                  <a:cubicBezTo>
                    <a:pt x="9302" y="244"/>
                    <a:pt x="9056" y="0"/>
                    <a:pt x="875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9" name="Google Shape;2519;p37"/>
            <p:cNvSpPr/>
            <p:nvPr/>
          </p:nvSpPr>
          <p:spPr>
            <a:xfrm>
              <a:off x="5541599" y="3263847"/>
              <a:ext cx="451927" cy="503110"/>
            </a:xfrm>
            <a:custGeom>
              <a:avLst/>
              <a:gdLst/>
              <a:ahLst/>
              <a:cxnLst/>
              <a:rect l="l" t="t" r="r" b="b"/>
              <a:pathLst>
                <a:path w="5439" h="6055" extrusionOk="0">
                  <a:moveTo>
                    <a:pt x="2815" y="1"/>
                  </a:moveTo>
                  <a:cubicBezTo>
                    <a:pt x="2163" y="1"/>
                    <a:pt x="1547" y="334"/>
                    <a:pt x="1147" y="897"/>
                  </a:cubicBezTo>
                  <a:lnTo>
                    <a:pt x="0" y="2528"/>
                  </a:lnTo>
                  <a:lnTo>
                    <a:pt x="0" y="2542"/>
                  </a:lnTo>
                  <a:lnTo>
                    <a:pt x="0" y="5514"/>
                  </a:lnTo>
                  <a:cubicBezTo>
                    <a:pt x="0" y="5809"/>
                    <a:pt x="244" y="6055"/>
                    <a:pt x="541" y="6055"/>
                  </a:cubicBezTo>
                  <a:cubicBezTo>
                    <a:pt x="695" y="6055"/>
                    <a:pt x="829" y="5996"/>
                    <a:pt x="925" y="5898"/>
                  </a:cubicBezTo>
                  <a:cubicBezTo>
                    <a:pt x="1030" y="5795"/>
                    <a:pt x="1088" y="5662"/>
                    <a:pt x="1088" y="5514"/>
                  </a:cubicBezTo>
                  <a:lnTo>
                    <a:pt x="1088" y="5284"/>
                  </a:lnTo>
                  <a:lnTo>
                    <a:pt x="1088" y="2542"/>
                  </a:lnTo>
                  <a:lnTo>
                    <a:pt x="1088" y="2313"/>
                  </a:lnTo>
                  <a:cubicBezTo>
                    <a:pt x="1088" y="2163"/>
                    <a:pt x="1147" y="2023"/>
                    <a:pt x="1245" y="1927"/>
                  </a:cubicBezTo>
                  <a:cubicBezTo>
                    <a:pt x="1348" y="1831"/>
                    <a:pt x="1481" y="1772"/>
                    <a:pt x="1629" y="1772"/>
                  </a:cubicBezTo>
                  <a:cubicBezTo>
                    <a:pt x="1933" y="1772"/>
                    <a:pt x="2179" y="2016"/>
                    <a:pt x="2179" y="2313"/>
                  </a:cubicBezTo>
                  <a:lnTo>
                    <a:pt x="2179" y="4506"/>
                  </a:lnTo>
                  <a:lnTo>
                    <a:pt x="2170" y="4506"/>
                  </a:lnTo>
                  <a:cubicBezTo>
                    <a:pt x="2170" y="4810"/>
                    <a:pt x="2415" y="5053"/>
                    <a:pt x="2712" y="5053"/>
                  </a:cubicBezTo>
                  <a:cubicBezTo>
                    <a:pt x="2867" y="5053"/>
                    <a:pt x="3000" y="4995"/>
                    <a:pt x="3096" y="4891"/>
                  </a:cubicBezTo>
                  <a:cubicBezTo>
                    <a:pt x="3201" y="4795"/>
                    <a:pt x="3260" y="4662"/>
                    <a:pt x="3260" y="4506"/>
                  </a:cubicBezTo>
                  <a:lnTo>
                    <a:pt x="3260" y="3364"/>
                  </a:lnTo>
                  <a:cubicBezTo>
                    <a:pt x="3260" y="3216"/>
                    <a:pt x="3318" y="3076"/>
                    <a:pt x="3414" y="2980"/>
                  </a:cubicBezTo>
                  <a:cubicBezTo>
                    <a:pt x="3519" y="2884"/>
                    <a:pt x="3653" y="2816"/>
                    <a:pt x="3800" y="2816"/>
                  </a:cubicBezTo>
                  <a:cubicBezTo>
                    <a:pt x="4104" y="2816"/>
                    <a:pt x="4348" y="3062"/>
                    <a:pt x="4348" y="3364"/>
                  </a:cubicBezTo>
                  <a:lnTo>
                    <a:pt x="4348" y="5165"/>
                  </a:lnTo>
                  <a:cubicBezTo>
                    <a:pt x="4348" y="5462"/>
                    <a:pt x="4594" y="5706"/>
                    <a:pt x="4891" y="5706"/>
                  </a:cubicBezTo>
                  <a:cubicBezTo>
                    <a:pt x="5038" y="5706"/>
                    <a:pt x="5179" y="5647"/>
                    <a:pt x="5275" y="5542"/>
                  </a:cubicBezTo>
                  <a:cubicBezTo>
                    <a:pt x="5371" y="5446"/>
                    <a:pt x="5438" y="5313"/>
                    <a:pt x="5438" y="5165"/>
                  </a:cubicBezTo>
                  <a:lnTo>
                    <a:pt x="5438" y="2268"/>
                  </a:lnTo>
                  <a:lnTo>
                    <a:pt x="4437" y="867"/>
                  </a:lnTo>
                  <a:cubicBezTo>
                    <a:pt x="4053" y="326"/>
                    <a:pt x="3452" y="1"/>
                    <a:pt x="281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0" name="Google Shape;2520;p37"/>
            <p:cNvSpPr/>
            <p:nvPr/>
          </p:nvSpPr>
          <p:spPr>
            <a:xfrm>
              <a:off x="5023034" y="4384980"/>
              <a:ext cx="11217" cy="1413"/>
            </a:xfrm>
            <a:custGeom>
              <a:avLst/>
              <a:gdLst/>
              <a:ahLst/>
              <a:cxnLst/>
              <a:rect l="l" t="t" r="r" b="b"/>
              <a:pathLst>
                <a:path w="135" h="17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8"/>
                    <a:pt x="61" y="16"/>
                    <a:pt x="97" y="16"/>
                  </a:cubicBezTo>
                  <a:lnTo>
                    <a:pt x="134" y="16"/>
                  </a:lnTo>
                  <a:lnTo>
                    <a:pt x="97" y="16"/>
                  </a:lnTo>
                  <a:cubicBezTo>
                    <a:pt x="61" y="16"/>
                    <a:pt x="31" y="8"/>
                    <a:pt x="1" y="0"/>
                  </a:cubicBezTo>
                  <a:close/>
                </a:path>
              </a:pathLst>
            </a:custGeom>
            <a:solidFill>
              <a:srgbClr val="67717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1" name="Google Shape;2521;p37"/>
            <p:cNvSpPr/>
            <p:nvPr/>
          </p:nvSpPr>
          <p:spPr>
            <a:xfrm>
              <a:off x="4968195" y="4041403"/>
              <a:ext cx="1233970" cy="344990"/>
            </a:xfrm>
            <a:custGeom>
              <a:avLst/>
              <a:gdLst/>
              <a:ahLst/>
              <a:cxnLst/>
              <a:rect l="l" t="t" r="r" b="b"/>
              <a:pathLst>
                <a:path w="14851" h="4152" extrusionOk="0">
                  <a:moveTo>
                    <a:pt x="661" y="4135"/>
                  </a:moveTo>
                  <a:cubicBezTo>
                    <a:pt x="691" y="4143"/>
                    <a:pt x="721" y="4151"/>
                    <a:pt x="757" y="4151"/>
                  </a:cubicBezTo>
                  <a:lnTo>
                    <a:pt x="6101" y="4151"/>
                  </a:lnTo>
                  <a:cubicBezTo>
                    <a:pt x="6101" y="4151"/>
                    <a:pt x="6101" y="4143"/>
                    <a:pt x="6108" y="4135"/>
                  </a:cubicBezTo>
                  <a:close/>
                  <a:moveTo>
                    <a:pt x="2076" y="1"/>
                  </a:moveTo>
                  <a:lnTo>
                    <a:pt x="179" y="2691"/>
                  </a:lnTo>
                  <a:cubicBezTo>
                    <a:pt x="69" y="2846"/>
                    <a:pt x="10" y="3024"/>
                    <a:pt x="1" y="3202"/>
                  </a:cubicBezTo>
                  <a:cubicBezTo>
                    <a:pt x="862" y="2661"/>
                    <a:pt x="2121" y="2313"/>
                    <a:pt x="3522" y="2313"/>
                  </a:cubicBezTo>
                  <a:cubicBezTo>
                    <a:pt x="4811" y="2313"/>
                    <a:pt x="5982" y="2602"/>
                    <a:pt x="6826" y="3068"/>
                  </a:cubicBezTo>
                  <a:cubicBezTo>
                    <a:pt x="7664" y="2231"/>
                    <a:pt x="8982" y="1683"/>
                    <a:pt x="10472" y="1683"/>
                  </a:cubicBezTo>
                  <a:cubicBezTo>
                    <a:pt x="12524" y="1683"/>
                    <a:pt x="14265" y="2720"/>
                    <a:pt x="14843" y="4151"/>
                  </a:cubicBezTo>
                  <a:lnTo>
                    <a:pt x="14850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2" name="Google Shape;2522;p37"/>
            <p:cNvSpPr/>
            <p:nvPr/>
          </p:nvSpPr>
          <p:spPr>
            <a:xfrm>
              <a:off x="6429914" y="3718848"/>
              <a:ext cx="553629" cy="671866"/>
            </a:xfrm>
            <a:custGeom>
              <a:avLst/>
              <a:gdLst/>
              <a:ahLst/>
              <a:cxnLst/>
              <a:rect l="l" t="t" r="r" b="b"/>
              <a:pathLst>
                <a:path w="6663" h="8086" extrusionOk="0">
                  <a:moveTo>
                    <a:pt x="1" y="1"/>
                  </a:moveTo>
                  <a:lnTo>
                    <a:pt x="1" y="8085"/>
                  </a:lnTo>
                  <a:lnTo>
                    <a:pt x="6662" y="8085"/>
                  </a:lnTo>
                  <a:lnTo>
                    <a:pt x="6662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3" name="Google Shape;2523;p37"/>
            <p:cNvSpPr/>
            <p:nvPr/>
          </p:nvSpPr>
          <p:spPr>
            <a:xfrm>
              <a:off x="6429914" y="3960141"/>
              <a:ext cx="553629" cy="34649"/>
            </a:xfrm>
            <a:custGeom>
              <a:avLst/>
              <a:gdLst/>
              <a:ahLst/>
              <a:cxnLst/>
              <a:rect l="l" t="t" r="r" b="b"/>
              <a:pathLst>
                <a:path w="6663" h="417" extrusionOk="0">
                  <a:moveTo>
                    <a:pt x="1" y="1"/>
                  </a:moveTo>
                  <a:lnTo>
                    <a:pt x="1" y="417"/>
                  </a:lnTo>
                  <a:lnTo>
                    <a:pt x="6662" y="417"/>
                  </a:lnTo>
                  <a:lnTo>
                    <a:pt x="666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4" name="Google Shape;2524;p37"/>
            <p:cNvSpPr/>
            <p:nvPr/>
          </p:nvSpPr>
          <p:spPr>
            <a:xfrm>
              <a:off x="6429914" y="4086355"/>
              <a:ext cx="553629" cy="116492"/>
            </a:xfrm>
            <a:custGeom>
              <a:avLst/>
              <a:gdLst/>
              <a:ahLst/>
              <a:cxnLst/>
              <a:rect l="l" t="t" r="r" b="b"/>
              <a:pathLst>
                <a:path w="6663" h="1402" extrusionOk="0">
                  <a:moveTo>
                    <a:pt x="1" y="0"/>
                  </a:moveTo>
                  <a:lnTo>
                    <a:pt x="1" y="1402"/>
                  </a:lnTo>
                  <a:lnTo>
                    <a:pt x="6662" y="1402"/>
                  </a:lnTo>
                  <a:lnTo>
                    <a:pt x="6662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5" name="Google Shape;2525;p37"/>
            <p:cNvSpPr/>
            <p:nvPr/>
          </p:nvSpPr>
          <p:spPr>
            <a:xfrm>
              <a:off x="6826336" y="4081452"/>
              <a:ext cx="68549" cy="125134"/>
            </a:xfrm>
            <a:custGeom>
              <a:avLst/>
              <a:gdLst/>
              <a:ahLst/>
              <a:cxnLst/>
              <a:rect l="l" t="t" r="r" b="b"/>
              <a:pathLst>
                <a:path w="825" h="1506" extrusionOk="0">
                  <a:moveTo>
                    <a:pt x="743" y="82"/>
                  </a:moveTo>
                  <a:lnTo>
                    <a:pt x="743" y="1423"/>
                  </a:lnTo>
                  <a:lnTo>
                    <a:pt x="83" y="1423"/>
                  </a:lnTo>
                  <a:lnTo>
                    <a:pt x="83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6" name="Google Shape;2526;p37"/>
            <p:cNvSpPr/>
            <p:nvPr/>
          </p:nvSpPr>
          <p:spPr>
            <a:xfrm>
              <a:off x="6703280" y="4081452"/>
              <a:ext cx="68466" cy="125134"/>
            </a:xfrm>
            <a:custGeom>
              <a:avLst/>
              <a:gdLst/>
              <a:ahLst/>
              <a:cxnLst/>
              <a:rect l="l" t="t" r="r" b="b"/>
              <a:pathLst>
                <a:path w="824" h="1506" extrusionOk="0">
                  <a:moveTo>
                    <a:pt x="742" y="82"/>
                  </a:moveTo>
                  <a:lnTo>
                    <a:pt x="742" y="1423"/>
                  </a:lnTo>
                  <a:lnTo>
                    <a:pt x="82" y="1423"/>
                  </a:lnTo>
                  <a:lnTo>
                    <a:pt x="82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7" name="Google Shape;2527;p37"/>
            <p:cNvSpPr/>
            <p:nvPr/>
          </p:nvSpPr>
          <p:spPr>
            <a:xfrm>
              <a:off x="6950223" y="4081452"/>
              <a:ext cx="36393" cy="125134"/>
            </a:xfrm>
            <a:custGeom>
              <a:avLst/>
              <a:gdLst/>
              <a:ahLst/>
              <a:cxnLst/>
              <a:rect l="l" t="t" r="r" b="b"/>
              <a:pathLst>
                <a:path w="438" h="1506" extrusionOk="0">
                  <a:moveTo>
                    <a:pt x="363" y="82"/>
                  </a:moveTo>
                  <a:lnTo>
                    <a:pt x="363" y="1423"/>
                  </a:lnTo>
                  <a:lnTo>
                    <a:pt x="75" y="1423"/>
                  </a:lnTo>
                  <a:lnTo>
                    <a:pt x="75" y="82"/>
                  </a:lnTo>
                  <a:close/>
                  <a:moveTo>
                    <a:pt x="0" y="1"/>
                  </a:moveTo>
                  <a:lnTo>
                    <a:pt x="0" y="1505"/>
                  </a:lnTo>
                  <a:lnTo>
                    <a:pt x="438" y="1505"/>
                  </a:lnTo>
                  <a:lnTo>
                    <a:pt x="438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8" name="Google Shape;2528;p37"/>
            <p:cNvSpPr/>
            <p:nvPr/>
          </p:nvSpPr>
          <p:spPr>
            <a:xfrm>
              <a:off x="6887989" y="4081452"/>
              <a:ext cx="68466" cy="125134"/>
            </a:xfrm>
            <a:custGeom>
              <a:avLst/>
              <a:gdLst/>
              <a:ahLst/>
              <a:cxnLst/>
              <a:rect l="l" t="t" r="r" b="b"/>
              <a:pathLst>
                <a:path w="824" h="1506" extrusionOk="0">
                  <a:moveTo>
                    <a:pt x="749" y="82"/>
                  </a:moveTo>
                  <a:lnTo>
                    <a:pt x="749" y="1423"/>
                  </a:lnTo>
                  <a:lnTo>
                    <a:pt x="82" y="1423"/>
                  </a:lnTo>
                  <a:lnTo>
                    <a:pt x="82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9" name="Google Shape;2529;p37"/>
            <p:cNvSpPr/>
            <p:nvPr/>
          </p:nvSpPr>
          <p:spPr>
            <a:xfrm>
              <a:off x="6764933" y="4081452"/>
              <a:ext cx="68300" cy="125134"/>
            </a:xfrm>
            <a:custGeom>
              <a:avLst/>
              <a:gdLst/>
              <a:ahLst/>
              <a:cxnLst/>
              <a:rect l="l" t="t" r="r" b="b"/>
              <a:pathLst>
                <a:path w="822" h="1506" extrusionOk="0">
                  <a:moveTo>
                    <a:pt x="740" y="82"/>
                  </a:moveTo>
                  <a:lnTo>
                    <a:pt x="740" y="1423"/>
                  </a:lnTo>
                  <a:lnTo>
                    <a:pt x="82" y="1423"/>
                  </a:lnTo>
                  <a:lnTo>
                    <a:pt x="82" y="82"/>
                  </a:lnTo>
                  <a:close/>
                  <a:moveTo>
                    <a:pt x="0" y="1"/>
                  </a:moveTo>
                  <a:lnTo>
                    <a:pt x="0" y="1505"/>
                  </a:lnTo>
                  <a:lnTo>
                    <a:pt x="822" y="1505"/>
                  </a:lnTo>
                  <a:lnTo>
                    <a:pt x="822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0" name="Google Shape;2530;p37"/>
            <p:cNvSpPr/>
            <p:nvPr/>
          </p:nvSpPr>
          <p:spPr>
            <a:xfrm>
              <a:off x="6426258" y="4081452"/>
              <a:ext cx="36975" cy="125134"/>
            </a:xfrm>
            <a:custGeom>
              <a:avLst/>
              <a:gdLst/>
              <a:ahLst/>
              <a:cxnLst/>
              <a:rect l="l" t="t" r="r" b="b"/>
              <a:pathLst>
                <a:path w="445" h="1506" extrusionOk="0">
                  <a:moveTo>
                    <a:pt x="363" y="82"/>
                  </a:moveTo>
                  <a:lnTo>
                    <a:pt x="363" y="1423"/>
                  </a:lnTo>
                  <a:lnTo>
                    <a:pt x="82" y="1423"/>
                  </a:lnTo>
                  <a:lnTo>
                    <a:pt x="82" y="82"/>
                  </a:lnTo>
                  <a:close/>
                  <a:moveTo>
                    <a:pt x="0" y="1"/>
                  </a:moveTo>
                  <a:lnTo>
                    <a:pt x="0" y="1505"/>
                  </a:lnTo>
                  <a:lnTo>
                    <a:pt x="445" y="1505"/>
                  </a:lnTo>
                  <a:lnTo>
                    <a:pt x="445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1" name="Google Shape;2531;p37"/>
            <p:cNvSpPr/>
            <p:nvPr/>
          </p:nvSpPr>
          <p:spPr>
            <a:xfrm>
              <a:off x="6456336" y="4081452"/>
              <a:ext cx="68549" cy="125134"/>
            </a:xfrm>
            <a:custGeom>
              <a:avLst/>
              <a:gdLst/>
              <a:ahLst/>
              <a:cxnLst/>
              <a:rect l="l" t="t" r="r" b="b"/>
              <a:pathLst>
                <a:path w="825" h="1506" extrusionOk="0">
                  <a:moveTo>
                    <a:pt x="750" y="82"/>
                  </a:moveTo>
                  <a:lnTo>
                    <a:pt x="750" y="1423"/>
                  </a:lnTo>
                  <a:lnTo>
                    <a:pt x="83" y="1423"/>
                  </a:lnTo>
                  <a:lnTo>
                    <a:pt x="83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2" name="Google Shape;2532;p37"/>
            <p:cNvSpPr/>
            <p:nvPr/>
          </p:nvSpPr>
          <p:spPr>
            <a:xfrm>
              <a:off x="6518571" y="4081452"/>
              <a:ext cx="67801" cy="125134"/>
            </a:xfrm>
            <a:custGeom>
              <a:avLst/>
              <a:gdLst/>
              <a:ahLst/>
              <a:cxnLst/>
              <a:rect l="l" t="t" r="r" b="b"/>
              <a:pathLst>
                <a:path w="816" h="1506" extrusionOk="0">
                  <a:moveTo>
                    <a:pt x="742" y="82"/>
                  </a:moveTo>
                  <a:lnTo>
                    <a:pt x="742" y="1423"/>
                  </a:lnTo>
                  <a:lnTo>
                    <a:pt x="75" y="1423"/>
                  </a:lnTo>
                  <a:lnTo>
                    <a:pt x="75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15" y="1505"/>
                  </a:lnTo>
                  <a:lnTo>
                    <a:pt x="815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3" name="Google Shape;2533;p37"/>
            <p:cNvSpPr/>
            <p:nvPr/>
          </p:nvSpPr>
          <p:spPr>
            <a:xfrm>
              <a:off x="6641627" y="4081452"/>
              <a:ext cx="68549" cy="125134"/>
            </a:xfrm>
            <a:custGeom>
              <a:avLst/>
              <a:gdLst/>
              <a:ahLst/>
              <a:cxnLst/>
              <a:rect l="l" t="t" r="r" b="b"/>
              <a:pathLst>
                <a:path w="825" h="1506" extrusionOk="0">
                  <a:moveTo>
                    <a:pt x="743" y="82"/>
                  </a:moveTo>
                  <a:lnTo>
                    <a:pt x="743" y="1423"/>
                  </a:lnTo>
                  <a:lnTo>
                    <a:pt x="83" y="1423"/>
                  </a:lnTo>
                  <a:lnTo>
                    <a:pt x="83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4" name="Google Shape;2534;p37"/>
            <p:cNvSpPr/>
            <p:nvPr/>
          </p:nvSpPr>
          <p:spPr>
            <a:xfrm>
              <a:off x="6580224" y="4081452"/>
              <a:ext cx="68300" cy="125134"/>
            </a:xfrm>
            <a:custGeom>
              <a:avLst/>
              <a:gdLst/>
              <a:ahLst/>
              <a:cxnLst/>
              <a:rect l="l" t="t" r="r" b="b"/>
              <a:pathLst>
                <a:path w="822" h="1506" extrusionOk="0">
                  <a:moveTo>
                    <a:pt x="740" y="82"/>
                  </a:moveTo>
                  <a:lnTo>
                    <a:pt x="740" y="1423"/>
                  </a:lnTo>
                  <a:lnTo>
                    <a:pt x="73" y="1423"/>
                  </a:lnTo>
                  <a:lnTo>
                    <a:pt x="73" y="82"/>
                  </a:lnTo>
                  <a:close/>
                  <a:moveTo>
                    <a:pt x="0" y="1"/>
                  </a:moveTo>
                  <a:lnTo>
                    <a:pt x="0" y="1505"/>
                  </a:lnTo>
                  <a:lnTo>
                    <a:pt x="822" y="1505"/>
                  </a:lnTo>
                  <a:lnTo>
                    <a:pt x="822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5" name="Google Shape;2535;p37"/>
            <p:cNvSpPr/>
            <p:nvPr/>
          </p:nvSpPr>
          <p:spPr>
            <a:xfrm>
              <a:off x="6593020" y="3340123"/>
              <a:ext cx="173741" cy="1050590"/>
            </a:xfrm>
            <a:custGeom>
              <a:avLst/>
              <a:gdLst/>
              <a:ahLst/>
              <a:cxnLst/>
              <a:rect l="l" t="t" r="r" b="b"/>
              <a:pathLst>
                <a:path w="2091" h="12644" extrusionOk="0">
                  <a:moveTo>
                    <a:pt x="565" y="1"/>
                  </a:moveTo>
                  <a:lnTo>
                    <a:pt x="1" y="12613"/>
                  </a:lnTo>
                  <a:lnTo>
                    <a:pt x="2090" y="12643"/>
                  </a:lnTo>
                  <a:lnTo>
                    <a:pt x="1824" y="17"/>
                  </a:lnTo>
                  <a:lnTo>
                    <a:pt x="565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6" name="Google Shape;2536;p37"/>
            <p:cNvSpPr/>
            <p:nvPr/>
          </p:nvSpPr>
          <p:spPr>
            <a:xfrm>
              <a:off x="6593020" y="3340871"/>
              <a:ext cx="99293" cy="1039871"/>
            </a:xfrm>
            <a:custGeom>
              <a:avLst/>
              <a:gdLst/>
              <a:ahLst/>
              <a:cxnLst/>
              <a:rect l="l" t="t" r="r" b="b"/>
              <a:pathLst>
                <a:path w="1195" h="12515" extrusionOk="0">
                  <a:moveTo>
                    <a:pt x="565" y="0"/>
                  </a:moveTo>
                  <a:lnTo>
                    <a:pt x="1" y="12515"/>
                  </a:lnTo>
                  <a:lnTo>
                    <a:pt x="1047" y="12515"/>
                  </a:lnTo>
                  <a:lnTo>
                    <a:pt x="1194" y="8"/>
                  </a:lnTo>
                  <a:lnTo>
                    <a:pt x="565" y="0"/>
                  </a:lnTo>
                  <a:close/>
                </a:path>
              </a:pathLst>
            </a:custGeom>
            <a:solidFill>
              <a:srgbClr val="92939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7" name="Google Shape;2537;p37"/>
            <p:cNvSpPr/>
            <p:nvPr/>
          </p:nvSpPr>
          <p:spPr>
            <a:xfrm>
              <a:off x="6626339" y="3592634"/>
              <a:ext cx="124469" cy="62899"/>
            </a:xfrm>
            <a:custGeom>
              <a:avLst/>
              <a:gdLst/>
              <a:ahLst/>
              <a:cxnLst/>
              <a:rect l="l" t="t" r="r" b="b"/>
              <a:pathLst>
                <a:path w="1498" h="757" extrusionOk="0">
                  <a:moveTo>
                    <a:pt x="37" y="1"/>
                  </a:moveTo>
                  <a:lnTo>
                    <a:pt x="0" y="734"/>
                  </a:lnTo>
                  <a:lnTo>
                    <a:pt x="749" y="741"/>
                  </a:lnTo>
                  <a:lnTo>
                    <a:pt x="1497" y="757"/>
                  </a:lnTo>
                  <a:lnTo>
                    <a:pt x="1483" y="22"/>
                  </a:lnTo>
                  <a:lnTo>
                    <a:pt x="756" y="15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8" name="Google Shape;2538;p37"/>
            <p:cNvSpPr/>
            <p:nvPr/>
          </p:nvSpPr>
          <p:spPr>
            <a:xfrm>
              <a:off x="6618944" y="3735383"/>
              <a:ext cx="135520" cy="90651"/>
            </a:xfrm>
            <a:custGeom>
              <a:avLst/>
              <a:gdLst/>
              <a:ahLst/>
              <a:cxnLst/>
              <a:rect l="l" t="t" r="r" b="b"/>
              <a:pathLst>
                <a:path w="1631" h="1091" extrusionOk="0">
                  <a:moveTo>
                    <a:pt x="45" y="1"/>
                  </a:moveTo>
                  <a:lnTo>
                    <a:pt x="0" y="1068"/>
                  </a:lnTo>
                  <a:lnTo>
                    <a:pt x="816" y="1077"/>
                  </a:lnTo>
                  <a:lnTo>
                    <a:pt x="1631" y="1091"/>
                  </a:lnTo>
                  <a:lnTo>
                    <a:pt x="1608" y="17"/>
                  </a:lnTo>
                  <a:lnTo>
                    <a:pt x="831" y="10"/>
                  </a:lnTo>
                  <a:lnTo>
                    <a:pt x="45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9" name="Google Shape;2539;p37"/>
            <p:cNvSpPr/>
            <p:nvPr/>
          </p:nvSpPr>
          <p:spPr>
            <a:xfrm>
              <a:off x="5886256" y="2611175"/>
              <a:ext cx="321475" cy="256914"/>
            </a:xfrm>
            <a:custGeom>
              <a:avLst/>
              <a:gdLst/>
              <a:ahLst/>
              <a:cxnLst/>
              <a:rect l="l" t="t" r="r" b="b"/>
              <a:pathLst>
                <a:path w="3869" h="3092" extrusionOk="0">
                  <a:moveTo>
                    <a:pt x="3647" y="1"/>
                  </a:moveTo>
                  <a:cubicBezTo>
                    <a:pt x="2706" y="1"/>
                    <a:pt x="1898" y="579"/>
                    <a:pt x="1557" y="1393"/>
                  </a:cubicBezTo>
                  <a:cubicBezTo>
                    <a:pt x="1505" y="1386"/>
                    <a:pt x="1445" y="1386"/>
                    <a:pt x="1393" y="1386"/>
                  </a:cubicBezTo>
                  <a:cubicBezTo>
                    <a:pt x="623" y="1386"/>
                    <a:pt x="1" y="2009"/>
                    <a:pt x="1" y="2772"/>
                  </a:cubicBezTo>
                  <a:cubicBezTo>
                    <a:pt x="1" y="2884"/>
                    <a:pt x="15" y="2987"/>
                    <a:pt x="38" y="3092"/>
                  </a:cubicBezTo>
                  <a:lnTo>
                    <a:pt x="3869" y="3092"/>
                  </a:lnTo>
                  <a:lnTo>
                    <a:pt x="3869" y="2217"/>
                  </a:lnTo>
                  <a:lnTo>
                    <a:pt x="3869" y="8"/>
                  </a:lnTo>
                  <a:cubicBezTo>
                    <a:pt x="3794" y="1"/>
                    <a:pt x="3721" y="1"/>
                    <a:pt x="3647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0" name="Google Shape;2540;p37"/>
            <p:cNvSpPr/>
            <p:nvPr/>
          </p:nvSpPr>
          <p:spPr>
            <a:xfrm>
              <a:off x="6203411" y="2610012"/>
              <a:ext cx="391022" cy="258659"/>
            </a:xfrm>
            <a:custGeom>
              <a:avLst/>
              <a:gdLst/>
              <a:ahLst/>
              <a:cxnLst/>
              <a:rect l="l" t="t" r="r" b="b"/>
              <a:pathLst>
                <a:path w="4706" h="3113" extrusionOk="0">
                  <a:moveTo>
                    <a:pt x="0" y="1"/>
                  </a:moveTo>
                  <a:lnTo>
                    <a:pt x="0" y="8"/>
                  </a:lnTo>
                  <a:lnTo>
                    <a:pt x="0" y="2231"/>
                  </a:lnTo>
                  <a:lnTo>
                    <a:pt x="0" y="3113"/>
                  </a:lnTo>
                  <a:lnTo>
                    <a:pt x="3061" y="3113"/>
                  </a:lnTo>
                  <a:cubicBezTo>
                    <a:pt x="3075" y="3097"/>
                    <a:pt x="3089" y="3090"/>
                    <a:pt x="3105" y="3075"/>
                  </a:cubicBezTo>
                  <a:cubicBezTo>
                    <a:pt x="3112" y="3090"/>
                    <a:pt x="3120" y="3097"/>
                    <a:pt x="3120" y="3113"/>
                  </a:cubicBezTo>
                  <a:lnTo>
                    <a:pt x="4638" y="3113"/>
                  </a:lnTo>
                  <a:cubicBezTo>
                    <a:pt x="4683" y="3017"/>
                    <a:pt x="4706" y="2912"/>
                    <a:pt x="4706" y="2794"/>
                  </a:cubicBezTo>
                  <a:cubicBezTo>
                    <a:pt x="4706" y="2341"/>
                    <a:pt x="4334" y="1971"/>
                    <a:pt x="3883" y="1971"/>
                  </a:cubicBezTo>
                  <a:cubicBezTo>
                    <a:pt x="3719" y="1971"/>
                    <a:pt x="3571" y="2016"/>
                    <a:pt x="3445" y="2097"/>
                  </a:cubicBezTo>
                  <a:cubicBezTo>
                    <a:pt x="3363" y="1571"/>
                    <a:pt x="2904" y="1171"/>
                    <a:pt x="2357" y="1171"/>
                  </a:cubicBezTo>
                  <a:cubicBezTo>
                    <a:pt x="2172" y="1171"/>
                    <a:pt x="1994" y="1215"/>
                    <a:pt x="1837" y="1297"/>
                  </a:cubicBezTo>
                  <a:cubicBezTo>
                    <a:pt x="1505" y="593"/>
                    <a:pt x="815" y="82"/>
                    <a:pt x="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1" name="Google Shape;2541;p37"/>
            <p:cNvSpPr/>
            <p:nvPr/>
          </p:nvSpPr>
          <p:spPr>
            <a:xfrm>
              <a:off x="7406388" y="3808668"/>
              <a:ext cx="625086" cy="580051"/>
            </a:xfrm>
            <a:custGeom>
              <a:avLst/>
              <a:gdLst/>
              <a:ahLst/>
              <a:cxnLst/>
              <a:rect l="l" t="t" r="r" b="b"/>
              <a:pathLst>
                <a:path w="7523" h="6981" extrusionOk="0">
                  <a:moveTo>
                    <a:pt x="0" y="1"/>
                  </a:moveTo>
                  <a:lnTo>
                    <a:pt x="0" y="6981"/>
                  </a:lnTo>
                  <a:lnTo>
                    <a:pt x="7523" y="6981"/>
                  </a:lnTo>
                  <a:lnTo>
                    <a:pt x="7523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2" name="Google Shape;2542;p37"/>
            <p:cNvSpPr/>
            <p:nvPr/>
          </p:nvSpPr>
          <p:spPr>
            <a:xfrm>
              <a:off x="8031391" y="3821713"/>
              <a:ext cx="665" cy="559030"/>
            </a:xfrm>
            <a:custGeom>
              <a:avLst/>
              <a:gdLst/>
              <a:ahLst/>
              <a:cxnLst/>
              <a:rect l="l" t="t" r="r" b="b"/>
              <a:pathLst>
                <a:path w="8" h="6728" extrusionOk="0">
                  <a:moveTo>
                    <a:pt x="1" y="0"/>
                  </a:moveTo>
                  <a:lnTo>
                    <a:pt x="1" y="6728"/>
                  </a:lnTo>
                  <a:lnTo>
                    <a:pt x="8" y="6728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52596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3" name="Google Shape;2543;p37"/>
            <p:cNvSpPr/>
            <p:nvPr/>
          </p:nvSpPr>
          <p:spPr>
            <a:xfrm>
              <a:off x="7876843" y="3821713"/>
              <a:ext cx="154630" cy="525212"/>
            </a:xfrm>
            <a:custGeom>
              <a:avLst/>
              <a:gdLst/>
              <a:ahLst/>
              <a:cxnLst/>
              <a:rect l="l" t="t" r="r" b="b"/>
              <a:pathLst>
                <a:path w="1861" h="6321" extrusionOk="0">
                  <a:moveTo>
                    <a:pt x="0" y="0"/>
                  </a:moveTo>
                  <a:lnTo>
                    <a:pt x="0" y="6321"/>
                  </a:lnTo>
                  <a:lnTo>
                    <a:pt x="1861" y="6321"/>
                  </a:lnTo>
                  <a:lnTo>
                    <a:pt x="1861" y="0"/>
                  </a:lnTo>
                  <a:close/>
                </a:path>
              </a:pathLst>
            </a:custGeom>
            <a:solidFill>
              <a:srgbClr val="85868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4" name="Google Shape;2544;p37"/>
            <p:cNvSpPr/>
            <p:nvPr/>
          </p:nvSpPr>
          <p:spPr>
            <a:xfrm>
              <a:off x="7380463" y="3796454"/>
              <a:ext cx="676103" cy="25342"/>
            </a:xfrm>
            <a:custGeom>
              <a:avLst/>
              <a:gdLst/>
              <a:ahLst/>
              <a:cxnLst/>
              <a:rect l="l" t="t" r="r" b="b"/>
              <a:pathLst>
                <a:path w="8137" h="305" extrusionOk="0">
                  <a:moveTo>
                    <a:pt x="150" y="0"/>
                  </a:moveTo>
                  <a:cubicBezTo>
                    <a:pt x="68" y="0"/>
                    <a:pt x="1" y="66"/>
                    <a:pt x="1" y="148"/>
                  </a:cubicBezTo>
                  <a:cubicBezTo>
                    <a:pt x="1" y="237"/>
                    <a:pt x="68" y="304"/>
                    <a:pt x="150" y="304"/>
                  </a:cubicBezTo>
                  <a:lnTo>
                    <a:pt x="7989" y="304"/>
                  </a:lnTo>
                  <a:cubicBezTo>
                    <a:pt x="8071" y="304"/>
                    <a:pt x="8137" y="237"/>
                    <a:pt x="8137" y="148"/>
                  </a:cubicBezTo>
                  <a:cubicBezTo>
                    <a:pt x="8137" y="66"/>
                    <a:pt x="8071" y="0"/>
                    <a:pt x="7989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5" name="Google Shape;2545;p37"/>
            <p:cNvSpPr/>
            <p:nvPr/>
          </p:nvSpPr>
          <p:spPr>
            <a:xfrm>
              <a:off x="7949381" y="3921421"/>
              <a:ext cx="39551" cy="57914"/>
            </a:xfrm>
            <a:custGeom>
              <a:avLst/>
              <a:gdLst/>
              <a:ahLst/>
              <a:cxnLst/>
              <a:rect l="l" t="t" r="r" b="b"/>
              <a:pathLst>
                <a:path w="476" h="697" extrusionOk="0">
                  <a:moveTo>
                    <a:pt x="1" y="1"/>
                  </a:moveTo>
                  <a:lnTo>
                    <a:pt x="1" y="696"/>
                  </a:lnTo>
                  <a:lnTo>
                    <a:pt x="475" y="696"/>
                  </a:lnTo>
                  <a:lnTo>
                    <a:pt x="475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6" name="Google Shape;2546;p37"/>
            <p:cNvSpPr/>
            <p:nvPr/>
          </p:nvSpPr>
          <p:spPr>
            <a:xfrm>
              <a:off x="7878588" y="3921421"/>
              <a:ext cx="38969" cy="57914"/>
            </a:xfrm>
            <a:custGeom>
              <a:avLst/>
              <a:gdLst/>
              <a:ahLst/>
              <a:cxnLst/>
              <a:rect l="l" t="t" r="r" b="b"/>
              <a:pathLst>
                <a:path w="469" h="697" extrusionOk="0">
                  <a:moveTo>
                    <a:pt x="1" y="1"/>
                  </a:moveTo>
                  <a:lnTo>
                    <a:pt x="1" y="696"/>
                  </a:lnTo>
                  <a:lnTo>
                    <a:pt x="468" y="696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7" name="Google Shape;2547;p37"/>
            <p:cNvSpPr/>
            <p:nvPr/>
          </p:nvSpPr>
          <p:spPr>
            <a:xfrm>
              <a:off x="7807214" y="3921421"/>
              <a:ext cx="38803" cy="57914"/>
            </a:xfrm>
            <a:custGeom>
              <a:avLst/>
              <a:gdLst/>
              <a:ahLst/>
              <a:cxnLst/>
              <a:rect l="l" t="t" r="r" b="b"/>
              <a:pathLst>
                <a:path w="467" h="697" extrusionOk="0">
                  <a:moveTo>
                    <a:pt x="1" y="1"/>
                  </a:moveTo>
                  <a:lnTo>
                    <a:pt x="1" y="696"/>
                  </a:lnTo>
                  <a:lnTo>
                    <a:pt x="467" y="696"/>
                  </a:lnTo>
                  <a:lnTo>
                    <a:pt x="46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8" name="Google Shape;2548;p37"/>
            <p:cNvSpPr/>
            <p:nvPr/>
          </p:nvSpPr>
          <p:spPr>
            <a:xfrm>
              <a:off x="7735839" y="3921421"/>
              <a:ext cx="38803" cy="57914"/>
            </a:xfrm>
            <a:custGeom>
              <a:avLst/>
              <a:gdLst/>
              <a:ahLst/>
              <a:cxnLst/>
              <a:rect l="l" t="t" r="r" b="b"/>
              <a:pathLst>
                <a:path w="467" h="697" extrusionOk="0">
                  <a:moveTo>
                    <a:pt x="1" y="1"/>
                  </a:moveTo>
                  <a:lnTo>
                    <a:pt x="1" y="696"/>
                  </a:lnTo>
                  <a:lnTo>
                    <a:pt x="467" y="696"/>
                  </a:lnTo>
                  <a:lnTo>
                    <a:pt x="46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9" name="Google Shape;2549;p37"/>
            <p:cNvSpPr/>
            <p:nvPr/>
          </p:nvSpPr>
          <p:spPr>
            <a:xfrm>
              <a:off x="7664382" y="3921421"/>
              <a:ext cx="38886" cy="57914"/>
            </a:xfrm>
            <a:custGeom>
              <a:avLst/>
              <a:gdLst/>
              <a:ahLst/>
              <a:cxnLst/>
              <a:rect l="l" t="t" r="r" b="b"/>
              <a:pathLst>
                <a:path w="468" h="697" extrusionOk="0">
                  <a:moveTo>
                    <a:pt x="0" y="1"/>
                  </a:moveTo>
                  <a:lnTo>
                    <a:pt x="0" y="696"/>
                  </a:lnTo>
                  <a:lnTo>
                    <a:pt x="468" y="696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0" name="Google Shape;2550;p37"/>
            <p:cNvSpPr/>
            <p:nvPr/>
          </p:nvSpPr>
          <p:spPr>
            <a:xfrm>
              <a:off x="7593008" y="3921421"/>
              <a:ext cx="38803" cy="57914"/>
            </a:xfrm>
            <a:custGeom>
              <a:avLst/>
              <a:gdLst/>
              <a:ahLst/>
              <a:cxnLst/>
              <a:rect l="l" t="t" r="r" b="b"/>
              <a:pathLst>
                <a:path w="467" h="697" extrusionOk="0">
                  <a:moveTo>
                    <a:pt x="0" y="1"/>
                  </a:moveTo>
                  <a:lnTo>
                    <a:pt x="0" y="696"/>
                  </a:lnTo>
                  <a:lnTo>
                    <a:pt x="466" y="696"/>
                  </a:lnTo>
                  <a:lnTo>
                    <a:pt x="466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1" name="Google Shape;2551;p37"/>
            <p:cNvSpPr/>
            <p:nvPr/>
          </p:nvSpPr>
          <p:spPr>
            <a:xfrm>
              <a:off x="7521633" y="3921421"/>
              <a:ext cx="38803" cy="57914"/>
            </a:xfrm>
            <a:custGeom>
              <a:avLst/>
              <a:gdLst/>
              <a:ahLst/>
              <a:cxnLst/>
              <a:rect l="l" t="t" r="r" b="b"/>
              <a:pathLst>
                <a:path w="467" h="697" extrusionOk="0">
                  <a:moveTo>
                    <a:pt x="0" y="1"/>
                  </a:moveTo>
                  <a:lnTo>
                    <a:pt x="0" y="696"/>
                  </a:lnTo>
                  <a:lnTo>
                    <a:pt x="466" y="696"/>
                  </a:lnTo>
                  <a:lnTo>
                    <a:pt x="466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2" name="Google Shape;2552;p37"/>
            <p:cNvSpPr/>
            <p:nvPr/>
          </p:nvSpPr>
          <p:spPr>
            <a:xfrm>
              <a:off x="7450093" y="3921421"/>
              <a:ext cx="38969" cy="57914"/>
            </a:xfrm>
            <a:custGeom>
              <a:avLst/>
              <a:gdLst/>
              <a:ahLst/>
              <a:cxnLst/>
              <a:rect l="l" t="t" r="r" b="b"/>
              <a:pathLst>
                <a:path w="469" h="697" extrusionOk="0">
                  <a:moveTo>
                    <a:pt x="0" y="1"/>
                  </a:moveTo>
                  <a:lnTo>
                    <a:pt x="0" y="696"/>
                  </a:lnTo>
                  <a:lnTo>
                    <a:pt x="468" y="696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3" name="Google Shape;2553;p37"/>
            <p:cNvSpPr/>
            <p:nvPr/>
          </p:nvSpPr>
          <p:spPr>
            <a:xfrm>
              <a:off x="7949381" y="4032845"/>
              <a:ext cx="39551" cy="57997"/>
            </a:xfrm>
            <a:custGeom>
              <a:avLst/>
              <a:gdLst/>
              <a:ahLst/>
              <a:cxnLst/>
              <a:rect l="l" t="t" r="r" b="b"/>
              <a:pathLst>
                <a:path w="476" h="698" extrusionOk="0">
                  <a:moveTo>
                    <a:pt x="1" y="1"/>
                  </a:moveTo>
                  <a:lnTo>
                    <a:pt x="1" y="698"/>
                  </a:lnTo>
                  <a:lnTo>
                    <a:pt x="475" y="698"/>
                  </a:lnTo>
                  <a:lnTo>
                    <a:pt x="475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4" name="Google Shape;2554;p37"/>
            <p:cNvSpPr/>
            <p:nvPr/>
          </p:nvSpPr>
          <p:spPr>
            <a:xfrm>
              <a:off x="7878588" y="4032845"/>
              <a:ext cx="38969" cy="57997"/>
            </a:xfrm>
            <a:custGeom>
              <a:avLst/>
              <a:gdLst/>
              <a:ahLst/>
              <a:cxnLst/>
              <a:rect l="l" t="t" r="r" b="b"/>
              <a:pathLst>
                <a:path w="469" h="698" extrusionOk="0">
                  <a:moveTo>
                    <a:pt x="1" y="1"/>
                  </a:moveTo>
                  <a:lnTo>
                    <a:pt x="1" y="698"/>
                  </a:lnTo>
                  <a:lnTo>
                    <a:pt x="468" y="698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5" name="Google Shape;2555;p37"/>
            <p:cNvSpPr/>
            <p:nvPr/>
          </p:nvSpPr>
          <p:spPr>
            <a:xfrm>
              <a:off x="7807214" y="4032845"/>
              <a:ext cx="38803" cy="57997"/>
            </a:xfrm>
            <a:custGeom>
              <a:avLst/>
              <a:gdLst/>
              <a:ahLst/>
              <a:cxnLst/>
              <a:rect l="l" t="t" r="r" b="b"/>
              <a:pathLst>
                <a:path w="467" h="698" extrusionOk="0">
                  <a:moveTo>
                    <a:pt x="1" y="1"/>
                  </a:moveTo>
                  <a:lnTo>
                    <a:pt x="1" y="698"/>
                  </a:lnTo>
                  <a:lnTo>
                    <a:pt x="467" y="698"/>
                  </a:lnTo>
                  <a:lnTo>
                    <a:pt x="46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6" name="Google Shape;2556;p37"/>
            <p:cNvSpPr/>
            <p:nvPr/>
          </p:nvSpPr>
          <p:spPr>
            <a:xfrm>
              <a:off x="7735839" y="4032845"/>
              <a:ext cx="38803" cy="57997"/>
            </a:xfrm>
            <a:custGeom>
              <a:avLst/>
              <a:gdLst/>
              <a:ahLst/>
              <a:cxnLst/>
              <a:rect l="l" t="t" r="r" b="b"/>
              <a:pathLst>
                <a:path w="467" h="698" extrusionOk="0">
                  <a:moveTo>
                    <a:pt x="1" y="1"/>
                  </a:moveTo>
                  <a:lnTo>
                    <a:pt x="1" y="698"/>
                  </a:lnTo>
                  <a:lnTo>
                    <a:pt x="467" y="698"/>
                  </a:lnTo>
                  <a:lnTo>
                    <a:pt x="46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7" name="Google Shape;2557;p37"/>
            <p:cNvSpPr/>
            <p:nvPr/>
          </p:nvSpPr>
          <p:spPr>
            <a:xfrm>
              <a:off x="7664382" y="4032845"/>
              <a:ext cx="38886" cy="57997"/>
            </a:xfrm>
            <a:custGeom>
              <a:avLst/>
              <a:gdLst/>
              <a:ahLst/>
              <a:cxnLst/>
              <a:rect l="l" t="t" r="r" b="b"/>
              <a:pathLst>
                <a:path w="468" h="698" extrusionOk="0">
                  <a:moveTo>
                    <a:pt x="0" y="1"/>
                  </a:moveTo>
                  <a:lnTo>
                    <a:pt x="0" y="698"/>
                  </a:lnTo>
                  <a:lnTo>
                    <a:pt x="468" y="698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8" name="Google Shape;2558;p37"/>
            <p:cNvSpPr/>
            <p:nvPr/>
          </p:nvSpPr>
          <p:spPr>
            <a:xfrm>
              <a:off x="7593008" y="4032845"/>
              <a:ext cx="38803" cy="57997"/>
            </a:xfrm>
            <a:custGeom>
              <a:avLst/>
              <a:gdLst/>
              <a:ahLst/>
              <a:cxnLst/>
              <a:rect l="l" t="t" r="r" b="b"/>
              <a:pathLst>
                <a:path w="467" h="698" extrusionOk="0">
                  <a:moveTo>
                    <a:pt x="0" y="1"/>
                  </a:moveTo>
                  <a:lnTo>
                    <a:pt x="0" y="698"/>
                  </a:lnTo>
                  <a:lnTo>
                    <a:pt x="466" y="698"/>
                  </a:lnTo>
                  <a:lnTo>
                    <a:pt x="466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9" name="Google Shape;2559;p37"/>
            <p:cNvSpPr/>
            <p:nvPr/>
          </p:nvSpPr>
          <p:spPr>
            <a:xfrm>
              <a:off x="7521633" y="4032845"/>
              <a:ext cx="38803" cy="57997"/>
            </a:xfrm>
            <a:custGeom>
              <a:avLst/>
              <a:gdLst/>
              <a:ahLst/>
              <a:cxnLst/>
              <a:rect l="l" t="t" r="r" b="b"/>
              <a:pathLst>
                <a:path w="467" h="698" extrusionOk="0">
                  <a:moveTo>
                    <a:pt x="0" y="1"/>
                  </a:moveTo>
                  <a:lnTo>
                    <a:pt x="0" y="698"/>
                  </a:lnTo>
                  <a:lnTo>
                    <a:pt x="466" y="698"/>
                  </a:lnTo>
                  <a:lnTo>
                    <a:pt x="466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0" name="Google Shape;2560;p37"/>
            <p:cNvSpPr/>
            <p:nvPr/>
          </p:nvSpPr>
          <p:spPr>
            <a:xfrm>
              <a:off x="7450093" y="4032845"/>
              <a:ext cx="38969" cy="57997"/>
            </a:xfrm>
            <a:custGeom>
              <a:avLst/>
              <a:gdLst/>
              <a:ahLst/>
              <a:cxnLst/>
              <a:rect l="l" t="t" r="r" b="b"/>
              <a:pathLst>
                <a:path w="469" h="698" extrusionOk="0">
                  <a:moveTo>
                    <a:pt x="0" y="1"/>
                  </a:moveTo>
                  <a:lnTo>
                    <a:pt x="0" y="698"/>
                  </a:lnTo>
                  <a:lnTo>
                    <a:pt x="468" y="698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1" name="Google Shape;2561;p37"/>
            <p:cNvSpPr/>
            <p:nvPr/>
          </p:nvSpPr>
          <p:spPr>
            <a:xfrm>
              <a:off x="7949381" y="4144268"/>
              <a:ext cx="39551" cy="58578"/>
            </a:xfrm>
            <a:custGeom>
              <a:avLst/>
              <a:gdLst/>
              <a:ahLst/>
              <a:cxnLst/>
              <a:rect l="l" t="t" r="r" b="b"/>
              <a:pathLst>
                <a:path w="476" h="705" extrusionOk="0">
                  <a:moveTo>
                    <a:pt x="1" y="0"/>
                  </a:moveTo>
                  <a:lnTo>
                    <a:pt x="1" y="705"/>
                  </a:lnTo>
                  <a:lnTo>
                    <a:pt x="475" y="705"/>
                  </a:lnTo>
                  <a:lnTo>
                    <a:pt x="475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2" name="Google Shape;2562;p37"/>
            <p:cNvSpPr/>
            <p:nvPr/>
          </p:nvSpPr>
          <p:spPr>
            <a:xfrm>
              <a:off x="7878588" y="4144268"/>
              <a:ext cx="38969" cy="58578"/>
            </a:xfrm>
            <a:custGeom>
              <a:avLst/>
              <a:gdLst/>
              <a:ahLst/>
              <a:cxnLst/>
              <a:rect l="l" t="t" r="r" b="b"/>
              <a:pathLst>
                <a:path w="469" h="705" extrusionOk="0">
                  <a:moveTo>
                    <a:pt x="1" y="0"/>
                  </a:moveTo>
                  <a:lnTo>
                    <a:pt x="1" y="705"/>
                  </a:lnTo>
                  <a:lnTo>
                    <a:pt x="468" y="705"/>
                  </a:lnTo>
                  <a:lnTo>
                    <a:pt x="468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3" name="Google Shape;2563;p37"/>
            <p:cNvSpPr/>
            <p:nvPr/>
          </p:nvSpPr>
          <p:spPr>
            <a:xfrm>
              <a:off x="7807214" y="4144268"/>
              <a:ext cx="38803" cy="58578"/>
            </a:xfrm>
            <a:custGeom>
              <a:avLst/>
              <a:gdLst/>
              <a:ahLst/>
              <a:cxnLst/>
              <a:rect l="l" t="t" r="r" b="b"/>
              <a:pathLst>
                <a:path w="467" h="705" extrusionOk="0">
                  <a:moveTo>
                    <a:pt x="1" y="0"/>
                  </a:moveTo>
                  <a:lnTo>
                    <a:pt x="1" y="705"/>
                  </a:lnTo>
                  <a:lnTo>
                    <a:pt x="467" y="705"/>
                  </a:lnTo>
                  <a:lnTo>
                    <a:pt x="467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4" name="Google Shape;2564;p37"/>
            <p:cNvSpPr/>
            <p:nvPr/>
          </p:nvSpPr>
          <p:spPr>
            <a:xfrm>
              <a:off x="7735839" y="4144268"/>
              <a:ext cx="38803" cy="58578"/>
            </a:xfrm>
            <a:custGeom>
              <a:avLst/>
              <a:gdLst/>
              <a:ahLst/>
              <a:cxnLst/>
              <a:rect l="l" t="t" r="r" b="b"/>
              <a:pathLst>
                <a:path w="467" h="705" extrusionOk="0">
                  <a:moveTo>
                    <a:pt x="1" y="0"/>
                  </a:moveTo>
                  <a:lnTo>
                    <a:pt x="1" y="705"/>
                  </a:lnTo>
                  <a:lnTo>
                    <a:pt x="467" y="705"/>
                  </a:lnTo>
                  <a:lnTo>
                    <a:pt x="467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5" name="Google Shape;2565;p37"/>
            <p:cNvSpPr/>
            <p:nvPr/>
          </p:nvSpPr>
          <p:spPr>
            <a:xfrm>
              <a:off x="7664382" y="4144268"/>
              <a:ext cx="38886" cy="58578"/>
            </a:xfrm>
            <a:custGeom>
              <a:avLst/>
              <a:gdLst/>
              <a:ahLst/>
              <a:cxnLst/>
              <a:rect l="l" t="t" r="r" b="b"/>
              <a:pathLst>
                <a:path w="468" h="705" extrusionOk="0">
                  <a:moveTo>
                    <a:pt x="0" y="0"/>
                  </a:moveTo>
                  <a:lnTo>
                    <a:pt x="0" y="705"/>
                  </a:lnTo>
                  <a:lnTo>
                    <a:pt x="468" y="705"/>
                  </a:lnTo>
                  <a:lnTo>
                    <a:pt x="468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6" name="Google Shape;2566;p37"/>
            <p:cNvSpPr/>
            <p:nvPr/>
          </p:nvSpPr>
          <p:spPr>
            <a:xfrm>
              <a:off x="7593008" y="4144268"/>
              <a:ext cx="38803" cy="58578"/>
            </a:xfrm>
            <a:custGeom>
              <a:avLst/>
              <a:gdLst/>
              <a:ahLst/>
              <a:cxnLst/>
              <a:rect l="l" t="t" r="r" b="b"/>
              <a:pathLst>
                <a:path w="467" h="705" extrusionOk="0">
                  <a:moveTo>
                    <a:pt x="0" y="0"/>
                  </a:moveTo>
                  <a:lnTo>
                    <a:pt x="0" y="705"/>
                  </a:lnTo>
                  <a:lnTo>
                    <a:pt x="466" y="705"/>
                  </a:lnTo>
                  <a:lnTo>
                    <a:pt x="466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7" name="Google Shape;2567;p37"/>
            <p:cNvSpPr/>
            <p:nvPr/>
          </p:nvSpPr>
          <p:spPr>
            <a:xfrm>
              <a:off x="7521633" y="4144268"/>
              <a:ext cx="38803" cy="58578"/>
            </a:xfrm>
            <a:custGeom>
              <a:avLst/>
              <a:gdLst/>
              <a:ahLst/>
              <a:cxnLst/>
              <a:rect l="l" t="t" r="r" b="b"/>
              <a:pathLst>
                <a:path w="467" h="705" extrusionOk="0">
                  <a:moveTo>
                    <a:pt x="0" y="0"/>
                  </a:moveTo>
                  <a:lnTo>
                    <a:pt x="0" y="705"/>
                  </a:lnTo>
                  <a:lnTo>
                    <a:pt x="466" y="705"/>
                  </a:lnTo>
                  <a:lnTo>
                    <a:pt x="466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8" name="Google Shape;2568;p37"/>
            <p:cNvSpPr/>
            <p:nvPr/>
          </p:nvSpPr>
          <p:spPr>
            <a:xfrm>
              <a:off x="7450093" y="4144268"/>
              <a:ext cx="38969" cy="58578"/>
            </a:xfrm>
            <a:custGeom>
              <a:avLst/>
              <a:gdLst/>
              <a:ahLst/>
              <a:cxnLst/>
              <a:rect l="l" t="t" r="r" b="b"/>
              <a:pathLst>
                <a:path w="469" h="705" extrusionOk="0">
                  <a:moveTo>
                    <a:pt x="0" y="0"/>
                  </a:moveTo>
                  <a:lnTo>
                    <a:pt x="0" y="705"/>
                  </a:lnTo>
                  <a:lnTo>
                    <a:pt x="468" y="705"/>
                  </a:lnTo>
                  <a:lnTo>
                    <a:pt x="468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9" name="Google Shape;2569;p37"/>
            <p:cNvSpPr/>
            <p:nvPr/>
          </p:nvSpPr>
          <p:spPr>
            <a:xfrm>
              <a:off x="7405723" y="4346842"/>
              <a:ext cx="625751" cy="37058"/>
            </a:xfrm>
            <a:custGeom>
              <a:avLst/>
              <a:gdLst/>
              <a:ahLst/>
              <a:cxnLst/>
              <a:rect l="l" t="t" r="r" b="b"/>
              <a:pathLst>
                <a:path w="7531" h="446" extrusionOk="0">
                  <a:moveTo>
                    <a:pt x="1" y="1"/>
                  </a:moveTo>
                  <a:lnTo>
                    <a:pt x="1" y="445"/>
                  </a:lnTo>
                  <a:lnTo>
                    <a:pt x="7531" y="445"/>
                  </a:lnTo>
                  <a:lnTo>
                    <a:pt x="7531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0" name="Google Shape;2570;p37"/>
            <p:cNvSpPr/>
            <p:nvPr/>
          </p:nvSpPr>
          <p:spPr>
            <a:xfrm>
              <a:off x="6977809" y="3630772"/>
              <a:ext cx="519229" cy="759941"/>
            </a:xfrm>
            <a:custGeom>
              <a:avLst/>
              <a:gdLst/>
              <a:ahLst/>
              <a:cxnLst/>
              <a:rect l="l" t="t" r="r" b="b"/>
              <a:pathLst>
                <a:path w="6249" h="9146" extrusionOk="0">
                  <a:moveTo>
                    <a:pt x="1246" y="1"/>
                  </a:moveTo>
                  <a:cubicBezTo>
                    <a:pt x="1246" y="1"/>
                    <a:pt x="854" y="8122"/>
                    <a:pt x="1" y="9145"/>
                  </a:cubicBezTo>
                  <a:lnTo>
                    <a:pt x="6248" y="9145"/>
                  </a:lnTo>
                  <a:cubicBezTo>
                    <a:pt x="6248" y="9145"/>
                    <a:pt x="4966" y="6373"/>
                    <a:pt x="4758" y="1"/>
                  </a:cubicBez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1" name="Google Shape;2571;p37"/>
            <p:cNvSpPr/>
            <p:nvPr/>
          </p:nvSpPr>
          <p:spPr>
            <a:xfrm>
              <a:off x="7237133" y="3630772"/>
              <a:ext cx="255585" cy="749970"/>
            </a:xfrm>
            <a:custGeom>
              <a:avLst/>
              <a:gdLst/>
              <a:ahLst/>
              <a:cxnLst/>
              <a:rect l="l" t="t" r="r" b="b"/>
              <a:pathLst>
                <a:path w="3076" h="9026" extrusionOk="0">
                  <a:moveTo>
                    <a:pt x="1" y="1"/>
                  </a:moveTo>
                  <a:lnTo>
                    <a:pt x="1" y="9026"/>
                  </a:lnTo>
                  <a:lnTo>
                    <a:pt x="3076" y="9026"/>
                  </a:lnTo>
                  <a:cubicBezTo>
                    <a:pt x="3038" y="8944"/>
                    <a:pt x="2987" y="8804"/>
                    <a:pt x="2926" y="8619"/>
                  </a:cubicBezTo>
                  <a:cubicBezTo>
                    <a:pt x="2697" y="7959"/>
                    <a:pt x="2327" y="6684"/>
                    <a:pt x="2037" y="4706"/>
                  </a:cubicBezTo>
                  <a:cubicBezTo>
                    <a:pt x="1934" y="3981"/>
                    <a:pt x="1838" y="3164"/>
                    <a:pt x="1763" y="2247"/>
                  </a:cubicBezTo>
                  <a:cubicBezTo>
                    <a:pt x="1756" y="2186"/>
                    <a:pt x="1749" y="2128"/>
                    <a:pt x="1749" y="2069"/>
                  </a:cubicBezTo>
                  <a:cubicBezTo>
                    <a:pt x="1697" y="1423"/>
                    <a:pt x="1660" y="735"/>
                    <a:pt x="1637" y="1"/>
                  </a:cubicBezTo>
                  <a:close/>
                </a:path>
              </a:pathLst>
            </a:custGeom>
            <a:solidFill>
              <a:srgbClr val="A9645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2" name="Google Shape;2572;p37"/>
            <p:cNvSpPr/>
            <p:nvPr/>
          </p:nvSpPr>
          <p:spPr>
            <a:xfrm>
              <a:off x="7064721" y="3840741"/>
              <a:ext cx="324550" cy="38221"/>
            </a:xfrm>
            <a:custGeom>
              <a:avLst/>
              <a:gdLst/>
              <a:ahLst/>
              <a:cxnLst/>
              <a:rect l="l" t="t" r="r" b="b"/>
              <a:pathLst>
                <a:path w="3906" h="460" extrusionOk="0">
                  <a:moveTo>
                    <a:pt x="38" y="1"/>
                  </a:moveTo>
                  <a:lnTo>
                    <a:pt x="0" y="460"/>
                  </a:lnTo>
                  <a:lnTo>
                    <a:pt x="3906" y="460"/>
                  </a:lnTo>
                  <a:lnTo>
                    <a:pt x="386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3" name="Google Shape;2573;p37"/>
            <p:cNvSpPr/>
            <p:nvPr/>
          </p:nvSpPr>
          <p:spPr>
            <a:xfrm>
              <a:off x="7051095" y="3991050"/>
              <a:ext cx="356705" cy="38803"/>
            </a:xfrm>
            <a:custGeom>
              <a:avLst/>
              <a:gdLst/>
              <a:ahLst/>
              <a:cxnLst/>
              <a:rect l="l" t="t" r="r" b="b"/>
              <a:pathLst>
                <a:path w="4293" h="467" extrusionOk="0">
                  <a:moveTo>
                    <a:pt x="45" y="0"/>
                  </a:moveTo>
                  <a:lnTo>
                    <a:pt x="1" y="466"/>
                  </a:lnTo>
                  <a:lnTo>
                    <a:pt x="4292" y="466"/>
                  </a:lnTo>
                  <a:lnTo>
                    <a:pt x="4224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4" name="Google Shape;2574;p37"/>
            <p:cNvSpPr/>
            <p:nvPr/>
          </p:nvSpPr>
          <p:spPr>
            <a:xfrm>
              <a:off x="7082004" y="3630772"/>
              <a:ext cx="292477" cy="43207"/>
            </a:xfrm>
            <a:custGeom>
              <a:avLst/>
              <a:gdLst/>
              <a:ahLst/>
              <a:cxnLst/>
              <a:rect l="l" t="t" r="r" b="b"/>
              <a:pathLst>
                <a:path w="3520" h="520" extrusionOk="0">
                  <a:moveTo>
                    <a:pt x="29" y="1"/>
                  </a:moveTo>
                  <a:lnTo>
                    <a:pt x="1" y="513"/>
                  </a:lnTo>
                  <a:lnTo>
                    <a:pt x="3520" y="520"/>
                  </a:lnTo>
                  <a:lnTo>
                    <a:pt x="350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5" name="Google Shape;2575;p37"/>
            <p:cNvSpPr/>
            <p:nvPr/>
          </p:nvSpPr>
          <p:spPr>
            <a:xfrm>
              <a:off x="6201499" y="3282376"/>
              <a:ext cx="293806" cy="1108338"/>
            </a:xfrm>
            <a:custGeom>
              <a:avLst/>
              <a:gdLst/>
              <a:ahLst/>
              <a:cxnLst/>
              <a:rect l="l" t="t" r="r" b="b"/>
              <a:pathLst>
                <a:path w="3536" h="13339" extrusionOk="0">
                  <a:moveTo>
                    <a:pt x="7" y="0"/>
                  </a:moveTo>
                  <a:lnTo>
                    <a:pt x="0" y="13338"/>
                  </a:lnTo>
                  <a:lnTo>
                    <a:pt x="3536" y="13338"/>
                  </a:lnTo>
                  <a:cubicBezTo>
                    <a:pt x="3536" y="13338"/>
                    <a:pt x="3491" y="5773"/>
                    <a:pt x="3395" y="5261"/>
                  </a:cubicBezTo>
                  <a:cubicBezTo>
                    <a:pt x="3306" y="4757"/>
                    <a:pt x="3009" y="3794"/>
                    <a:pt x="2076" y="2757"/>
                  </a:cubicBezTo>
                  <a:cubicBezTo>
                    <a:pt x="1149" y="1711"/>
                    <a:pt x="7" y="0"/>
                    <a:pt x="7" y="0"/>
                  </a:cubicBez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6" name="Google Shape;2576;p37"/>
            <p:cNvSpPr/>
            <p:nvPr/>
          </p:nvSpPr>
          <p:spPr>
            <a:xfrm>
              <a:off x="6202081" y="3282376"/>
              <a:ext cx="293225" cy="1098367"/>
            </a:xfrm>
            <a:custGeom>
              <a:avLst/>
              <a:gdLst/>
              <a:ahLst/>
              <a:cxnLst/>
              <a:rect l="l" t="t" r="r" b="b"/>
              <a:pathLst>
                <a:path w="3529" h="13219" extrusionOk="0">
                  <a:moveTo>
                    <a:pt x="0" y="0"/>
                  </a:moveTo>
                  <a:lnTo>
                    <a:pt x="1275" y="2853"/>
                  </a:lnTo>
                  <a:cubicBezTo>
                    <a:pt x="1334" y="2972"/>
                    <a:pt x="2261" y="4839"/>
                    <a:pt x="2268" y="6810"/>
                  </a:cubicBezTo>
                  <a:lnTo>
                    <a:pt x="2328" y="13219"/>
                  </a:lnTo>
                  <a:lnTo>
                    <a:pt x="3529" y="13219"/>
                  </a:lnTo>
                  <a:cubicBezTo>
                    <a:pt x="3529" y="12931"/>
                    <a:pt x="3521" y="12122"/>
                    <a:pt x="3513" y="11122"/>
                  </a:cubicBezTo>
                  <a:lnTo>
                    <a:pt x="3513" y="11040"/>
                  </a:lnTo>
                  <a:cubicBezTo>
                    <a:pt x="3505" y="10619"/>
                    <a:pt x="3505" y="10158"/>
                    <a:pt x="3498" y="9699"/>
                  </a:cubicBezTo>
                  <a:lnTo>
                    <a:pt x="3498" y="9618"/>
                  </a:lnTo>
                  <a:cubicBezTo>
                    <a:pt x="3491" y="9269"/>
                    <a:pt x="3491" y="8913"/>
                    <a:pt x="3484" y="8574"/>
                  </a:cubicBezTo>
                  <a:cubicBezTo>
                    <a:pt x="3484" y="8431"/>
                    <a:pt x="3477" y="8298"/>
                    <a:pt x="3477" y="8158"/>
                  </a:cubicBezTo>
                  <a:cubicBezTo>
                    <a:pt x="3454" y="6706"/>
                    <a:pt x="3424" y="5462"/>
                    <a:pt x="3388" y="5261"/>
                  </a:cubicBezTo>
                  <a:lnTo>
                    <a:pt x="3388" y="5254"/>
                  </a:lnTo>
                  <a:cubicBezTo>
                    <a:pt x="3299" y="4741"/>
                    <a:pt x="2995" y="3786"/>
                    <a:pt x="2069" y="2757"/>
                  </a:cubicBezTo>
                  <a:cubicBezTo>
                    <a:pt x="1142" y="171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A9645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7" name="Google Shape;2577;p37"/>
            <p:cNvSpPr/>
            <p:nvPr/>
          </p:nvSpPr>
          <p:spPr>
            <a:xfrm>
              <a:off x="6202081" y="3739869"/>
              <a:ext cx="285248" cy="52347"/>
            </a:xfrm>
            <a:custGeom>
              <a:avLst/>
              <a:gdLst/>
              <a:ahLst/>
              <a:cxnLst/>
              <a:rect l="l" t="t" r="r" b="b"/>
              <a:pathLst>
                <a:path w="3433" h="630" extrusionOk="0">
                  <a:moveTo>
                    <a:pt x="0" y="0"/>
                  </a:moveTo>
                  <a:lnTo>
                    <a:pt x="0" y="630"/>
                  </a:lnTo>
                  <a:lnTo>
                    <a:pt x="3433" y="630"/>
                  </a:lnTo>
                  <a:lnTo>
                    <a:pt x="3433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8" name="Google Shape;2578;p37"/>
            <p:cNvSpPr/>
            <p:nvPr/>
          </p:nvSpPr>
          <p:spPr>
            <a:xfrm>
              <a:off x="6201499" y="3888767"/>
              <a:ext cx="289569" cy="12380"/>
            </a:xfrm>
            <a:custGeom>
              <a:avLst/>
              <a:gdLst/>
              <a:ahLst/>
              <a:cxnLst/>
              <a:rect l="l" t="t" r="r" b="b"/>
              <a:pathLst>
                <a:path w="3485" h="149" extrusionOk="0">
                  <a:moveTo>
                    <a:pt x="0" y="1"/>
                  </a:moveTo>
                  <a:lnTo>
                    <a:pt x="0" y="148"/>
                  </a:lnTo>
                  <a:lnTo>
                    <a:pt x="3484" y="148"/>
                  </a:lnTo>
                  <a:lnTo>
                    <a:pt x="348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9" name="Google Shape;2579;p37"/>
            <p:cNvSpPr/>
            <p:nvPr/>
          </p:nvSpPr>
          <p:spPr>
            <a:xfrm>
              <a:off x="6201499" y="3917765"/>
              <a:ext cx="289569" cy="12297"/>
            </a:xfrm>
            <a:custGeom>
              <a:avLst/>
              <a:gdLst/>
              <a:ahLst/>
              <a:cxnLst/>
              <a:rect l="l" t="t" r="r" b="b"/>
              <a:pathLst>
                <a:path w="3485" h="148" extrusionOk="0">
                  <a:moveTo>
                    <a:pt x="0" y="0"/>
                  </a:moveTo>
                  <a:lnTo>
                    <a:pt x="0" y="148"/>
                  </a:lnTo>
                  <a:lnTo>
                    <a:pt x="3484" y="148"/>
                  </a:lnTo>
                  <a:lnTo>
                    <a:pt x="3484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0" name="Google Shape;2580;p37"/>
            <p:cNvSpPr/>
            <p:nvPr/>
          </p:nvSpPr>
          <p:spPr>
            <a:xfrm>
              <a:off x="6201499" y="3946680"/>
              <a:ext cx="289569" cy="12380"/>
            </a:xfrm>
            <a:custGeom>
              <a:avLst/>
              <a:gdLst/>
              <a:ahLst/>
              <a:cxnLst/>
              <a:rect l="l" t="t" r="r" b="b"/>
              <a:pathLst>
                <a:path w="3485" h="149" extrusionOk="0">
                  <a:moveTo>
                    <a:pt x="0" y="1"/>
                  </a:moveTo>
                  <a:lnTo>
                    <a:pt x="0" y="148"/>
                  </a:lnTo>
                  <a:lnTo>
                    <a:pt x="3484" y="148"/>
                  </a:lnTo>
                  <a:lnTo>
                    <a:pt x="348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1" name="Google Shape;2581;p37"/>
            <p:cNvSpPr/>
            <p:nvPr/>
          </p:nvSpPr>
          <p:spPr>
            <a:xfrm>
              <a:off x="6201499" y="3975513"/>
              <a:ext cx="289569" cy="12464"/>
            </a:xfrm>
            <a:custGeom>
              <a:avLst/>
              <a:gdLst/>
              <a:ahLst/>
              <a:cxnLst/>
              <a:rect l="l" t="t" r="r" b="b"/>
              <a:pathLst>
                <a:path w="3485" h="150" extrusionOk="0">
                  <a:moveTo>
                    <a:pt x="0" y="1"/>
                  </a:moveTo>
                  <a:lnTo>
                    <a:pt x="0" y="150"/>
                  </a:lnTo>
                  <a:lnTo>
                    <a:pt x="3484" y="150"/>
                  </a:lnTo>
                  <a:lnTo>
                    <a:pt x="348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2" name="Google Shape;2582;p37"/>
            <p:cNvSpPr/>
            <p:nvPr/>
          </p:nvSpPr>
          <p:spPr>
            <a:xfrm>
              <a:off x="6201499" y="4004511"/>
              <a:ext cx="289569" cy="12464"/>
            </a:xfrm>
            <a:custGeom>
              <a:avLst/>
              <a:gdLst/>
              <a:ahLst/>
              <a:cxnLst/>
              <a:rect l="l" t="t" r="r" b="b"/>
              <a:pathLst>
                <a:path w="3485" h="150" extrusionOk="0">
                  <a:moveTo>
                    <a:pt x="0" y="0"/>
                  </a:moveTo>
                  <a:lnTo>
                    <a:pt x="0" y="150"/>
                  </a:lnTo>
                  <a:lnTo>
                    <a:pt x="3484" y="150"/>
                  </a:lnTo>
                  <a:lnTo>
                    <a:pt x="3484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3" name="Google Shape;2583;p37"/>
            <p:cNvSpPr/>
            <p:nvPr/>
          </p:nvSpPr>
          <p:spPr>
            <a:xfrm>
              <a:off x="4890090" y="4233507"/>
              <a:ext cx="741994" cy="151556"/>
            </a:xfrm>
            <a:custGeom>
              <a:avLst/>
              <a:gdLst/>
              <a:ahLst/>
              <a:cxnLst/>
              <a:rect l="l" t="t" r="r" b="b"/>
              <a:pathLst>
                <a:path w="8930" h="1824" extrusionOk="0">
                  <a:moveTo>
                    <a:pt x="4462" y="1"/>
                  </a:moveTo>
                  <a:cubicBezTo>
                    <a:pt x="2364" y="1"/>
                    <a:pt x="585" y="772"/>
                    <a:pt x="0" y="1823"/>
                  </a:cubicBezTo>
                  <a:lnTo>
                    <a:pt x="8929" y="1823"/>
                  </a:lnTo>
                  <a:cubicBezTo>
                    <a:pt x="8344" y="772"/>
                    <a:pt x="6566" y="1"/>
                    <a:pt x="4462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4" name="Google Shape;2584;p37"/>
            <p:cNvSpPr/>
            <p:nvPr/>
          </p:nvSpPr>
          <p:spPr>
            <a:xfrm>
              <a:off x="5474296" y="4181243"/>
              <a:ext cx="727287" cy="206312"/>
            </a:xfrm>
            <a:custGeom>
              <a:avLst/>
              <a:gdLst/>
              <a:ahLst/>
              <a:cxnLst/>
              <a:rect l="l" t="t" r="r" b="b"/>
              <a:pathLst>
                <a:path w="8753" h="2483" extrusionOk="0">
                  <a:moveTo>
                    <a:pt x="4381" y="0"/>
                  </a:moveTo>
                  <a:cubicBezTo>
                    <a:pt x="2322" y="0"/>
                    <a:pt x="572" y="1046"/>
                    <a:pt x="1" y="2483"/>
                  </a:cubicBezTo>
                  <a:lnTo>
                    <a:pt x="8752" y="2483"/>
                  </a:lnTo>
                  <a:cubicBezTo>
                    <a:pt x="8181" y="1046"/>
                    <a:pt x="6440" y="0"/>
                    <a:pt x="438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5" name="Google Shape;2585;p37"/>
            <p:cNvSpPr/>
            <p:nvPr/>
          </p:nvSpPr>
          <p:spPr>
            <a:xfrm>
              <a:off x="5614718" y="4229269"/>
              <a:ext cx="124469" cy="69048"/>
            </a:xfrm>
            <a:custGeom>
              <a:avLst/>
              <a:gdLst/>
              <a:ahLst/>
              <a:cxnLst/>
              <a:rect l="l" t="t" r="r" b="b"/>
              <a:pathLst>
                <a:path w="1498" h="831" extrusionOk="0">
                  <a:moveTo>
                    <a:pt x="978" y="0"/>
                  </a:moveTo>
                  <a:cubicBezTo>
                    <a:pt x="882" y="0"/>
                    <a:pt x="772" y="14"/>
                    <a:pt x="660" y="52"/>
                  </a:cubicBezTo>
                  <a:cubicBezTo>
                    <a:pt x="246" y="171"/>
                    <a:pt x="0" y="475"/>
                    <a:pt x="89" y="660"/>
                  </a:cubicBezTo>
                  <a:cubicBezTo>
                    <a:pt x="143" y="779"/>
                    <a:pt x="290" y="831"/>
                    <a:pt x="475" y="831"/>
                  </a:cubicBezTo>
                  <a:cubicBezTo>
                    <a:pt x="594" y="831"/>
                    <a:pt x="735" y="807"/>
                    <a:pt x="868" y="770"/>
                  </a:cubicBezTo>
                  <a:cubicBezTo>
                    <a:pt x="1224" y="667"/>
                    <a:pt x="1498" y="459"/>
                    <a:pt x="1467" y="260"/>
                  </a:cubicBezTo>
                  <a:cubicBezTo>
                    <a:pt x="1446" y="112"/>
                    <a:pt x="1245" y="0"/>
                    <a:pt x="978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6" name="Google Shape;2586;p37"/>
            <p:cNvSpPr/>
            <p:nvPr/>
          </p:nvSpPr>
          <p:spPr>
            <a:xfrm>
              <a:off x="5758214" y="4239739"/>
              <a:ext cx="64810" cy="33319"/>
            </a:xfrm>
            <a:custGeom>
              <a:avLst/>
              <a:gdLst/>
              <a:ahLst/>
              <a:cxnLst/>
              <a:rect l="l" t="t" r="r" b="b"/>
              <a:pathLst>
                <a:path w="780" h="401" extrusionOk="0">
                  <a:moveTo>
                    <a:pt x="393" y="0"/>
                  </a:moveTo>
                  <a:cubicBezTo>
                    <a:pt x="171" y="0"/>
                    <a:pt x="0" y="103"/>
                    <a:pt x="16" y="215"/>
                  </a:cubicBezTo>
                  <a:cubicBezTo>
                    <a:pt x="23" y="326"/>
                    <a:pt x="185" y="400"/>
                    <a:pt x="386" y="400"/>
                  </a:cubicBezTo>
                  <a:lnTo>
                    <a:pt x="393" y="400"/>
                  </a:lnTo>
                  <a:cubicBezTo>
                    <a:pt x="594" y="400"/>
                    <a:pt x="763" y="319"/>
                    <a:pt x="772" y="215"/>
                  </a:cubicBezTo>
                  <a:cubicBezTo>
                    <a:pt x="779" y="103"/>
                    <a:pt x="608" y="0"/>
                    <a:pt x="393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7" name="Google Shape;2587;p37"/>
            <p:cNvSpPr/>
            <p:nvPr/>
          </p:nvSpPr>
          <p:spPr>
            <a:xfrm>
              <a:off x="4773764" y="4109204"/>
              <a:ext cx="144161" cy="181718"/>
            </a:xfrm>
            <a:custGeom>
              <a:avLst/>
              <a:gdLst/>
              <a:ahLst/>
              <a:cxnLst/>
              <a:rect l="l" t="t" r="r" b="b"/>
              <a:pathLst>
                <a:path w="1735" h="2187" extrusionOk="0">
                  <a:moveTo>
                    <a:pt x="867" y="1"/>
                  </a:moveTo>
                  <a:cubicBezTo>
                    <a:pt x="490" y="1"/>
                    <a:pt x="178" y="303"/>
                    <a:pt x="178" y="682"/>
                  </a:cubicBezTo>
                  <a:cubicBezTo>
                    <a:pt x="178" y="712"/>
                    <a:pt x="186" y="741"/>
                    <a:pt x="193" y="778"/>
                  </a:cubicBezTo>
                  <a:cubicBezTo>
                    <a:pt x="66" y="926"/>
                    <a:pt x="1" y="1112"/>
                    <a:pt x="1" y="1319"/>
                  </a:cubicBezTo>
                  <a:cubicBezTo>
                    <a:pt x="1" y="1801"/>
                    <a:pt x="385" y="2187"/>
                    <a:pt x="867" y="2187"/>
                  </a:cubicBezTo>
                  <a:cubicBezTo>
                    <a:pt x="1342" y="2187"/>
                    <a:pt x="1735" y="1801"/>
                    <a:pt x="1735" y="1319"/>
                  </a:cubicBezTo>
                  <a:cubicBezTo>
                    <a:pt x="1735" y="1112"/>
                    <a:pt x="1660" y="926"/>
                    <a:pt x="1541" y="778"/>
                  </a:cubicBezTo>
                  <a:cubicBezTo>
                    <a:pt x="1541" y="741"/>
                    <a:pt x="1550" y="712"/>
                    <a:pt x="1550" y="682"/>
                  </a:cubicBezTo>
                  <a:cubicBezTo>
                    <a:pt x="1550" y="303"/>
                    <a:pt x="1245" y="1"/>
                    <a:pt x="86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8" name="Google Shape;2588;p37"/>
            <p:cNvSpPr/>
            <p:nvPr/>
          </p:nvSpPr>
          <p:spPr>
            <a:xfrm>
              <a:off x="4845138" y="4192876"/>
              <a:ext cx="6315" cy="189778"/>
            </a:xfrm>
            <a:custGeom>
              <a:avLst/>
              <a:gdLst/>
              <a:ahLst/>
              <a:cxnLst/>
              <a:rect l="l" t="t" r="r" b="b"/>
              <a:pathLst>
                <a:path w="76" h="2284" extrusionOk="0">
                  <a:moveTo>
                    <a:pt x="38" y="1"/>
                  </a:moveTo>
                  <a:lnTo>
                    <a:pt x="1" y="2247"/>
                  </a:lnTo>
                  <a:cubicBezTo>
                    <a:pt x="1" y="2268"/>
                    <a:pt x="15" y="2284"/>
                    <a:pt x="38" y="2284"/>
                  </a:cubicBezTo>
                  <a:cubicBezTo>
                    <a:pt x="59" y="2284"/>
                    <a:pt x="75" y="2268"/>
                    <a:pt x="75" y="2247"/>
                  </a:cubicBezTo>
                  <a:cubicBezTo>
                    <a:pt x="75" y="2247"/>
                    <a:pt x="59" y="1"/>
                    <a:pt x="38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9" name="Google Shape;2589;p37"/>
            <p:cNvSpPr/>
            <p:nvPr/>
          </p:nvSpPr>
          <p:spPr>
            <a:xfrm>
              <a:off x="4811902" y="4237828"/>
              <a:ext cx="36393" cy="29580"/>
            </a:xfrm>
            <a:custGeom>
              <a:avLst/>
              <a:gdLst/>
              <a:ahLst/>
              <a:cxnLst/>
              <a:rect l="l" t="t" r="r" b="b"/>
              <a:pathLst>
                <a:path w="438" h="356" extrusionOk="0">
                  <a:moveTo>
                    <a:pt x="0" y="0"/>
                  </a:moveTo>
                  <a:cubicBezTo>
                    <a:pt x="205" y="342"/>
                    <a:pt x="404" y="356"/>
                    <a:pt x="434" y="356"/>
                  </a:cubicBezTo>
                  <a:cubicBezTo>
                    <a:pt x="437" y="356"/>
                    <a:pt x="438" y="356"/>
                    <a:pt x="438" y="356"/>
                  </a:cubicBezTo>
                  <a:lnTo>
                    <a:pt x="438" y="311"/>
                  </a:lnTo>
                  <a:cubicBezTo>
                    <a:pt x="438" y="311"/>
                    <a:pt x="434" y="314"/>
                    <a:pt x="422" y="314"/>
                  </a:cubicBezTo>
                  <a:cubicBezTo>
                    <a:pt x="396" y="314"/>
                    <a:pt x="334" y="300"/>
                    <a:pt x="201" y="208"/>
                  </a:cubicBezTo>
                  <a:cubicBezTo>
                    <a:pt x="82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0" name="Google Shape;2590;p37"/>
            <p:cNvSpPr/>
            <p:nvPr/>
          </p:nvSpPr>
          <p:spPr>
            <a:xfrm>
              <a:off x="4848213" y="4229851"/>
              <a:ext cx="31408" cy="25342"/>
            </a:xfrm>
            <a:custGeom>
              <a:avLst/>
              <a:gdLst/>
              <a:ahLst/>
              <a:cxnLst/>
              <a:rect l="l" t="t" r="r" b="b"/>
              <a:pathLst>
                <a:path w="378" h="305" extrusionOk="0">
                  <a:moveTo>
                    <a:pt x="378" y="0"/>
                  </a:moveTo>
                  <a:cubicBezTo>
                    <a:pt x="378" y="0"/>
                    <a:pt x="305" y="105"/>
                    <a:pt x="209" y="171"/>
                  </a:cubicBezTo>
                  <a:cubicBezTo>
                    <a:pt x="96" y="250"/>
                    <a:pt x="41" y="263"/>
                    <a:pt x="17" y="263"/>
                  </a:cubicBezTo>
                  <a:cubicBezTo>
                    <a:pt x="5" y="263"/>
                    <a:pt x="1" y="260"/>
                    <a:pt x="1" y="260"/>
                  </a:cubicBezTo>
                  <a:lnTo>
                    <a:pt x="1" y="260"/>
                  </a:lnTo>
                  <a:lnTo>
                    <a:pt x="8" y="304"/>
                  </a:lnTo>
                  <a:cubicBezTo>
                    <a:pt x="8" y="304"/>
                    <a:pt x="8" y="304"/>
                    <a:pt x="9" y="304"/>
                  </a:cubicBezTo>
                  <a:cubicBezTo>
                    <a:pt x="24" y="304"/>
                    <a:pt x="194" y="298"/>
                    <a:pt x="378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1" name="Google Shape;2591;p37"/>
            <p:cNvSpPr/>
            <p:nvPr/>
          </p:nvSpPr>
          <p:spPr>
            <a:xfrm>
              <a:off x="4822953" y="4211904"/>
              <a:ext cx="25342" cy="20523"/>
            </a:xfrm>
            <a:custGeom>
              <a:avLst/>
              <a:gdLst/>
              <a:ahLst/>
              <a:cxnLst/>
              <a:rect l="l" t="t" r="r" b="b"/>
              <a:pathLst>
                <a:path w="305" h="247" extrusionOk="0">
                  <a:moveTo>
                    <a:pt x="1" y="1"/>
                  </a:moveTo>
                  <a:cubicBezTo>
                    <a:pt x="149" y="240"/>
                    <a:pt x="289" y="246"/>
                    <a:pt x="304" y="246"/>
                  </a:cubicBezTo>
                  <a:cubicBezTo>
                    <a:pt x="304" y="246"/>
                    <a:pt x="305" y="246"/>
                    <a:pt x="305" y="246"/>
                  </a:cubicBezTo>
                  <a:lnTo>
                    <a:pt x="305" y="209"/>
                  </a:lnTo>
                  <a:cubicBezTo>
                    <a:pt x="305" y="209"/>
                    <a:pt x="302" y="211"/>
                    <a:pt x="293" y="211"/>
                  </a:cubicBezTo>
                  <a:cubicBezTo>
                    <a:pt x="275" y="211"/>
                    <a:pt x="232" y="201"/>
                    <a:pt x="141" y="134"/>
                  </a:cubicBezTo>
                  <a:cubicBezTo>
                    <a:pt x="60" y="8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2" name="Google Shape;2592;p37"/>
            <p:cNvSpPr/>
            <p:nvPr/>
          </p:nvSpPr>
          <p:spPr>
            <a:xfrm>
              <a:off x="5807570" y="3795207"/>
              <a:ext cx="528286" cy="514161"/>
            </a:xfrm>
            <a:custGeom>
              <a:avLst/>
              <a:gdLst/>
              <a:ahLst/>
              <a:cxnLst/>
              <a:rect l="l" t="t" r="r" b="b"/>
              <a:pathLst>
                <a:path w="6358" h="6188" extrusionOk="0">
                  <a:moveTo>
                    <a:pt x="3090" y="1"/>
                  </a:moveTo>
                  <a:cubicBezTo>
                    <a:pt x="2978" y="1"/>
                    <a:pt x="2867" y="30"/>
                    <a:pt x="2771" y="90"/>
                  </a:cubicBezTo>
                  <a:cubicBezTo>
                    <a:pt x="2067" y="534"/>
                    <a:pt x="0" y="6188"/>
                    <a:pt x="3089" y="6188"/>
                  </a:cubicBezTo>
                  <a:cubicBezTo>
                    <a:pt x="6358" y="6188"/>
                    <a:pt x="4112" y="534"/>
                    <a:pt x="3415" y="90"/>
                  </a:cubicBezTo>
                  <a:cubicBezTo>
                    <a:pt x="3315" y="30"/>
                    <a:pt x="3202" y="1"/>
                    <a:pt x="3090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3" name="Google Shape;2593;p37"/>
            <p:cNvSpPr/>
            <p:nvPr/>
          </p:nvSpPr>
          <p:spPr>
            <a:xfrm>
              <a:off x="5807570" y="3802436"/>
              <a:ext cx="256748" cy="506932"/>
            </a:xfrm>
            <a:custGeom>
              <a:avLst/>
              <a:gdLst/>
              <a:ahLst/>
              <a:cxnLst/>
              <a:rect l="l" t="t" r="r" b="b"/>
              <a:pathLst>
                <a:path w="3090" h="6101" extrusionOk="0">
                  <a:moveTo>
                    <a:pt x="2776" y="1"/>
                  </a:moveTo>
                  <a:cubicBezTo>
                    <a:pt x="2775" y="1"/>
                    <a:pt x="2773" y="2"/>
                    <a:pt x="2771" y="3"/>
                  </a:cubicBezTo>
                  <a:cubicBezTo>
                    <a:pt x="2067" y="447"/>
                    <a:pt x="0" y="6101"/>
                    <a:pt x="3089" y="6101"/>
                  </a:cubicBezTo>
                  <a:cubicBezTo>
                    <a:pt x="3089" y="6101"/>
                    <a:pt x="2312" y="6033"/>
                    <a:pt x="2268" y="3826"/>
                  </a:cubicBezTo>
                  <a:cubicBezTo>
                    <a:pt x="2215" y="1638"/>
                    <a:pt x="2848" y="1"/>
                    <a:pt x="2776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4" name="Google Shape;2594;p37"/>
            <p:cNvSpPr/>
            <p:nvPr/>
          </p:nvSpPr>
          <p:spPr>
            <a:xfrm>
              <a:off x="6056258" y="4028690"/>
              <a:ext cx="36975" cy="355791"/>
            </a:xfrm>
            <a:custGeom>
              <a:avLst/>
              <a:gdLst/>
              <a:ahLst/>
              <a:cxnLst/>
              <a:rect l="l" t="t" r="r" b="b"/>
              <a:pathLst>
                <a:path w="445" h="4282" extrusionOk="0">
                  <a:moveTo>
                    <a:pt x="224" y="1"/>
                  </a:moveTo>
                  <a:cubicBezTo>
                    <a:pt x="223" y="1"/>
                    <a:pt x="222" y="6"/>
                    <a:pt x="222" y="20"/>
                  </a:cubicBezTo>
                  <a:lnTo>
                    <a:pt x="0" y="4281"/>
                  </a:lnTo>
                  <a:lnTo>
                    <a:pt x="445" y="4281"/>
                  </a:lnTo>
                  <a:cubicBezTo>
                    <a:pt x="430" y="2458"/>
                    <a:pt x="267" y="20"/>
                    <a:pt x="229" y="20"/>
                  </a:cubicBezTo>
                  <a:cubicBezTo>
                    <a:pt x="229" y="20"/>
                    <a:pt x="226" y="1"/>
                    <a:pt x="22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5" name="Google Shape;2595;p37"/>
            <p:cNvSpPr/>
            <p:nvPr/>
          </p:nvSpPr>
          <p:spPr>
            <a:xfrm>
              <a:off x="5974331" y="4154738"/>
              <a:ext cx="101037" cy="81345"/>
            </a:xfrm>
            <a:custGeom>
              <a:avLst/>
              <a:gdLst/>
              <a:ahLst/>
              <a:cxnLst/>
              <a:rect l="l" t="t" r="r" b="b"/>
              <a:pathLst>
                <a:path w="1216" h="979" extrusionOk="0">
                  <a:moveTo>
                    <a:pt x="1" y="1"/>
                  </a:moveTo>
                  <a:cubicBezTo>
                    <a:pt x="595" y="952"/>
                    <a:pt x="1136" y="979"/>
                    <a:pt x="1196" y="979"/>
                  </a:cubicBezTo>
                  <a:cubicBezTo>
                    <a:pt x="1199" y="979"/>
                    <a:pt x="1201" y="979"/>
                    <a:pt x="1201" y="979"/>
                  </a:cubicBezTo>
                  <a:lnTo>
                    <a:pt x="1215" y="838"/>
                  </a:lnTo>
                  <a:lnTo>
                    <a:pt x="1215" y="838"/>
                  </a:lnTo>
                  <a:cubicBezTo>
                    <a:pt x="1215" y="838"/>
                    <a:pt x="1203" y="847"/>
                    <a:pt x="1168" y="847"/>
                  </a:cubicBezTo>
                  <a:cubicBezTo>
                    <a:pt x="1093" y="847"/>
                    <a:pt x="919" y="806"/>
                    <a:pt x="556" y="548"/>
                  </a:cubicBezTo>
                  <a:cubicBezTo>
                    <a:pt x="245" y="33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6" name="Google Shape;2596;p37"/>
            <p:cNvSpPr/>
            <p:nvPr/>
          </p:nvSpPr>
          <p:spPr>
            <a:xfrm>
              <a:off x="6075286" y="4131971"/>
              <a:ext cx="85084" cy="68965"/>
            </a:xfrm>
            <a:custGeom>
              <a:avLst/>
              <a:gdLst/>
              <a:ahLst/>
              <a:cxnLst/>
              <a:rect l="l" t="t" r="r" b="b"/>
              <a:pathLst>
                <a:path w="1024" h="830" extrusionOk="0">
                  <a:moveTo>
                    <a:pt x="1023" y="1"/>
                  </a:moveTo>
                  <a:lnTo>
                    <a:pt x="1023" y="1"/>
                  </a:lnTo>
                  <a:cubicBezTo>
                    <a:pt x="1023" y="1"/>
                    <a:pt x="824" y="282"/>
                    <a:pt x="557" y="467"/>
                  </a:cubicBezTo>
                  <a:cubicBezTo>
                    <a:pt x="255" y="685"/>
                    <a:pt x="108" y="721"/>
                    <a:pt x="44" y="721"/>
                  </a:cubicBezTo>
                  <a:cubicBezTo>
                    <a:pt x="12" y="721"/>
                    <a:pt x="0" y="712"/>
                    <a:pt x="0" y="712"/>
                  </a:cubicBezTo>
                  <a:lnTo>
                    <a:pt x="0" y="712"/>
                  </a:lnTo>
                  <a:lnTo>
                    <a:pt x="8" y="830"/>
                  </a:lnTo>
                  <a:cubicBezTo>
                    <a:pt x="8" y="830"/>
                    <a:pt x="10" y="830"/>
                    <a:pt x="14" y="830"/>
                  </a:cubicBezTo>
                  <a:cubicBezTo>
                    <a:pt x="72" y="830"/>
                    <a:pt x="531" y="803"/>
                    <a:pt x="1023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7" name="Google Shape;2597;p37"/>
            <p:cNvSpPr/>
            <p:nvPr/>
          </p:nvSpPr>
          <p:spPr>
            <a:xfrm>
              <a:off x="6006238" y="4082616"/>
              <a:ext cx="69131" cy="55504"/>
            </a:xfrm>
            <a:custGeom>
              <a:avLst/>
              <a:gdLst/>
              <a:ahLst/>
              <a:cxnLst/>
              <a:rect l="l" t="t" r="r" b="b"/>
              <a:pathLst>
                <a:path w="832" h="668" extrusionOk="0">
                  <a:moveTo>
                    <a:pt x="1" y="1"/>
                  </a:moveTo>
                  <a:lnTo>
                    <a:pt x="1" y="1"/>
                  </a:lnTo>
                  <a:cubicBezTo>
                    <a:pt x="398" y="648"/>
                    <a:pt x="774" y="668"/>
                    <a:pt x="820" y="668"/>
                  </a:cubicBezTo>
                  <a:cubicBezTo>
                    <a:pt x="823" y="668"/>
                    <a:pt x="824" y="668"/>
                    <a:pt x="824" y="668"/>
                  </a:cubicBezTo>
                  <a:lnTo>
                    <a:pt x="831" y="572"/>
                  </a:lnTo>
                  <a:lnTo>
                    <a:pt x="831" y="572"/>
                  </a:lnTo>
                  <a:cubicBezTo>
                    <a:pt x="831" y="572"/>
                    <a:pt x="821" y="580"/>
                    <a:pt x="793" y="580"/>
                  </a:cubicBezTo>
                  <a:cubicBezTo>
                    <a:pt x="739" y="580"/>
                    <a:pt x="618" y="550"/>
                    <a:pt x="380" y="380"/>
                  </a:cubicBezTo>
                  <a:cubicBezTo>
                    <a:pt x="165" y="23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8" name="Google Shape;2598;p37"/>
            <p:cNvSpPr/>
            <p:nvPr/>
          </p:nvSpPr>
          <p:spPr>
            <a:xfrm>
              <a:off x="5289587" y="3976011"/>
              <a:ext cx="367756" cy="357952"/>
            </a:xfrm>
            <a:custGeom>
              <a:avLst/>
              <a:gdLst/>
              <a:ahLst/>
              <a:cxnLst/>
              <a:rect l="l" t="t" r="r" b="b"/>
              <a:pathLst>
                <a:path w="4426" h="4308" extrusionOk="0">
                  <a:moveTo>
                    <a:pt x="2151" y="1"/>
                  </a:moveTo>
                  <a:cubicBezTo>
                    <a:pt x="2073" y="1"/>
                    <a:pt x="1995" y="21"/>
                    <a:pt x="1929" y="62"/>
                  </a:cubicBezTo>
                  <a:cubicBezTo>
                    <a:pt x="1440" y="366"/>
                    <a:pt x="1" y="4307"/>
                    <a:pt x="2151" y="4307"/>
                  </a:cubicBezTo>
                  <a:cubicBezTo>
                    <a:pt x="4425" y="4307"/>
                    <a:pt x="2862" y="366"/>
                    <a:pt x="2373" y="62"/>
                  </a:cubicBezTo>
                  <a:cubicBezTo>
                    <a:pt x="2307" y="21"/>
                    <a:pt x="2229" y="1"/>
                    <a:pt x="2151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9" name="Google Shape;2599;p37"/>
            <p:cNvSpPr/>
            <p:nvPr/>
          </p:nvSpPr>
          <p:spPr>
            <a:xfrm>
              <a:off x="5289587" y="3980997"/>
              <a:ext cx="178727" cy="352966"/>
            </a:xfrm>
            <a:custGeom>
              <a:avLst/>
              <a:gdLst/>
              <a:ahLst/>
              <a:cxnLst/>
              <a:rect l="l" t="t" r="r" b="b"/>
              <a:pathLst>
                <a:path w="2151" h="4248" extrusionOk="0">
                  <a:moveTo>
                    <a:pt x="1932" y="1"/>
                  </a:moveTo>
                  <a:cubicBezTo>
                    <a:pt x="1931" y="1"/>
                    <a:pt x="1930" y="1"/>
                    <a:pt x="1929" y="2"/>
                  </a:cubicBezTo>
                  <a:cubicBezTo>
                    <a:pt x="1440" y="306"/>
                    <a:pt x="1" y="4247"/>
                    <a:pt x="2151" y="4247"/>
                  </a:cubicBezTo>
                  <a:cubicBezTo>
                    <a:pt x="2151" y="4247"/>
                    <a:pt x="1610" y="4203"/>
                    <a:pt x="1580" y="2663"/>
                  </a:cubicBezTo>
                  <a:cubicBezTo>
                    <a:pt x="1543" y="1142"/>
                    <a:pt x="1985" y="1"/>
                    <a:pt x="1932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0" name="Google Shape;2600;p37"/>
            <p:cNvSpPr/>
            <p:nvPr/>
          </p:nvSpPr>
          <p:spPr>
            <a:xfrm>
              <a:off x="5462663" y="4138618"/>
              <a:ext cx="25924" cy="247774"/>
            </a:xfrm>
            <a:custGeom>
              <a:avLst/>
              <a:gdLst/>
              <a:ahLst/>
              <a:cxnLst/>
              <a:rect l="l" t="t" r="r" b="b"/>
              <a:pathLst>
                <a:path w="312" h="2982" extrusionOk="0">
                  <a:moveTo>
                    <a:pt x="159" y="0"/>
                  </a:moveTo>
                  <a:cubicBezTo>
                    <a:pt x="158" y="0"/>
                    <a:pt x="157" y="4"/>
                    <a:pt x="157" y="17"/>
                  </a:cubicBezTo>
                  <a:lnTo>
                    <a:pt x="0" y="2981"/>
                  </a:lnTo>
                  <a:lnTo>
                    <a:pt x="312" y="2981"/>
                  </a:lnTo>
                  <a:cubicBezTo>
                    <a:pt x="304" y="1713"/>
                    <a:pt x="185" y="17"/>
                    <a:pt x="164" y="17"/>
                  </a:cubicBezTo>
                  <a:cubicBezTo>
                    <a:pt x="164" y="17"/>
                    <a:pt x="161" y="0"/>
                    <a:pt x="159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1" name="Google Shape;2601;p37"/>
            <p:cNvSpPr/>
            <p:nvPr/>
          </p:nvSpPr>
          <p:spPr>
            <a:xfrm>
              <a:off x="5406079" y="4226112"/>
              <a:ext cx="69629" cy="56834"/>
            </a:xfrm>
            <a:custGeom>
              <a:avLst/>
              <a:gdLst/>
              <a:ahLst/>
              <a:cxnLst/>
              <a:rect l="l" t="t" r="r" b="b"/>
              <a:pathLst>
                <a:path w="838" h="684" extrusionOk="0">
                  <a:moveTo>
                    <a:pt x="0" y="1"/>
                  </a:moveTo>
                  <a:lnTo>
                    <a:pt x="0" y="1"/>
                  </a:lnTo>
                  <a:cubicBezTo>
                    <a:pt x="406" y="665"/>
                    <a:pt x="785" y="684"/>
                    <a:pt x="827" y="684"/>
                  </a:cubicBezTo>
                  <a:cubicBezTo>
                    <a:pt x="829" y="684"/>
                    <a:pt x="831" y="684"/>
                    <a:pt x="831" y="684"/>
                  </a:cubicBezTo>
                  <a:lnTo>
                    <a:pt x="838" y="586"/>
                  </a:lnTo>
                  <a:lnTo>
                    <a:pt x="838" y="586"/>
                  </a:lnTo>
                  <a:cubicBezTo>
                    <a:pt x="838" y="586"/>
                    <a:pt x="830" y="592"/>
                    <a:pt x="806" y="592"/>
                  </a:cubicBezTo>
                  <a:cubicBezTo>
                    <a:pt x="757" y="592"/>
                    <a:pt x="639" y="564"/>
                    <a:pt x="386" y="387"/>
                  </a:cubicBezTo>
                  <a:cubicBezTo>
                    <a:pt x="164" y="23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2" name="Google Shape;2602;p37"/>
            <p:cNvSpPr/>
            <p:nvPr/>
          </p:nvSpPr>
          <p:spPr>
            <a:xfrm>
              <a:off x="5475625" y="4210740"/>
              <a:ext cx="59825" cy="48109"/>
            </a:xfrm>
            <a:custGeom>
              <a:avLst/>
              <a:gdLst/>
              <a:ahLst/>
              <a:cxnLst/>
              <a:rect l="l" t="t" r="r" b="b"/>
              <a:pathLst>
                <a:path w="720" h="579" extrusionOk="0">
                  <a:moveTo>
                    <a:pt x="719" y="1"/>
                  </a:moveTo>
                  <a:cubicBezTo>
                    <a:pt x="719" y="1"/>
                    <a:pt x="579" y="193"/>
                    <a:pt x="394" y="326"/>
                  </a:cubicBezTo>
                  <a:cubicBezTo>
                    <a:pt x="184" y="472"/>
                    <a:pt x="81" y="497"/>
                    <a:pt x="34" y="497"/>
                  </a:cubicBezTo>
                  <a:cubicBezTo>
                    <a:pt x="10" y="497"/>
                    <a:pt x="1" y="490"/>
                    <a:pt x="1" y="490"/>
                  </a:cubicBezTo>
                  <a:lnTo>
                    <a:pt x="1" y="490"/>
                  </a:lnTo>
                  <a:lnTo>
                    <a:pt x="8" y="579"/>
                  </a:lnTo>
                  <a:cubicBezTo>
                    <a:pt x="8" y="579"/>
                    <a:pt x="9" y="579"/>
                    <a:pt x="10" y="579"/>
                  </a:cubicBezTo>
                  <a:cubicBezTo>
                    <a:pt x="39" y="579"/>
                    <a:pt x="366" y="566"/>
                    <a:pt x="71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3" name="Google Shape;2603;p37"/>
            <p:cNvSpPr/>
            <p:nvPr/>
          </p:nvSpPr>
          <p:spPr>
            <a:xfrm>
              <a:off x="5427599" y="4176341"/>
              <a:ext cx="48109" cy="38803"/>
            </a:xfrm>
            <a:custGeom>
              <a:avLst/>
              <a:gdLst/>
              <a:ahLst/>
              <a:cxnLst/>
              <a:rect l="l" t="t" r="r" b="b"/>
              <a:pathLst>
                <a:path w="579" h="467" extrusionOk="0">
                  <a:moveTo>
                    <a:pt x="1" y="0"/>
                  </a:moveTo>
                  <a:lnTo>
                    <a:pt x="1" y="0"/>
                  </a:lnTo>
                  <a:cubicBezTo>
                    <a:pt x="296" y="460"/>
                    <a:pt x="563" y="466"/>
                    <a:pt x="578" y="466"/>
                  </a:cubicBezTo>
                  <a:cubicBezTo>
                    <a:pt x="579" y="466"/>
                    <a:pt x="579" y="466"/>
                    <a:pt x="579" y="466"/>
                  </a:cubicBezTo>
                  <a:lnTo>
                    <a:pt x="579" y="393"/>
                  </a:lnTo>
                  <a:cubicBezTo>
                    <a:pt x="579" y="393"/>
                    <a:pt x="571" y="400"/>
                    <a:pt x="550" y="400"/>
                  </a:cubicBezTo>
                  <a:cubicBezTo>
                    <a:pt x="511" y="400"/>
                    <a:pt x="429" y="379"/>
                    <a:pt x="268" y="260"/>
                  </a:cubicBezTo>
                  <a:cubicBezTo>
                    <a:pt x="118" y="15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4" name="Google Shape;2604;p37"/>
            <p:cNvSpPr/>
            <p:nvPr/>
          </p:nvSpPr>
          <p:spPr>
            <a:xfrm>
              <a:off x="5695980" y="3921504"/>
              <a:ext cx="400411" cy="389692"/>
            </a:xfrm>
            <a:custGeom>
              <a:avLst/>
              <a:gdLst/>
              <a:ahLst/>
              <a:cxnLst/>
              <a:rect l="l" t="t" r="r" b="b"/>
              <a:pathLst>
                <a:path w="4819" h="4690" extrusionOk="0">
                  <a:moveTo>
                    <a:pt x="2476" y="1"/>
                  </a:moveTo>
                  <a:cubicBezTo>
                    <a:pt x="2391" y="1"/>
                    <a:pt x="2306" y="25"/>
                    <a:pt x="2232" y="73"/>
                  </a:cubicBezTo>
                  <a:cubicBezTo>
                    <a:pt x="1699" y="407"/>
                    <a:pt x="0" y="4689"/>
                    <a:pt x="2476" y="4689"/>
                  </a:cubicBezTo>
                  <a:cubicBezTo>
                    <a:pt x="4818" y="4689"/>
                    <a:pt x="3255" y="407"/>
                    <a:pt x="2721" y="73"/>
                  </a:cubicBezTo>
                  <a:cubicBezTo>
                    <a:pt x="2647" y="25"/>
                    <a:pt x="2561" y="1"/>
                    <a:pt x="2476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5" name="Google Shape;2605;p37"/>
            <p:cNvSpPr/>
            <p:nvPr/>
          </p:nvSpPr>
          <p:spPr>
            <a:xfrm>
              <a:off x="5702212" y="3938454"/>
              <a:ext cx="187285" cy="370332"/>
            </a:xfrm>
            <a:custGeom>
              <a:avLst/>
              <a:gdLst/>
              <a:ahLst/>
              <a:cxnLst/>
              <a:rect l="l" t="t" r="r" b="b"/>
              <a:pathLst>
                <a:path w="2254" h="4457" extrusionOk="0">
                  <a:moveTo>
                    <a:pt x="2028" y="0"/>
                  </a:moveTo>
                  <a:cubicBezTo>
                    <a:pt x="2027" y="0"/>
                    <a:pt x="2025" y="1"/>
                    <a:pt x="2024" y="2"/>
                  </a:cubicBezTo>
                  <a:cubicBezTo>
                    <a:pt x="1505" y="322"/>
                    <a:pt x="0" y="4457"/>
                    <a:pt x="2253" y="4457"/>
                  </a:cubicBezTo>
                  <a:cubicBezTo>
                    <a:pt x="2253" y="4457"/>
                    <a:pt x="1690" y="4412"/>
                    <a:pt x="1652" y="2796"/>
                  </a:cubicBezTo>
                  <a:cubicBezTo>
                    <a:pt x="1616" y="1200"/>
                    <a:pt x="2077" y="0"/>
                    <a:pt x="202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6" name="Google Shape;2606;p37"/>
            <p:cNvSpPr/>
            <p:nvPr/>
          </p:nvSpPr>
          <p:spPr>
            <a:xfrm>
              <a:off x="5883182" y="4123828"/>
              <a:ext cx="27170" cy="264309"/>
            </a:xfrm>
            <a:custGeom>
              <a:avLst/>
              <a:gdLst/>
              <a:ahLst/>
              <a:cxnLst/>
              <a:rect l="l" t="t" r="r" b="b"/>
              <a:pathLst>
                <a:path w="327" h="3181" extrusionOk="0">
                  <a:moveTo>
                    <a:pt x="166" y="0"/>
                  </a:moveTo>
                  <a:cubicBezTo>
                    <a:pt x="165" y="0"/>
                    <a:pt x="164" y="5"/>
                    <a:pt x="164" y="17"/>
                  </a:cubicBezTo>
                  <a:lnTo>
                    <a:pt x="1" y="3181"/>
                  </a:lnTo>
                  <a:cubicBezTo>
                    <a:pt x="13" y="3178"/>
                    <a:pt x="49" y="3178"/>
                    <a:pt x="94" y="3178"/>
                  </a:cubicBezTo>
                  <a:cubicBezTo>
                    <a:pt x="182" y="3178"/>
                    <a:pt x="302" y="3181"/>
                    <a:pt x="326" y="3181"/>
                  </a:cubicBezTo>
                  <a:cubicBezTo>
                    <a:pt x="319" y="1826"/>
                    <a:pt x="193" y="17"/>
                    <a:pt x="171" y="17"/>
                  </a:cubicBezTo>
                  <a:cubicBezTo>
                    <a:pt x="171" y="17"/>
                    <a:pt x="168" y="0"/>
                    <a:pt x="166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7" name="Google Shape;2607;p37"/>
            <p:cNvSpPr/>
            <p:nvPr/>
          </p:nvSpPr>
          <p:spPr>
            <a:xfrm>
              <a:off x="5822277" y="4216972"/>
              <a:ext cx="74615" cy="60406"/>
            </a:xfrm>
            <a:custGeom>
              <a:avLst/>
              <a:gdLst/>
              <a:ahLst/>
              <a:cxnLst/>
              <a:rect l="l" t="t" r="r" b="b"/>
              <a:pathLst>
                <a:path w="898" h="727" extrusionOk="0">
                  <a:moveTo>
                    <a:pt x="1" y="0"/>
                  </a:moveTo>
                  <a:lnTo>
                    <a:pt x="1" y="0"/>
                  </a:lnTo>
                  <a:cubicBezTo>
                    <a:pt x="433" y="706"/>
                    <a:pt x="840" y="726"/>
                    <a:pt x="886" y="726"/>
                  </a:cubicBezTo>
                  <a:cubicBezTo>
                    <a:pt x="889" y="726"/>
                    <a:pt x="890" y="726"/>
                    <a:pt x="890" y="726"/>
                  </a:cubicBezTo>
                  <a:lnTo>
                    <a:pt x="897" y="623"/>
                  </a:lnTo>
                  <a:lnTo>
                    <a:pt x="897" y="623"/>
                  </a:lnTo>
                  <a:cubicBezTo>
                    <a:pt x="897" y="623"/>
                    <a:pt x="888" y="630"/>
                    <a:pt x="862" y="630"/>
                  </a:cubicBezTo>
                  <a:cubicBezTo>
                    <a:pt x="807" y="630"/>
                    <a:pt x="678" y="600"/>
                    <a:pt x="408" y="415"/>
                  </a:cubicBezTo>
                  <a:cubicBezTo>
                    <a:pt x="179" y="25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8" name="Google Shape;2608;p37"/>
            <p:cNvSpPr/>
            <p:nvPr/>
          </p:nvSpPr>
          <p:spPr>
            <a:xfrm>
              <a:off x="5896808" y="4200271"/>
              <a:ext cx="63481" cy="51183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1"/>
                    <a:pt x="615" y="209"/>
                    <a:pt x="415" y="349"/>
                  </a:cubicBezTo>
                  <a:cubicBezTo>
                    <a:pt x="192" y="507"/>
                    <a:pt x="82" y="533"/>
                    <a:pt x="33" y="533"/>
                  </a:cubicBezTo>
                  <a:cubicBezTo>
                    <a:pt x="9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9" y="616"/>
                    <a:pt x="12" y="616"/>
                  </a:cubicBezTo>
                  <a:cubicBezTo>
                    <a:pt x="56" y="616"/>
                    <a:pt x="397" y="596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9" name="Google Shape;2609;p37"/>
            <p:cNvSpPr/>
            <p:nvPr/>
          </p:nvSpPr>
          <p:spPr>
            <a:xfrm>
              <a:off x="5845625" y="4163296"/>
              <a:ext cx="51267" cy="42044"/>
            </a:xfrm>
            <a:custGeom>
              <a:avLst/>
              <a:gdLst/>
              <a:ahLst/>
              <a:cxnLst/>
              <a:rect l="l" t="t" r="r" b="b"/>
              <a:pathLst>
                <a:path w="617" h="506" extrusionOk="0">
                  <a:moveTo>
                    <a:pt x="1" y="1"/>
                  </a:moveTo>
                  <a:lnTo>
                    <a:pt x="1" y="1"/>
                  </a:lnTo>
                  <a:cubicBezTo>
                    <a:pt x="303" y="493"/>
                    <a:pt x="579" y="506"/>
                    <a:pt x="607" y="506"/>
                  </a:cubicBezTo>
                  <a:cubicBezTo>
                    <a:pt x="608" y="506"/>
                    <a:pt x="609" y="506"/>
                    <a:pt x="609" y="506"/>
                  </a:cubicBezTo>
                  <a:lnTo>
                    <a:pt x="616" y="431"/>
                  </a:lnTo>
                  <a:lnTo>
                    <a:pt x="616" y="431"/>
                  </a:lnTo>
                  <a:cubicBezTo>
                    <a:pt x="616" y="431"/>
                    <a:pt x="610" y="436"/>
                    <a:pt x="593" y="436"/>
                  </a:cubicBezTo>
                  <a:cubicBezTo>
                    <a:pt x="557" y="436"/>
                    <a:pt x="469" y="415"/>
                    <a:pt x="282" y="284"/>
                  </a:cubicBezTo>
                  <a:cubicBezTo>
                    <a:pt x="127" y="17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0" name="Google Shape;2610;p37"/>
            <p:cNvSpPr/>
            <p:nvPr/>
          </p:nvSpPr>
          <p:spPr>
            <a:xfrm>
              <a:off x="4970770" y="3920175"/>
              <a:ext cx="400245" cy="389194"/>
            </a:xfrm>
            <a:custGeom>
              <a:avLst/>
              <a:gdLst/>
              <a:ahLst/>
              <a:cxnLst/>
              <a:rect l="l" t="t" r="r" b="b"/>
              <a:pathLst>
                <a:path w="4817" h="4684" extrusionOk="0">
                  <a:moveTo>
                    <a:pt x="2475" y="1"/>
                  </a:moveTo>
                  <a:cubicBezTo>
                    <a:pt x="2390" y="1"/>
                    <a:pt x="2305" y="23"/>
                    <a:pt x="2230" y="67"/>
                  </a:cubicBezTo>
                  <a:cubicBezTo>
                    <a:pt x="1704" y="400"/>
                    <a:pt x="0" y="4684"/>
                    <a:pt x="2476" y="4684"/>
                  </a:cubicBezTo>
                  <a:cubicBezTo>
                    <a:pt x="4816" y="4684"/>
                    <a:pt x="3253" y="400"/>
                    <a:pt x="2719" y="67"/>
                  </a:cubicBezTo>
                  <a:cubicBezTo>
                    <a:pt x="2646" y="23"/>
                    <a:pt x="2561" y="1"/>
                    <a:pt x="2475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1" name="Google Shape;2611;p37"/>
            <p:cNvSpPr/>
            <p:nvPr/>
          </p:nvSpPr>
          <p:spPr>
            <a:xfrm>
              <a:off x="4976919" y="3936710"/>
              <a:ext cx="187950" cy="370748"/>
            </a:xfrm>
            <a:custGeom>
              <a:avLst/>
              <a:gdLst/>
              <a:ahLst/>
              <a:cxnLst/>
              <a:rect l="l" t="t" r="r" b="b"/>
              <a:pathLst>
                <a:path w="2262" h="4462" extrusionOk="0">
                  <a:moveTo>
                    <a:pt x="2027" y="0"/>
                  </a:moveTo>
                  <a:cubicBezTo>
                    <a:pt x="2026" y="0"/>
                    <a:pt x="2024" y="1"/>
                    <a:pt x="2023" y="2"/>
                  </a:cubicBezTo>
                  <a:cubicBezTo>
                    <a:pt x="1512" y="327"/>
                    <a:pt x="1" y="4462"/>
                    <a:pt x="2261" y="4462"/>
                  </a:cubicBezTo>
                  <a:cubicBezTo>
                    <a:pt x="2261" y="4462"/>
                    <a:pt x="1690" y="4410"/>
                    <a:pt x="1653" y="2795"/>
                  </a:cubicBezTo>
                  <a:cubicBezTo>
                    <a:pt x="1623" y="1194"/>
                    <a:pt x="2088" y="0"/>
                    <a:pt x="2027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2" name="Google Shape;2612;p37"/>
            <p:cNvSpPr/>
            <p:nvPr/>
          </p:nvSpPr>
          <p:spPr>
            <a:xfrm>
              <a:off x="5157972" y="4122000"/>
              <a:ext cx="27669" cy="264392"/>
            </a:xfrm>
            <a:custGeom>
              <a:avLst/>
              <a:gdLst/>
              <a:ahLst/>
              <a:cxnLst/>
              <a:rect l="l" t="t" r="r" b="b"/>
              <a:pathLst>
                <a:path w="333" h="3182" extrusionOk="0">
                  <a:moveTo>
                    <a:pt x="165" y="0"/>
                  </a:moveTo>
                  <a:cubicBezTo>
                    <a:pt x="163" y="0"/>
                    <a:pt x="162" y="4"/>
                    <a:pt x="162" y="16"/>
                  </a:cubicBezTo>
                  <a:lnTo>
                    <a:pt x="0" y="3181"/>
                  </a:lnTo>
                  <a:lnTo>
                    <a:pt x="333" y="3181"/>
                  </a:lnTo>
                  <a:cubicBezTo>
                    <a:pt x="319" y="1825"/>
                    <a:pt x="200" y="16"/>
                    <a:pt x="171" y="16"/>
                  </a:cubicBezTo>
                  <a:cubicBezTo>
                    <a:pt x="171" y="16"/>
                    <a:pt x="167" y="0"/>
                    <a:pt x="165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3" name="Google Shape;2613;p37"/>
            <p:cNvSpPr/>
            <p:nvPr/>
          </p:nvSpPr>
          <p:spPr>
            <a:xfrm>
              <a:off x="5096901" y="4215643"/>
              <a:ext cx="75363" cy="60490"/>
            </a:xfrm>
            <a:custGeom>
              <a:avLst/>
              <a:gdLst/>
              <a:ahLst/>
              <a:cxnLst/>
              <a:rect l="l" t="t" r="r" b="b"/>
              <a:pathLst>
                <a:path w="907" h="728" extrusionOk="0">
                  <a:moveTo>
                    <a:pt x="1" y="0"/>
                  </a:moveTo>
                  <a:cubicBezTo>
                    <a:pt x="443" y="709"/>
                    <a:pt x="844" y="728"/>
                    <a:pt x="886" y="728"/>
                  </a:cubicBezTo>
                  <a:cubicBezTo>
                    <a:pt x="889" y="728"/>
                    <a:pt x="890" y="728"/>
                    <a:pt x="890" y="728"/>
                  </a:cubicBezTo>
                  <a:lnTo>
                    <a:pt x="906" y="623"/>
                  </a:lnTo>
                  <a:lnTo>
                    <a:pt x="906" y="623"/>
                  </a:lnTo>
                  <a:cubicBezTo>
                    <a:pt x="906" y="623"/>
                    <a:pt x="896" y="630"/>
                    <a:pt x="868" y="630"/>
                  </a:cubicBezTo>
                  <a:cubicBezTo>
                    <a:pt x="812" y="630"/>
                    <a:pt x="681" y="599"/>
                    <a:pt x="417" y="409"/>
                  </a:cubicBezTo>
                  <a:cubicBezTo>
                    <a:pt x="186" y="246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4" name="Google Shape;2614;p37"/>
            <p:cNvSpPr/>
            <p:nvPr/>
          </p:nvSpPr>
          <p:spPr>
            <a:xfrm>
              <a:off x="5172181" y="4199108"/>
              <a:ext cx="63481" cy="51183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0"/>
                    <a:pt x="606" y="208"/>
                    <a:pt x="414" y="342"/>
                  </a:cubicBezTo>
                  <a:cubicBezTo>
                    <a:pt x="184" y="506"/>
                    <a:pt x="76" y="533"/>
                    <a:pt x="30" y="533"/>
                  </a:cubicBezTo>
                  <a:cubicBezTo>
                    <a:pt x="8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8" y="616"/>
                    <a:pt x="9" y="616"/>
                  </a:cubicBezTo>
                  <a:cubicBezTo>
                    <a:pt x="39" y="616"/>
                    <a:pt x="387" y="603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5" name="Google Shape;2615;p37"/>
            <p:cNvSpPr/>
            <p:nvPr/>
          </p:nvSpPr>
          <p:spPr>
            <a:xfrm>
              <a:off x="5120415" y="4162133"/>
              <a:ext cx="51848" cy="41296"/>
            </a:xfrm>
            <a:custGeom>
              <a:avLst/>
              <a:gdLst/>
              <a:ahLst/>
              <a:cxnLst/>
              <a:rect l="l" t="t" r="r" b="b"/>
              <a:pathLst>
                <a:path w="624" h="497" extrusionOk="0">
                  <a:moveTo>
                    <a:pt x="1" y="1"/>
                  </a:moveTo>
                  <a:cubicBezTo>
                    <a:pt x="302" y="484"/>
                    <a:pt x="583" y="497"/>
                    <a:pt x="612" y="497"/>
                  </a:cubicBezTo>
                  <a:cubicBezTo>
                    <a:pt x="613" y="497"/>
                    <a:pt x="614" y="497"/>
                    <a:pt x="614" y="497"/>
                  </a:cubicBezTo>
                  <a:lnTo>
                    <a:pt x="623" y="422"/>
                  </a:lnTo>
                  <a:lnTo>
                    <a:pt x="623" y="422"/>
                  </a:lnTo>
                  <a:cubicBezTo>
                    <a:pt x="623" y="422"/>
                    <a:pt x="615" y="429"/>
                    <a:pt x="591" y="429"/>
                  </a:cubicBezTo>
                  <a:cubicBezTo>
                    <a:pt x="549" y="429"/>
                    <a:pt x="458" y="407"/>
                    <a:pt x="282" y="282"/>
                  </a:cubicBezTo>
                  <a:cubicBezTo>
                    <a:pt x="125" y="17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6" name="Google Shape;2616;p37"/>
            <p:cNvSpPr/>
            <p:nvPr/>
          </p:nvSpPr>
          <p:spPr>
            <a:xfrm>
              <a:off x="5079784" y="3847803"/>
              <a:ext cx="471037" cy="457909"/>
            </a:xfrm>
            <a:custGeom>
              <a:avLst/>
              <a:gdLst/>
              <a:ahLst/>
              <a:cxnLst/>
              <a:rect l="l" t="t" r="r" b="b"/>
              <a:pathLst>
                <a:path w="5669" h="5511" extrusionOk="0">
                  <a:moveTo>
                    <a:pt x="2909" y="1"/>
                  </a:moveTo>
                  <a:cubicBezTo>
                    <a:pt x="2808" y="1"/>
                    <a:pt x="2708" y="27"/>
                    <a:pt x="2624" y="79"/>
                  </a:cubicBezTo>
                  <a:cubicBezTo>
                    <a:pt x="2001" y="471"/>
                    <a:pt x="1" y="5510"/>
                    <a:pt x="2912" y="5510"/>
                  </a:cubicBezTo>
                  <a:cubicBezTo>
                    <a:pt x="5668" y="5510"/>
                    <a:pt x="3824" y="471"/>
                    <a:pt x="3202" y="79"/>
                  </a:cubicBezTo>
                  <a:cubicBezTo>
                    <a:pt x="3113" y="27"/>
                    <a:pt x="3011" y="1"/>
                    <a:pt x="2909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7" name="Google Shape;2617;p37"/>
            <p:cNvSpPr/>
            <p:nvPr/>
          </p:nvSpPr>
          <p:spPr>
            <a:xfrm>
              <a:off x="5088924" y="3867080"/>
              <a:ext cx="222930" cy="440377"/>
            </a:xfrm>
            <a:custGeom>
              <a:avLst/>
              <a:gdLst/>
              <a:ahLst/>
              <a:cxnLst/>
              <a:rect l="l" t="t" r="r" b="b"/>
              <a:pathLst>
                <a:path w="2683" h="5300" extrusionOk="0">
                  <a:moveTo>
                    <a:pt x="2413" y="1"/>
                  </a:moveTo>
                  <a:cubicBezTo>
                    <a:pt x="2412" y="1"/>
                    <a:pt x="2410" y="1"/>
                    <a:pt x="2409" y="2"/>
                  </a:cubicBezTo>
                  <a:cubicBezTo>
                    <a:pt x="1793" y="388"/>
                    <a:pt x="1" y="5300"/>
                    <a:pt x="2683" y="5300"/>
                  </a:cubicBezTo>
                  <a:cubicBezTo>
                    <a:pt x="2683" y="5300"/>
                    <a:pt x="2009" y="5241"/>
                    <a:pt x="1971" y="3322"/>
                  </a:cubicBezTo>
                  <a:cubicBezTo>
                    <a:pt x="1928" y="1421"/>
                    <a:pt x="2478" y="1"/>
                    <a:pt x="2413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8" name="Google Shape;2618;p37"/>
            <p:cNvSpPr/>
            <p:nvPr/>
          </p:nvSpPr>
          <p:spPr>
            <a:xfrm>
              <a:off x="5303213" y="4092420"/>
              <a:ext cx="30826" cy="293972"/>
            </a:xfrm>
            <a:custGeom>
              <a:avLst/>
              <a:gdLst/>
              <a:ahLst/>
              <a:cxnLst/>
              <a:rect l="l" t="t" r="r" b="b"/>
              <a:pathLst>
                <a:path w="371" h="3538" extrusionOk="0">
                  <a:moveTo>
                    <a:pt x="187" y="0"/>
                  </a:moveTo>
                  <a:cubicBezTo>
                    <a:pt x="186" y="0"/>
                    <a:pt x="185" y="4"/>
                    <a:pt x="185" y="16"/>
                  </a:cubicBezTo>
                  <a:lnTo>
                    <a:pt x="1" y="3537"/>
                  </a:lnTo>
                  <a:lnTo>
                    <a:pt x="370" y="3537"/>
                  </a:lnTo>
                  <a:cubicBezTo>
                    <a:pt x="356" y="2033"/>
                    <a:pt x="223" y="16"/>
                    <a:pt x="193" y="16"/>
                  </a:cubicBezTo>
                  <a:cubicBezTo>
                    <a:pt x="193" y="16"/>
                    <a:pt x="189" y="0"/>
                    <a:pt x="18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9" name="Google Shape;2619;p37"/>
            <p:cNvSpPr/>
            <p:nvPr/>
          </p:nvSpPr>
          <p:spPr>
            <a:xfrm>
              <a:off x="5236160" y="4196615"/>
              <a:ext cx="83090" cy="67137"/>
            </a:xfrm>
            <a:custGeom>
              <a:avLst/>
              <a:gdLst/>
              <a:ahLst/>
              <a:cxnLst/>
              <a:rect l="l" t="t" r="r" b="b"/>
              <a:pathLst>
                <a:path w="1000" h="808" extrusionOk="0">
                  <a:moveTo>
                    <a:pt x="0" y="0"/>
                  </a:moveTo>
                  <a:lnTo>
                    <a:pt x="0" y="0"/>
                  </a:lnTo>
                  <a:cubicBezTo>
                    <a:pt x="484" y="787"/>
                    <a:pt x="935" y="807"/>
                    <a:pt x="981" y="807"/>
                  </a:cubicBezTo>
                  <a:cubicBezTo>
                    <a:pt x="984" y="807"/>
                    <a:pt x="985" y="807"/>
                    <a:pt x="985" y="807"/>
                  </a:cubicBezTo>
                  <a:lnTo>
                    <a:pt x="1000" y="690"/>
                  </a:lnTo>
                  <a:lnTo>
                    <a:pt x="1000" y="690"/>
                  </a:lnTo>
                  <a:cubicBezTo>
                    <a:pt x="1000" y="690"/>
                    <a:pt x="989" y="697"/>
                    <a:pt x="960" y="697"/>
                  </a:cubicBezTo>
                  <a:cubicBezTo>
                    <a:pt x="899" y="697"/>
                    <a:pt x="755" y="664"/>
                    <a:pt x="452" y="452"/>
                  </a:cubicBezTo>
                  <a:cubicBezTo>
                    <a:pt x="199" y="27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0" name="Google Shape;2620;p37"/>
            <p:cNvSpPr/>
            <p:nvPr/>
          </p:nvSpPr>
          <p:spPr>
            <a:xfrm>
              <a:off x="5319167" y="4178086"/>
              <a:ext cx="70294" cy="56834"/>
            </a:xfrm>
            <a:custGeom>
              <a:avLst/>
              <a:gdLst/>
              <a:ahLst/>
              <a:cxnLst/>
              <a:rect l="l" t="t" r="r" b="b"/>
              <a:pathLst>
                <a:path w="846" h="684" extrusionOk="0">
                  <a:moveTo>
                    <a:pt x="845" y="1"/>
                  </a:moveTo>
                  <a:cubicBezTo>
                    <a:pt x="845" y="1"/>
                    <a:pt x="676" y="230"/>
                    <a:pt x="461" y="387"/>
                  </a:cubicBezTo>
                  <a:cubicBezTo>
                    <a:pt x="210" y="564"/>
                    <a:pt x="89" y="593"/>
                    <a:pt x="37" y="593"/>
                  </a:cubicBezTo>
                  <a:cubicBezTo>
                    <a:pt x="10" y="593"/>
                    <a:pt x="1" y="586"/>
                    <a:pt x="1" y="586"/>
                  </a:cubicBezTo>
                  <a:lnTo>
                    <a:pt x="1" y="586"/>
                  </a:lnTo>
                  <a:lnTo>
                    <a:pt x="9" y="684"/>
                  </a:lnTo>
                  <a:cubicBezTo>
                    <a:pt x="9" y="684"/>
                    <a:pt x="11" y="684"/>
                    <a:pt x="13" y="684"/>
                  </a:cubicBezTo>
                  <a:cubicBezTo>
                    <a:pt x="55" y="684"/>
                    <a:pt x="434" y="665"/>
                    <a:pt x="845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1" name="Google Shape;2621;p37"/>
            <p:cNvSpPr/>
            <p:nvPr/>
          </p:nvSpPr>
          <p:spPr>
            <a:xfrm>
              <a:off x="5262001" y="4136873"/>
              <a:ext cx="57249" cy="46364"/>
            </a:xfrm>
            <a:custGeom>
              <a:avLst/>
              <a:gdLst/>
              <a:ahLst/>
              <a:cxnLst/>
              <a:rect l="l" t="t" r="r" b="b"/>
              <a:pathLst>
                <a:path w="689" h="558" extrusionOk="0">
                  <a:moveTo>
                    <a:pt x="0" y="1"/>
                  </a:moveTo>
                  <a:lnTo>
                    <a:pt x="0" y="1"/>
                  </a:lnTo>
                  <a:cubicBezTo>
                    <a:pt x="339" y="544"/>
                    <a:pt x="650" y="557"/>
                    <a:pt x="679" y="557"/>
                  </a:cubicBezTo>
                  <a:cubicBezTo>
                    <a:pt x="681" y="557"/>
                    <a:pt x="681" y="557"/>
                    <a:pt x="681" y="557"/>
                  </a:cubicBezTo>
                  <a:lnTo>
                    <a:pt x="689" y="475"/>
                  </a:lnTo>
                  <a:lnTo>
                    <a:pt x="689" y="475"/>
                  </a:lnTo>
                  <a:cubicBezTo>
                    <a:pt x="689" y="475"/>
                    <a:pt x="681" y="481"/>
                    <a:pt x="660" y="481"/>
                  </a:cubicBezTo>
                  <a:cubicBezTo>
                    <a:pt x="617" y="481"/>
                    <a:pt x="517" y="457"/>
                    <a:pt x="312" y="312"/>
                  </a:cubicBezTo>
                  <a:cubicBezTo>
                    <a:pt x="141" y="193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2" name="Google Shape;2622;p37"/>
            <p:cNvSpPr/>
            <p:nvPr/>
          </p:nvSpPr>
          <p:spPr>
            <a:xfrm>
              <a:off x="4913521" y="3981744"/>
              <a:ext cx="214954" cy="270956"/>
            </a:xfrm>
            <a:custGeom>
              <a:avLst/>
              <a:gdLst/>
              <a:ahLst/>
              <a:cxnLst/>
              <a:rect l="l" t="t" r="r" b="b"/>
              <a:pathLst>
                <a:path w="2587" h="3261" extrusionOk="0">
                  <a:moveTo>
                    <a:pt x="1290" y="0"/>
                  </a:moveTo>
                  <a:cubicBezTo>
                    <a:pt x="734" y="0"/>
                    <a:pt x="275" y="452"/>
                    <a:pt x="275" y="1016"/>
                  </a:cubicBezTo>
                  <a:cubicBezTo>
                    <a:pt x="275" y="1067"/>
                    <a:pt x="282" y="1112"/>
                    <a:pt x="289" y="1156"/>
                  </a:cubicBezTo>
                  <a:cubicBezTo>
                    <a:pt x="111" y="1379"/>
                    <a:pt x="1" y="1659"/>
                    <a:pt x="1" y="1964"/>
                  </a:cubicBezTo>
                  <a:cubicBezTo>
                    <a:pt x="1" y="2682"/>
                    <a:pt x="579" y="3260"/>
                    <a:pt x="1290" y="3260"/>
                  </a:cubicBezTo>
                  <a:cubicBezTo>
                    <a:pt x="2009" y="3260"/>
                    <a:pt x="2587" y="2682"/>
                    <a:pt x="2587" y="1964"/>
                  </a:cubicBezTo>
                  <a:cubicBezTo>
                    <a:pt x="2587" y="1659"/>
                    <a:pt x="2475" y="1379"/>
                    <a:pt x="2297" y="1156"/>
                  </a:cubicBezTo>
                  <a:cubicBezTo>
                    <a:pt x="2304" y="1112"/>
                    <a:pt x="2313" y="1067"/>
                    <a:pt x="2313" y="1016"/>
                  </a:cubicBezTo>
                  <a:cubicBezTo>
                    <a:pt x="2313" y="452"/>
                    <a:pt x="1852" y="0"/>
                    <a:pt x="1290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3" name="Google Shape;2623;p37"/>
            <p:cNvSpPr/>
            <p:nvPr/>
          </p:nvSpPr>
          <p:spPr>
            <a:xfrm>
              <a:off x="5020707" y="4064419"/>
              <a:ext cx="9805" cy="321974"/>
            </a:xfrm>
            <a:custGeom>
              <a:avLst/>
              <a:gdLst/>
              <a:ahLst/>
              <a:cxnLst/>
              <a:rect l="l" t="t" r="r" b="b"/>
              <a:pathLst>
                <a:path w="118" h="3875" extrusionOk="0">
                  <a:moveTo>
                    <a:pt x="54" y="0"/>
                  </a:moveTo>
                  <a:cubicBezTo>
                    <a:pt x="53" y="0"/>
                    <a:pt x="52" y="4"/>
                    <a:pt x="52" y="14"/>
                  </a:cubicBezTo>
                  <a:lnTo>
                    <a:pt x="0" y="3821"/>
                  </a:lnTo>
                  <a:cubicBezTo>
                    <a:pt x="0" y="3851"/>
                    <a:pt x="22" y="3874"/>
                    <a:pt x="52" y="3874"/>
                  </a:cubicBezTo>
                  <a:lnTo>
                    <a:pt x="59" y="3874"/>
                  </a:lnTo>
                  <a:cubicBezTo>
                    <a:pt x="96" y="3874"/>
                    <a:pt x="118" y="3851"/>
                    <a:pt x="118" y="3821"/>
                  </a:cubicBezTo>
                  <a:cubicBezTo>
                    <a:pt x="118" y="3821"/>
                    <a:pt x="96" y="14"/>
                    <a:pt x="59" y="14"/>
                  </a:cubicBezTo>
                  <a:cubicBezTo>
                    <a:pt x="59" y="14"/>
                    <a:pt x="56" y="0"/>
                    <a:pt x="54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4" name="Google Shape;2624;p37"/>
            <p:cNvSpPr/>
            <p:nvPr/>
          </p:nvSpPr>
          <p:spPr>
            <a:xfrm>
              <a:off x="4964539" y="4142524"/>
              <a:ext cx="61071" cy="49854"/>
            </a:xfrm>
            <a:custGeom>
              <a:avLst/>
              <a:gdLst/>
              <a:ahLst/>
              <a:cxnLst/>
              <a:rect l="l" t="t" r="r" b="b"/>
              <a:pathLst>
                <a:path w="735" h="600" extrusionOk="0">
                  <a:moveTo>
                    <a:pt x="0" y="0"/>
                  </a:moveTo>
                  <a:lnTo>
                    <a:pt x="0" y="0"/>
                  </a:lnTo>
                  <a:cubicBezTo>
                    <a:pt x="353" y="580"/>
                    <a:pt x="679" y="600"/>
                    <a:pt x="723" y="600"/>
                  </a:cubicBezTo>
                  <a:cubicBezTo>
                    <a:pt x="726" y="600"/>
                    <a:pt x="728" y="599"/>
                    <a:pt x="728" y="599"/>
                  </a:cubicBezTo>
                  <a:lnTo>
                    <a:pt x="735" y="511"/>
                  </a:lnTo>
                  <a:lnTo>
                    <a:pt x="735" y="511"/>
                  </a:lnTo>
                  <a:cubicBezTo>
                    <a:pt x="735" y="511"/>
                    <a:pt x="726" y="517"/>
                    <a:pt x="702" y="517"/>
                  </a:cubicBezTo>
                  <a:cubicBezTo>
                    <a:pt x="656" y="517"/>
                    <a:pt x="550" y="492"/>
                    <a:pt x="335" y="340"/>
                  </a:cubicBezTo>
                  <a:cubicBezTo>
                    <a:pt x="150" y="199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5" name="Google Shape;2625;p37"/>
            <p:cNvSpPr/>
            <p:nvPr/>
          </p:nvSpPr>
          <p:spPr>
            <a:xfrm>
              <a:off x="5025527" y="4128315"/>
              <a:ext cx="51848" cy="42459"/>
            </a:xfrm>
            <a:custGeom>
              <a:avLst/>
              <a:gdLst/>
              <a:ahLst/>
              <a:cxnLst/>
              <a:rect l="l" t="t" r="r" b="b"/>
              <a:pathLst>
                <a:path w="624" h="511" extrusionOk="0">
                  <a:moveTo>
                    <a:pt x="623" y="0"/>
                  </a:moveTo>
                  <a:cubicBezTo>
                    <a:pt x="623" y="0"/>
                    <a:pt x="497" y="178"/>
                    <a:pt x="342" y="289"/>
                  </a:cubicBezTo>
                  <a:cubicBezTo>
                    <a:pt x="156" y="421"/>
                    <a:pt x="67" y="444"/>
                    <a:pt x="28" y="444"/>
                  </a:cubicBezTo>
                  <a:cubicBezTo>
                    <a:pt x="8" y="444"/>
                    <a:pt x="1" y="438"/>
                    <a:pt x="1" y="438"/>
                  </a:cubicBezTo>
                  <a:lnTo>
                    <a:pt x="1" y="438"/>
                  </a:lnTo>
                  <a:lnTo>
                    <a:pt x="8" y="511"/>
                  </a:lnTo>
                  <a:cubicBezTo>
                    <a:pt x="8" y="511"/>
                    <a:pt x="9" y="511"/>
                    <a:pt x="11" y="511"/>
                  </a:cubicBezTo>
                  <a:cubicBezTo>
                    <a:pt x="42" y="511"/>
                    <a:pt x="323" y="497"/>
                    <a:pt x="62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6" name="Google Shape;2626;p37"/>
            <p:cNvSpPr/>
            <p:nvPr/>
          </p:nvSpPr>
          <p:spPr>
            <a:xfrm>
              <a:off x="4983732" y="4098153"/>
              <a:ext cx="41877" cy="33901"/>
            </a:xfrm>
            <a:custGeom>
              <a:avLst/>
              <a:gdLst/>
              <a:ahLst/>
              <a:cxnLst/>
              <a:rect l="l" t="t" r="r" b="b"/>
              <a:pathLst>
                <a:path w="504" h="408" extrusionOk="0">
                  <a:moveTo>
                    <a:pt x="1" y="1"/>
                  </a:moveTo>
                  <a:lnTo>
                    <a:pt x="1" y="1"/>
                  </a:lnTo>
                  <a:cubicBezTo>
                    <a:pt x="242" y="395"/>
                    <a:pt x="467" y="408"/>
                    <a:pt x="494" y="408"/>
                  </a:cubicBezTo>
                  <a:cubicBezTo>
                    <a:pt x="496" y="408"/>
                    <a:pt x="497" y="408"/>
                    <a:pt x="497" y="408"/>
                  </a:cubicBezTo>
                  <a:lnTo>
                    <a:pt x="504" y="347"/>
                  </a:lnTo>
                  <a:lnTo>
                    <a:pt x="504" y="347"/>
                  </a:lnTo>
                  <a:cubicBezTo>
                    <a:pt x="504" y="347"/>
                    <a:pt x="497" y="353"/>
                    <a:pt x="479" y="353"/>
                  </a:cubicBezTo>
                  <a:cubicBezTo>
                    <a:pt x="446" y="353"/>
                    <a:pt x="374" y="334"/>
                    <a:pt x="230" y="230"/>
                  </a:cubicBezTo>
                  <a:cubicBezTo>
                    <a:pt x="104" y="14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7" name="Google Shape;2627;p37"/>
            <p:cNvSpPr/>
            <p:nvPr/>
          </p:nvSpPr>
          <p:spPr>
            <a:xfrm>
              <a:off x="4520672" y="4091922"/>
              <a:ext cx="154049" cy="194763"/>
            </a:xfrm>
            <a:custGeom>
              <a:avLst/>
              <a:gdLst/>
              <a:ahLst/>
              <a:cxnLst/>
              <a:rect l="l" t="t" r="r" b="b"/>
              <a:pathLst>
                <a:path w="1854" h="2344" extrusionOk="0">
                  <a:moveTo>
                    <a:pt x="927" y="1"/>
                  </a:moveTo>
                  <a:cubicBezTo>
                    <a:pt x="527" y="1"/>
                    <a:pt x="194" y="326"/>
                    <a:pt x="194" y="734"/>
                  </a:cubicBezTo>
                  <a:cubicBezTo>
                    <a:pt x="194" y="764"/>
                    <a:pt x="201" y="801"/>
                    <a:pt x="208" y="831"/>
                  </a:cubicBezTo>
                  <a:cubicBezTo>
                    <a:pt x="75" y="993"/>
                    <a:pt x="0" y="1194"/>
                    <a:pt x="0" y="1417"/>
                  </a:cubicBezTo>
                  <a:cubicBezTo>
                    <a:pt x="0" y="1927"/>
                    <a:pt x="416" y="2343"/>
                    <a:pt x="927" y="2343"/>
                  </a:cubicBezTo>
                  <a:cubicBezTo>
                    <a:pt x="1439" y="2343"/>
                    <a:pt x="1853" y="1927"/>
                    <a:pt x="1853" y="1417"/>
                  </a:cubicBezTo>
                  <a:cubicBezTo>
                    <a:pt x="1853" y="1194"/>
                    <a:pt x="1772" y="993"/>
                    <a:pt x="1645" y="831"/>
                  </a:cubicBezTo>
                  <a:cubicBezTo>
                    <a:pt x="1652" y="801"/>
                    <a:pt x="1652" y="764"/>
                    <a:pt x="1652" y="734"/>
                  </a:cubicBezTo>
                  <a:cubicBezTo>
                    <a:pt x="1652" y="326"/>
                    <a:pt x="1327" y="1"/>
                    <a:pt x="92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8" name="Google Shape;2628;p37"/>
            <p:cNvSpPr/>
            <p:nvPr/>
          </p:nvSpPr>
          <p:spPr>
            <a:xfrm>
              <a:off x="4597032" y="4151497"/>
              <a:ext cx="7478" cy="231156"/>
            </a:xfrm>
            <a:custGeom>
              <a:avLst/>
              <a:gdLst/>
              <a:ahLst/>
              <a:cxnLst/>
              <a:rect l="l" t="t" r="r" b="b"/>
              <a:pathLst>
                <a:path w="90" h="2782" extrusionOk="0">
                  <a:moveTo>
                    <a:pt x="47" y="0"/>
                  </a:moveTo>
                  <a:cubicBezTo>
                    <a:pt x="46" y="0"/>
                    <a:pt x="45" y="2"/>
                    <a:pt x="45" y="10"/>
                  </a:cubicBezTo>
                  <a:lnTo>
                    <a:pt x="1" y="2738"/>
                  </a:lnTo>
                  <a:cubicBezTo>
                    <a:pt x="1" y="2759"/>
                    <a:pt x="22" y="2782"/>
                    <a:pt x="45" y="2782"/>
                  </a:cubicBezTo>
                  <a:lnTo>
                    <a:pt x="52" y="2782"/>
                  </a:lnTo>
                  <a:cubicBezTo>
                    <a:pt x="75" y="2782"/>
                    <a:pt x="90" y="2759"/>
                    <a:pt x="90" y="2738"/>
                  </a:cubicBezTo>
                  <a:cubicBezTo>
                    <a:pt x="90" y="2738"/>
                    <a:pt x="75" y="10"/>
                    <a:pt x="52" y="10"/>
                  </a:cubicBezTo>
                  <a:cubicBezTo>
                    <a:pt x="52" y="10"/>
                    <a:pt x="49" y="0"/>
                    <a:pt x="4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9" name="Google Shape;2629;p37"/>
            <p:cNvSpPr/>
            <p:nvPr/>
          </p:nvSpPr>
          <p:spPr>
            <a:xfrm>
              <a:off x="4556982" y="4207084"/>
              <a:ext cx="43872" cy="36393"/>
            </a:xfrm>
            <a:custGeom>
              <a:avLst/>
              <a:gdLst/>
              <a:ahLst/>
              <a:cxnLst/>
              <a:rect l="l" t="t" r="r" b="b"/>
              <a:pathLst>
                <a:path w="528" h="438" extrusionOk="0">
                  <a:moveTo>
                    <a:pt x="1" y="0"/>
                  </a:moveTo>
                  <a:cubicBezTo>
                    <a:pt x="266" y="431"/>
                    <a:pt x="505" y="438"/>
                    <a:pt x="519" y="438"/>
                  </a:cubicBezTo>
                  <a:cubicBezTo>
                    <a:pt x="520" y="438"/>
                    <a:pt x="520" y="438"/>
                    <a:pt x="520" y="438"/>
                  </a:cubicBezTo>
                  <a:lnTo>
                    <a:pt x="527" y="370"/>
                  </a:lnTo>
                  <a:lnTo>
                    <a:pt x="527" y="370"/>
                  </a:lnTo>
                  <a:cubicBezTo>
                    <a:pt x="527" y="370"/>
                    <a:pt x="521" y="375"/>
                    <a:pt x="504" y="375"/>
                  </a:cubicBezTo>
                  <a:cubicBezTo>
                    <a:pt x="470" y="375"/>
                    <a:pt x="396" y="356"/>
                    <a:pt x="246" y="246"/>
                  </a:cubicBezTo>
                  <a:cubicBezTo>
                    <a:pt x="104" y="148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0" name="Google Shape;2630;p37"/>
            <p:cNvSpPr/>
            <p:nvPr/>
          </p:nvSpPr>
          <p:spPr>
            <a:xfrm>
              <a:off x="4600771" y="4197197"/>
              <a:ext cx="37557" cy="30909"/>
            </a:xfrm>
            <a:custGeom>
              <a:avLst/>
              <a:gdLst/>
              <a:ahLst/>
              <a:cxnLst/>
              <a:rect l="l" t="t" r="r" b="b"/>
              <a:pathLst>
                <a:path w="452" h="372" extrusionOk="0">
                  <a:moveTo>
                    <a:pt x="452" y="0"/>
                  </a:moveTo>
                  <a:lnTo>
                    <a:pt x="452" y="0"/>
                  </a:lnTo>
                  <a:cubicBezTo>
                    <a:pt x="452" y="0"/>
                    <a:pt x="356" y="126"/>
                    <a:pt x="244" y="208"/>
                  </a:cubicBezTo>
                  <a:cubicBezTo>
                    <a:pt x="102" y="308"/>
                    <a:pt x="39" y="323"/>
                    <a:pt x="14" y="323"/>
                  </a:cubicBezTo>
                  <a:cubicBezTo>
                    <a:pt x="4" y="323"/>
                    <a:pt x="0" y="320"/>
                    <a:pt x="0" y="320"/>
                  </a:cubicBezTo>
                  <a:lnTo>
                    <a:pt x="0" y="320"/>
                  </a:lnTo>
                  <a:lnTo>
                    <a:pt x="7" y="372"/>
                  </a:lnTo>
                  <a:cubicBezTo>
                    <a:pt x="7" y="372"/>
                    <a:pt x="8" y="372"/>
                    <a:pt x="8" y="372"/>
                  </a:cubicBezTo>
                  <a:cubicBezTo>
                    <a:pt x="22" y="372"/>
                    <a:pt x="224" y="365"/>
                    <a:pt x="452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1" name="Google Shape;2631;p37"/>
            <p:cNvSpPr/>
            <p:nvPr/>
          </p:nvSpPr>
          <p:spPr>
            <a:xfrm>
              <a:off x="4570609" y="4175760"/>
              <a:ext cx="30245" cy="24595"/>
            </a:xfrm>
            <a:custGeom>
              <a:avLst/>
              <a:gdLst/>
              <a:ahLst/>
              <a:cxnLst/>
              <a:rect l="l" t="t" r="r" b="b"/>
              <a:pathLst>
                <a:path w="364" h="296" extrusionOk="0">
                  <a:moveTo>
                    <a:pt x="0" y="0"/>
                  </a:moveTo>
                  <a:cubicBezTo>
                    <a:pt x="184" y="289"/>
                    <a:pt x="348" y="295"/>
                    <a:pt x="362" y="295"/>
                  </a:cubicBezTo>
                  <a:cubicBezTo>
                    <a:pt x="363" y="295"/>
                    <a:pt x="363" y="295"/>
                    <a:pt x="363" y="295"/>
                  </a:cubicBezTo>
                  <a:lnTo>
                    <a:pt x="363" y="251"/>
                  </a:lnTo>
                  <a:cubicBezTo>
                    <a:pt x="363" y="251"/>
                    <a:pt x="359" y="254"/>
                    <a:pt x="347" y="254"/>
                  </a:cubicBezTo>
                  <a:cubicBezTo>
                    <a:pt x="325" y="254"/>
                    <a:pt x="274" y="241"/>
                    <a:pt x="171" y="162"/>
                  </a:cubicBezTo>
                  <a:cubicBezTo>
                    <a:pt x="73" y="9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2" name="Google Shape;2632;p37"/>
            <p:cNvSpPr/>
            <p:nvPr/>
          </p:nvSpPr>
          <p:spPr>
            <a:xfrm>
              <a:off x="4235590" y="4259348"/>
              <a:ext cx="302448" cy="125715"/>
            </a:xfrm>
            <a:custGeom>
              <a:avLst/>
              <a:gdLst/>
              <a:ahLst/>
              <a:cxnLst/>
              <a:rect l="l" t="t" r="r" b="b"/>
              <a:pathLst>
                <a:path w="3640" h="1513" extrusionOk="0">
                  <a:moveTo>
                    <a:pt x="1215" y="1"/>
                  </a:moveTo>
                  <a:cubicBezTo>
                    <a:pt x="801" y="1"/>
                    <a:pt x="469" y="335"/>
                    <a:pt x="469" y="750"/>
                  </a:cubicBezTo>
                  <a:lnTo>
                    <a:pt x="469" y="764"/>
                  </a:lnTo>
                  <a:cubicBezTo>
                    <a:pt x="438" y="757"/>
                    <a:pt x="408" y="750"/>
                    <a:pt x="380" y="750"/>
                  </a:cubicBezTo>
                  <a:cubicBezTo>
                    <a:pt x="172" y="750"/>
                    <a:pt x="1" y="920"/>
                    <a:pt x="1" y="1128"/>
                  </a:cubicBezTo>
                  <a:cubicBezTo>
                    <a:pt x="1" y="1335"/>
                    <a:pt x="172" y="1498"/>
                    <a:pt x="380" y="1498"/>
                  </a:cubicBezTo>
                  <a:lnTo>
                    <a:pt x="380" y="1512"/>
                  </a:lnTo>
                  <a:lnTo>
                    <a:pt x="3403" y="1512"/>
                  </a:lnTo>
                  <a:lnTo>
                    <a:pt x="3403" y="1498"/>
                  </a:lnTo>
                  <a:cubicBezTo>
                    <a:pt x="3536" y="1475"/>
                    <a:pt x="3639" y="1365"/>
                    <a:pt x="3639" y="1217"/>
                  </a:cubicBezTo>
                  <a:cubicBezTo>
                    <a:pt x="3639" y="1061"/>
                    <a:pt x="3513" y="934"/>
                    <a:pt x="3358" y="934"/>
                  </a:cubicBezTo>
                  <a:cubicBezTo>
                    <a:pt x="3291" y="934"/>
                    <a:pt x="3232" y="965"/>
                    <a:pt x="3181" y="1002"/>
                  </a:cubicBezTo>
                  <a:lnTo>
                    <a:pt x="3181" y="965"/>
                  </a:lnTo>
                  <a:cubicBezTo>
                    <a:pt x="3181" y="668"/>
                    <a:pt x="2942" y="424"/>
                    <a:pt x="2647" y="424"/>
                  </a:cubicBezTo>
                  <a:cubicBezTo>
                    <a:pt x="2476" y="424"/>
                    <a:pt x="2327" y="497"/>
                    <a:pt x="2224" y="623"/>
                  </a:cubicBezTo>
                  <a:cubicBezTo>
                    <a:pt x="2186" y="609"/>
                    <a:pt x="2149" y="602"/>
                    <a:pt x="2114" y="602"/>
                  </a:cubicBezTo>
                  <a:cubicBezTo>
                    <a:pt x="2053" y="602"/>
                    <a:pt x="2001" y="616"/>
                    <a:pt x="1957" y="639"/>
                  </a:cubicBezTo>
                  <a:cubicBezTo>
                    <a:pt x="1898" y="275"/>
                    <a:pt x="1594" y="1"/>
                    <a:pt x="121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3" name="Google Shape;2633;p37"/>
            <p:cNvSpPr/>
            <p:nvPr/>
          </p:nvSpPr>
          <p:spPr>
            <a:xfrm>
              <a:off x="4273147" y="4263087"/>
              <a:ext cx="41296" cy="59742"/>
            </a:xfrm>
            <a:custGeom>
              <a:avLst/>
              <a:gdLst/>
              <a:ahLst/>
              <a:cxnLst/>
              <a:rect l="l" t="t" r="r" b="b"/>
              <a:pathLst>
                <a:path w="497" h="719" extrusionOk="0">
                  <a:moveTo>
                    <a:pt x="497" y="0"/>
                  </a:moveTo>
                  <a:lnTo>
                    <a:pt x="497" y="0"/>
                  </a:lnTo>
                  <a:cubicBezTo>
                    <a:pt x="209" y="82"/>
                    <a:pt x="1" y="349"/>
                    <a:pt x="1" y="667"/>
                  </a:cubicBezTo>
                  <a:lnTo>
                    <a:pt x="1" y="712"/>
                  </a:lnTo>
                  <a:cubicBezTo>
                    <a:pt x="8" y="712"/>
                    <a:pt x="8" y="712"/>
                    <a:pt x="17" y="719"/>
                  </a:cubicBezTo>
                  <a:lnTo>
                    <a:pt x="17" y="705"/>
                  </a:lnTo>
                  <a:cubicBezTo>
                    <a:pt x="17" y="386"/>
                    <a:pt x="216" y="112"/>
                    <a:pt x="497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4" name="Google Shape;2634;p37"/>
            <p:cNvSpPr/>
            <p:nvPr/>
          </p:nvSpPr>
          <p:spPr>
            <a:xfrm>
              <a:off x="4273147" y="4261259"/>
              <a:ext cx="56834" cy="114083"/>
            </a:xfrm>
            <a:custGeom>
              <a:avLst/>
              <a:gdLst/>
              <a:ahLst/>
              <a:cxnLst/>
              <a:rect l="l" t="t" r="r" b="b"/>
              <a:pathLst>
                <a:path w="684" h="1373" extrusionOk="0">
                  <a:moveTo>
                    <a:pt x="683" y="1"/>
                  </a:moveTo>
                  <a:cubicBezTo>
                    <a:pt x="623" y="1"/>
                    <a:pt x="557" y="8"/>
                    <a:pt x="497" y="22"/>
                  </a:cubicBezTo>
                  <a:cubicBezTo>
                    <a:pt x="216" y="134"/>
                    <a:pt x="17" y="408"/>
                    <a:pt x="17" y="727"/>
                  </a:cubicBezTo>
                  <a:lnTo>
                    <a:pt x="17" y="741"/>
                  </a:lnTo>
                  <a:cubicBezTo>
                    <a:pt x="8" y="734"/>
                    <a:pt x="8" y="734"/>
                    <a:pt x="1" y="734"/>
                  </a:cubicBezTo>
                  <a:cubicBezTo>
                    <a:pt x="24" y="1089"/>
                    <a:pt x="319" y="1372"/>
                    <a:pt x="683" y="1372"/>
                  </a:cubicBezTo>
                  <a:cubicBezTo>
                    <a:pt x="683" y="1372"/>
                    <a:pt x="290" y="1246"/>
                    <a:pt x="260" y="689"/>
                  </a:cubicBezTo>
                  <a:cubicBezTo>
                    <a:pt x="230" y="179"/>
                    <a:pt x="683" y="1"/>
                    <a:pt x="683" y="1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5" name="Google Shape;2635;p37"/>
            <p:cNvSpPr/>
            <p:nvPr/>
          </p:nvSpPr>
          <p:spPr>
            <a:xfrm>
              <a:off x="4382161" y="4309950"/>
              <a:ext cx="59825" cy="30162"/>
            </a:xfrm>
            <a:custGeom>
              <a:avLst/>
              <a:gdLst/>
              <a:ahLst/>
              <a:cxnLst/>
              <a:rect l="l" t="t" r="r" b="b"/>
              <a:pathLst>
                <a:path w="720" h="363" extrusionOk="0">
                  <a:moveTo>
                    <a:pt x="357" y="0"/>
                  </a:moveTo>
                  <a:cubicBezTo>
                    <a:pt x="163" y="7"/>
                    <a:pt x="1" y="171"/>
                    <a:pt x="8" y="363"/>
                  </a:cubicBezTo>
                  <a:cubicBezTo>
                    <a:pt x="8" y="363"/>
                    <a:pt x="67" y="164"/>
                    <a:pt x="357" y="141"/>
                  </a:cubicBezTo>
                  <a:lnTo>
                    <a:pt x="385" y="141"/>
                  </a:lnTo>
                  <a:cubicBezTo>
                    <a:pt x="630" y="141"/>
                    <a:pt x="719" y="356"/>
                    <a:pt x="719" y="356"/>
                  </a:cubicBezTo>
                  <a:cubicBezTo>
                    <a:pt x="719" y="164"/>
                    <a:pt x="556" y="0"/>
                    <a:pt x="364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6" name="Google Shape;2636;p37"/>
            <p:cNvSpPr/>
            <p:nvPr/>
          </p:nvSpPr>
          <p:spPr>
            <a:xfrm>
              <a:off x="5192371" y="3780002"/>
              <a:ext cx="98046" cy="42958"/>
            </a:xfrm>
            <a:custGeom>
              <a:avLst/>
              <a:gdLst/>
              <a:ahLst/>
              <a:cxnLst/>
              <a:rect l="l" t="t" r="r" b="b"/>
              <a:pathLst>
                <a:path w="1180" h="517" extrusionOk="0">
                  <a:moveTo>
                    <a:pt x="1026" y="0"/>
                  </a:moveTo>
                  <a:cubicBezTo>
                    <a:pt x="950" y="0"/>
                    <a:pt x="859" y="34"/>
                    <a:pt x="771" y="102"/>
                  </a:cubicBezTo>
                  <a:cubicBezTo>
                    <a:pt x="698" y="154"/>
                    <a:pt x="637" y="228"/>
                    <a:pt x="609" y="294"/>
                  </a:cubicBezTo>
                  <a:cubicBezTo>
                    <a:pt x="548" y="250"/>
                    <a:pt x="468" y="220"/>
                    <a:pt x="380" y="205"/>
                  </a:cubicBezTo>
                  <a:cubicBezTo>
                    <a:pt x="346" y="200"/>
                    <a:pt x="315" y="198"/>
                    <a:pt x="285" y="198"/>
                  </a:cubicBezTo>
                  <a:cubicBezTo>
                    <a:pt x="128" y="198"/>
                    <a:pt x="20" y="263"/>
                    <a:pt x="1" y="369"/>
                  </a:cubicBezTo>
                  <a:cubicBezTo>
                    <a:pt x="1" y="369"/>
                    <a:pt x="44" y="287"/>
                    <a:pt x="248" y="287"/>
                  </a:cubicBezTo>
                  <a:cubicBezTo>
                    <a:pt x="282" y="287"/>
                    <a:pt x="320" y="289"/>
                    <a:pt x="364" y="294"/>
                  </a:cubicBezTo>
                  <a:cubicBezTo>
                    <a:pt x="460" y="301"/>
                    <a:pt x="534" y="332"/>
                    <a:pt x="586" y="362"/>
                  </a:cubicBezTo>
                  <a:lnTo>
                    <a:pt x="579" y="517"/>
                  </a:lnTo>
                  <a:lnTo>
                    <a:pt x="653" y="502"/>
                  </a:lnTo>
                  <a:lnTo>
                    <a:pt x="742" y="479"/>
                  </a:lnTo>
                  <a:lnTo>
                    <a:pt x="661" y="346"/>
                  </a:lnTo>
                  <a:cubicBezTo>
                    <a:pt x="698" y="294"/>
                    <a:pt x="742" y="236"/>
                    <a:pt x="824" y="168"/>
                  </a:cubicBezTo>
                  <a:cubicBezTo>
                    <a:pt x="938" y="77"/>
                    <a:pt x="1032" y="56"/>
                    <a:pt x="1094" y="56"/>
                  </a:cubicBezTo>
                  <a:cubicBezTo>
                    <a:pt x="1149" y="56"/>
                    <a:pt x="1180" y="72"/>
                    <a:pt x="1180" y="72"/>
                  </a:cubicBezTo>
                  <a:cubicBezTo>
                    <a:pt x="1145" y="25"/>
                    <a:pt x="1091" y="0"/>
                    <a:pt x="1026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7" name="Google Shape;2637;p37"/>
            <p:cNvSpPr/>
            <p:nvPr/>
          </p:nvSpPr>
          <p:spPr>
            <a:xfrm>
              <a:off x="4806824" y="3215603"/>
              <a:ext cx="152272" cy="73749"/>
            </a:xfrm>
            <a:custGeom>
              <a:avLst/>
              <a:gdLst/>
              <a:ahLst/>
              <a:cxnLst/>
              <a:rect l="l" t="t" r="r" b="b"/>
              <a:pathLst>
                <a:path w="993" h="481" extrusionOk="0">
                  <a:moveTo>
                    <a:pt x="851" y="0"/>
                  </a:moveTo>
                  <a:cubicBezTo>
                    <a:pt x="787" y="0"/>
                    <a:pt x="715" y="30"/>
                    <a:pt x="644" y="89"/>
                  </a:cubicBezTo>
                  <a:cubicBezTo>
                    <a:pt x="578" y="141"/>
                    <a:pt x="534" y="207"/>
                    <a:pt x="511" y="267"/>
                  </a:cubicBezTo>
                  <a:cubicBezTo>
                    <a:pt x="459" y="230"/>
                    <a:pt x="394" y="192"/>
                    <a:pt x="312" y="178"/>
                  </a:cubicBezTo>
                  <a:cubicBezTo>
                    <a:pt x="281" y="173"/>
                    <a:pt x="251" y="170"/>
                    <a:pt x="224" y="170"/>
                  </a:cubicBezTo>
                  <a:cubicBezTo>
                    <a:pt x="93" y="170"/>
                    <a:pt x="6" y="227"/>
                    <a:pt x="1" y="326"/>
                  </a:cubicBezTo>
                  <a:cubicBezTo>
                    <a:pt x="1" y="326"/>
                    <a:pt x="33" y="251"/>
                    <a:pt x="203" y="251"/>
                  </a:cubicBezTo>
                  <a:cubicBezTo>
                    <a:pt x="233" y="251"/>
                    <a:pt x="266" y="253"/>
                    <a:pt x="305" y="258"/>
                  </a:cubicBezTo>
                  <a:cubicBezTo>
                    <a:pt x="386" y="274"/>
                    <a:pt x="445" y="303"/>
                    <a:pt x="490" y="333"/>
                  </a:cubicBezTo>
                  <a:lnTo>
                    <a:pt x="490" y="480"/>
                  </a:lnTo>
                  <a:lnTo>
                    <a:pt x="555" y="466"/>
                  </a:lnTo>
                  <a:lnTo>
                    <a:pt x="630" y="452"/>
                  </a:lnTo>
                  <a:lnTo>
                    <a:pt x="555" y="319"/>
                  </a:lnTo>
                  <a:cubicBezTo>
                    <a:pt x="586" y="274"/>
                    <a:pt x="623" y="214"/>
                    <a:pt x="689" y="162"/>
                  </a:cubicBezTo>
                  <a:cubicBezTo>
                    <a:pt x="782" y="77"/>
                    <a:pt x="862" y="57"/>
                    <a:pt x="916" y="57"/>
                  </a:cubicBezTo>
                  <a:cubicBezTo>
                    <a:pt x="964" y="57"/>
                    <a:pt x="993" y="73"/>
                    <a:pt x="993" y="73"/>
                  </a:cubicBezTo>
                  <a:cubicBezTo>
                    <a:pt x="958" y="24"/>
                    <a:pt x="908" y="0"/>
                    <a:pt x="851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8" name="Google Shape;2638;p37"/>
            <p:cNvSpPr/>
            <p:nvPr/>
          </p:nvSpPr>
          <p:spPr>
            <a:xfrm>
              <a:off x="4614314" y="3649467"/>
              <a:ext cx="49937" cy="21437"/>
            </a:xfrm>
            <a:custGeom>
              <a:avLst/>
              <a:gdLst/>
              <a:ahLst/>
              <a:cxnLst/>
              <a:rect l="l" t="t" r="r" b="b"/>
              <a:pathLst>
                <a:path w="601" h="258" extrusionOk="0">
                  <a:moveTo>
                    <a:pt x="520" y="1"/>
                  </a:moveTo>
                  <a:cubicBezTo>
                    <a:pt x="482" y="1"/>
                    <a:pt x="437" y="17"/>
                    <a:pt x="392" y="50"/>
                  </a:cubicBezTo>
                  <a:cubicBezTo>
                    <a:pt x="348" y="80"/>
                    <a:pt x="326" y="110"/>
                    <a:pt x="303" y="146"/>
                  </a:cubicBezTo>
                  <a:cubicBezTo>
                    <a:pt x="275" y="124"/>
                    <a:pt x="237" y="110"/>
                    <a:pt x="193" y="101"/>
                  </a:cubicBezTo>
                  <a:cubicBezTo>
                    <a:pt x="178" y="99"/>
                    <a:pt x="164" y="98"/>
                    <a:pt x="150" y="98"/>
                  </a:cubicBezTo>
                  <a:cubicBezTo>
                    <a:pt x="68" y="98"/>
                    <a:pt x="7" y="133"/>
                    <a:pt x="1" y="183"/>
                  </a:cubicBezTo>
                  <a:cubicBezTo>
                    <a:pt x="1" y="183"/>
                    <a:pt x="23" y="143"/>
                    <a:pt x="134" y="143"/>
                  </a:cubicBezTo>
                  <a:cubicBezTo>
                    <a:pt x="150" y="143"/>
                    <a:pt x="167" y="144"/>
                    <a:pt x="186" y="146"/>
                  </a:cubicBezTo>
                  <a:cubicBezTo>
                    <a:pt x="230" y="146"/>
                    <a:pt x="268" y="162"/>
                    <a:pt x="296" y="176"/>
                  </a:cubicBezTo>
                  <a:lnTo>
                    <a:pt x="289" y="258"/>
                  </a:lnTo>
                  <a:lnTo>
                    <a:pt x="333" y="243"/>
                  </a:lnTo>
                  <a:lnTo>
                    <a:pt x="378" y="234"/>
                  </a:lnTo>
                  <a:lnTo>
                    <a:pt x="333" y="169"/>
                  </a:lnTo>
                  <a:cubicBezTo>
                    <a:pt x="348" y="146"/>
                    <a:pt x="378" y="117"/>
                    <a:pt x="415" y="87"/>
                  </a:cubicBezTo>
                  <a:cubicBezTo>
                    <a:pt x="475" y="39"/>
                    <a:pt x="524" y="28"/>
                    <a:pt x="557" y="28"/>
                  </a:cubicBezTo>
                  <a:cubicBezTo>
                    <a:pt x="585" y="28"/>
                    <a:pt x="600" y="35"/>
                    <a:pt x="600" y="35"/>
                  </a:cubicBezTo>
                  <a:cubicBezTo>
                    <a:pt x="580" y="12"/>
                    <a:pt x="552" y="1"/>
                    <a:pt x="520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9" name="Google Shape;2639;p37"/>
            <p:cNvSpPr/>
            <p:nvPr/>
          </p:nvSpPr>
          <p:spPr>
            <a:xfrm>
              <a:off x="4273158" y="3783825"/>
              <a:ext cx="124976" cy="53510"/>
            </a:xfrm>
            <a:custGeom>
              <a:avLst/>
              <a:gdLst/>
              <a:ahLst/>
              <a:cxnLst/>
              <a:rect l="l" t="t" r="r" b="b"/>
              <a:pathLst>
                <a:path w="815" h="349" extrusionOk="0">
                  <a:moveTo>
                    <a:pt x="712" y="1"/>
                  </a:moveTo>
                  <a:cubicBezTo>
                    <a:pt x="659" y="1"/>
                    <a:pt x="596" y="23"/>
                    <a:pt x="534" y="68"/>
                  </a:cubicBezTo>
                  <a:cubicBezTo>
                    <a:pt x="482" y="105"/>
                    <a:pt x="445" y="157"/>
                    <a:pt x="424" y="201"/>
                  </a:cubicBezTo>
                  <a:cubicBezTo>
                    <a:pt x="379" y="171"/>
                    <a:pt x="326" y="150"/>
                    <a:pt x="260" y="143"/>
                  </a:cubicBezTo>
                  <a:cubicBezTo>
                    <a:pt x="237" y="139"/>
                    <a:pt x="215" y="137"/>
                    <a:pt x="194" y="137"/>
                  </a:cubicBezTo>
                  <a:cubicBezTo>
                    <a:pt x="88" y="137"/>
                    <a:pt x="12" y="184"/>
                    <a:pt x="0" y="253"/>
                  </a:cubicBezTo>
                  <a:cubicBezTo>
                    <a:pt x="0" y="253"/>
                    <a:pt x="28" y="197"/>
                    <a:pt x="176" y="197"/>
                  </a:cubicBezTo>
                  <a:cubicBezTo>
                    <a:pt x="198" y="197"/>
                    <a:pt x="224" y="198"/>
                    <a:pt x="253" y="201"/>
                  </a:cubicBezTo>
                  <a:cubicBezTo>
                    <a:pt x="319" y="209"/>
                    <a:pt x="370" y="223"/>
                    <a:pt x="400" y="246"/>
                  </a:cubicBezTo>
                  <a:lnTo>
                    <a:pt x="400" y="349"/>
                  </a:lnTo>
                  <a:lnTo>
                    <a:pt x="452" y="342"/>
                  </a:lnTo>
                  <a:lnTo>
                    <a:pt x="512" y="328"/>
                  </a:lnTo>
                  <a:lnTo>
                    <a:pt x="459" y="232"/>
                  </a:lnTo>
                  <a:cubicBezTo>
                    <a:pt x="482" y="201"/>
                    <a:pt x="512" y="157"/>
                    <a:pt x="571" y="120"/>
                  </a:cubicBezTo>
                  <a:cubicBezTo>
                    <a:pt x="656" y="51"/>
                    <a:pt x="723" y="37"/>
                    <a:pt x="766" y="37"/>
                  </a:cubicBezTo>
                  <a:cubicBezTo>
                    <a:pt x="797" y="37"/>
                    <a:pt x="815" y="45"/>
                    <a:pt x="815" y="45"/>
                  </a:cubicBezTo>
                  <a:cubicBezTo>
                    <a:pt x="792" y="15"/>
                    <a:pt x="755" y="1"/>
                    <a:pt x="712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0" name="Google Shape;2640;p37"/>
            <p:cNvSpPr/>
            <p:nvPr/>
          </p:nvSpPr>
          <p:spPr>
            <a:xfrm>
              <a:off x="5244136" y="3707630"/>
              <a:ext cx="36393" cy="15621"/>
            </a:xfrm>
            <a:custGeom>
              <a:avLst/>
              <a:gdLst/>
              <a:ahLst/>
              <a:cxnLst/>
              <a:rect l="l" t="t" r="r" b="b"/>
              <a:pathLst>
                <a:path w="438" h="188" extrusionOk="0">
                  <a:moveTo>
                    <a:pt x="385" y="1"/>
                  </a:moveTo>
                  <a:cubicBezTo>
                    <a:pt x="357" y="1"/>
                    <a:pt x="324" y="14"/>
                    <a:pt x="290" y="40"/>
                  </a:cubicBezTo>
                  <a:cubicBezTo>
                    <a:pt x="260" y="54"/>
                    <a:pt x="237" y="84"/>
                    <a:pt x="230" y="105"/>
                  </a:cubicBezTo>
                  <a:cubicBezTo>
                    <a:pt x="208" y="91"/>
                    <a:pt x="178" y="77"/>
                    <a:pt x="141" y="77"/>
                  </a:cubicBezTo>
                  <a:cubicBezTo>
                    <a:pt x="127" y="74"/>
                    <a:pt x="114" y="73"/>
                    <a:pt x="102" y="73"/>
                  </a:cubicBezTo>
                  <a:cubicBezTo>
                    <a:pt x="47" y="73"/>
                    <a:pt x="6" y="99"/>
                    <a:pt x="0" y="136"/>
                  </a:cubicBezTo>
                  <a:cubicBezTo>
                    <a:pt x="0" y="136"/>
                    <a:pt x="17" y="103"/>
                    <a:pt x="93" y="103"/>
                  </a:cubicBezTo>
                  <a:cubicBezTo>
                    <a:pt x="105" y="103"/>
                    <a:pt x="118" y="103"/>
                    <a:pt x="134" y="105"/>
                  </a:cubicBezTo>
                  <a:cubicBezTo>
                    <a:pt x="171" y="105"/>
                    <a:pt x="201" y="121"/>
                    <a:pt x="215" y="128"/>
                  </a:cubicBezTo>
                  <a:lnTo>
                    <a:pt x="215" y="187"/>
                  </a:lnTo>
                  <a:lnTo>
                    <a:pt x="246" y="180"/>
                  </a:lnTo>
                  <a:lnTo>
                    <a:pt x="274" y="173"/>
                  </a:lnTo>
                  <a:lnTo>
                    <a:pt x="246" y="121"/>
                  </a:lnTo>
                  <a:cubicBezTo>
                    <a:pt x="260" y="105"/>
                    <a:pt x="274" y="84"/>
                    <a:pt x="304" y="61"/>
                  </a:cubicBezTo>
                  <a:cubicBezTo>
                    <a:pt x="348" y="26"/>
                    <a:pt x="383" y="17"/>
                    <a:pt x="406" y="17"/>
                  </a:cubicBezTo>
                  <a:cubicBezTo>
                    <a:pt x="427" y="17"/>
                    <a:pt x="438" y="24"/>
                    <a:pt x="438" y="24"/>
                  </a:cubicBezTo>
                  <a:cubicBezTo>
                    <a:pt x="425" y="8"/>
                    <a:pt x="407" y="1"/>
                    <a:pt x="38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1" name="Google Shape;2641;p37"/>
            <p:cNvSpPr/>
            <p:nvPr/>
          </p:nvSpPr>
          <p:spPr>
            <a:xfrm>
              <a:off x="5952811" y="4309285"/>
              <a:ext cx="193932" cy="80763"/>
            </a:xfrm>
            <a:custGeom>
              <a:avLst/>
              <a:gdLst/>
              <a:ahLst/>
              <a:cxnLst/>
              <a:rect l="l" t="t" r="r" b="b"/>
              <a:pathLst>
                <a:path w="2334" h="972" extrusionOk="0">
                  <a:moveTo>
                    <a:pt x="777" y="1"/>
                  </a:moveTo>
                  <a:cubicBezTo>
                    <a:pt x="511" y="1"/>
                    <a:pt x="297" y="216"/>
                    <a:pt x="297" y="474"/>
                  </a:cubicBezTo>
                  <a:lnTo>
                    <a:pt x="297" y="483"/>
                  </a:lnTo>
                  <a:cubicBezTo>
                    <a:pt x="281" y="483"/>
                    <a:pt x="260" y="474"/>
                    <a:pt x="244" y="474"/>
                  </a:cubicBezTo>
                  <a:cubicBezTo>
                    <a:pt x="110" y="474"/>
                    <a:pt x="0" y="586"/>
                    <a:pt x="0" y="719"/>
                  </a:cubicBezTo>
                  <a:cubicBezTo>
                    <a:pt x="0" y="853"/>
                    <a:pt x="110" y="956"/>
                    <a:pt x="244" y="956"/>
                  </a:cubicBezTo>
                  <a:lnTo>
                    <a:pt x="244" y="972"/>
                  </a:lnTo>
                  <a:lnTo>
                    <a:pt x="2179" y="972"/>
                  </a:lnTo>
                  <a:lnTo>
                    <a:pt x="2179" y="956"/>
                  </a:lnTo>
                  <a:cubicBezTo>
                    <a:pt x="2268" y="949"/>
                    <a:pt x="2333" y="867"/>
                    <a:pt x="2333" y="778"/>
                  </a:cubicBezTo>
                  <a:cubicBezTo>
                    <a:pt x="2333" y="682"/>
                    <a:pt x="2253" y="600"/>
                    <a:pt x="2156" y="600"/>
                  </a:cubicBezTo>
                  <a:cubicBezTo>
                    <a:pt x="2111" y="600"/>
                    <a:pt x="2076" y="616"/>
                    <a:pt x="2038" y="638"/>
                  </a:cubicBezTo>
                  <a:lnTo>
                    <a:pt x="2038" y="616"/>
                  </a:lnTo>
                  <a:cubicBezTo>
                    <a:pt x="2038" y="422"/>
                    <a:pt x="1889" y="268"/>
                    <a:pt x="1697" y="268"/>
                  </a:cubicBezTo>
                  <a:cubicBezTo>
                    <a:pt x="1587" y="268"/>
                    <a:pt x="1489" y="319"/>
                    <a:pt x="1430" y="394"/>
                  </a:cubicBezTo>
                  <a:cubicBezTo>
                    <a:pt x="1409" y="385"/>
                    <a:pt x="1378" y="385"/>
                    <a:pt x="1355" y="385"/>
                  </a:cubicBezTo>
                  <a:cubicBezTo>
                    <a:pt x="1320" y="385"/>
                    <a:pt x="1282" y="394"/>
                    <a:pt x="1252" y="408"/>
                  </a:cubicBezTo>
                  <a:cubicBezTo>
                    <a:pt x="1222" y="172"/>
                    <a:pt x="1023" y="1"/>
                    <a:pt x="77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2" name="Google Shape;2642;p37"/>
            <p:cNvSpPr/>
            <p:nvPr/>
          </p:nvSpPr>
          <p:spPr>
            <a:xfrm>
              <a:off x="5976741" y="4309950"/>
              <a:ext cx="36393" cy="73368"/>
            </a:xfrm>
            <a:custGeom>
              <a:avLst/>
              <a:gdLst/>
              <a:ahLst/>
              <a:cxnLst/>
              <a:rect l="l" t="t" r="r" b="b"/>
              <a:pathLst>
                <a:path w="438" h="883" extrusionOk="0">
                  <a:moveTo>
                    <a:pt x="438" y="0"/>
                  </a:moveTo>
                  <a:cubicBezTo>
                    <a:pt x="201" y="0"/>
                    <a:pt x="0" y="199"/>
                    <a:pt x="0" y="445"/>
                  </a:cubicBezTo>
                  <a:cubicBezTo>
                    <a:pt x="0" y="688"/>
                    <a:pt x="201" y="882"/>
                    <a:pt x="438" y="882"/>
                  </a:cubicBezTo>
                  <a:cubicBezTo>
                    <a:pt x="438" y="882"/>
                    <a:pt x="187" y="800"/>
                    <a:pt x="171" y="445"/>
                  </a:cubicBezTo>
                  <a:cubicBezTo>
                    <a:pt x="150" y="119"/>
                    <a:pt x="438" y="0"/>
                    <a:pt x="43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3" name="Google Shape;2643;p37"/>
            <p:cNvSpPr/>
            <p:nvPr/>
          </p:nvSpPr>
          <p:spPr>
            <a:xfrm>
              <a:off x="6046952" y="4341275"/>
              <a:ext cx="38304" cy="19859"/>
            </a:xfrm>
            <a:custGeom>
              <a:avLst/>
              <a:gdLst/>
              <a:ahLst/>
              <a:cxnLst/>
              <a:rect l="l" t="t" r="r" b="b"/>
              <a:pathLst>
                <a:path w="461" h="239" extrusionOk="0">
                  <a:moveTo>
                    <a:pt x="231" y="0"/>
                  </a:moveTo>
                  <a:cubicBezTo>
                    <a:pt x="105" y="9"/>
                    <a:pt x="0" y="112"/>
                    <a:pt x="0" y="238"/>
                  </a:cubicBezTo>
                  <a:cubicBezTo>
                    <a:pt x="0" y="238"/>
                    <a:pt x="37" y="105"/>
                    <a:pt x="231" y="89"/>
                  </a:cubicBezTo>
                  <a:cubicBezTo>
                    <a:pt x="235" y="89"/>
                    <a:pt x="239" y="89"/>
                    <a:pt x="243" y="89"/>
                  </a:cubicBezTo>
                  <a:cubicBezTo>
                    <a:pt x="403" y="89"/>
                    <a:pt x="461" y="231"/>
                    <a:pt x="461" y="231"/>
                  </a:cubicBezTo>
                  <a:cubicBezTo>
                    <a:pt x="461" y="105"/>
                    <a:pt x="356" y="0"/>
                    <a:pt x="23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4" name="Google Shape;2644;p37"/>
            <p:cNvSpPr/>
            <p:nvPr/>
          </p:nvSpPr>
          <p:spPr>
            <a:xfrm>
              <a:off x="4741691" y="4301890"/>
              <a:ext cx="200164" cy="83173"/>
            </a:xfrm>
            <a:custGeom>
              <a:avLst/>
              <a:gdLst/>
              <a:ahLst/>
              <a:cxnLst/>
              <a:rect l="l" t="t" r="r" b="b"/>
              <a:pathLst>
                <a:path w="2409" h="1001" extrusionOk="0">
                  <a:moveTo>
                    <a:pt x="1608" y="1"/>
                  </a:moveTo>
                  <a:cubicBezTo>
                    <a:pt x="1358" y="1"/>
                    <a:pt x="1150" y="186"/>
                    <a:pt x="1119" y="422"/>
                  </a:cubicBezTo>
                  <a:cubicBezTo>
                    <a:pt x="1082" y="408"/>
                    <a:pt x="1054" y="401"/>
                    <a:pt x="1016" y="401"/>
                  </a:cubicBezTo>
                  <a:cubicBezTo>
                    <a:pt x="986" y="401"/>
                    <a:pt x="965" y="401"/>
                    <a:pt x="934" y="408"/>
                  </a:cubicBezTo>
                  <a:cubicBezTo>
                    <a:pt x="876" y="334"/>
                    <a:pt x="771" y="282"/>
                    <a:pt x="660" y="282"/>
                  </a:cubicBezTo>
                  <a:cubicBezTo>
                    <a:pt x="468" y="282"/>
                    <a:pt x="305" y="438"/>
                    <a:pt x="305" y="638"/>
                  </a:cubicBezTo>
                  <a:lnTo>
                    <a:pt x="305" y="661"/>
                  </a:lnTo>
                  <a:cubicBezTo>
                    <a:pt x="275" y="638"/>
                    <a:pt x="230" y="623"/>
                    <a:pt x="186" y="623"/>
                  </a:cubicBezTo>
                  <a:cubicBezTo>
                    <a:pt x="83" y="623"/>
                    <a:pt x="1" y="705"/>
                    <a:pt x="1" y="808"/>
                  </a:cubicBezTo>
                  <a:cubicBezTo>
                    <a:pt x="1" y="904"/>
                    <a:pt x="68" y="979"/>
                    <a:pt x="164" y="993"/>
                  </a:cubicBezTo>
                  <a:lnTo>
                    <a:pt x="164" y="1000"/>
                  </a:lnTo>
                  <a:lnTo>
                    <a:pt x="2165" y="1000"/>
                  </a:lnTo>
                  <a:lnTo>
                    <a:pt x="2165" y="993"/>
                  </a:lnTo>
                  <a:cubicBezTo>
                    <a:pt x="2298" y="993"/>
                    <a:pt x="2409" y="883"/>
                    <a:pt x="2409" y="750"/>
                  </a:cubicBezTo>
                  <a:cubicBezTo>
                    <a:pt x="2409" y="607"/>
                    <a:pt x="2298" y="497"/>
                    <a:pt x="2165" y="497"/>
                  </a:cubicBezTo>
                  <a:cubicBezTo>
                    <a:pt x="2142" y="497"/>
                    <a:pt x="2121" y="497"/>
                    <a:pt x="2105" y="504"/>
                  </a:cubicBezTo>
                  <a:lnTo>
                    <a:pt x="2105" y="497"/>
                  </a:lnTo>
                  <a:cubicBezTo>
                    <a:pt x="2105" y="223"/>
                    <a:pt x="1882" y="1"/>
                    <a:pt x="1608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5" name="Google Shape;2645;p37"/>
            <p:cNvSpPr/>
            <p:nvPr/>
          </p:nvSpPr>
          <p:spPr>
            <a:xfrm>
              <a:off x="4889508" y="4304300"/>
              <a:ext cx="27835" cy="39551"/>
            </a:xfrm>
            <a:custGeom>
              <a:avLst/>
              <a:gdLst/>
              <a:ahLst/>
              <a:cxnLst/>
              <a:rect l="l" t="t" r="r" b="b"/>
              <a:pathLst>
                <a:path w="335" h="476" extrusionOk="0">
                  <a:moveTo>
                    <a:pt x="0" y="0"/>
                  </a:moveTo>
                  <a:lnTo>
                    <a:pt x="0" y="0"/>
                  </a:lnTo>
                  <a:cubicBezTo>
                    <a:pt x="192" y="75"/>
                    <a:pt x="326" y="253"/>
                    <a:pt x="326" y="468"/>
                  </a:cubicBezTo>
                  <a:lnTo>
                    <a:pt x="326" y="475"/>
                  </a:lnTo>
                  <a:lnTo>
                    <a:pt x="334" y="475"/>
                  </a:lnTo>
                  <a:lnTo>
                    <a:pt x="334" y="438"/>
                  </a:lnTo>
                  <a:cubicBezTo>
                    <a:pt x="334" y="232"/>
                    <a:pt x="192" y="61"/>
                    <a:pt x="0" y="0"/>
                  </a:cubicBezTo>
                  <a:close/>
                </a:path>
              </a:pathLst>
            </a:custGeom>
            <a:solidFill>
              <a:srgbClr val="EDED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6" name="Google Shape;2646;p37"/>
            <p:cNvSpPr/>
            <p:nvPr/>
          </p:nvSpPr>
          <p:spPr>
            <a:xfrm>
              <a:off x="4879538" y="4303136"/>
              <a:ext cx="37806" cy="75861"/>
            </a:xfrm>
            <a:custGeom>
              <a:avLst/>
              <a:gdLst/>
              <a:ahLst/>
              <a:cxnLst/>
              <a:rect l="l" t="t" r="r" b="b"/>
              <a:pathLst>
                <a:path w="455" h="913" extrusionOk="0">
                  <a:moveTo>
                    <a:pt x="1" y="0"/>
                  </a:moveTo>
                  <a:cubicBezTo>
                    <a:pt x="1" y="0"/>
                    <a:pt x="298" y="119"/>
                    <a:pt x="284" y="452"/>
                  </a:cubicBezTo>
                  <a:cubicBezTo>
                    <a:pt x="261" y="824"/>
                    <a:pt x="1" y="913"/>
                    <a:pt x="1" y="913"/>
                  </a:cubicBezTo>
                  <a:cubicBezTo>
                    <a:pt x="239" y="913"/>
                    <a:pt x="438" y="719"/>
                    <a:pt x="454" y="489"/>
                  </a:cubicBezTo>
                  <a:lnTo>
                    <a:pt x="446" y="489"/>
                  </a:lnTo>
                  <a:lnTo>
                    <a:pt x="446" y="482"/>
                  </a:lnTo>
                  <a:cubicBezTo>
                    <a:pt x="446" y="267"/>
                    <a:pt x="312" y="89"/>
                    <a:pt x="120" y="14"/>
                  </a:cubicBezTo>
                  <a:cubicBezTo>
                    <a:pt x="83" y="7"/>
                    <a:pt x="45" y="0"/>
                    <a:pt x="1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7" name="Google Shape;2647;p37"/>
            <p:cNvSpPr/>
            <p:nvPr/>
          </p:nvSpPr>
          <p:spPr>
            <a:xfrm>
              <a:off x="4805089" y="4335791"/>
              <a:ext cx="39551" cy="19692"/>
            </a:xfrm>
            <a:custGeom>
              <a:avLst/>
              <a:gdLst/>
              <a:ahLst/>
              <a:cxnLst/>
              <a:rect l="l" t="t" r="r" b="b"/>
              <a:pathLst>
                <a:path w="476" h="237" extrusionOk="0">
                  <a:moveTo>
                    <a:pt x="239" y="0"/>
                  </a:moveTo>
                  <a:cubicBezTo>
                    <a:pt x="113" y="0"/>
                    <a:pt x="8" y="103"/>
                    <a:pt x="1" y="230"/>
                  </a:cubicBezTo>
                  <a:cubicBezTo>
                    <a:pt x="1" y="230"/>
                    <a:pt x="61" y="89"/>
                    <a:pt x="223" y="89"/>
                  </a:cubicBezTo>
                  <a:lnTo>
                    <a:pt x="246" y="89"/>
                  </a:lnTo>
                  <a:cubicBezTo>
                    <a:pt x="438" y="103"/>
                    <a:pt x="475" y="237"/>
                    <a:pt x="475" y="237"/>
                  </a:cubicBezTo>
                  <a:cubicBezTo>
                    <a:pt x="475" y="103"/>
                    <a:pt x="372" y="0"/>
                    <a:pt x="246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8" name="Google Shape;2648;p37"/>
            <p:cNvSpPr/>
            <p:nvPr/>
          </p:nvSpPr>
          <p:spPr>
            <a:xfrm>
              <a:off x="4599524" y="4010078"/>
              <a:ext cx="197671" cy="248771"/>
            </a:xfrm>
            <a:custGeom>
              <a:avLst/>
              <a:gdLst/>
              <a:ahLst/>
              <a:cxnLst/>
              <a:rect l="l" t="t" r="r" b="b"/>
              <a:pathLst>
                <a:path w="2379" h="2994" extrusionOk="0">
                  <a:moveTo>
                    <a:pt x="1185" y="1"/>
                  </a:moveTo>
                  <a:cubicBezTo>
                    <a:pt x="675" y="1"/>
                    <a:pt x="252" y="415"/>
                    <a:pt x="252" y="934"/>
                  </a:cubicBezTo>
                  <a:cubicBezTo>
                    <a:pt x="252" y="979"/>
                    <a:pt x="259" y="1023"/>
                    <a:pt x="268" y="1068"/>
                  </a:cubicBezTo>
                  <a:cubicBezTo>
                    <a:pt x="104" y="1267"/>
                    <a:pt x="1" y="1527"/>
                    <a:pt x="1" y="1808"/>
                  </a:cubicBezTo>
                  <a:cubicBezTo>
                    <a:pt x="1" y="2467"/>
                    <a:pt x="534" y="2994"/>
                    <a:pt x="1185" y="2994"/>
                  </a:cubicBezTo>
                  <a:cubicBezTo>
                    <a:pt x="1845" y="2994"/>
                    <a:pt x="2379" y="2467"/>
                    <a:pt x="2379" y="1808"/>
                  </a:cubicBezTo>
                  <a:cubicBezTo>
                    <a:pt x="2379" y="1527"/>
                    <a:pt x="2275" y="1267"/>
                    <a:pt x="2112" y="1068"/>
                  </a:cubicBezTo>
                  <a:cubicBezTo>
                    <a:pt x="2119" y="1023"/>
                    <a:pt x="2126" y="979"/>
                    <a:pt x="2126" y="934"/>
                  </a:cubicBezTo>
                  <a:cubicBezTo>
                    <a:pt x="2126" y="415"/>
                    <a:pt x="1705" y="1"/>
                    <a:pt x="118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9" name="Google Shape;2649;p37"/>
            <p:cNvSpPr/>
            <p:nvPr/>
          </p:nvSpPr>
          <p:spPr>
            <a:xfrm>
              <a:off x="4697986" y="4086521"/>
              <a:ext cx="9389" cy="296133"/>
            </a:xfrm>
            <a:custGeom>
              <a:avLst/>
              <a:gdLst/>
              <a:ahLst/>
              <a:cxnLst/>
              <a:rect l="l" t="t" r="r" b="b"/>
              <a:pathLst>
                <a:path w="113" h="3564" extrusionOk="0">
                  <a:moveTo>
                    <a:pt x="54" y="1"/>
                  </a:moveTo>
                  <a:cubicBezTo>
                    <a:pt x="53" y="1"/>
                    <a:pt x="52" y="4"/>
                    <a:pt x="52" y="14"/>
                  </a:cubicBezTo>
                  <a:lnTo>
                    <a:pt x="0" y="3511"/>
                  </a:lnTo>
                  <a:cubicBezTo>
                    <a:pt x="0" y="3534"/>
                    <a:pt x="23" y="3564"/>
                    <a:pt x="52" y="3564"/>
                  </a:cubicBezTo>
                  <a:lnTo>
                    <a:pt x="61" y="3564"/>
                  </a:lnTo>
                  <a:cubicBezTo>
                    <a:pt x="89" y="3564"/>
                    <a:pt x="112" y="3534"/>
                    <a:pt x="112" y="3511"/>
                  </a:cubicBezTo>
                  <a:cubicBezTo>
                    <a:pt x="112" y="3511"/>
                    <a:pt x="89" y="14"/>
                    <a:pt x="61" y="14"/>
                  </a:cubicBezTo>
                  <a:cubicBezTo>
                    <a:pt x="61" y="14"/>
                    <a:pt x="57" y="1"/>
                    <a:pt x="5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0" name="Google Shape;2650;p37"/>
            <p:cNvSpPr/>
            <p:nvPr/>
          </p:nvSpPr>
          <p:spPr>
            <a:xfrm>
              <a:off x="4646221" y="4157895"/>
              <a:ext cx="56086" cy="46115"/>
            </a:xfrm>
            <a:custGeom>
              <a:avLst/>
              <a:gdLst/>
              <a:ahLst/>
              <a:cxnLst/>
              <a:rect l="l" t="t" r="r" b="b"/>
              <a:pathLst>
                <a:path w="675" h="555" extrusionOk="0">
                  <a:moveTo>
                    <a:pt x="1" y="0"/>
                  </a:moveTo>
                  <a:lnTo>
                    <a:pt x="1" y="0"/>
                  </a:lnTo>
                  <a:cubicBezTo>
                    <a:pt x="331" y="541"/>
                    <a:pt x="634" y="555"/>
                    <a:pt x="665" y="555"/>
                  </a:cubicBezTo>
                  <a:cubicBezTo>
                    <a:pt x="667" y="555"/>
                    <a:pt x="668" y="555"/>
                    <a:pt x="668" y="555"/>
                  </a:cubicBezTo>
                  <a:lnTo>
                    <a:pt x="675" y="473"/>
                  </a:lnTo>
                  <a:lnTo>
                    <a:pt x="675" y="473"/>
                  </a:lnTo>
                  <a:cubicBezTo>
                    <a:pt x="675" y="473"/>
                    <a:pt x="668" y="479"/>
                    <a:pt x="647" y="479"/>
                  </a:cubicBezTo>
                  <a:cubicBezTo>
                    <a:pt x="606" y="479"/>
                    <a:pt x="511" y="455"/>
                    <a:pt x="312" y="311"/>
                  </a:cubicBezTo>
                  <a:cubicBezTo>
                    <a:pt x="134" y="18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1" name="Google Shape;2651;p37"/>
            <p:cNvSpPr/>
            <p:nvPr/>
          </p:nvSpPr>
          <p:spPr>
            <a:xfrm>
              <a:off x="4702223" y="4144850"/>
              <a:ext cx="48109" cy="39551"/>
            </a:xfrm>
            <a:custGeom>
              <a:avLst/>
              <a:gdLst/>
              <a:ahLst/>
              <a:cxnLst/>
              <a:rect l="l" t="t" r="r" b="b"/>
              <a:pathLst>
                <a:path w="579" h="476" extrusionOk="0">
                  <a:moveTo>
                    <a:pt x="579" y="1"/>
                  </a:moveTo>
                  <a:cubicBezTo>
                    <a:pt x="579" y="1"/>
                    <a:pt x="461" y="164"/>
                    <a:pt x="312" y="267"/>
                  </a:cubicBezTo>
                  <a:cubicBezTo>
                    <a:pt x="143" y="392"/>
                    <a:pt x="60" y="413"/>
                    <a:pt x="24" y="413"/>
                  </a:cubicBezTo>
                  <a:cubicBezTo>
                    <a:pt x="7" y="413"/>
                    <a:pt x="1" y="408"/>
                    <a:pt x="1" y="408"/>
                  </a:cubicBezTo>
                  <a:lnTo>
                    <a:pt x="1" y="408"/>
                  </a:lnTo>
                  <a:lnTo>
                    <a:pt x="10" y="475"/>
                  </a:lnTo>
                  <a:cubicBezTo>
                    <a:pt x="10" y="475"/>
                    <a:pt x="11" y="475"/>
                    <a:pt x="12" y="475"/>
                  </a:cubicBezTo>
                  <a:cubicBezTo>
                    <a:pt x="40" y="475"/>
                    <a:pt x="300" y="463"/>
                    <a:pt x="57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2" name="Google Shape;2652;p37"/>
            <p:cNvSpPr/>
            <p:nvPr/>
          </p:nvSpPr>
          <p:spPr>
            <a:xfrm>
              <a:off x="4664168" y="4117264"/>
              <a:ext cx="38138" cy="31408"/>
            </a:xfrm>
            <a:custGeom>
              <a:avLst/>
              <a:gdLst/>
              <a:ahLst/>
              <a:cxnLst/>
              <a:rect l="l" t="t" r="r" b="b"/>
              <a:pathLst>
                <a:path w="459" h="378" extrusionOk="0">
                  <a:moveTo>
                    <a:pt x="0" y="0"/>
                  </a:moveTo>
                  <a:cubicBezTo>
                    <a:pt x="228" y="370"/>
                    <a:pt x="443" y="377"/>
                    <a:pt x="458" y="377"/>
                  </a:cubicBezTo>
                  <a:cubicBezTo>
                    <a:pt x="459" y="377"/>
                    <a:pt x="459" y="377"/>
                    <a:pt x="459" y="377"/>
                  </a:cubicBezTo>
                  <a:lnTo>
                    <a:pt x="459" y="325"/>
                  </a:lnTo>
                  <a:cubicBezTo>
                    <a:pt x="459" y="325"/>
                    <a:pt x="455" y="328"/>
                    <a:pt x="444" y="328"/>
                  </a:cubicBezTo>
                  <a:cubicBezTo>
                    <a:pt x="417" y="328"/>
                    <a:pt x="352" y="313"/>
                    <a:pt x="208" y="215"/>
                  </a:cubicBezTo>
                  <a:cubicBezTo>
                    <a:pt x="89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3" name="Google Shape;2653;p37"/>
            <p:cNvSpPr/>
            <p:nvPr/>
          </p:nvSpPr>
          <p:spPr>
            <a:xfrm>
              <a:off x="7094301" y="3230029"/>
              <a:ext cx="116326" cy="116991"/>
            </a:xfrm>
            <a:custGeom>
              <a:avLst/>
              <a:gdLst/>
              <a:ahLst/>
              <a:cxnLst/>
              <a:rect l="l" t="t" r="r" b="b"/>
              <a:pathLst>
                <a:path w="1400" h="1408" extrusionOk="0">
                  <a:moveTo>
                    <a:pt x="697" y="1"/>
                  </a:moveTo>
                  <a:cubicBezTo>
                    <a:pt x="311" y="1"/>
                    <a:pt x="0" y="319"/>
                    <a:pt x="0" y="703"/>
                  </a:cubicBezTo>
                  <a:cubicBezTo>
                    <a:pt x="0" y="1089"/>
                    <a:pt x="311" y="1407"/>
                    <a:pt x="697" y="1407"/>
                  </a:cubicBezTo>
                  <a:cubicBezTo>
                    <a:pt x="1088" y="1407"/>
                    <a:pt x="1400" y="1089"/>
                    <a:pt x="1400" y="703"/>
                  </a:cubicBezTo>
                  <a:cubicBezTo>
                    <a:pt x="1400" y="319"/>
                    <a:pt x="1088" y="1"/>
                    <a:pt x="697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4" name="Google Shape;2654;p37"/>
            <p:cNvSpPr/>
            <p:nvPr/>
          </p:nvSpPr>
          <p:spPr>
            <a:xfrm>
              <a:off x="6617697" y="3224462"/>
              <a:ext cx="74033" cy="73950"/>
            </a:xfrm>
            <a:custGeom>
              <a:avLst/>
              <a:gdLst/>
              <a:ahLst/>
              <a:cxnLst/>
              <a:rect l="l" t="t" r="r" b="b"/>
              <a:pathLst>
                <a:path w="891" h="890" extrusionOk="0">
                  <a:moveTo>
                    <a:pt x="445" y="0"/>
                  </a:moveTo>
                  <a:cubicBezTo>
                    <a:pt x="200" y="0"/>
                    <a:pt x="1" y="201"/>
                    <a:pt x="1" y="445"/>
                  </a:cubicBezTo>
                  <a:cubicBezTo>
                    <a:pt x="1" y="697"/>
                    <a:pt x="200" y="889"/>
                    <a:pt x="445" y="889"/>
                  </a:cubicBezTo>
                  <a:cubicBezTo>
                    <a:pt x="689" y="889"/>
                    <a:pt x="890" y="697"/>
                    <a:pt x="890" y="445"/>
                  </a:cubicBezTo>
                  <a:cubicBezTo>
                    <a:pt x="890" y="201"/>
                    <a:pt x="689" y="0"/>
                    <a:pt x="445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5" name="Google Shape;2655;p37"/>
            <p:cNvSpPr/>
            <p:nvPr/>
          </p:nvSpPr>
          <p:spPr>
            <a:xfrm>
              <a:off x="6668299" y="3084622"/>
              <a:ext cx="143413" cy="142998"/>
            </a:xfrm>
            <a:custGeom>
              <a:avLst/>
              <a:gdLst/>
              <a:ahLst/>
              <a:cxnLst/>
              <a:rect l="l" t="t" r="r" b="b"/>
              <a:pathLst>
                <a:path w="1726" h="1721" extrusionOk="0">
                  <a:moveTo>
                    <a:pt x="866" y="1"/>
                  </a:moveTo>
                  <a:cubicBezTo>
                    <a:pt x="391" y="1"/>
                    <a:pt x="0" y="387"/>
                    <a:pt x="0" y="862"/>
                  </a:cubicBezTo>
                  <a:cubicBezTo>
                    <a:pt x="0" y="1335"/>
                    <a:pt x="391" y="1720"/>
                    <a:pt x="866" y="1720"/>
                  </a:cubicBezTo>
                  <a:cubicBezTo>
                    <a:pt x="1341" y="1720"/>
                    <a:pt x="1725" y="1335"/>
                    <a:pt x="1725" y="862"/>
                  </a:cubicBezTo>
                  <a:cubicBezTo>
                    <a:pt x="1725" y="387"/>
                    <a:pt x="1341" y="1"/>
                    <a:pt x="866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6" name="Google Shape;2656;p37"/>
            <p:cNvSpPr/>
            <p:nvPr/>
          </p:nvSpPr>
          <p:spPr>
            <a:xfrm>
              <a:off x="7040044" y="3353750"/>
              <a:ext cx="49439" cy="48691"/>
            </a:xfrm>
            <a:custGeom>
              <a:avLst/>
              <a:gdLst/>
              <a:ahLst/>
              <a:cxnLst/>
              <a:rect l="l" t="t" r="r" b="b"/>
              <a:pathLst>
                <a:path w="595" h="586" extrusionOk="0">
                  <a:moveTo>
                    <a:pt x="297" y="0"/>
                  </a:moveTo>
                  <a:cubicBezTo>
                    <a:pt x="134" y="0"/>
                    <a:pt x="0" y="134"/>
                    <a:pt x="0" y="297"/>
                  </a:cubicBezTo>
                  <a:cubicBezTo>
                    <a:pt x="0" y="455"/>
                    <a:pt x="127" y="586"/>
                    <a:pt x="285" y="586"/>
                  </a:cubicBezTo>
                  <a:cubicBezTo>
                    <a:pt x="289" y="586"/>
                    <a:pt x="293" y="585"/>
                    <a:pt x="297" y="585"/>
                  </a:cubicBezTo>
                  <a:cubicBezTo>
                    <a:pt x="461" y="585"/>
                    <a:pt x="594" y="452"/>
                    <a:pt x="594" y="290"/>
                  </a:cubicBezTo>
                  <a:cubicBezTo>
                    <a:pt x="594" y="126"/>
                    <a:pt x="461" y="0"/>
                    <a:pt x="297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7" name="Google Shape;2657;p37"/>
            <p:cNvSpPr/>
            <p:nvPr/>
          </p:nvSpPr>
          <p:spPr>
            <a:xfrm>
              <a:off x="7614528" y="3054460"/>
              <a:ext cx="546234" cy="237720"/>
            </a:xfrm>
            <a:custGeom>
              <a:avLst/>
              <a:gdLst/>
              <a:ahLst/>
              <a:cxnLst/>
              <a:rect l="l" t="t" r="r" b="b"/>
              <a:pathLst>
                <a:path w="6574" h="2861" extrusionOk="0">
                  <a:moveTo>
                    <a:pt x="3078" y="1"/>
                  </a:moveTo>
                  <a:cubicBezTo>
                    <a:pt x="3067" y="1"/>
                    <a:pt x="3056" y="1"/>
                    <a:pt x="3045" y="1"/>
                  </a:cubicBezTo>
                  <a:cubicBezTo>
                    <a:pt x="2512" y="8"/>
                    <a:pt x="2083" y="401"/>
                    <a:pt x="2001" y="904"/>
                  </a:cubicBezTo>
                  <a:cubicBezTo>
                    <a:pt x="1964" y="904"/>
                    <a:pt x="1927" y="897"/>
                    <a:pt x="1889" y="897"/>
                  </a:cubicBezTo>
                  <a:cubicBezTo>
                    <a:pt x="1431" y="913"/>
                    <a:pt x="1068" y="1283"/>
                    <a:pt x="1061" y="1735"/>
                  </a:cubicBezTo>
                  <a:cubicBezTo>
                    <a:pt x="534" y="1891"/>
                    <a:pt x="127" y="2327"/>
                    <a:pt x="1" y="2861"/>
                  </a:cubicBezTo>
                  <a:lnTo>
                    <a:pt x="6574" y="2743"/>
                  </a:lnTo>
                  <a:cubicBezTo>
                    <a:pt x="6390" y="2086"/>
                    <a:pt x="6007" y="1601"/>
                    <a:pt x="5306" y="1601"/>
                  </a:cubicBezTo>
                  <a:cubicBezTo>
                    <a:pt x="5296" y="1601"/>
                    <a:pt x="5286" y="1601"/>
                    <a:pt x="5275" y="1602"/>
                  </a:cubicBezTo>
                  <a:lnTo>
                    <a:pt x="5217" y="1602"/>
                  </a:lnTo>
                  <a:cubicBezTo>
                    <a:pt x="5210" y="1101"/>
                    <a:pt x="4802" y="698"/>
                    <a:pt x="4305" y="698"/>
                  </a:cubicBezTo>
                  <a:cubicBezTo>
                    <a:pt x="4295" y="698"/>
                    <a:pt x="4286" y="698"/>
                    <a:pt x="4276" y="698"/>
                  </a:cubicBezTo>
                  <a:cubicBezTo>
                    <a:pt x="4208" y="698"/>
                    <a:pt x="4150" y="705"/>
                    <a:pt x="4084" y="719"/>
                  </a:cubicBezTo>
                  <a:cubicBezTo>
                    <a:pt x="3938" y="301"/>
                    <a:pt x="3545" y="1"/>
                    <a:pt x="307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8" name="Google Shape;2658;p37"/>
            <p:cNvSpPr/>
            <p:nvPr/>
          </p:nvSpPr>
          <p:spPr>
            <a:xfrm>
              <a:off x="7772814" y="3127164"/>
              <a:ext cx="60323" cy="120065"/>
            </a:xfrm>
            <a:custGeom>
              <a:avLst/>
              <a:gdLst/>
              <a:ahLst/>
              <a:cxnLst/>
              <a:rect l="l" t="t" r="r" b="b"/>
              <a:pathLst>
                <a:path w="726" h="1445" extrusionOk="0">
                  <a:moveTo>
                    <a:pt x="0" y="1"/>
                  </a:moveTo>
                  <a:cubicBezTo>
                    <a:pt x="0" y="1"/>
                    <a:pt x="578" y="186"/>
                    <a:pt x="548" y="719"/>
                  </a:cubicBezTo>
                  <a:cubicBezTo>
                    <a:pt x="518" y="1312"/>
                    <a:pt x="0" y="1445"/>
                    <a:pt x="0" y="1445"/>
                  </a:cubicBezTo>
                  <a:cubicBezTo>
                    <a:pt x="401" y="1445"/>
                    <a:pt x="726" y="1120"/>
                    <a:pt x="726" y="719"/>
                  </a:cubicBezTo>
                  <a:cubicBezTo>
                    <a:pt x="726" y="326"/>
                    <a:pt x="401" y="1"/>
                    <a:pt x="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9" name="Google Shape;2659;p37"/>
            <p:cNvSpPr/>
            <p:nvPr/>
          </p:nvSpPr>
          <p:spPr>
            <a:xfrm>
              <a:off x="7979709" y="3186905"/>
              <a:ext cx="177979" cy="89903"/>
            </a:xfrm>
            <a:custGeom>
              <a:avLst/>
              <a:gdLst/>
              <a:ahLst/>
              <a:cxnLst/>
              <a:rect l="l" t="t" r="r" b="b"/>
              <a:pathLst>
                <a:path w="2142" h="1082" extrusionOk="0">
                  <a:moveTo>
                    <a:pt x="1068" y="0"/>
                  </a:moveTo>
                  <a:cubicBezTo>
                    <a:pt x="489" y="0"/>
                    <a:pt x="7" y="471"/>
                    <a:pt x="0" y="1053"/>
                  </a:cubicBezTo>
                  <a:cubicBezTo>
                    <a:pt x="0" y="1053"/>
                    <a:pt x="272" y="206"/>
                    <a:pt x="1007" y="206"/>
                  </a:cubicBezTo>
                  <a:cubicBezTo>
                    <a:pt x="1029" y="206"/>
                    <a:pt x="1052" y="207"/>
                    <a:pt x="1074" y="208"/>
                  </a:cubicBezTo>
                  <a:cubicBezTo>
                    <a:pt x="1947" y="274"/>
                    <a:pt x="2134" y="1082"/>
                    <a:pt x="2134" y="1082"/>
                  </a:cubicBezTo>
                  <a:cubicBezTo>
                    <a:pt x="2141" y="497"/>
                    <a:pt x="1674" y="15"/>
                    <a:pt x="1081" y="0"/>
                  </a:cubicBezTo>
                  <a:cubicBezTo>
                    <a:pt x="1077" y="0"/>
                    <a:pt x="1073" y="0"/>
                    <a:pt x="106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2660" name="Google Shape;2660;p37"/>
            <p:cNvGrpSpPr/>
            <p:nvPr/>
          </p:nvGrpSpPr>
          <p:grpSpPr>
            <a:xfrm>
              <a:off x="4210705" y="2640464"/>
              <a:ext cx="553629" cy="271123"/>
              <a:chOff x="4210705" y="2640464"/>
              <a:chExt cx="553629" cy="271123"/>
            </a:xfrm>
          </p:grpSpPr>
          <p:sp>
            <p:nvSpPr>
              <p:cNvPr id="2661" name="Google Shape;2661;p37"/>
              <p:cNvSpPr/>
              <p:nvPr/>
            </p:nvSpPr>
            <p:spPr>
              <a:xfrm>
                <a:off x="4210705" y="2640464"/>
                <a:ext cx="553629" cy="271123"/>
              </a:xfrm>
              <a:custGeom>
                <a:avLst/>
                <a:gdLst/>
                <a:ahLst/>
                <a:cxnLst/>
                <a:rect l="l" t="t" r="r" b="b"/>
                <a:pathLst>
                  <a:path w="6663" h="3263" extrusionOk="0">
                    <a:moveTo>
                      <a:pt x="3742" y="1"/>
                    </a:moveTo>
                    <a:cubicBezTo>
                      <a:pt x="2549" y="1"/>
                      <a:pt x="1578" y="934"/>
                      <a:pt x="1519" y="2113"/>
                    </a:cubicBezTo>
                    <a:cubicBezTo>
                      <a:pt x="1400" y="2069"/>
                      <a:pt x="1275" y="2046"/>
                      <a:pt x="1142" y="2046"/>
                    </a:cubicBezTo>
                    <a:cubicBezTo>
                      <a:pt x="511" y="2046"/>
                      <a:pt x="0" y="2551"/>
                      <a:pt x="0" y="3180"/>
                    </a:cubicBezTo>
                    <a:cubicBezTo>
                      <a:pt x="0" y="3209"/>
                      <a:pt x="0" y="3232"/>
                      <a:pt x="7" y="3262"/>
                    </a:cubicBezTo>
                    <a:lnTo>
                      <a:pt x="6610" y="3262"/>
                    </a:lnTo>
                    <a:cubicBezTo>
                      <a:pt x="6646" y="3164"/>
                      <a:pt x="6662" y="3061"/>
                      <a:pt x="6662" y="2951"/>
                    </a:cubicBezTo>
                    <a:cubicBezTo>
                      <a:pt x="6662" y="2520"/>
                      <a:pt x="6365" y="2165"/>
                      <a:pt x="5958" y="2076"/>
                    </a:cubicBezTo>
                    <a:cubicBezTo>
                      <a:pt x="5883" y="920"/>
                      <a:pt x="4921" y="1"/>
                      <a:pt x="3742" y="1"/>
                    </a:cubicBezTo>
                    <a:close/>
                  </a:path>
                </a:pathLst>
              </a:custGeom>
              <a:solidFill>
                <a:srgbClr val="A1E1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62" name="Google Shape;2662;p37"/>
              <p:cNvSpPr/>
              <p:nvPr/>
            </p:nvSpPr>
            <p:spPr>
              <a:xfrm>
                <a:off x="4527636" y="2731640"/>
                <a:ext cx="88740" cy="88740"/>
              </a:xfrm>
              <a:custGeom>
                <a:avLst/>
                <a:gdLst/>
                <a:ahLst/>
                <a:cxnLst/>
                <a:rect l="l" t="t" r="r" b="b"/>
                <a:pathLst>
                  <a:path w="1068" h="1068" extrusionOk="0">
                    <a:moveTo>
                      <a:pt x="534" y="0"/>
                    </a:moveTo>
                    <a:cubicBezTo>
                      <a:pt x="237" y="0"/>
                      <a:pt x="0" y="237"/>
                      <a:pt x="0" y="534"/>
                    </a:cubicBezTo>
                    <a:cubicBezTo>
                      <a:pt x="0" y="831"/>
                      <a:pt x="237" y="1067"/>
                      <a:pt x="534" y="1067"/>
                    </a:cubicBezTo>
                    <a:cubicBezTo>
                      <a:pt x="831" y="1067"/>
                      <a:pt x="1067" y="831"/>
                      <a:pt x="1067" y="534"/>
                    </a:cubicBezTo>
                    <a:cubicBezTo>
                      <a:pt x="1067" y="237"/>
                      <a:pt x="831" y="0"/>
                      <a:pt x="534" y="0"/>
                    </a:cubicBezTo>
                    <a:close/>
                  </a:path>
                </a:pathLst>
              </a:custGeom>
              <a:solidFill>
                <a:srgbClr val="CBEFF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63" name="Google Shape;2663;p37"/>
              <p:cNvSpPr/>
              <p:nvPr/>
            </p:nvSpPr>
            <p:spPr>
              <a:xfrm>
                <a:off x="4471141" y="2722964"/>
                <a:ext cx="32737" cy="32737"/>
              </a:xfrm>
              <a:custGeom>
                <a:avLst/>
                <a:gdLst/>
                <a:ahLst/>
                <a:cxnLst/>
                <a:rect l="l" t="t" r="r" b="b"/>
                <a:pathLst>
                  <a:path w="394" h="394" extrusionOk="0">
                    <a:moveTo>
                      <a:pt x="202" y="0"/>
                    </a:moveTo>
                    <a:cubicBezTo>
                      <a:pt x="90" y="0"/>
                      <a:pt x="1" y="89"/>
                      <a:pt x="1" y="192"/>
                    </a:cubicBezTo>
                    <a:cubicBezTo>
                      <a:pt x="1" y="304"/>
                      <a:pt x="90" y="393"/>
                      <a:pt x="202" y="393"/>
                    </a:cubicBezTo>
                    <a:cubicBezTo>
                      <a:pt x="312" y="393"/>
                      <a:pt x="394" y="304"/>
                      <a:pt x="394" y="192"/>
                    </a:cubicBezTo>
                    <a:cubicBezTo>
                      <a:pt x="394" y="89"/>
                      <a:pt x="312" y="0"/>
                      <a:pt x="202" y="0"/>
                    </a:cubicBezTo>
                    <a:close/>
                  </a:path>
                </a:pathLst>
              </a:custGeom>
              <a:solidFill>
                <a:srgbClr val="CBEFF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664" name="Google Shape;2664;p37"/>
            <p:cNvSpPr/>
            <p:nvPr/>
          </p:nvSpPr>
          <p:spPr>
            <a:xfrm>
              <a:off x="5074217" y="3494671"/>
              <a:ext cx="106023" cy="211963"/>
            </a:xfrm>
            <a:custGeom>
              <a:avLst/>
              <a:gdLst/>
              <a:ahLst/>
              <a:cxnLst/>
              <a:rect l="l" t="t" r="r" b="b"/>
              <a:pathLst>
                <a:path w="1276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571" y="2542"/>
                    <a:pt x="7" y="1980"/>
                    <a:pt x="7" y="1276"/>
                  </a:cubicBezTo>
                  <a:cubicBezTo>
                    <a:pt x="7" y="572"/>
                    <a:pt x="571" y="8"/>
                    <a:pt x="1275" y="1"/>
                  </a:cubicBezTo>
                  <a:close/>
                </a:path>
              </a:pathLst>
            </a:custGeom>
            <a:solidFill>
              <a:srgbClr val="99A0A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2665" name="Google Shape;2665;p37"/>
            <p:cNvGrpSpPr/>
            <p:nvPr/>
          </p:nvGrpSpPr>
          <p:grpSpPr>
            <a:xfrm>
              <a:off x="4281501" y="3120144"/>
              <a:ext cx="367777" cy="369040"/>
              <a:chOff x="4396276" y="3156781"/>
              <a:chExt cx="367777" cy="369040"/>
            </a:xfrm>
          </p:grpSpPr>
          <p:sp>
            <p:nvSpPr>
              <p:cNvPr id="2666" name="Google Shape;2666;p37"/>
              <p:cNvSpPr/>
              <p:nvPr/>
            </p:nvSpPr>
            <p:spPr>
              <a:xfrm>
                <a:off x="4396276" y="3156781"/>
                <a:ext cx="367777" cy="369040"/>
              </a:xfrm>
              <a:custGeom>
                <a:avLst/>
                <a:gdLst/>
                <a:ahLst/>
                <a:cxnLst/>
                <a:rect l="l" t="t" r="r" b="b"/>
                <a:pathLst>
                  <a:path w="2542" h="2551" extrusionOk="0">
                    <a:moveTo>
                      <a:pt x="1275" y="1"/>
                    </a:moveTo>
                    <a:cubicBezTo>
                      <a:pt x="571" y="1"/>
                      <a:pt x="0" y="572"/>
                      <a:pt x="0" y="1276"/>
                    </a:cubicBezTo>
                    <a:cubicBezTo>
                      <a:pt x="0" y="1980"/>
                      <a:pt x="571" y="2551"/>
                      <a:pt x="1275" y="2551"/>
                    </a:cubicBezTo>
                    <a:cubicBezTo>
                      <a:pt x="1972" y="2551"/>
                      <a:pt x="2541" y="1980"/>
                      <a:pt x="2541" y="1276"/>
                    </a:cubicBezTo>
                    <a:cubicBezTo>
                      <a:pt x="2541" y="572"/>
                      <a:pt x="1972" y="1"/>
                      <a:pt x="1275" y="1"/>
                    </a:cubicBezTo>
                    <a:close/>
                  </a:path>
                </a:pathLst>
              </a:custGeom>
              <a:solidFill>
                <a:srgbClr val="FFD65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67" name="Google Shape;2667;p37"/>
              <p:cNvSpPr/>
              <p:nvPr/>
            </p:nvSpPr>
            <p:spPr>
              <a:xfrm>
                <a:off x="4396276" y="3156781"/>
                <a:ext cx="183599" cy="369040"/>
              </a:xfrm>
              <a:custGeom>
                <a:avLst/>
                <a:gdLst/>
                <a:ahLst/>
                <a:cxnLst/>
                <a:rect l="l" t="t" r="r" b="b"/>
                <a:pathLst>
                  <a:path w="1269" h="2551" extrusionOk="0">
                    <a:moveTo>
                      <a:pt x="1268" y="1"/>
                    </a:moveTo>
                    <a:cubicBezTo>
                      <a:pt x="564" y="8"/>
                      <a:pt x="0" y="572"/>
                      <a:pt x="0" y="1276"/>
                    </a:cubicBezTo>
                    <a:cubicBezTo>
                      <a:pt x="0" y="1980"/>
                      <a:pt x="564" y="2542"/>
                      <a:pt x="1268" y="2551"/>
                    </a:cubicBezTo>
                    <a:cubicBezTo>
                      <a:pt x="1268" y="2542"/>
                      <a:pt x="578" y="1913"/>
                      <a:pt x="578" y="1276"/>
                    </a:cubicBezTo>
                    <a:cubicBezTo>
                      <a:pt x="578" y="639"/>
                      <a:pt x="1268" y="8"/>
                      <a:pt x="1268" y="1"/>
                    </a:cubicBezTo>
                    <a:close/>
                  </a:path>
                </a:pathLst>
              </a:custGeom>
              <a:solidFill>
                <a:srgbClr val="FFE9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668" name="Google Shape;2668;p37"/>
            <p:cNvSpPr/>
            <p:nvPr/>
          </p:nvSpPr>
          <p:spPr>
            <a:xfrm>
              <a:off x="6747650" y="2916032"/>
              <a:ext cx="256831" cy="134855"/>
            </a:xfrm>
            <a:custGeom>
              <a:avLst/>
              <a:gdLst/>
              <a:ahLst/>
              <a:cxnLst/>
              <a:rect l="l" t="t" r="r" b="b"/>
              <a:pathLst>
                <a:path w="3091" h="1623" extrusionOk="0">
                  <a:moveTo>
                    <a:pt x="807" y="1"/>
                  </a:moveTo>
                  <a:cubicBezTo>
                    <a:pt x="363" y="1"/>
                    <a:pt x="0" y="363"/>
                    <a:pt x="0" y="815"/>
                  </a:cubicBezTo>
                  <a:cubicBezTo>
                    <a:pt x="0" y="1260"/>
                    <a:pt x="363" y="1623"/>
                    <a:pt x="807" y="1623"/>
                  </a:cubicBezTo>
                  <a:lnTo>
                    <a:pt x="2275" y="1623"/>
                  </a:lnTo>
                  <a:cubicBezTo>
                    <a:pt x="2726" y="1623"/>
                    <a:pt x="3091" y="1260"/>
                    <a:pt x="3091" y="815"/>
                  </a:cubicBezTo>
                  <a:cubicBezTo>
                    <a:pt x="3091" y="363"/>
                    <a:pt x="2726" y="1"/>
                    <a:pt x="227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9" name="Google Shape;2669;p37"/>
            <p:cNvSpPr/>
            <p:nvPr/>
          </p:nvSpPr>
          <p:spPr>
            <a:xfrm>
              <a:off x="6660904" y="2291777"/>
              <a:ext cx="256748" cy="134772"/>
            </a:xfrm>
            <a:custGeom>
              <a:avLst/>
              <a:gdLst/>
              <a:ahLst/>
              <a:cxnLst/>
              <a:rect l="l" t="t" r="r" b="b"/>
              <a:pathLst>
                <a:path w="3090" h="1622" extrusionOk="0">
                  <a:moveTo>
                    <a:pt x="808" y="0"/>
                  </a:moveTo>
                  <a:cubicBezTo>
                    <a:pt x="363" y="0"/>
                    <a:pt x="0" y="363"/>
                    <a:pt x="0" y="815"/>
                  </a:cubicBezTo>
                  <a:cubicBezTo>
                    <a:pt x="0" y="1259"/>
                    <a:pt x="363" y="1622"/>
                    <a:pt x="808" y="1622"/>
                  </a:cubicBezTo>
                  <a:lnTo>
                    <a:pt x="2282" y="1622"/>
                  </a:lnTo>
                  <a:cubicBezTo>
                    <a:pt x="2726" y="1622"/>
                    <a:pt x="3089" y="1259"/>
                    <a:pt x="3089" y="815"/>
                  </a:cubicBezTo>
                  <a:cubicBezTo>
                    <a:pt x="3089" y="363"/>
                    <a:pt x="2726" y="0"/>
                    <a:pt x="2282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0" name="Google Shape;2670;p37"/>
            <p:cNvSpPr/>
            <p:nvPr/>
          </p:nvSpPr>
          <p:spPr>
            <a:xfrm>
              <a:off x="6210224" y="3088942"/>
              <a:ext cx="126214" cy="135021"/>
            </a:xfrm>
            <a:custGeom>
              <a:avLst/>
              <a:gdLst/>
              <a:ahLst/>
              <a:cxnLst/>
              <a:rect l="l" t="t" r="r" b="b"/>
              <a:pathLst>
                <a:path w="1519" h="1625" extrusionOk="0">
                  <a:moveTo>
                    <a:pt x="0" y="0"/>
                  </a:moveTo>
                  <a:lnTo>
                    <a:pt x="0" y="1624"/>
                  </a:lnTo>
                  <a:lnTo>
                    <a:pt x="703" y="1624"/>
                  </a:lnTo>
                  <a:cubicBezTo>
                    <a:pt x="1156" y="1624"/>
                    <a:pt x="1519" y="1254"/>
                    <a:pt x="1519" y="810"/>
                  </a:cubicBezTo>
                  <a:cubicBezTo>
                    <a:pt x="1519" y="365"/>
                    <a:pt x="1156" y="0"/>
                    <a:pt x="703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1" name="Google Shape;2671;p37"/>
            <p:cNvSpPr/>
            <p:nvPr/>
          </p:nvSpPr>
          <p:spPr>
            <a:xfrm>
              <a:off x="6947066" y="2688199"/>
              <a:ext cx="410714" cy="215535"/>
            </a:xfrm>
            <a:custGeom>
              <a:avLst/>
              <a:gdLst/>
              <a:ahLst/>
              <a:cxnLst/>
              <a:rect l="l" t="t" r="r" b="b"/>
              <a:pathLst>
                <a:path w="4943" h="2594" extrusionOk="0">
                  <a:moveTo>
                    <a:pt x="1297" y="0"/>
                  </a:moveTo>
                  <a:cubicBezTo>
                    <a:pt x="586" y="0"/>
                    <a:pt x="1" y="578"/>
                    <a:pt x="1" y="1297"/>
                  </a:cubicBezTo>
                  <a:cubicBezTo>
                    <a:pt x="1" y="2008"/>
                    <a:pt x="586" y="2593"/>
                    <a:pt x="1297" y="2593"/>
                  </a:cubicBezTo>
                  <a:lnTo>
                    <a:pt x="3647" y="2593"/>
                  </a:lnTo>
                  <a:cubicBezTo>
                    <a:pt x="4358" y="2593"/>
                    <a:pt x="4943" y="2008"/>
                    <a:pt x="4943" y="1297"/>
                  </a:cubicBezTo>
                  <a:cubicBezTo>
                    <a:pt x="4943" y="578"/>
                    <a:pt x="4358" y="0"/>
                    <a:pt x="3647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2" name="Google Shape;2672;p37"/>
            <p:cNvSpPr/>
            <p:nvPr/>
          </p:nvSpPr>
          <p:spPr>
            <a:xfrm>
              <a:off x="7108427" y="3034851"/>
              <a:ext cx="482670" cy="137348"/>
            </a:xfrm>
            <a:custGeom>
              <a:avLst/>
              <a:gdLst/>
              <a:ahLst/>
              <a:cxnLst/>
              <a:rect l="l" t="t" r="r" b="b"/>
              <a:pathLst>
                <a:path w="5809" h="1653" extrusionOk="0">
                  <a:moveTo>
                    <a:pt x="822" y="0"/>
                  </a:moveTo>
                  <a:cubicBezTo>
                    <a:pt x="371" y="0"/>
                    <a:pt x="1" y="370"/>
                    <a:pt x="1" y="822"/>
                  </a:cubicBezTo>
                  <a:cubicBezTo>
                    <a:pt x="1" y="1283"/>
                    <a:pt x="371" y="1653"/>
                    <a:pt x="822" y="1653"/>
                  </a:cubicBezTo>
                  <a:lnTo>
                    <a:pt x="4987" y="1653"/>
                  </a:lnTo>
                  <a:cubicBezTo>
                    <a:pt x="5439" y="1653"/>
                    <a:pt x="5809" y="1283"/>
                    <a:pt x="5809" y="822"/>
                  </a:cubicBezTo>
                  <a:cubicBezTo>
                    <a:pt x="5809" y="370"/>
                    <a:pt x="5439" y="0"/>
                    <a:pt x="4987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3" name="Google Shape;2673;p37"/>
            <p:cNvSpPr/>
            <p:nvPr/>
          </p:nvSpPr>
          <p:spPr>
            <a:xfrm>
              <a:off x="3899474" y="4380650"/>
              <a:ext cx="2303416" cy="132548"/>
            </a:xfrm>
            <a:custGeom>
              <a:avLst/>
              <a:gdLst/>
              <a:ahLst/>
              <a:cxnLst/>
              <a:rect l="l" t="t" r="r" b="b"/>
              <a:pathLst>
                <a:path w="25766" h="1595" extrusionOk="0">
                  <a:moveTo>
                    <a:pt x="1615" y="1"/>
                  </a:moveTo>
                  <a:cubicBezTo>
                    <a:pt x="0" y="1"/>
                    <a:pt x="141" y="1594"/>
                    <a:pt x="1615" y="1594"/>
                  </a:cubicBezTo>
                  <a:lnTo>
                    <a:pt x="25765" y="1594"/>
                  </a:lnTo>
                  <a:lnTo>
                    <a:pt x="25765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4" name="Google Shape;2674;p37"/>
            <p:cNvSpPr/>
            <p:nvPr/>
          </p:nvSpPr>
          <p:spPr>
            <a:xfrm>
              <a:off x="3761424" y="4513100"/>
              <a:ext cx="2441468" cy="132449"/>
            </a:xfrm>
            <a:custGeom>
              <a:avLst/>
              <a:gdLst/>
              <a:ahLst/>
              <a:cxnLst/>
              <a:rect l="l" t="t" r="r" b="b"/>
              <a:pathLst>
                <a:path w="27877" h="1594" extrusionOk="0">
                  <a:moveTo>
                    <a:pt x="1615" y="0"/>
                  </a:moveTo>
                  <a:cubicBezTo>
                    <a:pt x="45" y="0"/>
                    <a:pt x="0" y="1594"/>
                    <a:pt x="1615" y="1594"/>
                  </a:cubicBezTo>
                  <a:lnTo>
                    <a:pt x="27876" y="1594"/>
                  </a:lnTo>
                  <a:lnTo>
                    <a:pt x="2787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5" name="Google Shape;2675;p37"/>
            <p:cNvSpPr/>
            <p:nvPr/>
          </p:nvSpPr>
          <p:spPr>
            <a:xfrm>
              <a:off x="6202081" y="4380659"/>
              <a:ext cx="2135247" cy="132529"/>
            </a:xfrm>
            <a:custGeom>
              <a:avLst/>
              <a:gdLst/>
              <a:ahLst/>
              <a:cxnLst/>
              <a:rect l="l" t="t" r="r" b="b"/>
              <a:pathLst>
                <a:path w="25698" h="1595" extrusionOk="0">
                  <a:moveTo>
                    <a:pt x="0" y="1"/>
                  </a:moveTo>
                  <a:lnTo>
                    <a:pt x="0" y="1594"/>
                  </a:lnTo>
                  <a:lnTo>
                    <a:pt x="24350" y="1594"/>
                  </a:lnTo>
                  <a:cubicBezTo>
                    <a:pt x="25698" y="1594"/>
                    <a:pt x="25557" y="1"/>
                    <a:pt x="2435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6" name="Google Shape;2676;p37"/>
            <p:cNvSpPr/>
            <p:nvPr/>
          </p:nvSpPr>
          <p:spPr>
            <a:xfrm>
              <a:off x="6202081" y="4513105"/>
              <a:ext cx="2303421" cy="132445"/>
            </a:xfrm>
            <a:custGeom>
              <a:avLst/>
              <a:gdLst/>
              <a:ahLst/>
              <a:cxnLst/>
              <a:rect l="l" t="t" r="r" b="b"/>
              <a:pathLst>
                <a:path w="27722" h="1594" extrusionOk="0">
                  <a:moveTo>
                    <a:pt x="0" y="0"/>
                  </a:moveTo>
                  <a:lnTo>
                    <a:pt x="0" y="1578"/>
                  </a:lnTo>
                  <a:lnTo>
                    <a:pt x="20763" y="1578"/>
                  </a:lnTo>
                  <a:cubicBezTo>
                    <a:pt x="20807" y="1578"/>
                    <a:pt x="20861" y="1587"/>
                    <a:pt x="20905" y="1594"/>
                  </a:cubicBezTo>
                  <a:lnTo>
                    <a:pt x="26692" y="1594"/>
                  </a:lnTo>
                  <a:cubicBezTo>
                    <a:pt x="27670" y="1594"/>
                    <a:pt x="27722" y="164"/>
                    <a:pt x="26774" y="15"/>
                  </a:cubicBezTo>
                  <a:cubicBezTo>
                    <a:pt x="26720" y="7"/>
                    <a:pt x="26662" y="0"/>
                    <a:pt x="26610" y="0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7" name="Google Shape;2677;p37"/>
            <p:cNvSpPr/>
            <p:nvPr/>
          </p:nvSpPr>
          <p:spPr>
            <a:xfrm>
              <a:off x="6202081" y="4644138"/>
              <a:ext cx="1737080" cy="1413"/>
            </a:xfrm>
            <a:custGeom>
              <a:avLst/>
              <a:gdLst/>
              <a:ahLst/>
              <a:cxnLst/>
              <a:rect l="l" t="t" r="r" b="b"/>
              <a:pathLst>
                <a:path w="20906" h="17" extrusionOk="0">
                  <a:moveTo>
                    <a:pt x="0" y="1"/>
                  </a:moveTo>
                  <a:lnTo>
                    <a:pt x="0" y="17"/>
                  </a:lnTo>
                  <a:lnTo>
                    <a:pt x="20905" y="17"/>
                  </a:lnTo>
                  <a:cubicBezTo>
                    <a:pt x="20861" y="10"/>
                    <a:pt x="20807" y="1"/>
                    <a:pt x="20763" y="1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8" name="Google Shape;2678;p37"/>
            <p:cNvSpPr/>
            <p:nvPr/>
          </p:nvSpPr>
          <p:spPr>
            <a:xfrm>
              <a:off x="6904690" y="3470159"/>
              <a:ext cx="152719" cy="920554"/>
            </a:xfrm>
            <a:custGeom>
              <a:avLst/>
              <a:gdLst/>
              <a:ahLst/>
              <a:cxnLst/>
              <a:rect l="l" t="t" r="r" b="b"/>
              <a:pathLst>
                <a:path w="1838" h="11079" extrusionOk="0">
                  <a:moveTo>
                    <a:pt x="497" y="1"/>
                  </a:moveTo>
                  <a:lnTo>
                    <a:pt x="0" y="11055"/>
                  </a:lnTo>
                  <a:lnTo>
                    <a:pt x="1838" y="11078"/>
                  </a:lnTo>
                  <a:lnTo>
                    <a:pt x="1838" y="11078"/>
                  </a:lnTo>
                  <a:lnTo>
                    <a:pt x="1601" y="15"/>
                  </a:lnTo>
                  <a:lnTo>
                    <a:pt x="497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9" name="Google Shape;2679;p37"/>
            <p:cNvSpPr/>
            <p:nvPr/>
          </p:nvSpPr>
          <p:spPr>
            <a:xfrm>
              <a:off x="6904690" y="3470159"/>
              <a:ext cx="87411" cy="919142"/>
            </a:xfrm>
            <a:custGeom>
              <a:avLst/>
              <a:gdLst/>
              <a:ahLst/>
              <a:cxnLst/>
              <a:rect l="l" t="t" r="r" b="b"/>
              <a:pathLst>
                <a:path w="1052" h="11062" extrusionOk="0">
                  <a:moveTo>
                    <a:pt x="497" y="1"/>
                  </a:moveTo>
                  <a:lnTo>
                    <a:pt x="363" y="2994"/>
                  </a:lnTo>
                  <a:lnTo>
                    <a:pt x="0" y="11055"/>
                  </a:lnTo>
                  <a:lnTo>
                    <a:pt x="918" y="11062"/>
                  </a:lnTo>
                  <a:lnTo>
                    <a:pt x="1051" y="8"/>
                  </a:lnTo>
                  <a:lnTo>
                    <a:pt x="497" y="1"/>
                  </a:lnTo>
                  <a:close/>
                </a:path>
              </a:pathLst>
            </a:custGeom>
            <a:solidFill>
              <a:srgbClr val="92939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0" name="Google Shape;2680;p37"/>
            <p:cNvSpPr/>
            <p:nvPr/>
          </p:nvSpPr>
          <p:spPr>
            <a:xfrm>
              <a:off x="6934270" y="3691843"/>
              <a:ext cx="108931" cy="54756"/>
            </a:xfrm>
            <a:custGeom>
              <a:avLst/>
              <a:gdLst/>
              <a:ahLst/>
              <a:cxnLst/>
              <a:rect l="l" t="t" r="r" b="b"/>
              <a:pathLst>
                <a:path w="1311" h="659" extrusionOk="0">
                  <a:moveTo>
                    <a:pt x="29" y="0"/>
                  </a:moveTo>
                  <a:lnTo>
                    <a:pt x="0" y="637"/>
                  </a:lnTo>
                  <a:lnTo>
                    <a:pt x="651" y="651"/>
                  </a:lnTo>
                  <a:lnTo>
                    <a:pt x="1311" y="658"/>
                  </a:lnTo>
                  <a:lnTo>
                    <a:pt x="1297" y="14"/>
                  </a:lnTo>
                  <a:lnTo>
                    <a:pt x="667" y="7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1" name="Google Shape;2681;p37"/>
            <p:cNvSpPr/>
            <p:nvPr/>
          </p:nvSpPr>
          <p:spPr>
            <a:xfrm>
              <a:off x="6927457" y="3816063"/>
              <a:ext cx="118902" cy="79600"/>
            </a:xfrm>
            <a:custGeom>
              <a:avLst/>
              <a:gdLst/>
              <a:ahLst/>
              <a:cxnLst/>
              <a:rect l="l" t="t" r="r" b="b"/>
              <a:pathLst>
                <a:path w="1431" h="958" extrusionOk="0">
                  <a:moveTo>
                    <a:pt x="45" y="1"/>
                  </a:moveTo>
                  <a:lnTo>
                    <a:pt x="0" y="941"/>
                  </a:lnTo>
                  <a:lnTo>
                    <a:pt x="719" y="950"/>
                  </a:lnTo>
                  <a:lnTo>
                    <a:pt x="1430" y="957"/>
                  </a:lnTo>
                  <a:lnTo>
                    <a:pt x="1416" y="24"/>
                  </a:lnTo>
                  <a:lnTo>
                    <a:pt x="726" y="8"/>
                  </a:lnTo>
                  <a:lnTo>
                    <a:pt x="45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682" name="Google Shape;2682;p37"/>
          <p:cNvGrpSpPr/>
          <p:nvPr/>
        </p:nvGrpSpPr>
        <p:grpSpPr>
          <a:xfrm>
            <a:off x="3863723" y="4909358"/>
            <a:ext cx="4529499" cy="124290"/>
            <a:chOff x="1492723" y="4512625"/>
            <a:chExt cx="4529499" cy="124290"/>
          </a:xfrm>
        </p:grpSpPr>
        <p:sp>
          <p:nvSpPr>
            <p:cNvPr id="2683" name="Google Shape;2683;p37"/>
            <p:cNvSpPr/>
            <p:nvPr/>
          </p:nvSpPr>
          <p:spPr>
            <a:xfrm>
              <a:off x="1492723" y="4514335"/>
              <a:ext cx="26200" cy="27365"/>
            </a:xfrm>
            <a:custGeom>
              <a:avLst/>
              <a:gdLst/>
              <a:ahLst/>
              <a:cxnLst/>
              <a:rect l="l" t="t" r="r" b="b"/>
              <a:pathLst>
                <a:path w="1256" h="1312" extrusionOk="0">
                  <a:moveTo>
                    <a:pt x="679" y="0"/>
                  </a:moveTo>
                  <a:cubicBezTo>
                    <a:pt x="588" y="0"/>
                    <a:pt x="490" y="18"/>
                    <a:pt x="388" y="57"/>
                  </a:cubicBezTo>
                  <a:cubicBezTo>
                    <a:pt x="206" y="57"/>
                    <a:pt x="114" y="445"/>
                    <a:pt x="0" y="628"/>
                  </a:cubicBezTo>
                  <a:cubicBezTo>
                    <a:pt x="0" y="1106"/>
                    <a:pt x="273" y="1312"/>
                    <a:pt x="644" y="1312"/>
                  </a:cubicBezTo>
                  <a:cubicBezTo>
                    <a:pt x="715" y="1312"/>
                    <a:pt x="790" y="1304"/>
                    <a:pt x="868" y="1290"/>
                  </a:cubicBezTo>
                  <a:cubicBezTo>
                    <a:pt x="1050" y="1198"/>
                    <a:pt x="1256" y="810"/>
                    <a:pt x="1256" y="628"/>
                  </a:cubicBezTo>
                  <a:cubicBezTo>
                    <a:pt x="1256" y="250"/>
                    <a:pt x="1015" y="0"/>
                    <a:pt x="67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4" name="Google Shape;2684;p37"/>
            <p:cNvSpPr/>
            <p:nvPr/>
          </p:nvSpPr>
          <p:spPr>
            <a:xfrm>
              <a:off x="1679357" y="4513689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02" y="1"/>
                  </a:moveTo>
                  <a:cubicBezTo>
                    <a:pt x="577" y="1"/>
                    <a:pt x="440" y="31"/>
                    <a:pt x="298" y="88"/>
                  </a:cubicBezTo>
                  <a:cubicBezTo>
                    <a:pt x="183" y="179"/>
                    <a:pt x="1" y="567"/>
                    <a:pt x="1" y="750"/>
                  </a:cubicBezTo>
                  <a:cubicBezTo>
                    <a:pt x="125" y="1077"/>
                    <a:pt x="346" y="1266"/>
                    <a:pt x="596" y="1266"/>
                  </a:cubicBezTo>
                  <a:cubicBezTo>
                    <a:pt x="713" y="1266"/>
                    <a:pt x="836" y="1225"/>
                    <a:pt x="959" y="1138"/>
                  </a:cubicBezTo>
                  <a:cubicBezTo>
                    <a:pt x="1142" y="1047"/>
                    <a:pt x="1233" y="659"/>
                    <a:pt x="1325" y="476"/>
                  </a:cubicBezTo>
                  <a:cubicBezTo>
                    <a:pt x="1199" y="147"/>
                    <a:pt x="977" y="1"/>
                    <a:pt x="70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5" name="Google Shape;2685;p37"/>
            <p:cNvSpPr/>
            <p:nvPr/>
          </p:nvSpPr>
          <p:spPr>
            <a:xfrm>
              <a:off x="1866012" y="4513689"/>
              <a:ext cx="27640" cy="26406"/>
            </a:xfrm>
            <a:custGeom>
              <a:avLst/>
              <a:gdLst/>
              <a:ahLst/>
              <a:cxnLst/>
              <a:rect l="l" t="t" r="r" b="b"/>
              <a:pathLst>
                <a:path w="1325" h="1266" extrusionOk="0">
                  <a:moveTo>
                    <a:pt x="723" y="1"/>
                  </a:moveTo>
                  <a:cubicBezTo>
                    <a:pt x="608" y="1"/>
                    <a:pt x="487" y="31"/>
                    <a:pt x="366" y="88"/>
                  </a:cubicBezTo>
                  <a:cubicBezTo>
                    <a:pt x="183" y="179"/>
                    <a:pt x="0" y="567"/>
                    <a:pt x="92" y="750"/>
                  </a:cubicBezTo>
                  <a:cubicBezTo>
                    <a:pt x="154" y="1077"/>
                    <a:pt x="397" y="1266"/>
                    <a:pt x="668" y="1266"/>
                  </a:cubicBezTo>
                  <a:cubicBezTo>
                    <a:pt x="795" y="1266"/>
                    <a:pt x="927" y="1225"/>
                    <a:pt x="1050" y="1138"/>
                  </a:cubicBezTo>
                  <a:cubicBezTo>
                    <a:pt x="1233" y="1047"/>
                    <a:pt x="1233" y="659"/>
                    <a:pt x="1324" y="476"/>
                  </a:cubicBezTo>
                  <a:cubicBezTo>
                    <a:pt x="1199" y="147"/>
                    <a:pt x="976" y="1"/>
                    <a:pt x="72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6" name="Google Shape;2686;p37"/>
            <p:cNvSpPr/>
            <p:nvPr/>
          </p:nvSpPr>
          <p:spPr>
            <a:xfrm>
              <a:off x="2056464" y="4513125"/>
              <a:ext cx="25720" cy="27407"/>
            </a:xfrm>
            <a:custGeom>
              <a:avLst/>
              <a:gdLst/>
              <a:ahLst/>
              <a:cxnLst/>
              <a:rect l="l" t="t" r="r" b="b"/>
              <a:pathLst>
                <a:path w="1233" h="1314" extrusionOk="0">
                  <a:moveTo>
                    <a:pt x="617" y="1"/>
                  </a:moveTo>
                  <a:cubicBezTo>
                    <a:pt x="255" y="1"/>
                    <a:pt x="0" y="194"/>
                    <a:pt x="0" y="594"/>
                  </a:cubicBezTo>
                  <a:cubicBezTo>
                    <a:pt x="0" y="777"/>
                    <a:pt x="183" y="1256"/>
                    <a:pt x="366" y="1256"/>
                  </a:cubicBezTo>
                  <a:cubicBezTo>
                    <a:pt x="448" y="1295"/>
                    <a:pt x="530" y="1313"/>
                    <a:pt x="610" y="1313"/>
                  </a:cubicBezTo>
                  <a:cubicBezTo>
                    <a:pt x="905" y="1313"/>
                    <a:pt x="1161" y="1063"/>
                    <a:pt x="1233" y="686"/>
                  </a:cubicBezTo>
                  <a:cubicBezTo>
                    <a:pt x="1142" y="503"/>
                    <a:pt x="1050" y="115"/>
                    <a:pt x="845" y="24"/>
                  </a:cubicBezTo>
                  <a:cubicBezTo>
                    <a:pt x="766" y="9"/>
                    <a:pt x="689" y="1"/>
                    <a:pt x="61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7" name="Google Shape;2687;p37"/>
            <p:cNvSpPr/>
            <p:nvPr/>
          </p:nvSpPr>
          <p:spPr>
            <a:xfrm>
              <a:off x="2240720" y="4515003"/>
              <a:ext cx="31937" cy="26239"/>
            </a:xfrm>
            <a:custGeom>
              <a:avLst/>
              <a:gdLst/>
              <a:ahLst/>
              <a:cxnLst/>
              <a:rect l="l" t="t" r="r" b="b"/>
              <a:pathLst>
                <a:path w="1531" h="1258" extrusionOk="0">
                  <a:moveTo>
                    <a:pt x="651" y="1"/>
                  </a:moveTo>
                  <a:cubicBezTo>
                    <a:pt x="447" y="1"/>
                    <a:pt x="185" y="154"/>
                    <a:pt x="92" y="322"/>
                  </a:cubicBezTo>
                  <a:cubicBezTo>
                    <a:pt x="1" y="778"/>
                    <a:pt x="206" y="1166"/>
                    <a:pt x="663" y="1258"/>
                  </a:cubicBezTo>
                  <a:cubicBezTo>
                    <a:pt x="959" y="1166"/>
                    <a:pt x="1348" y="1075"/>
                    <a:pt x="1348" y="892"/>
                  </a:cubicBezTo>
                  <a:cubicBezTo>
                    <a:pt x="1530" y="413"/>
                    <a:pt x="1233" y="25"/>
                    <a:pt x="777" y="25"/>
                  </a:cubicBezTo>
                  <a:cubicBezTo>
                    <a:pt x="740" y="8"/>
                    <a:pt x="697" y="1"/>
                    <a:pt x="65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8" name="Google Shape;2688;p37"/>
            <p:cNvSpPr/>
            <p:nvPr/>
          </p:nvSpPr>
          <p:spPr>
            <a:xfrm>
              <a:off x="2431172" y="4513125"/>
              <a:ext cx="25741" cy="27407"/>
            </a:xfrm>
            <a:custGeom>
              <a:avLst/>
              <a:gdLst/>
              <a:ahLst/>
              <a:cxnLst/>
              <a:rect l="l" t="t" r="r" b="b"/>
              <a:pathLst>
                <a:path w="1234" h="1314" extrusionOk="0">
                  <a:moveTo>
                    <a:pt x="671" y="1"/>
                  </a:moveTo>
                  <a:cubicBezTo>
                    <a:pt x="335" y="1"/>
                    <a:pt x="1" y="194"/>
                    <a:pt x="1" y="594"/>
                  </a:cubicBezTo>
                  <a:cubicBezTo>
                    <a:pt x="1" y="777"/>
                    <a:pt x="206" y="1256"/>
                    <a:pt x="389" y="1256"/>
                  </a:cubicBezTo>
                  <a:cubicBezTo>
                    <a:pt x="471" y="1295"/>
                    <a:pt x="553" y="1313"/>
                    <a:pt x="631" y="1313"/>
                  </a:cubicBezTo>
                  <a:cubicBezTo>
                    <a:pt x="920" y="1313"/>
                    <a:pt x="1162" y="1063"/>
                    <a:pt x="1234" y="686"/>
                  </a:cubicBezTo>
                  <a:cubicBezTo>
                    <a:pt x="1142" y="503"/>
                    <a:pt x="1051" y="115"/>
                    <a:pt x="868" y="24"/>
                  </a:cubicBezTo>
                  <a:cubicBezTo>
                    <a:pt x="804" y="9"/>
                    <a:pt x="737" y="1"/>
                    <a:pt x="67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9" name="Google Shape;2689;p37"/>
            <p:cNvSpPr/>
            <p:nvPr/>
          </p:nvSpPr>
          <p:spPr>
            <a:xfrm>
              <a:off x="2617828" y="4513125"/>
              <a:ext cx="27640" cy="27407"/>
            </a:xfrm>
            <a:custGeom>
              <a:avLst/>
              <a:gdLst/>
              <a:ahLst/>
              <a:cxnLst/>
              <a:rect l="l" t="t" r="r" b="b"/>
              <a:pathLst>
                <a:path w="1325" h="1314" extrusionOk="0">
                  <a:moveTo>
                    <a:pt x="730" y="1"/>
                  </a:moveTo>
                  <a:cubicBezTo>
                    <a:pt x="359" y="1"/>
                    <a:pt x="77" y="194"/>
                    <a:pt x="0" y="594"/>
                  </a:cubicBezTo>
                  <a:cubicBezTo>
                    <a:pt x="0" y="777"/>
                    <a:pt x="183" y="1256"/>
                    <a:pt x="388" y="1256"/>
                  </a:cubicBezTo>
                  <a:cubicBezTo>
                    <a:pt x="485" y="1295"/>
                    <a:pt x="575" y="1313"/>
                    <a:pt x="658" y="1313"/>
                  </a:cubicBezTo>
                  <a:cubicBezTo>
                    <a:pt x="966" y="1313"/>
                    <a:pt x="1181" y="1063"/>
                    <a:pt x="1324" y="686"/>
                  </a:cubicBezTo>
                  <a:cubicBezTo>
                    <a:pt x="1233" y="503"/>
                    <a:pt x="1142" y="115"/>
                    <a:pt x="959" y="24"/>
                  </a:cubicBezTo>
                  <a:cubicBezTo>
                    <a:pt x="880" y="9"/>
                    <a:pt x="803" y="1"/>
                    <a:pt x="73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0" name="Google Shape;2690;p37"/>
            <p:cNvSpPr/>
            <p:nvPr/>
          </p:nvSpPr>
          <p:spPr>
            <a:xfrm>
              <a:off x="2806381" y="4513146"/>
              <a:ext cx="25720" cy="27386"/>
            </a:xfrm>
            <a:custGeom>
              <a:avLst/>
              <a:gdLst/>
              <a:ahLst/>
              <a:cxnLst/>
              <a:rect l="l" t="t" r="r" b="b"/>
              <a:pathLst>
                <a:path w="1233" h="1313" extrusionOk="0">
                  <a:moveTo>
                    <a:pt x="552" y="0"/>
                  </a:moveTo>
                  <a:cubicBezTo>
                    <a:pt x="491" y="0"/>
                    <a:pt x="428" y="8"/>
                    <a:pt x="365" y="23"/>
                  </a:cubicBezTo>
                  <a:cubicBezTo>
                    <a:pt x="183" y="114"/>
                    <a:pt x="0" y="502"/>
                    <a:pt x="0" y="685"/>
                  </a:cubicBezTo>
                  <a:cubicBezTo>
                    <a:pt x="0" y="1062"/>
                    <a:pt x="227" y="1312"/>
                    <a:pt x="557" y="1312"/>
                  </a:cubicBezTo>
                  <a:cubicBezTo>
                    <a:pt x="646" y="1312"/>
                    <a:pt x="743" y="1294"/>
                    <a:pt x="845" y="1255"/>
                  </a:cubicBezTo>
                  <a:cubicBezTo>
                    <a:pt x="1050" y="1255"/>
                    <a:pt x="1142" y="867"/>
                    <a:pt x="1233" y="685"/>
                  </a:cubicBezTo>
                  <a:cubicBezTo>
                    <a:pt x="1156" y="206"/>
                    <a:pt x="871" y="0"/>
                    <a:pt x="55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1" name="Google Shape;2691;p37"/>
            <p:cNvSpPr/>
            <p:nvPr/>
          </p:nvSpPr>
          <p:spPr>
            <a:xfrm>
              <a:off x="2988739" y="4513605"/>
              <a:ext cx="33814" cy="26114"/>
            </a:xfrm>
            <a:custGeom>
              <a:avLst/>
              <a:gdLst/>
              <a:ahLst/>
              <a:cxnLst/>
              <a:rect l="l" t="t" r="r" b="b"/>
              <a:pathLst>
                <a:path w="1621" h="1252" extrusionOk="0">
                  <a:moveTo>
                    <a:pt x="754" y="1"/>
                  </a:moveTo>
                  <a:cubicBezTo>
                    <a:pt x="297" y="92"/>
                    <a:pt x="0" y="480"/>
                    <a:pt x="183" y="845"/>
                  </a:cubicBezTo>
                  <a:cubicBezTo>
                    <a:pt x="282" y="1023"/>
                    <a:pt x="568" y="1251"/>
                    <a:pt x="776" y="1251"/>
                  </a:cubicBezTo>
                  <a:cubicBezTo>
                    <a:pt x="809" y="1251"/>
                    <a:pt x="840" y="1246"/>
                    <a:pt x="868" y="1233"/>
                  </a:cubicBezTo>
                  <a:cubicBezTo>
                    <a:pt x="1324" y="1233"/>
                    <a:pt x="1621" y="845"/>
                    <a:pt x="1438" y="389"/>
                  </a:cubicBezTo>
                  <a:cubicBezTo>
                    <a:pt x="1324" y="183"/>
                    <a:pt x="1050" y="92"/>
                    <a:pt x="75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2" name="Google Shape;2692;p37"/>
            <p:cNvSpPr/>
            <p:nvPr/>
          </p:nvSpPr>
          <p:spPr>
            <a:xfrm>
              <a:off x="3177293" y="4515003"/>
              <a:ext cx="33814" cy="26239"/>
            </a:xfrm>
            <a:custGeom>
              <a:avLst/>
              <a:gdLst/>
              <a:ahLst/>
              <a:cxnLst/>
              <a:rect l="l" t="t" r="r" b="b"/>
              <a:pathLst>
                <a:path w="1621" h="1258" extrusionOk="0">
                  <a:moveTo>
                    <a:pt x="728" y="1"/>
                  </a:moveTo>
                  <a:cubicBezTo>
                    <a:pt x="531" y="1"/>
                    <a:pt x="257" y="154"/>
                    <a:pt x="183" y="322"/>
                  </a:cubicBezTo>
                  <a:cubicBezTo>
                    <a:pt x="0" y="778"/>
                    <a:pt x="274" y="1166"/>
                    <a:pt x="753" y="1258"/>
                  </a:cubicBezTo>
                  <a:cubicBezTo>
                    <a:pt x="959" y="1166"/>
                    <a:pt x="1324" y="1075"/>
                    <a:pt x="1415" y="892"/>
                  </a:cubicBezTo>
                  <a:cubicBezTo>
                    <a:pt x="1621" y="413"/>
                    <a:pt x="1324" y="25"/>
                    <a:pt x="845" y="25"/>
                  </a:cubicBezTo>
                  <a:cubicBezTo>
                    <a:pt x="812" y="8"/>
                    <a:pt x="772" y="1"/>
                    <a:pt x="72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3" name="Google Shape;2693;p37"/>
            <p:cNvSpPr/>
            <p:nvPr/>
          </p:nvSpPr>
          <p:spPr>
            <a:xfrm>
              <a:off x="3367745" y="4513689"/>
              <a:ext cx="25720" cy="26406"/>
            </a:xfrm>
            <a:custGeom>
              <a:avLst/>
              <a:gdLst/>
              <a:ahLst/>
              <a:cxnLst/>
              <a:rect l="l" t="t" r="r" b="b"/>
              <a:pathLst>
                <a:path w="1233" h="1266" extrusionOk="0">
                  <a:moveTo>
                    <a:pt x="691" y="1"/>
                  </a:moveTo>
                  <a:cubicBezTo>
                    <a:pt x="565" y="1"/>
                    <a:pt x="424" y="31"/>
                    <a:pt x="274" y="88"/>
                  </a:cubicBezTo>
                  <a:cubicBezTo>
                    <a:pt x="92" y="179"/>
                    <a:pt x="0" y="567"/>
                    <a:pt x="0" y="750"/>
                  </a:cubicBezTo>
                  <a:cubicBezTo>
                    <a:pt x="125" y="1077"/>
                    <a:pt x="345" y="1266"/>
                    <a:pt x="596" y="1266"/>
                  </a:cubicBezTo>
                  <a:cubicBezTo>
                    <a:pt x="712" y="1266"/>
                    <a:pt x="836" y="1225"/>
                    <a:pt x="959" y="1138"/>
                  </a:cubicBezTo>
                  <a:cubicBezTo>
                    <a:pt x="1142" y="1047"/>
                    <a:pt x="1233" y="659"/>
                    <a:pt x="1233" y="476"/>
                  </a:cubicBezTo>
                  <a:cubicBezTo>
                    <a:pt x="1170" y="147"/>
                    <a:pt x="967" y="1"/>
                    <a:pt x="69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4" name="Google Shape;2694;p37"/>
            <p:cNvSpPr/>
            <p:nvPr/>
          </p:nvSpPr>
          <p:spPr>
            <a:xfrm>
              <a:off x="3556298" y="4513125"/>
              <a:ext cx="27619" cy="27407"/>
            </a:xfrm>
            <a:custGeom>
              <a:avLst/>
              <a:gdLst/>
              <a:ahLst/>
              <a:cxnLst/>
              <a:rect l="l" t="t" r="r" b="b"/>
              <a:pathLst>
                <a:path w="1324" h="1314" extrusionOk="0">
                  <a:moveTo>
                    <a:pt x="663" y="1"/>
                  </a:moveTo>
                  <a:cubicBezTo>
                    <a:pt x="359" y="1"/>
                    <a:pt x="76" y="194"/>
                    <a:pt x="0" y="594"/>
                  </a:cubicBezTo>
                  <a:cubicBezTo>
                    <a:pt x="0" y="777"/>
                    <a:pt x="183" y="1256"/>
                    <a:pt x="365" y="1256"/>
                  </a:cubicBezTo>
                  <a:cubicBezTo>
                    <a:pt x="467" y="1295"/>
                    <a:pt x="561" y="1313"/>
                    <a:pt x="647" y="1313"/>
                  </a:cubicBezTo>
                  <a:cubicBezTo>
                    <a:pt x="966" y="1313"/>
                    <a:pt x="1180" y="1063"/>
                    <a:pt x="1324" y="686"/>
                  </a:cubicBezTo>
                  <a:cubicBezTo>
                    <a:pt x="1141" y="503"/>
                    <a:pt x="1050" y="115"/>
                    <a:pt x="845" y="24"/>
                  </a:cubicBezTo>
                  <a:cubicBezTo>
                    <a:pt x="784" y="9"/>
                    <a:pt x="723" y="1"/>
                    <a:pt x="663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5" name="Google Shape;2695;p37"/>
            <p:cNvSpPr/>
            <p:nvPr/>
          </p:nvSpPr>
          <p:spPr>
            <a:xfrm>
              <a:off x="3738656" y="4513605"/>
              <a:ext cx="33814" cy="27636"/>
            </a:xfrm>
            <a:custGeom>
              <a:avLst/>
              <a:gdLst/>
              <a:ahLst/>
              <a:cxnLst/>
              <a:rect l="l" t="t" r="r" b="b"/>
              <a:pathLst>
                <a:path w="1621" h="1325" extrusionOk="0">
                  <a:moveTo>
                    <a:pt x="662" y="1"/>
                  </a:moveTo>
                  <a:cubicBezTo>
                    <a:pt x="297" y="183"/>
                    <a:pt x="0" y="571"/>
                    <a:pt x="297" y="959"/>
                  </a:cubicBezTo>
                  <a:cubicBezTo>
                    <a:pt x="388" y="1142"/>
                    <a:pt x="753" y="1325"/>
                    <a:pt x="959" y="1325"/>
                  </a:cubicBezTo>
                  <a:cubicBezTo>
                    <a:pt x="1438" y="1142"/>
                    <a:pt x="1621" y="754"/>
                    <a:pt x="1324" y="389"/>
                  </a:cubicBezTo>
                  <a:cubicBezTo>
                    <a:pt x="1233" y="183"/>
                    <a:pt x="959" y="92"/>
                    <a:pt x="66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6" name="Google Shape;2696;p37"/>
            <p:cNvSpPr/>
            <p:nvPr/>
          </p:nvSpPr>
          <p:spPr>
            <a:xfrm>
              <a:off x="3931006" y="4514335"/>
              <a:ext cx="25741" cy="27365"/>
            </a:xfrm>
            <a:custGeom>
              <a:avLst/>
              <a:gdLst/>
              <a:ahLst/>
              <a:cxnLst/>
              <a:rect l="l" t="t" r="r" b="b"/>
              <a:pathLst>
                <a:path w="1234" h="1312" extrusionOk="0">
                  <a:moveTo>
                    <a:pt x="676" y="0"/>
                  </a:moveTo>
                  <a:cubicBezTo>
                    <a:pt x="587" y="0"/>
                    <a:pt x="490" y="18"/>
                    <a:pt x="389" y="57"/>
                  </a:cubicBezTo>
                  <a:cubicBezTo>
                    <a:pt x="206" y="57"/>
                    <a:pt x="92" y="445"/>
                    <a:pt x="1" y="628"/>
                  </a:cubicBezTo>
                  <a:cubicBezTo>
                    <a:pt x="1" y="1106"/>
                    <a:pt x="274" y="1312"/>
                    <a:pt x="645" y="1312"/>
                  </a:cubicBezTo>
                  <a:cubicBezTo>
                    <a:pt x="716" y="1312"/>
                    <a:pt x="791" y="1304"/>
                    <a:pt x="868" y="1290"/>
                  </a:cubicBezTo>
                  <a:cubicBezTo>
                    <a:pt x="1051" y="1198"/>
                    <a:pt x="1233" y="810"/>
                    <a:pt x="1233" y="628"/>
                  </a:cubicBezTo>
                  <a:cubicBezTo>
                    <a:pt x="1233" y="250"/>
                    <a:pt x="1007" y="0"/>
                    <a:pt x="67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7" name="Google Shape;2697;p37"/>
            <p:cNvSpPr/>
            <p:nvPr/>
          </p:nvSpPr>
          <p:spPr>
            <a:xfrm>
              <a:off x="4117662" y="4514022"/>
              <a:ext cx="27639" cy="26802"/>
            </a:xfrm>
            <a:custGeom>
              <a:avLst/>
              <a:gdLst/>
              <a:ahLst/>
              <a:cxnLst/>
              <a:rect l="l" t="t" r="r" b="b"/>
              <a:pathLst>
                <a:path w="1325" h="1285" extrusionOk="0">
                  <a:moveTo>
                    <a:pt x="731" y="1"/>
                  </a:moveTo>
                  <a:cubicBezTo>
                    <a:pt x="435" y="1"/>
                    <a:pt x="159" y="175"/>
                    <a:pt x="91" y="460"/>
                  </a:cubicBezTo>
                  <a:cubicBezTo>
                    <a:pt x="0" y="643"/>
                    <a:pt x="183" y="1031"/>
                    <a:pt x="388" y="1213"/>
                  </a:cubicBezTo>
                  <a:cubicBezTo>
                    <a:pt x="485" y="1262"/>
                    <a:pt x="584" y="1284"/>
                    <a:pt x="680" y="1284"/>
                  </a:cubicBezTo>
                  <a:cubicBezTo>
                    <a:pt x="945" y="1284"/>
                    <a:pt x="1190" y="1110"/>
                    <a:pt x="1324" y="825"/>
                  </a:cubicBezTo>
                  <a:cubicBezTo>
                    <a:pt x="1233" y="551"/>
                    <a:pt x="1233" y="163"/>
                    <a:pt x="1050" y="72"/>
                  </a:cubicBezTo>
                  <a:cubicBezTo>
                    <a:pt x="947" y="24"/>
                    <a:pt x="838" y="1"/>
                    <a:pt x="73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8" name="Google Shape;2698;p37"/>
            <p:cNvSpPr/>
            <p:nvPr/>
          </p:nvSpPr>
          <p:spPr>
            <a:xfrm>
              <a:off x="4301918" y="4513605"/>
              <a:ext cx="33835" cy="27636"/>
            </a:xfrm>
            <a:custGeom>
              <a:avLst/>
              <a:gdLst/>
              <a:ahLst/>
              <a:cxnLst/>
              <a:rect l="l" t="t" r="r" b="b"/>
              <a:pathLst>
                <a:path w="1622" h="1325" extrusionOk="0">
                  <a:moveTo>
                    <a:pt x="685" y="1"/>
                  </a:moveTo>
                  <a:cubicBezTo>
                    <a:pt x="206" y="183"/>
                    <a:pt x="1" y="571"/>
                    <a:pt x="297" y="959"/>
                  </a:cubicBezTo>
                  <a:cubicBezTo>
                    <a:pt x="389" y="1142"/>
                    <a:pt x="777" y="1325"/>
                    <a:pt x="959" y="1325"/>
                  </a:cubicBezTo>
                  <a:cubicBezTo>
                    <a:pt x="1439" y="1142"/>
                    <a:pt x="1621" y="754"/>
                    <a:pt x="1347" y="389"/>
                  </a:cubicBezTo>
                  <a:cubicBezTo>
                    <a:pt x="1256" y="183"/>
                    <a:pt x="868" y="92"/>
                    <a:pt x="68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9" name="Google Shape;2699;p37"/>
            <p:cNvSpPr/>
            <p:nvPr/>
          </p:nvSpPr>
          <p:spPr>
            <a:xfrm>
              <a:off x="4490471" y="4515003"/>
              <a:ext cx="31916" cy="26239"/>
            </a:xfrm>
            <a:custGeom>
              <a:avLst/>
              <a:gdLst/>
              <a:ahLst/>
              <a:cxnLst/>
              <a:rect l="l" t="t" r="r" b="b"/>
              <a:pathLst>
                <a:path w="1530" h="1258" extrusionOk="0">
                  <a:moveTo>
                    <a:pt x="702" y="1"/>
                  </a:moveTo>
                  <a:cubicBezTo>
                    <a:pt x="450" y="1"/>
                    <a:pt x="206" y="154"/>
                    <a:pt x="206" y="322"/>
                  </a:cubicBezTo>
                  <a:cubicBezTo>
                    <a:pt x="0" y="778"/>
                    <a:pt x="297" y="1166"/>
                    <a:pt x="776" y="1258"/>
                  </a:cubicBezTo>
                  <a:cubicBezTo>
                    <a:pt x="959" y="1166"/>
                    <a:pt x="1347" y="1075"/>
                    <a:pt x="1438" y="892"/>
                  </a:cubicBezTo>
                  <a:cubicBezTo>
                    <a:pt x="1530" y="413"/>
                    <a:pt x="1347" y="25"/>
                    <a:pt x="868" y="25"/>
                  </a:cubicBezTo>
                  <a:cubicBezTo>
                    <a:pt x="814" y="8"/>
                    <a:pt x="758" y="1"/>
                    <a:pt x="70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0" name="Google Shape;2700;p37"/>
            <p:cNvSpPr/>
            <p:nvPr/>
          </p:nvSpPr>
          <p:spPr>
            <a:xfrm>
              <a:off x="4680923" y="4514022"/>
              <a:ext cx="28119" cy="26802"/>
            </a:xfrm>
            <a:custGeom>
              <a:avLst/>
              <a:gdLst/>
              <a:ahLst/>
              <a:cxnLst/>
              <a:rect l="l" t="t" r="r" b="b"/>
              <a:pathLst>
                <a:path w="1348" h="1285" extrusionOk="0">
                  <a:moveTo>
                    <a:pt x="658" y="1"/>
                  </a:moveTo>
                  <a:cubicBezTo>
                    <a:pt x="389" y="1"/>
                    <a:pt x="151" y="175"/>
                    <a:pt x="1" y="460"/>
                  </a:cubicBezTo>
                  <a:cubicBezTo>
                    <a:pt x="1" y="643"/>
                    <a:pt x="92" y="1031"/>
                    <a:pt x="297" y="1213"/>
                  </a:cubicBezTo>
                  <a:cubicBezTo>
                    <a:pt x="424" y="1262"/>
                    <a:pt x="537" y="1284"/>
                    <a:pt x="640" y="1284"/>
                  </a:cubicBezTo>
                  <a:cubicBezTo>
                    <a:pt x="924" y="1284"/>
                    <a:pt x="1129" y="1110"/>
                    <a:pt x="1347" y="825"/>
                  </a:cubicBezTo>
                  <a:cubicBezTo>
                    <a:pt x="1233" y="551"/>
                    <a:pt x="1142" y="163"/>
                    <a:pt x="959" y="72"/>
                  </a:cubicBezTo>
                  <a:cubicBezTo>
                    <a:pt x="856" y="24"/>
                    <a:pt x="755" y="1"/>
                    <a:pt x="65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1" name="Google Shape;2701;p37"/>
            <p:cNvSpPr/>
            <p:nvPr/>
          </p:nvSpPr>
          <p:spPr>
            <a:xfrm>
              <a:off x="4867579" y="4514335"/>
              <a:ext cx="27619" cy="27365"/>
            </a:xfrm>
            <a:custGeom>
              <a:avLst/>
              <a:gdLst/>
              <a:ahLst/>
              <a:cxnLst/>
              <a:rect l="l" t="t" r="r" b="b"/>
              <a:pathLst>
                <a:path w="1324" h="1312" extrusionOk="0">
                  <a:moveTo>
                    <a:pt x="667" y="0"/>
                  </a:moveTo>
                  <a:cubicBezTo>
                    <a:pt x="579" y="0"/>
                    <a:pt x="485" y="18"/>
                    <a:pt x="388" y="57"/>
                  </a:cubicBezTo>
                  <a:cubicBezTo>
                    <a:pt x="183" y="57"/>
                    <a:pt x="183" y="445"/>
                    <a:pt x="0" y="628"/>
                  </a:cubicBezTo>
                  <a:cubicBezTo>
                    <a:pt x="77" y="1106"/>
                    <a:pt x="362" y="1312"/>
                    <a:pt x="735" y="1312"/>
                  </a:cubicBezTo>
                  <a:cubicBezTo>
                    <a:pt x="806" y="1312"/>
                    <a:pt x="881" y="1304"/>
                    <a:pt x="959" y="1290"/>
                  </a:cubicBezTo>
                  <a:cubicBezTo>
                    <a:pt x="1141" y="1198"/>
                    <a:pt x="1324" y="810"/>
                    <a:pt x="1324" y="628"/>
                  </a:cubicBezTo>
                  <a:cubicBezTo>
                    <a:pt x="1252" y="250"/>
                    <a:pt x="996" y="0"/>
                    <a:pt x="66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2" name="Google Shape;2702;p37"/>
            <p:cNvSpPr/>
            <p:nvPr/>
          </p:nvSpPr>
          <p:spPr>
            <a:xfrm>
              <a:off x="5051835" y="4513605"/>
              <a:ext cx="33835" cy="27636"/>
            </a:xfrm>
            <a:custGeom>
              <a:avLst/>
              <a:gdLst/>
              <a:ahLst/>
              <a:cxnLst/>
              <a:rect l="l" t="t" r="r" b="b"/>
              <a:pathLst>
                <a:path w="1622" h="1325" extrusionOk="0">
                  <a:moveTo>
                    <a:pt x="685" y="1"/>
                  </a:moveTo>
                  <a:cubicBezTo>
                    <a:pt x="206" y="183"/>
                    <a:pt x="0" y="571"/>
                    <a:pt x="297" y="959"/>
                  </a:cubicBezTo>
                  <a:cubicBezTo>
                    <a:pt x="388" y="1142"/>
                    <a:pt x="776" y="1325"/>
                    <a:pt x="959" y="1325"/>
                  </a:cubicBezTo>
                  <a:cubicBezTo>
                    <a:pt x="1438" y="1142"/>
                    <a:pt x="1621" y="754"/>
                    <a:pt x="1347" y="389"/>
                  </a:cubicBezTo>
                  <a:cubicBezTo>
                    <a:pt x="1256" y="183"/>
                    <a:pt x="868" y="92"/>
                    <a:pt x="68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3" name="Google Shape;2703;p37"/>
            <p:cNvSpPr/>
            <p:nvPr/>
          </p:nvSpPr>
          <p:spPr>
            <a:xfrm>
              <a:off x="5242287" y="4512625"/>
              <a:ext cx="28119" cy="27469"/>
            </a:xfrm>
            <a:custGeom>
              <a:avLst/>
              <a:gdLst/>
              <a:ahLst/>
              <a:cxnLst/>
              <a:rect l="l" t="t" r="r" b="b"/>
              <a:pathLst>
                <a:path w="1348" h="1317" extrusionOk="0">
                  <a:moveTo>
                    <a:pt x="748" y="1"/>
                  </a:moveTo>
                  <a:cubicBezTo>
                    <a:pt x="633" y="1"/>
                    <a:pt x="512" y="44"/>
                    <a:pt x="389" y="139"/>
                  </a:cubicBezTo>
                  <a:cubicBezTo>
                    <a:pt x="206" y="230"/>
                    <a:pt x="1" y="618"/>
                    <a:pt x="115" y="801"/>
                  </a:cubicBezTo>
                  <a:cubicBezTo>
                    <a:pt x="177" y="1128"/>
                    <a:pt x="367" y="1317"/>
                    <a:pt x="633" y="1317"/>
                  </a:cubicBezTo>
                  <a:cubicBezTo>
                    <a:pt x="757" y="1317"/>
                    <a:pt x="898" y="1276"/>
                    <a:pt x="1051" y="1189"/>
                  </a:cubicBezTo>
                  <a:cubicBezTo>
                    <a:pt x="1256" y="1098"/>
                    <a:pt x="1256" y="710"/>
                    <a:pt x="1347" y="527"/>
                  </a:cubicBezTo>
                  <a:cubicBezTo>
                    <a:pt x="1207" y="200"/>
                    <a:pt x="993" y="1"/>
                    <a:pt x="74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4" name="Google Shape;2704;p37"/>
            <p:cNvSpPr/>
            <p:nvPr/>
          </p:nvSpPr>
          <p:spPr>
            <a:xfrm>
              <a:off x="5430840" y="4514335"/>
              <a:ext cx="25720" cy="27365"/>
            </a:xfrm>
            <a:custGeom>
              <a:avLst/>
              <a:gdLst/>
              <a:ahLst/>
              <a:cxnLst/>
              <a:rect l="l" t="t" r="r" b="b"/>
              <a:pathLst>
                <a:path w="1233" h="1312" extrusionOk="0">
                  <a:moveTo>
                    <a:pt x="676" y="0"/>
                  </a:moveTo>
                  <a:cubicBezTo>
                    <a:pt x="587" y="0"/>
                    <a:pt x="490" y="18"/>
                    <a:pt x="388" y="57"/>
                  </a:cubicBezTo>
                  <a:cubicBezTo>
                    <a:pt x="206" y="57"/>
                    <a:pt x="92" y="445"/>
                    <a:pt x="0" y="628"/>
                  </a:cubicBezTo>
                  <a:cubicBezTo>
                    <a:pt x="77" y="1106"/>
                    <a:pt x="362" y="1312"/>
                    <a:pt x="681" y="1312"/>
                  </a:cubicBezTo>
                  <a:cubicBezTo>
                    <a:pt x="743" y="1312"/>
                    <a:pt x="805" y="1304"/>
                    <a:pt x="868" y="1290"/>
                  </a:cubicBezTo>
                  <a:cubicBezTo>
                    <a:pt x="1050" y="1198"/>
                    <a:pt x="1233" y="810"/>
                    <a:pt x="1233" y="628"/>
                  </a:cubicBezTo>
                  <a:cubicBezTo>
                    <a:pt x="1233" y="250"/>
                    <a:pt x="1006" y="0"/>
                    <a:pt x="67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5" name="Google Shape;2705;p37"/>
            <p:cNvSpPr/>
            <p:nvPr/>
          </p:nvSpPr>
          <p:spPr>
            <a:xfrm>
              <a:off x="5619394" y="4513146"/>
              <a:ext cx="25720" cy="27386"/>
            </a:xfrm>
            <a:custGeom>
              <a:avLst/>
              <a:gdLst/>
              <a:ahLst/>
              <a:cxnLst/>
              <a:rect l="l" t="t" r="r" b="b"/>
              <a:pathLst>
                <a:path w="1233" h="1313" extrusionOk="0">
                  <a:moveTo>
                    <a:pt x="604" y="0"/>
                  </a:moveTo>
                  <a:cubicBezTo>
                    <a:pt x="537" y="0"/>
                    <a:pt x="466" y="8"/>
                    <a:pt x="388" y="23"/>
                  </a:cubicBezTo>
                  <a:cubicBezTo>
                    <a:pt x="183" y="114"/>
                    <a:pt x="0" y="502"/>
                    <a:pt x="0" y="685"/>
                  </a:cubicBezTo>
                  <a:cubicBezTo>
                    <a:pt x="0" y="1062"/>
                    <a:pt x="241" y="1312"/>
                    <a:pt x="577" y="1312"/>
                  </a:cubicBezTo>
                  <a:cubicBezTo>
                    <a:pt x="668" y="1312"/>
                    <a:pt x="766" y="1294"/>
                    <a:pt x="868" y="1255"/>
                  </a:cubicBezTo>
                  <a:cubicBezTo>
                    <a:pt x="1050" y="1255"/>
                    <a:pt x="1141" y="867"/>
                    <a:pt x="1233" y="685"/>
                  </a:cubicBezTo>
                  <a:cubicBezTo>
                    <a:pt x="1156" y="206"/>
                    <a:pt x="951" y="0"/>
                    <a:pt x="60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6" name="Google Shape;2706;p37"/>
            <p:cNvSpPr/>
            <p:nvPr/>
          </p:nvSpPr>
          <p:spPr>
            <a:xfrm>
              <a:off x="5801752" y="4513605"/>
              <a:ext cx="33814" cy="27636"/>
            </a:xfrm>
            <a:custGeom>
              <a:avLst/>
              <a:gdLst/>
              <a:ahLst/>
              <a:cxnLst/>
              <a:rect l="l" t="t" r="r" b="b"/>
              <a:pathLst>
                <a:path w="1621" h="1325" extrusionOk="0">
                  <a:moveTo>
                    <a:pt x="685" y="1"/>
                  </a:moveTo>
                  <a:cubicBezTo>
                    <a:pt x="206" y="183"/>
                    <a:pt x="0" y="571"/>
                    <a:pt x="297" y="959"/>
                  </a:cubicBezTo>
                  <a:cubicBezTo>
                    <a:pt x="388" y="1142"/>
                    <a:pt x="776" y="1325"/>
                    <a:pt x="959" y="1325"/>
                  </a:cubicBezTo>
                  <a:cubicBezTo>
                    <a:pt x="1438" y="1142"/>
                    <a:pt x="1621" y="754"/>
                    <a:pt x="1347" y="389"/>
                  </a:cubicBezTo>
                  <a:cubicBezTo>
                    <a:pt x="1256" y="183"/>
                    <a:pt x="959" y="92"/>
                    <a:pt x="68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7" name="Google Shape;2707;p37"/>
            <p:cNvSpPr/>
            <p:nvPr/>
          </p:nvSpPr>
          <p:spPr>
            <a:xfrm>
              <a:off x="5990305" y="4513605"/>
              <a:ext cx="31916" cy="27636"/>
            </a:xfrm>
            <a:custGeom>
              <a:avLst/>
              <a:gdLst/>
              <a:ahLst/>
              <a:cxnLst/>
              <a:rect l="l" t="t" r="r" b="b"/>
              <a:pathLst>
                <a:path w="1530" h="1325" extrusionOk="0">
                  <a:moveTo>
                    <a:pt x="662" y="1"/>
                  </a:moveTo>
                  <a:cubicBezTo>
                    <a:pt x="206" y="183"/>
                    <a:pt x="0" y="571"/>
                    <a:pt x="206" y="959"/>
                  </a:cubicBezTo>
                  <a:cubicBezTo>
                    <a:pt x="297" y="1142"/>
                    <a:pt x="776" y="1325"/>
                    <a:pt x="959" y="1325"/>
                  </a:cubicBezTo>
                  <a:cubicBezTo>
                    <a:pt x="1347" y="1142"/>
                    <a:pt x="1529" y="754"/>
                    <a:pt x="1347" y="389"/>
                  </a:cubicBezTo>
                  <a:cubicBezTo>
                    <a:pt x="1233" y="183"/>
                    <a:pt x="867" y="92"/>
                    <a:pt x="66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8" name="Google Shape;2708;p37"/>
            <p:cNvSpPr/>
            <p:nvPr/>
          </p:nvSpPr>
          <p:spPr>
            <a:xfrm>
              <a:off x="1582233" y="4605754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94" y="0"/>
                  </a:moveTo>
                  <a:cubicBezTo>
                    <a:pt x="923" y="0"/>
                    <a:pt x="844" y="18"/>
                    <a:pt x="754" y="56"/>
                  </a:cubicBezTo>
                  <a:cubicBezTo>
                    <a:pt x="480" y="56"/>
                    <a:pt x="183" y="330"/>
                    <a:pt x="183" y="536"/>
                  </a:cubicBezTo>
                  <a:cubicBezTo>
                    <a:pt x="0" y="992"/>
                    <a:pt x="274" y="1380"/>
                    <a:pt x="754" y="1380"/>
                  </a:cubicBezTo>
                  <a:cubicBezTo>
                    <a:pt x="815" y="1392"/>
                    <a:pt x="874" y="1398"/>
                    <a:pt x="929" y="1398"/>
                  </a:cubicBezTo>
                  <a:cubicBezTo>
                    <a:pt x="1304" y="1398"/>
                    <a:pt x="1530" y="1136"/>
                    <a:pt x="1530" y="718"/>
                  </a:cubicBezTo>
                  <a:cubicBezTo>
                    <a:pt x="1437" y="329"/>
                    <a:pt x="1299" y="0"/>
                    <a:pt x="99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9" name="Google Shape;2709;p37"/>
            <p:cNvSpPr/>
            <p:nvPr/>
          </p:nvSpPr>
          <p:spPr>
            <a:xfrm>
              <a:off x="1770786" y="4605524"/>
              <a:ext cx="33814" cy="29034"/>
            </a:xfrm>
            <a:custGeom>
              <a:avLst/>
              <a:gdLst/>
              <a:ahLst/>
              <a:cxnLst/>
              <a:rect l="l" t="t" r="r" b="b"/>
              <a:pathLst>
                <a:path w="1621" h="1392" extrusionOk="0">
                  <a:moveTo>
                    <a:pt x="819" y="0"/>
                  </a:moveTo>
                  <a:cubicBezTo>
                    <a:pt x="737" y="0"/>
                    <a:pt x="653" y="21"/>
                    <a:pt x="571" y="67"/>
                  </a:cubicBezTo>
                  <a:cubicBezTo>
                    <a:pt x="92" y="159"/>
                    <a:pt x="0" y="638"/>
                    <a:pt x="183" y="1117"/>
                  </a:cubicBezTo>
                  <a:cubicBezTo>
                    <a:pt x="274" y="1300"/>
                    <a:pt x="662" y="1391"/>
                    <a:pt x="845" y="1391"/>
                  </a:cubicBezTo>
                  <a:cubicBezTo>
                    <a:pt x="1324" y="1391"/>
                    <a:pt x="1621" y="1117"/>
                    <a:pt x="1507" y="547"/>
                  </a:cubicBezTo>
                  <a:cubicBezTo>
                    <a:pt x="1365" y="246"/>
                    <a:pt x="1101" y="0"/>
                    <a:pt x="81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0" name="Google Shape;2710;p37"/>
            <p:cNvSpPr/>
            <p:nvPr/>
          </p:nvSpPr>
          <p:spPr>
            <a:xfrm>
              <a:off x="1956941" y="4606546"/>
              <a:ext cx="31937" cy="29493"/>
            </a:xfrm>
            <a:custGeom>
              <a:avLst/>
              <a:gdLst/>
              <a:ahLst/>
              <a:cxnLst/>
              <a:rect l="l" t="t" r="r" b="b"/>
              <a:pathLst>
                <a:path w="1531" h="1414" extrusionOk="0">
                  <a:moveTo>
                    <a:pt x="857" y="1"/>
                  </a:moveTo>
                  <a:cubicBezTo>
                    <a:pt x="802" y="1"/>
                    <a:pt x="745" y="6"/>
                    <a:pt x="686" y="18"/>
                  </a:cubicBezTo>
                  <a:cubicBezTo>
                    <a:pt x="206" y="201"/>
                    <a:pt x="1" y="589"/>
                    <a:pt x="115" y="954"/>
                  </a:cubicBezTo>
                  <a:cubicBezTo>
                    <a:pt x="249" y="1239"/>
                    <a:pt x="543" y="1413"/>
                    <a:pt x="835" y="1413"/>
                  </a:cubicBezTo>
                  <a:cubicBezTo>
                    <a:pt x="940" y="1413"/>
                    <a:pt x="1045" y="1391"/>
                    <a:pt x="1142" y="1342"/>
                  </a:cubicBezTo>
                  <a:cubicBezTo>
                    <a:pt x="1348" y="1160"/>
                    <a:pt x="1530" y="863"/>
                    <a:pt x="1530" y="589"/>
                  </a:cubicBezTo>
                  <a:cubicBezTo>
                    <a:pt x="1451" y="252"/>
                    <a:pt x="1216" y="1"/>
                    <a:pt x="85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1" name="Google Shape;2711;p37"/>
            <p:cNvSpPr/>
            <p:nvPr/>
          </p:nvSpPr>
          <p:spPr>
            <a:xfrm>
              <a:off x="2143596" y="4606546"/>
              <a:ext cx="33835" cy="29493"/>
            </a:xfrm>
            <a:custGeom>
              <a:avLst/>
              <a:gdLst/>
              <a:ahLst/>
              <a:cxnLst/>
              <a:rect l="l" t="t" r="r" b="b"/>
              <a:pathLst>
                <a:path w="1622" h="1414" extrusionOk="0">
                  <a:moveTo>
                    <a:pt x="872" y="1"/>
                  </a:moveTo>
                  <a:cubicBezTo>
                    <a:pt x="807" y="1"/>
                    <a:pt x="737" y="6"/>
                    <a:pt x="662" y="18"/>
                  </a:cubicBezTo>
                  <a:cubicBezTo>
                    <a:pt x="297" y="201"/>
                    <a:pt x="0" y="589"/>
                    <a:pt x="183" y="954"/>
                  </a:cubicBezTo>
                  <a:cubicBezTo>
                    <a:pt x="334" y="1239"/>
                    <a:pt x="633" y="1413"/>
                    <a:pt x="925" y="1413"/>
                  </a:cubicBezTo>
                  <a:cubicBezTo>
                    <a:pt x="1031" y="1413"/>
                    <a:pt x="1136" y="1391"/>
                    <a:pt x="1233" y="1342"/>
                  </a:cubicBezTo>
                  <a:cubicBezTo>
                    <a:pt x="1438" y="1160"/>
                    <a:pt x="1621" y="863"/>
                    <a:pt x="1530" y="589"/>
                  </a:cubicBezTo>
                  <a:cubicBezTo>
                    <a:pt x="1530" y="252"/>
                    <a:pt x="1306" y="1"/>
                    <a:pt x="87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2" name="Google Shape;2712;p37"/>
            <p:cNvSpPr/>
            <p:nvPr/>
          </p:nvSpPr>
          <p:spPr>
            <a:xfrm>
              <a:off x="2332150" y="4606567"/>
              <a:ext cx="33585" cy="28992"/>
            </a:xfrm>
            <a:custGeom>
              <a:avLst/>
              <a:gdLst/>
              <a:ahLst/>
              <a:cxnLst/>
              <a:rect l="l" t="t" r="r" b="b"/>
              <a:pathLst>
                <a:path w="1610" h="1390" extrusionOk="0">
                  <a:moveTo>
                    <a:pt x="1018" y="0"/>
                  </a:moveTo>
                  <a:cubicBezTo>
                    <a:pt x="963" y="0"/>
                    <a:pt x="905" y="6"/>
                    <a:pt x="845" y="17"/>
                  </a:cubicBezTo>
                  <a:cubicBezTo>
                    <a:pt x="571" y="17"/>
                    <a:pt x="183" y="200"/>
                    <a:pt x="183" y="383"/>
                  </a:cubicBezTo>
                  <a:cubicBezTo>
                    <a:pt x="0" y="771"/>
                    <a:pt x="183" y="1250"/>
                    <a:pt x="662" y="1341"/>
                  </a:cubicBezTo>
                  <a:cubicBezTo>
                    <a:pt x="750" y="1375"/>
                    <a:pt x="830" y="1390"/>
                    <a:pt x="905" y="1390"/>
                  </a:cubicBezTo>
                  <a:cubicBezTo>
                    <a:pt x="1236" y="1390"/>
                    <a:pt x="1436" y="1088"/>
                    <a:pt x="1530" y="771"/>
                  </a:cubicBezTo>
                  <a:cubicBezTo>
                    <a:pt x="1609" y="272"/>
                    <a:pt x="1393" y="0"/>
                    <a:pt x="10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3" name="Google Shape;2713;p37"/>
            <p:cNvSpPr/>
            <p:nvPr/>
          </p:nvSpPr>
          <p:spPr>
            <a:xfrm>
              <a:off x="2520703" y="4605754"/>
              <a:ext cx="31436" cy="29159"/>
            </a:xfrm>
            <a:custGeom>
              <a:avLst/>
              <a:gdLst/>
              <a:ahLst/>
              <a:cxnLst/>
              <a:rect l="l" t="t" r="r" b="b"/>
              <a:pathLst>
                <a:path w="1507" h="1398" extrusionOk="0">
                  <a:moveTo>
                    <a:pt x="945" y="0"/>
                  </a:moveTo>
                  <a:cubicBezTo>
                    <a:pt x="863" y="0"/>
                    <a:pt x="769" y="18"/>
                    <a:pt x="662" y="56"/>
                  </a:cubicBezTo>
                  <a:cubicBezTo>
                    <a:pt x="479" y="56"/>
                    <a:pt x="183" y="330"/>
                    <a:pt x="91" y="536"/>
                  </a:cubicBezTo>
                  <a:cubicBezTo>
                    <a:pt x="0" y="992"/>
                    <a:pt x="274" y="1380"/>
                    <a:pt x="753" y="1380"/>
                  </a:cubicBezTo>
                  <a:cubicBezTo>
                    <a:pt x="815" y="1392"/>
                    <a:pt x="873" y="1398"/>
                    <a:pt x="928" y="1398"/>
                  </a:cubicBezTo>
                  <a:cubicBezTo>
                    <a:pt x="1299" y="1398"/>
                    <a:pt x="1507" y="1136"/>
                    <a:pt x="1507" y="718"/>
                  </a:cubicBezTo>
                  <a:cubicBezTo>
                    <a:pt x="1432" y="329"/>
                    <a:pt x="1298" y="0"/>
                    <a:pt x="945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4" name="Google Shape;2714;p37"/>
            <p:cNvSpPr/>
            <p:nvPr/>
          </p:nvSpPr>
          <p:spPr>
            <a:xfrm>
              <a:off x="2706858" y="4605524"/>
              <a:ext cx="33835" cy="29034"/>
            </a:xfrm>
            <a:custGeom>
              <a:avLst/>
              <a:gdLst/>
              <a:ahLst/>
              <a:cxnLst/>
              <a:rect l="l" t="t" r="r" b="b"/>
              <a:pathLst>
                <a:path w="1622" h="1392" extrusionOk="0">
                  <a:moveTo>
                    <a:pt x="880" y="0"/>
                  </a:moveTo>
                  <a:cubicBezTo>
                    <a:pt x="783" y="0"/>
                    <a:pt x="679" y="21"/>
                    <a:pt x="571" y="67"/>
                  </a:cubicBezTo>
                  <a:cubicBezTo>
                    <a:pt x="206" y="159"/>
                    <a:pt x="1" y="638"/>
                    <a:pt x="298" y="1117"/>
                  </a:cubicBezTo>
                  <a:cubicBezTo>
                    <a:pt x="389" y="1300"/>
                    <a:pt x="686" y="1391"/>
                    <a:pt x="959" y="1391"/>
                  </a:cubicBezTo>
                  <a:cubicBezTo>
                    <a:pt x="1347" y="1391"/>
                    <a:pt x="1621" y="1117"/>
                    <a:pt x="1621" y="547"/>
                  </a:cubicBezTo>
                  <a:cubicBezTo>
                    <a:pt x="1480" y="246"/>
                    <a:pt x="1215" y="0"/>
                    <a:pt x="88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5" name="Google Shape;2715;p37"/>
            <p:cNvSpPr/>
            <p:nvPr/>
          </p:nvSpPr>
          <p:spPr>
            <a:xfrm>
              <a:off x="2895412" y="4606922"/>
              <a:ext cx="33835" cy="29993"/>
            </a:xfrm>
            <a:custGeom>
              <a:avLst/>
              <a:gdLst/>
              <a:ahLst/>
              <a:cxnLst/>
              <a:rect l="l" t="t" r="r" b="b"/>
              <a:pathLst>
                <a:path w="1622" h="1438" extrusionOk="0">
                  <a:moveTo>
                    <a:pt x="777" y="0"/>
                  </a:moveTo>
                  <a:cubicBezTo>
                    <a:pt x="297" y="92"/>
                    <a:pt x="1" y="366"/>
                    <a:pt x="92" y="571"/>
                  </a:cubicBezTo>
                  <a:cubicBezTo>
                    <a:pt x="266" y="1208"/>
                    <a:pt x="554" y="1437"/>
                    <a:pt x="874" y="1437"/>
                  </a:cubicBezTo>
                  <a:cubicBezTo>
                    <a:pt x="932" y="1437"/>
                    <a:pt x="991" y="1430"/>
                    <a:pt x="1051" y="1416"/>
                  </a:cubicBezTo>
                  <a:cubicBezTo>
                    <a:pt x="1530" y="1233"/>
                    <a:pt x="1621" y="754"/>
                    <a:pt x="1439" y="366"/>
                  </a:cubicBezTo>
                  <a:cubicBezTo>
                    <a:pt x="1347" y="183"/>
                    <a:pt x="959" y="0"/>
                    <a:pt x="7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6" name="Google Shape;2716;p37"/>
            <p:cNvSpPr/>
            <p:nvPr/>
          </p:nvSpPr>
          <p:spPr>
            <a:xfrm>
              <a:off x="3083965" y="4605733"/>
              <a:ext cx="33835" cy="30723"/>
            </a:xfrm>
            <a:custGeom>
              <a:avLst/>
              <a:gdLst/>
              <a:ahLst/>
              <a:cxnLst/>
              <a:rect l="l" t="t" r="r" b="b"/>
              <a:pathLst>
                <a:path w="1622" h="1473" extrusionOk="0">
                  <a:moveTo>
                    <a:pt x="704" y="1"/>
                  </a:moveTo>
                  <a:cubicBezTo>
                    <a:pt x="374" y="1"/>
                    <a:pt x="166" y="314"/>
                    <a:pt x="92" y="628"/>
                  </a:cubicBezTo>
                  <a:cubicBezTo>
                    <a:pt x="0" y="1199"/>
                    <a:pt x="297" y="1381"/>
                    <a:pt x="754" y="1473"/>
                  </a:cubicBezTo>
                  <a:cubicBezTo>
                    <a:pt x="1233" y="1381"/>
                    <a:pt x="1621" y="1199"/>
                    <a:pt x="1438" y="628"/>
                  </a:cubicBezTo>
                  <a:cubicBezTo>
                    <a:pt x="1438" y="423"/>
                    <a:pt x="1142" y="149"/>
                    <a:pt x="959" y="57"/>
                  </a:cubicBezTo>
                  <a:cubicBezTo>
                    <a:pt x="867" y="18"/>
                    <a:pt x="782" y="1"/>
                    <a:pt x="7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7" name="Google Shape;2717;p37"/>
            <p:cNvSpPr/>
            <p:nvPr/>
          </p:nvSpPr>
          <p:spPr>
            <a:xfrm>
              <a:off x="3272519" y="4606546"/>
              <a:ext cx="31916" cy="29451"/>
            </a:xfrm>
            <a:custGeom>
              <a:avLst/>
              <a:gdLst/>
              <a:ahLst/>
              <a:cxnLst/>
              <a:rect l="l" t="t" r="r" b="b"/>
              <a:pathLst>
                <a:path w="1530" h="1412" extrusionOk="0">
                  <a:moveTo>
                    <a:pt x="579" y="1"/>
                  </a:moveTo>
                  <a:cubicBezTo>
                    <a:pt x="208" y="1"/>
                    <a:pt x="0" y="263"/>
                    <a:pt x="0" y="680"/>
                  </a:cubicBezTo>
                  <a:cubicBezTo>
                    <a:pt x="0" y="954"/>
                    <a:pt x="183" y="1342"/>
                    <a:pt x="388" y="1342"/>
                  </a:cubicBezTo>
                  <a:cubicBezTo>
                    <a:pt x="505" y="1389"/>
                    <a:pt x="618" y="1412"/>
                    <a:pt x="723" y="1412"/>
                  </a:cubicBezTo>
                  <a:cubicBezTo>
                    <a:pt x="1030" y="1412"/>
                    <a:pt x="1280" y="1219"/>
                    <a:pt x="1415" y="863"/>
                  </a:cubicBezTo>
                  <a:cubicBezTo>
                    <a:pt x="1530" y="384"/>
                    <a:pt x="1233" y="110"/>
                    <a:pt x="753" y="18"/>
                  </a:cubicBezTo>
                  <a:cubicBezTo>
                    <a:pt x="692" y="7"/>
                    <a:pt x="634" y="1"/>
                    <a:pt x="579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8" name="Google Shape;2718;p37"/>
            <p:cNvSpPr/>
            <p:nvPr/>
          </p:nvSpPr>
          <p:spPr>
            <a:xfrm>
              <a:off x="3456775" y="4606922"/>
              <a:ext cx="35733" cy="28846"/>
            </a:xfrm>
            <a:custGeom>
              <a:avLst/>
              <a:gdLst/>
              <a:ahLst/>
              <a:cxnLst/>
              <a:rect l="l" t="t" r="r" b="b"/>
              <a:pathLst>
                <a:path w="1713" h="1383" extrusionOk="0">
                  <a:moveTo>
                    <a:pt x="959" y="0"/>
                  </a:moveTo>
                  <a:cubicBezTo>
                    <a:pt x="685" y="0"/>
                    <a:pt x="389" y="183"/>
                    <a:pt x="297" y="366"/>
                  </a:cubicBezTo>
                  <a:cubicBezTo>
                    <a:pt x="1" y="754"/>
                    <a:pt x="206" y="1233"/>
                    <a:pt x="685" y="1324"/>
                  </a:cubicBezTo>
                  <a:cubicBezTo>
                    <a:pt x="765" y="1364"/>
                    <a:pt x="846" y="1382"/>
                    <a:pt x="925" y="1382"/>
                  </a:cubicBezTo>
                  <a:cubicBezTo>
                    <a:pt x="1210" y="1382"/>
                    <a:pt x="1478" y="1148"/>
                    <a:pt x="1621" y="845"/>
                  </a:cubicBezTo>
                  <a:cubicBezTo>
                    <a:pt x="1713" y="274"/>
                    <a:pt x="1439" y="0"/>
                    <a:pt x="95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9" name="Google Shape;2719;p37"/>
            <p:cNvSpPr/>
            <p:nvPr/>
          </p:nvSpPr>
          <p:spPr>
            <a:xfrm>
              <a:off x="3645329" y="4605754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1008" y="0"/>
                  </a:moveTo>
                  <a:cubicBezTo>
                    <a:pt x="939" y="0"/>
                    <a:pt x="862" y="18"/>
                    <a:pt x="777" y="56"/>
                  </a:cubicBezTo>
                  <a:cubicBezTo>
                    <a:pt x="480" y="56"/>
                    <a:pt x="206" y="330"/>
                    <a:pt x="206" y="536"/>
                  </a:cubicBezTo>
                  <a:cubicBezTo>
                    <a:pt x="0" y="992"/>
                    <a:pt x="297" y="1380"/>
                    <a:pt x="777" y="1380"/>
                  </a:cubicBezTo>
                  <a:cubicBezTo>
                    <a:pt x="835" y="1392"/>
                    <a:pt x="891" y="1398"/>
                    <a:pt x="944" y="1398"/>
                  </a:cubicBezTo>
                  <a:cubicBezTo>
                    <a:pt x="1304" y="1398"/>
                    <a:pt x="1530" y="1136"/>
                    <a:pt x="1530" y="718"/>
                  </a:cubicBezTo>
                  <a:cubicBezTo>
                    <a:pt x="1456" y="329"/>
                    <a:pt x="1306" y="0"/>
                    <a:pt x="100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0" name="Google Shape;2720;p37"/>
            <p:cNvSpPr/>
            <p:nvPr/>
          </p:nvSpPr>
          <p:spPr>
            <a:xfrm>
              <a:off x="3835780" y="4606546"/>
              <a:ext cx="31916" cy="29451"/>
            </a:xfrm>
            <a:custGeom>
              <a:avLst/>
              <a:gdLst/>
              <a:ahLst/>
              <a:cxnLst/>
              <a:rect l="l" t="t" r="r" b="b"/>
              <a:pathLst>
                <a:path w="1530" h="1412" extrusionOk="0">
                  <a:moveTo>
                    <a:pt x="574" y="1"/>
                  </a:moveTo>
                  <a:cubicBezTo>
                    <a:pt x="157" y="1"/>
                    <a:pt x="1" y="263"/>
                    <a:pt x="1" y="680"/>
                  </a:cubicBezTo>
                  <a:cubicBezTo>
                    <a:pt x="1" y="954"/>
                    <a:pt x="206" y="1342"/>
                    <a:pt x="389" y="1342"/>
                  </a:cubicBezTo>
                  <a:cubicBezTo>
                    <a:pt x="511" y="1389"/>
                    <a:pt x="627" y="1412"/>
                    <a:pt x="732" y="1412"/>
                  </a:cubicBezTo>
                  <a:cubicBezTo>
                    <a:pt x="1039" y="1412"/>
                    <a:pt x="1262" y="1219"/>
                    <a:pt x="1347" y="863"/>
                  </a:cubicBezTo>
                  <a:cubicBezTo>
                    <a:pt x="1530" y="384"/>
                    <a:pt x="1142" y="110"/>
                    <a:pt x="777" y="18"/>
                  </a:cubicBezTo>
                  <a:cubicBezTo>
                    <a:pt x="703" y="7"/>
                    <a:pt x="636" y="1"/>
                    <a:pt x="57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1" name="Google Shape;2721;p37"/>
            <p:cNvSpPr/>
            <p:nvPr/>
          </p:nvSpPr>
          <p:spPr>
            <a:xfrm>
              <a:off x="4020517" y="4606922"/>
              <a:ext cx="35733" cy="29993"/>
            </a:xfrm>
            <a:custGeom>
              <a:avLst/>
              <a:gdLst/>
              <a:ahLst/>
              <a:cxnLst/>
              <a:rect l="l" t="t" r="r" b="b"/>
              <a:pathLst>
                <a:path w="1713" h="1438" extrusionOk="0">
                  <a:moveTo>
                    <a:pt x="754" y="0"/>
                  </a:moveTo>
                  <a:cubicBezTo>
                    <a:pt x="275" y="92"/>
                    <a:pt x="1" y="366"/>
                    <a:pt x="92" y="571"/>
                  </a:cubicBezTo>
                  <a:cubicBezTo>
                    <a:pt x="247" y="1208"/>
                    <a:pt x="548" y="1437"/>
                    <a:pt x="928" y="1437"/>
                  </a:cubicBezTo>
                  <a:cubicBezTo>
                    <a:pt x="997" y="1437"/>
                    <a:pt x="1068" y="1430"/>
                    <a:pt x="1142" y="1416"/>
                  </a:cubicBezTo>
                  <a:cubicBezTo>
                    <a:pt x="1507" y="1233"/>
                    <a:pt x="1713" y="754"/>
                    <a:pt x="1416" y="366"/>
                  </a:cubicBezTo>
                  <a:cubicBezTo>
                    <a:pt x="1325" y="183"/>
                    <a:pt x="937" y="0"/>
                    <a:pt x="75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2" name="Google Shape;2722;p37"/>
            <p:cNvSpPr/>
            <p:nvPr/>
          </p:nvSpPr>
          <p:spPr>
            <a:xfrm>
              <a:off x="4209070" y="4606922"/>
              <a:ext cx="33355" cy="29993"/>
            </a:xfrm>
            <a:custGeom>
              <a:avLst/>
              <a:gdLst/>
              <a:ahLst/>
              <a:cxnLst/>
              <a:rect l="l" t="t" r="r" b="b"/>
              <a:pathLst>
                <a:path w="1599" h="1438" extrusionOk="0">
                  <a:moveTo>
                    <a:pt x="754" y="0"/>
                  </a:moveTo>
                  <a:cubicBezTo>
                    <a:pt x="275" y="92"/>
                    <a:pt x="1" y="366"/>
                    <a:pt x="1" y="571"/>
                  </a:cubicBezTo>
                  <a:cubicBezTo>
                    <a:pt x="232" y="1208"/>
                    <a:pt x="546" y="1437"/>
                    <a:pt x="858" y="1437"/>
                  </a:cubicBezTo>
                  <a:cubicBezTo>
                    <a:pt x="915" y="1437"/>
                    <a:pt x="972" y="1430"/>
                    <a:pt x="1028" y="1416"/>
                  </a:cubicBezTo>
                  <a:cubicBezTo>
                    <a:pt x="1416" y="1233"/>
                    <a:pt x="1598" y="754"/>
                    <a:pt x="1416" y="366"/>
                  </a:cubicBezTo>
                  <a:cubicBezTo>
                    <a:pt x="1324" y="183"/>
                    <a:pt x="936" y="0"/>
                    <a:pt x="75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3" name="Google Shape;2723;p37"/>
            <p:cNvSpPr/>
            <p:nvPr/>
          </p:nvSpPr>
          <p:spPr>
            <a:xfrm>
              <a:off x="4395246" y="4606922"/>
              <a:ext cx="35733" cy="28846"/>
            </a:xfrm>
            <a:custGeom>
              <a:avLst/>
              <a:gdLst/>
              <a:ahLst/>
              <a:cxnLst/>
              <a:rect l="l" t="t" r="r" b="b"/>
              <a:pathLst>
                <a:path w="1713" h="1383" extrusionOk="0">
                  <a:moveTo>
                    <a:pt x="868" y="0"/>
                  </a:moveTo>
                  <a:cubicBezTo>
                    <a:pt x="662" y="0"/>
                    <a:pt x="297" y="183"/>
                    <a:pt x="206" y="366"/>
                  </a:cubicBezTo>
                  <a:cubicBezTo>
                    <a:pt x="0" y="754"/>
                    <a:pt x="206" y="1233"/>
                    <a:pt x="571" y="1324"/>
                  </a:cubicBezTo>
                  <a:cubicBezTo>
                    <a:pt x="675" y="1364"/>
                    <a:pt x="775" y="1382"/>
                    <a:pt x="869" y="1382"/>
                  </a:cubicBezTo>
                  <a:cubicBezTo>
                    <a:pt x="1205" y="1382"/>
                    <a:pt x="1458" y="1148"/>
                    <a:pt x="1530" y="845"/>
                  </a:cubicBezTo>
                  <a:cubicBezTo>
                    <a:pt x="1712" y="274"/>
                    <a:pt x="1347" y="0"/>
                    <a:pt x="86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4" name="Google Shape;2724;p37"/>
            <p:cNvSpPr/>
            <p:nvPr/>
          </p:nvSpPr>
          <p:spPr>
            <a:xfrm>
              <a:off x="4583799" y="4606922"/>
              <a:ext cx="33814" cy="29993"/>
            </a:xfrm>
            <a:custGeom>
              <a:avLst/>
              <a:gdLst/>
              <a:ahLst/>
              <a:cxnLst/>
              <a:rect l="l" t="t" r="r" b="b"/>
              <a:pathLst>
                <a:path w="1621" h="1438" extrusionOk="0">
                  <a:moveTo>
                    <a:pt x="753" y="0"/>
                  </a:moveTo>
                  <a:cubicBezTo>
                    <a:pt x="297" y="92"/>
                    <a:pt x="0" y="366"/>
                    <a:pt x="0" y="571"/>
                  </a:cubicBezTo>
                  <a:cubicBezTo>
                    <a:pt x="251" y="1208"/>
                    <a:pt x="551" y="1437"/>
                    <a:pt x="873" y="1437"/>
                  </a:cubicBezTo>
                  <a:cubicBezTo>
                    <a:pt x="931" y="1437"/>
                    <a:pt x="990" y="1430"/>
                    <a:pt x="1050" y="1416"/>
                  </a:cubicBezTo>
                  <a:cubicBezTo>
                    <a:pt x="1438" y="1233"/>
                    <a:pt x="1621" y="754"/>
                    <a:pt x="1438" y="366"/>
                  </a:cubicBezTo>
                  <a:cubicBezTo>
                    <a:pt x="1324" y="183"/>
                    <a:pt x="959" y="0"/>
                    <a:pt x="75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5" name="Google Shape;2725;p37"/>
            <p:cNvSpPr/>
            <p:nvPr/>
          </p:nvSpPr>
          <p:spPr>
            <a:xfrm>
              <a:off x="4772332" y="4605733"/>
              <a:ext cx="33835" cy="30723"/>
            </a:xfrm>
            <a:custGeom>
              <a:avLst/>
              <a:gdLst/>
              <a:ahLst/>
              <a:cxnLst/>
              <a:rect l="l" t="t" r="r" b="b"/>
              <a:pathLst>
                <a:path w="1622" h="1473" extrusionOk="0">
                  <a:moveTo>
                    <a:pt x="697" y="1"/>
                  </a:moveTo>
                  <a:cubicBezTo>
                    <a:pt x="346" y="1"/>
                    <a:pt x="92" y="314"/>
                    <a:pt x="92" y="628"/>
                  </a:cubicBezTo>
                  <a:cubicBezTo>
                    <a:pt x="1" y="1199"/>
                    <a:pt x="275" y="1381"/>
                    <a:pt x="754" y="1473"/>
                  </a:cubicBezTo>
                  <a:cubicBezTo>
                    <a:pt x="1234" y="1381"/>
                    <a:pt x="1622" y="1199"/>
                    <a:pt x="1416" y="628"/>
                  </a:cubicBezTo>
                  <a:cubicBezTo>
                    <a:pt x="1416" y="423"/>
                    <a:pt x="1142" y="149"/>
                    <a:pt x="960" y="57"/>
                  </a:cubicBezTo>
                  <a:cubicBezTo>
                    <a:pt x="868" y="18"/>
                    <a:pt x="779" y="1"/>
                    <a:pt x="69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6" name="Google Shape;2726;p37"/>
            <p:cNvSpPr/>
            <p:nvPr/>
          </p:nvSpPr>
          <p:spPr>
            <a:xfrm>
              <a:off x="4958987" y="4606922"/>
              <a:ext cx="33355" cy="29993"/>
            </a:xfrm>
            <a:custGeom>
              <a:avLst/>
              <a:gdLst/>
              <a:ahLst/>
              <a:cxnLst/>
              <a:rect l="l" t="t" r="r" b="b"/>
              <a:pathLst>
                <a:path w="1599" h="1438" extrusionOk="0">
                  <a:moveTo>
                    <a:pt x="754" y="0"/>
                  </a:moveTo>
                  <a:cubicBezTo>
                    <a:pt x="274" y="92"/>
                    <a:pt x="0" y="366"/>
                    <a:pt x="0" y="571"/>
                  </a:cubicBezTo>
                  <a:cubicBezTo>
                    <a:pt x="232" y="1208"/>
                    <a:pt x="546" y="1437"/>
                    <a:pt x="858" y="1437"/>
                  </a:cubicBezTo>
                  <a:cubicBezTo>
                    <a:pt x="915" y="1437"/>
                    <a:pt x="971" y="1430"/>
                    <a:pt x="1028" y="1416"/>
                  </a:cubicBezTo>
                  <a:cubicBezTo>
                    <a:pt x="1507" y="1233"/>
                    <a:pt x="1598" y="754"/>
                    <a:pt x="1416" y="366"/>
                  </a:cubicBezTo>
                  <a:cubicBezTo>
                    <a:pt x="1324" y="183"/>
                    <a:pt x="936" y="0"/>
                    <a:pt x="75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7" name="Google Shape;2727;p37"/>
            <p:cNvSpPr/>
            <p:nvPr/>
          </p:nvSpPr>
          <p:spPr>
            <a:xfrm>
              <a:off x="5147061" y="4605733"/>
              <a:ext cx="33835" cy="30723"/>
            </a:xfrm>
            <a:custGeom>
              <a:avLst/>
              <a:gdLst/>
              <a:ahLst/>
              <a:cxnLst/>
              <a:rect l="l" t="t" r="r" b="b"/>
              <a:pathLst>
                <a:path w="1622" h="1473" extrusionOk="0">
                  <a:moveTo>
                    <a:pt x="706" y="1"/>
                  </a:moveTo>
                  <a:cubicBezTo>
                    <a:pt x="382" y="1"/>
                    <a:pt x="188" y="314"/>
                    <a:pt x="115" y="628"/>
                  </a:cubicBezTo>
                  <a:cubicBezTo>
                    <a:pt x="0" y="1199"/>
                    <a:pt x="297" y="1381"/>
                    <a:pt x="777" y="1473"/>
                  </a:cubicBezTo>
                  <a:cubicBezTo>
                    <a:pt x="1256" y="1381"/>
                    <a:pt x="1621" y="1199"/>
                    <a:pt x="1438" y="628"/>
                  </a:cubicBezTo>
                  <a:cubicBezTo>
                    <a:pt x="1438" y="423"/>
                    <a:pt x="1142" y="149"/>
                    <a:pt x="959" y="57"/>
                  </a:cubicBezTo>
                  <a:cubicBezTo>
                    <a:pt x="867" y="18"/>
                    <a:pt x="783" y="1"/>
                    <a:pt x="706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8" name="Google Shape;2728;p37"/>
            <p:cNvSpPr/>
            <p:nvPr/>
          </p:nvSpPr>
          <p:spPr>
            <a:xfrm>
              <a:off x="5333716" y="4605754"/>
              <a:ext cx="31916" cy="29159"/>
            </a:xfrm>
            <a:custGeom>
              <a:avLst/>
              <a:gdLst/>
              <a:ahLst/>
              <a:cxnLst/>
              <a:rect l="l" t="t" r="r" b="b"/>
              <a:pathLst>
                <a:path w="1530" h="1398" extrusionOk="0">
                  <a:moveTo>
                    <a:pt x="947" y="0"/>
                  </a:moveTo>
                  <a:cubicBezTo>
                    <a:pt x="864" y="0"/>
                    <a:pt x="769" y="18"/>
                    <a:pt x="662" y="56"/>
                  </a:cubicBezTo>
                  <a:cubicBezTo>
                    <a:pt x="479" y="56"/>
                    <a:pt x="183" y="330"/>
                    <a:pt x="91" y="536"/>
                  </a:cubicBezTo>
                  <a:cubicBezTo>
                    <a:pt x="0" y="992"/>
                    <a:pt x="297" y="1380"/>
                    <a:pt x="753" y="1380"/>
                  </a:cubicBezTo>
                  <a:cubicBezTo>
                    <a:pt x="815" y="1392"/>
                    <a:pt x="874" y="1398"/>
                    <a:pt x="929" y="1398"/>
                  </a:cubicBezTo>
                  <a:cubicBezTo>
                    <a:pt x="1304" y="1398"/>
                    <a:pt x="1529" y="1136"/>
                    <a:pt x="1529" y="718"/>
                  </a:cubicBezTo>
                  <a:cubicBezTo>
                    <a:pt x="1455" y="329"/>
                    <a:pt x="1306" y="0"/>
                    <a:pt x="94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9" name="Google Shape;2729;p37"/>
            <p:cNvSpPr/>
            <p:nvPr/>
          </p:nvSpPr>
          <p:spPr>
            <a:xfrm>
              <a:off x="5522249" y="4605733"/>
              <a:ext cx="33835" cy="30723"/>
            </a:xfrm>
            <a:custGeom>
              <a:avLst/>
              <a:gdLst/>
              <a:ahLst/>
              <a:cxnLst/>
              <a:rect l="l" t="t" r="r" b="b"/>
              <a:pathLst>
                <a:path w="1622" h="1473" extrusionOk="0">
                  <a:moveTo>
                    <a:pt x="704" y="1"/>
                  </a:moveTo>
                  <a:cubicBezTo>
                    <a:pt x="374" y="1"/>
                    <a:pt x="166" y="314"/>
                    <a:pt x="92" y="628"/>
                  </a:cubicBezTo>
                  <a:cubicBezTo>
                    <a:pt x="1" y="1199"/>
                    <a:pt x="275" y="1381"/>
                    <a:pt x="754" y="1473"/>
                  </a:cubicBezTo>
                  <a:cubicBezTo>
                    <a:pt x="1233" y="1381"/>
                    <a:pt x="1621" y="1199"/>
                    <a:pt x="1416" y="628"/>
                  </a:cubicBezTo>
                  <a:cubicBezTo>
                    <a:pt x="1416" y="423"/>
                    <a:pt x="1142" y="149"/>
                    <a:pt x="959" y="57"/>
                  </a:cubicBezTo>
                  <a:cubicBezTo>
                    <a:pt x="868" y="18"/>
                    <a:pt x="783" y="1"/>
                    <a:pt x="7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0" name="Google Shape;2730;p37"/>
            <p:cNvSpPr/>
            <p:nvPr/>
          </p:nvSpPr>
          <p:spPr>
            <a:xfrm>
              <a:off x="5708904" y="4605524"/>
              <a:ext cx="33355" cy="29034"/>
            </a:xfrm>
            <a:custGeom>
              <a:avLst/>
              <a:gdLst/>
              <a:ahLst/>
              <a:cxnLst/>
              <a:rect l="l" t="t" r="r" b="b"/>
              <a:pathLst>
                <a:path w="1599" h="1392" extrusionOk="0">
                  <a:moveTo>
                    <a:pt x="819" y="0"/>
                  </a:moveTo>
                  <a:cubicBezTo>
                    <a:pt x="737" y="0"/>
                    <a:pt x="653" y="21"/>
                    <a:pt x="571" y="67"/>
                  </a:cubicBezTo>
                  <a:cubicBezTo>
                    <a:pt x="183" y="159"/>
                    <a:pt x="0" y="638"/>
                    <a:pt x="183" y="1117"/>
                  </a:cubicBezTo>
                  <a:cubicBezTo>
                    <a:pt x="274" y="1300"/>
                    <a:pt x="662" y="1391"/>
                    <a:pt x="845" y="1391"/>
                  </a:cubicBezTo>
                  <a:cubicBezTo>
                    <a:pt x="1324" y="1391"/>
                    <a:pt x="1598" y="1117"/>
                    <a:pt x="1507" y="547"/>
                  </a:cubicBezTo>
                  <a:cubicBezTo>
                    <a:pt x="1365" y="246"/>
                    <a:pt x="1101" y="0"/>
                    <a:pt x="81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1" name="Google Shape;2731;p37"/>
            <p:cNvSpPr/>
            <p:nvPr/>
          </p:nvSpPr>
          <p:spPr>
            <a:xfrm>
              <a:off x="5895080" y="4605754"/>
              <a:ext cx="33814" cy="29159"/>
            </a:xfrm>
            <a:custGeom>
              <a:avLst/>
              <a:gdLst/>
              <a:ahLst/>
              <a:cxnLst/>
              <a:rect l="l" t="t" r="r" b="b"/>
              <a:pathLst>
                <a:path w="1621" h="1398" extrusionOk="0">
                  <a:moveTo>
                    <a:pt x="1059" y="0"/>
                  </a:moveTo>
                  <a:cubicBezTo>
                    <a:pt x="977" y="0"/>
                    <a:pt x="883" y="18"/>
                    <a:pt x="776" y="56"/>
                  </a:cubicBezTo>
                  <a:cubicBezTo>
                    <a:pt x="571" y="56"/>
                    <a:pt x="297" y="330"/>
                    <a:pt x="205" y="536"/>
                  </a:cubicBezTo>
                  <a:cubicBezTo>
                    <a:pt x="0" y="992"/>
                    <a:pt x="388" y="1380"/>
                    <a:pt x="776" y="1380"/>
                  </a:cubicBezTo>
                  <a:cubicBezTo>
                    <a:pt x="849" y="1392"/>
                    <a:pt x="916" y="1398"/>
                    <a:pt x="978" y="1398"/>
                  </a:cubicBezTo>
                  <a:cubicBezTo>
                    <a:pt x="1392" y="1398"/>
                    <a:pt x="1541" y="1136"/>
                    <a:pt x="1621" y="718"/>
                  </a:cubicBezTo>
                  <a:cubicBezTo>
                    <a:pt x="1547" y="329"/>
                    <a:pt x="1412" y="0"/>
                    <a:pt x="105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" name="Google Shape;2493;p37">
            <a:extLst>
              <a:ext uri="{FF2B5EF4-FFF2-40B4-BE49-F238E27FC236}">
                <a16:creationId xmlns:a16="http://schemas.microsoft.com/office/drawing/2014/main" id="{178FA579-34F4-3CFC-E71B-5633B0C7CC78}"/>
              </a:ext>
            </a:extLst>
          </p:cNvPr>
          <p:cNvSpPr txBox="1">
            <a:spLocks/>
          </p:cNvSpPr>
          <p:nvPr/>
        </p:nvSpPr>
        <p:spPr>
          <a:xfrm>
            <a:off x="161762" y="164427"/>
            <a:ext cx="8023771" cy="14466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Font typeface="Paytone One"/>
              <a:buNone/>
              <a:defRPr sz="4500" b="0" i="0" u="none" strike="noStrike" cap="none">
                <a:solidFill>
                  <a:schemeClr val="dk1"/>
                </a:solidFill>
                <a:latin typeface="Paytone One"/>
                <a:ea typeface="Paytone One"/>
                <a:cs typeface="Paytone One"/>
                <a:sym typeface="Paytone One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Font typeface="Bebas Neue"/>
              <a:buNone/>
              <a:defRPr sz="5200" b="0" i="0" u="none" strike="noStrike" cap="none">
                <a:solidFill>
                  <a:srgbClr val="191919"/>
                </a:solidFill>
                <a:latin typeface="Bebas Neue"/>
                <a:ea typeface="Bebas Neue"/>
                <a:cs typeface="Bebas Neue"/>
                <a:sym typeface="Bebas Neue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Font typeface="Bebas Neue"/>
              <a:buNone/>
              <a:defRPr sz="5200" b="0" i="0" u="none" strike="noStrike" cap="none">
                <a:solidFill>
                  <a:srgbClr val="191919"/>
                </a:solidFill>
                <a:latin typeface="Bebas Neue"/>
                <a:ea typeface="Bebas Neue"/>
                <a:cs typeface="Bebas Neue"/>
                <a:sym typeface="Bebas Neue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Font typeface="Bebas Neue"/>
              <a:buNone/>
              <a:defRPr sz="5200" b="0" i="0" u="none" strike="noStrike" cap="none">
                <a:solidFill>
                  <a:srgbClr val="191919"/>
                </a:solidFill>
                <a:latin typeface="Bebas Neue"/>
                <a:ea typeface="Bebas Neue"/>
                <a:cs typeface="Bebas Neue"/>
                <a:sym typeface="Bebas Neue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Font typeface="Bebas Neue"/>
              <a:buNone/>
              <a:defRPr sz="5200" b="0" i="0" u="none" strike="noStrike" cap="none">
                <a:solidFill>
                  <a:srgbClr val="191919"/>
                </a:solidFill>
                <a:latin typeface="Bebas Neue"/>
                <a:ea typeface="Bebas Neue"/>
                <a:cs typeface="Bebas Neue"/>
                <a:sym typeface="Bebas Neue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Font typeface="Bebas Neue"/>
              <a:buNone/>
              <a:defRPr sz="5200" b="0" i="0" u="none" strike="noStrike" cap="none">
                <a:solidFill>
                  <a:srgbClr val="191919"/>
                </a:solidFill>
                <a:latin typeface="Bebas Neue"/>
                <a:ea typeface="Bebas Neue"/>
                <a:cs typeface="Bebas Neue"/>
                <a:sym typeface="Bebas Neue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Font typeface="Bebas Neue"/>
              <a:buNone/>
              <a:defRPr sz="5200" b="0" i="0" u="none" strike="noStrike" cap="none">
                <a:solidFill>
                  <a:srgbClr val="191919"/>
                </a:solidFill>
                <a:latin typeface="Bebas Neue"/>
                <a:ea typeface="Bebas Neue"/>
                <a:cs typeface="Bebas Neue"/>
                <a:sym typeface="Bebas Neue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Font typeface="Bebas Neue"/>
              <a:buNone/>
              <a:defRPr sz="5200" b="0" i="0" u="none" strike="noStrike" cap="none">
                <a:solidFill>
                  <a:srgbClr val="191919"/>
                </a:solidFill>
                <a:latin typeface="Bebas Neue"/>
                <a:ea typeface="Bebas Neue"/>
                <a:cs typeface="Bebas Neue"/>
                <a:sym typeface="Bebas Neue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Font typeface="Bebas Neue"/>
              <a:buNone/>
              <a:defRPr sz="5200" b="0" i="0" u="none" strike="noStrike" cap="none">
                <a:solidFill>
                  <a:srgbClr val="191919"/>
                </a:solidFill>
                <a:latin typeface="Bebas Neue"/>
                <a:ea typeface="Bebas Neue"/>
                <a:cs typeface="Bebas Neue"/>
                <a:sym typeface="Bebas Neue"/>
              </a:defRPr>
            </a:lvl9pPr>
          </a:lstStyle>
          <a:p>
            <a:r>
              <a:rPr lang="en-US" dirty="0">
                <a:solidFill>
                  <a:schemeClr val="dk2"/>
                </a:solidFill>
              </a:rPr>
              <a:t>The Social Cost</a:t>
            </a:r>
            <a:br>
              <a:rPr lang="en-US" dirty="0">
                <a:solidFill>
                  <a:schemeClr val="dk2"/>
                </a:solidFill>
              </a:rPr>
            </a:br>
            <a:r>
              <a:rPr lang="en-US" dirty="0">
                <a:solidFill>
                  <a:schemeClr val="accent1"/>
                </a:solidFill>
              </a:rPr>
              <a:t>of Carbon : </a:t>
            </a:r>
            <a:endParaRPr lang="en-US" dirty="0"/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495">
          <a:extLst>
            <a:ext uri="{FF2B5EF4-FFF2-40B4-BE49-F238E27FC236}">
              <a16:creationId xmlns:a16="http://schemas.microsoft.com/office/drawing/2014/main" id="{B194AC9D-BB20-5049-8030-90408F016F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EA8A08D-67E5-10BC-D6D8-758EAEAEF4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A8A08D-67E5-10BC-D6D8-758EAEAEF4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graph of a stock market&#10;&#10;AI-generated content may be incorrect.">
            <a:extLst>
              <a:ext uri="{FF2B5EF4-FFF2-40B4-BE49-F238E27FC236}">
                <a16:creationId xmlns:a16="http://schemas.microsoft.com/office/drawing/2014/main" id="{3BE6EBAC-17A1-20D9-EB1C-B6C31E8E6EA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6498" y="169061"/>
            <a:ext cx="6807618" cy="4805377"/>
          </a:xfrm>
          <a:prstGeom prst="round2DiagRect">
            <a:avLst>
              <a:gd name="adj1" fmla="val 10585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166415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495">
          <a:extLst>
            <a:ext uri="{FF2B5EF4-FFF2-40B4-BE49-F238E27FC236}">
              <a16:creationId xmlns:a16="http://schemas.microsoft.com/office/drawing/2014/main" id="{FBB97847-4C27-8730-FA42-9731DCA8F5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BDD31A3-7556-808D-BDDD-DF6F153EA8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DD31A3-7556-808D-BDDD-DF6F153EA8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graph of gas emissions&#10;&#10;AI-generated content may be incorrect.">
            <a:extLst>
              <a:ext uri="{FF2B5EF4-FFF2-40B4-BE49-F238E27FC236}">
                <a16:creationId xmlns:a16="http://schemas.microsoft.com/office/drawing/2014/main" id="{251A58AE-43AC-A2E8-7AE3-EE0F1CFD91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4783" y="186047"/>
            <a:ext cx="6759492" cy="4771406"/>
          </a:xfrm>
          <a:prstGeom prst="round2DiagRect">
            <a:avLst>
              <a:gd name="adj1" fmla="val 9354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481481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495">
          <a:extLst>
            <a:ext uri="{FF2B5EF4-FFF2-40B4-BE49-F238E27FC236}">
              <a16:creationId xmlns:a16="http://schemas.microsoft.com/office/drawing/2014/main" id="{50C414E8-4921-25D5-142E-716194B0CE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2ED233E-0188-04E7-7B16-9F0CF775E2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4732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ED233E-0188-04E7-7B16-9F0CF775E2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8759A74-72A3-9536-7CD0-7E4F59CD237A}"/>
              </a:ext>
            </a:extLst>
          </p:cNvPr>
          <p:cNvSpPr txBox="1"/>
          <p:nvPr/>
        </p:nvSpPr>
        <p:spPr>
          <a:xfrm>
            <a:off x="1010652" y="998621"/>
            <a:ext cx="729113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5400" dirty="0">
                <a:solidFill>
                  <a:srgbClr val="AAACB1"/>
                </a:solidFill>
                <a:latin typeface="Paytone One" panose="020B0604020202020204" charset="0"/>
              </a:rPr>
              <a:t>Timeline of Social Cost of Carbon(SCC) in USA</a:t>
            </a:r>
          </a:p>
        </p:txBody>
      </p:sp>
    </p:spTree>
    <p:extLst>
      <p:ext uri="{BB962C8B-B14F-4D97-AF65-F5344CB8AC3E}">
        <p14:creationId xmlns:p14="http://schemas.microsoft.com/office/powerpoint/2010/main" val="23235816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495">
          <a:extLst>
            <a:ext uri="{FF2B5EF4-FFF2-40B4-BE49-F238E27FC236}">
              <a16:creationId xmlns:a16="http://schemas.microsoft.com/office/drawing/2014/main" id="{E59FB4F8-E5AD-74EC-957F-E77B71F6C5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89E45DA-DEBA-2CF0-C720-137E182B1E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9E45DA-DEBA-2CF0-C720-137E182B1E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2" name="Picture 4">
            <a:extLst>
              <a:ext uri="{FF2B5EF4-FFF2-40B4-BE49-F238E27FC236}">
                <a16:creationId xmlns:a16="http://schemas.microsoft.com/office/drawing/2014/main" id="{CB249EC6-9A23-4A5C-8F96-77659CE5C5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849" y="-6199202"/>
            <a:ext cx="20530332" cy="11674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64782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495">
          <a:extLst>
            <a:ext uri="{FF2B5EF4-FFF2-40B4-BE49-F238E27FC236}">
              <a16:creationId xmlns:a16="http://schemas.microsoft.com/office/drawing/2014/main" id="{D90D6DEB-378E-4403-74C9-0032553B84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DEFFB5E-98B6-FBA9-123F-F7FE1B6889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EFFB5E-98B6-FBA9-123F-F7FE1B6889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2" name="Picture 4">
            <a:extLst>
              <a:ext uri="{FF2B5EF4-FFF2-40B4-BE49-F238E27FC236}">
                <a16:creationId xmlns:a16="http://schemas.microsoft.com/office/drawing/2014/main" id="{62E39ED9-9DEA-B41C-5752-31FA4A05A9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548223" y="-2992150"/>
            <a:ext cx="20758846" cy="12983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3272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495">
          <a:extLst>
            <a:ext uri="{FF2B5EF4-FFF2-40B4-BE49-F238E27FC236}">
              <a16:creationId xmlns:a16="http://schemas.microsoft.com/office/drawing/2014/main" id="{53E3DDA2-3EFF-7675-5252-29BE63EE9C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F71F429-3863-F937-C4BA-3EFE2D0E47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71F429-3863-F937-C4BA-3EFE2D0E4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2" name="Picture 4">
            <a:extLst>
              <a:ext uri="{FF2B5EF4-FFF2-40B4-BE49-F238E27FC236}">
                <a16:creationId xmlns:a16="http://schemas.microsoft.com/office/drawing/2014/main" id="{3A40EFA2-B819-E228-3D0F-451D3CB5C4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822119" y="-5419514"/>
            <a:ext cx="19264491" cy="12048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10601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495">
          <a:extLst>
            <a:ext uri="{FF2B5EF4-FFF2-40B4-BE49-F238E27FC236}">
              <a16:creationId xmlns:a16="http://schemas.microsoft.com/office/drawing/2014/main" id="{982F68B9-F9DD-617D-9103-9A198DCB04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5973754-A8CC-9471-9498-AC38DB7CEC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973754-A8CC-9471-9498-AC38DB7CEC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2" name="Picture 4">
            <a:extLst>
              <a:ext uri="{FF2B5EF4-FFF2-40B4-BE49-F238E27FC236}">
                <a16:creationId xmlns:a16="http://schemas.microsoft.com/office/drawing/2014/main" id="{FE4DD0F2-42E0-BABD-D5B6-E090D070C6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527970" y="-1925199"/>
            <a:ext cx="20247428" cy="12663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50569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32">
          <a:extLst>
            <a:ext uri="{FF2B5EF4-FFF2-40B4-BE49-F238E27FC236}">
              <a16:creationId xmlns:a16="http://schemas.microsoft.com/office/drawing/2014/main" id="{BB554D8A-F559-B3F6-B9BC-5623F8C112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3" name="Google Shape;5133;p53">
            <a:extLst>
              <a:ext uri="{FF2B5EF4-FFF2-40B4-BE49-F238E27FC236}">
                <a16:creationId xmlns:a16="http://schemas.microsoft.com/office/drawing/2014/main" id="{FC9F2A54-A567-64C6-FC72-CA9902E51CCD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0" y="1121485"/>
            <a:ext cx="4995081" cy="36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/>
            <a:r>
              <a:rPr lang="en-US" sz="2800" dirty="0">
                <a:solidFill>
                  <a:srgbClr val="FFFFFF"/>
                </a:solidFill>
                <a:latin typeface="Kumbh Sans" panose="020B0604020202020204" charset="0"/>
                <a:cs typeface="Kumbh Sans" panose="020B0604020202020204" charset="0"/>
              </a:rPr>
              <a:t>IWG's estimate for the SCC : </a:t>
            </a:r>
            <a:endParaRPr sz="2800" dirty="0"/>
          </a:p>
        </p:txBody>
      </p:sp>
      <p:sp>
        <p:nvSpPr>
          <p:cNvPr id="5134" name="Google Shape;5134;p53">
            <a:extLst>
              <a:ext uri="{FF2B5EF4-FFF2-40B4-BE49-F238E27FC236}">
                <a16:creationId xmlns:a16="http://schemas.microsoft.com/office/drawing/2014/main" id="{68FCFB66-836E-1642-BC25-F0FAD0C9E00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07402" y="890486"/>
            <a:ext cx="6329196" cy="300292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200" dirty="0"/>
              <a:t>US $ 41/tCO</a:t>
            </a:r>
            <a:r>
              <a:rPr lang="en-US" sz="7200" baseline="-25000" dirty="0"/>
              <a:t>2</a:t>
            </a:r>
            <a:endParaRPr sz="7200" baseline="-25000" dirty="0"/>
          </a:p>
        </p:txBody>
      </p:sp>
      <p:grpSp>
        <p:nvGrpSpPr>
          <p:cNvPr id="5139" name="Google Shape;5139;p53">
            <a:extLst>
              <a:ext uri="{FF2B5EF4-FFF2-40B4-BE49-F238E27FC236}">
                <a16:creationId xmlns:a16="http://schemas.microsoft.com/office/drawing/2014/main" id="{9E1DF710-164C-C94E-D586-1E1FC17D1A3C}"/>
              </a:ext>
            </a:extLst>
          </p:cNvPr>
          <p:cNvGrpSpPr/>
          <p:nvPr/>
        </p:nvGrpSpPr>
        <p:grpSpPr>
          <a:xfrm>
            <a:off x="1" y="2420914"/>
            <a:ext cx="2136935" cy="2183097"/>
            <a:chOff x="998550" y="1958600"/>
            <a:chExt cx="693225" cy="708200"/>
          </a:xfrm>
        </p:grpSpPr>
        <p:sp>
          <p:nvSpPr>
            <p:cNvPr id="5140" name="Google Shape;5140;p53">
              <a:extLst>
                <a:ext uri="{FF2B5EF4-FFF2-40B4-BE49-F238E27FC236}">
                  <a16:creationId xmlns:a16="http://schemas.microsoft.com/office/drawing/2014/main" id="{21B53AEF-6F06-44B0-F2F5-570C4B97B2EB}"/>
                </a:ext>
              </a:extLst>
            </p:cNvPr>
            <p:cNvSpPr/>
            <p:nvPr/>
          </p:nvSpPr>
          <p:spPr>
            <a:xfrm>
              <a:off x="1404400" y="2326850"/>
              <a:ext cx="89175" cy="43725"/>
            </a:xfrm>
            <a:custGeom>
              <a:avLst/>
              <a:gdLst/>
              <a:ahLst/>
              <a:cxnLst/>
              <a:rect l="l" t="t" r="r" b="b"/>
              <a:pathLst>
                <a:path w="3567" h="1749" extrusionOk="0">
                  <a:moveTo>
                    <a:pt x="1566" y="0"/>
                  </a:moveTo>
                  <a:cubicBezTo>
                    <a:pt x="935" y="0"/>
                    <a:pt x="424" y="496"/>
                    <a:pt x="380" y="1112"/>
                  </a:cubicBezTo>
                  <a:cubicBezTo>
                    <a:pt x="165" y="1156"/>
                    <a:pt x="1" y="1348"/>
                    <a:pt x="1" y="1578"/>
                  </a:cubicBezTo>
                  <a:cubicBezTo>
                    <a:pt x="1" y="1638"/>
                    <a:pt x="17" y="1697"/>
                    <a:pt x="31" y="1748"/>
                  </a:cubicBezTo>
                  <a:lnTo>
                    <a:pt x="3567" y="1748"/>
                  </a:lnTo>
                  <a:lnTo>
                    <a:pt x="3567" y="1704"/>
                  </a:lnTo>
                  <a:cubicBezTo>
                    <a:pt x="3567" y="1371"/>
                    <a:pt x="3291" y="1098"/>
                    <a:pt x="2958" y="1098"/>
                  </a:cubicBezTo>
                  <a:cubicBezTo>
                    <a:pt x="2884" y="1098"/>
                    <a:pt x="2818" y="1112"/>
                    <a:pt x="2750" y="1133"/>
                  </a:cubicBezTo>
                  <a:cubicBezTo>
                    <a:pt x="2722" y="504"/>
                    <a:pt x="2203" y="0"/>
                    <a:pt x="1566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1" name="Google Shape;5141;p53">
              <a:extLst>
                <a:ext uri="{FF2B5EF4-FFF2-40B4-BE49-F238E27FC236}">
                  <a16:creationId xmlns:a16="http://schemas.microsoft.com/office/drawing/2014/main" id="{2E368D23-F800-39D5-FEA0-869573037F2F}"/>
                </a:ext>
              </a:extLst>
            </p:cNvPr>
            <p:cNvSpPr/>
            <p:nvPr/>
          </p:nvSpPr>
          <p:spPr>
            <a:xfrm>
              <a:off x="1067275" y="2387975"/>
              <a:ext cx="166575" cy="202150"/>
            </a:xfrm>
            <a:custGeom>
              <a:avLst/>
              <a:gdLst/>
              <a:ahLst/>
              <a:cxnLst/>
              <a:rect l="l" t="t" r="r" b="b"/>
              <a:pathLst>
                <a:path w="6663" h="8086" extrusionOk="0">
                  <a:moveTo>
                    <a:pt x="1" y="1"/>
                  </a:moveTo>
                  <a:lnTo>
                    <a:pt x="1" y="8085"/>
                  </a:lnTo>
                  <a:lnTo>
                    <a:pt x="6662" y="8085"/>
                  </a:lnTo>
                  <a:lnTo>
                    <a:pt x="6662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2" name="Google Shape;5142;p53">
              <a:extLst>
                <a:ext uri="{FF2B5EF4-FFF2-40B4-BE49-F238E27FC236}">
                  <a16:creationId xmlns:a16="http://schemas.microsoft.com/office/drawing/2014/main" id="{6BBF9BB6-FC81-9B63-AD7B-3AEE33E2E829}"/>
                </a:ext>
              </a:extLst>
            </p:cNvPr>
            <p:cNvSpPr/>
            <p:nvPr/>
          </p:nvSpPr>
          <p:spPr>
            <a:xfrm>
              <a:off x="1067275" y="2460575"/>
              <a:ext cx="166575" cy="10425"/>
            </a:xfrm>
            <a:custGeom>
              <a:avLst/>
              <a:gdLst/>
              <a:ahLst/>
              <a:cxnLst/>
              <a:rect l="l" t="t" r="r" b="b"/>
              <a:pathLst>
                <a:path w="6663" h="417" extrusionOk="0">
                  <a:moveTo>
                    <a:pt x="1" y="1"/>
                  </a:moveTo>
                  <a:lnTo>
                    <a:pt x="1" y="417"/>
                  </a:lnTo>
                  <a:lnTo>
                    <a:pt x="6662" y="417"/>
                  </a:lnTo>
                  <a:lnTo>
                    <a:pt x="666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3" name="Google Shape;5143;p53">
              <a:extLst>
                <a:ext uri="{FF2B5EF4-FFF2-40B4-BE49-F238E27FC236}">
                  <a16:creationId xmlns:a16="http://schemas.microsoft.com/office/drawing/2014/main" id="{6B99B4B6-EF29-D5DD-9BA2-58A1960F1B5A}"/>
                </a:ext>
              </a:extLst>
            </p:cNvPr>
            <p:cNvSpPr/>
            <p:nvPr/>
          </p:nvSpPr>
          <p:spPr>
            <a:xfrm>
              <a:off x="1067275" y="2498550"/>
              <a:ext cx="166575" cy="35050"/>
            </a:xfrm>
            <a:custGeom>
              <a:avLst/>
              <a:gdLst/>
              <a:ahLst/>
              <a:cxnLst/>
              <a:rect l="l" t="t" r="r" b="b"/>
              <a:pathLst>
                <a:path w="6663" h="1402" extrusionOk="0">
                  <a:moveTo>
                    <a:pt x="1" y="0"/>
                  </a:moveTo>
                  <a:lnTo>
                    <a:pt x="1" y="1402"/>
                  </a:lnTo>
                  <a:lnTo>
                    <a:pt x="6662" y="1402"/>
                  </a:lnTo>
                  <a:lnTo>
                    <a:pt x="6662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4" name="Google Shape;5144;p53">
              <a:extLst>
                <a:ext uri="{FF2B5EF4-FFF2-40B4-BE49-F238E27FC236}">
                  <a16:creationId xmlns:a16="http://schemas.microsoft.com/office/drawing/2014/main" id="{8DD64553-577B-AC0C-603B-A5ABE195DED5}"/>
                </a:ext>
              </a:extLst>
            </p:cNvPr>
            <p:cNvSpPr/>
            <p:nvPr/>
          </p:nvSpPr>
          <p:spPr>
            <a:xfrm>
              <a:off x="1186550" y="2497075"/>
              <a:ext cx="20625" cy="37650"/>
            </a:xfrm>
            <a:custGeom>
              <a:avLst/>
              <a:gdLst/>
              <a:ahLst/>
              <a:cxnLst/>
              <a:rect l="l" t="t" r="r" b="b"/>
              <a:pathLst>
                <a:path w="825" h="1506" extrusionOk="0">
                  <a:moveTo>
                    <a:pt x="743" y="82"/>
                  </a:moveTo>
                  <a:lnTo>
                    <a:pt x="743" y="1423"/>
                  </a:lnTo>
                  <a:lnTo>
                    <a:pt x="83" y="1423"/>
                  </a:lnTo>
                  <a:lnTo>
                    <a:pt x="83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5" name="Google Shape;5145;p53">
              <a:extLst>
                <a:ext uri="{FF2B5EF4-FFF2-40B4-BE49-F238E27FC236}">
                  <a16:creationId xmlns:a16="http://schemas.microsoft.com/office/drawing/2014/main" id="{223C9552-3B4C-AF4E-9EE0-325B755B396A}"/>
                </a:ext>
              </a:extLst>
            </p:cNvPr>
            <p:cNvSpPr/>
            <p:nvPr/>
          </p:nvSpPr>
          <p:spPr>
            <a:xfrm>
              <a:off x="1149525" y="2497075"/>
              <a:ext cx="20600" cy="37650"/>
            </a:xfrm>
            <a:custGeom>
              <a:avLst/>
              <a:gdLst/>
              <a:ahLst/>
              <a:cxnLst/>
              <a:rect l="l" t="t" r="r" b="b"/>
              <a:pathLst>
                <a:path w="824" h="1506" extrusionOk="0">
                  <a:moveTo>
                    <a:pt x="742" y="82"/>
                  </a:moveTo>
                  <a:lnTo>
                    <a:pt x="742" y="1423"/>
                  </a:lnTo>
                  <a:lnTo>
                    <a:pt x="82" y="1423"/>
                  </a:lnTo>
                  <a:lnTo>
                    <a:pt x="82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6" name="Google Shape;5146;p53">
              <a:extLst>
                <a:ext uri="{FF2B5EF4-FFF2-40B4-BE49-F238E27FC236}">
                  <a16:creationId xmlns:a16="http://schemas.microsoft.com/office/drawing/2014/main" id="{7644F32B-8A45-8EC1-45AE-82879F859597}"/>
                </a:ext>
              </a:extLst>
            </p:cNvPr>
            <p:cNvSpPr/>
            <p:nvPr/>
          </p:nvSpPr>
          <p:spPr>
            <a:xfrm>
              <a:off x="1223825" y="2497075"/>
              <a:ext cx="10950" cy="37650"/>
            </a:xfrm>
            <a:custGeom>
              <a:avLst/>
              <a:gdLst/>
              <a:ahLst/>
              <a:cxnLst/>
              <a:rect l="l" t="t" r="r" b="b"/>
              <a:pathLst>
                <a:path w="438" h="1506" extrusionOk="0">
                  <a:moveTo>
                    <a:pt x="363" y="82"/>
                  </a:moveTo>
                  <a:lnTo>
                    <a:pt x="363" y="1423"/>
                  </a:lnTo>
                  <a:lnTo>
                    <a:pt x="75" y="1423"/>
                  </a:lnTo>
                  <a:lnTo>
                    <a:pt x="75" y="82"/>
                  </a:lnTo>
                  <a:close/>
                  <a:moveTo>
                    <a:pt x="0" y="1"/>
                  </a:moveTo>
                  <a:lnTo>
                    <a:pt x="0" y="1505"/>
                  </a:lnTo>
                  <a:lnTo>
                    <a:pt x="438" y="1505"/>
                  </a:lnTo>
                  <a:lnTo>
                    <a:pt x="438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7" name="Google Shape;5147;p53">
              <a:extLst>
                <a:ext uri="{FF2B5EF4-FFF2-40B4-BE49-F238E27FC236}">
                  <a16:creationId xmlns:a16="http://schemas.microsoft.com/office/drawing/2014/main" id="{5FFC1936-23BC-24EE-1BEB-CDFE6BDAF2B3}"/>
                </a:ext>
              </a:extLst>
            </p:cNvPr>
            <p:cNvSpPr/>
            <p:nvPr/>
          </p:nvSpPr>
          <p:spPr>
            <a:xfrm>
              <a:off x="1205100" y="2497075"/>
              <a:ext cx="20600" cy="37650"/>
            </a:xfrm>
            <a:custGeom>
              <a:avLst/>
              <a:gdLst/>
              <a:ahLst/>
              <a:cxnLst/>
              <a:rect l="l" t="t" r="r" b="b"/>
              <a:pathLst>
                <a:path w="824" h="1506" extrusionOk="0">
                  <a:moveTo>
                    <a:pt x="749" y="82"/>
                  </a:moveTo>
                  <a:lnTo>
                    <a:pt x="749" y="1423"/>
                  </a:lnTo>
                  <a:lnTo>
                    <a:pt x="82" y="1423"/>
                  </a:lnTo>
                  <a:lnTo>
                    <a:pt x="82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8" name="Google Shape;5148;p53">
              <a:extLst>
                <a:ext uri="{FF2B5EF4-FFF2-40B4-BE49-F238E27FC236}">
                  <a16:creationId xmlns:a16="http://schemas.microsoft.com/office/drawing/2014/main" id="{CDB17164-446B-32B1-F560-CBF0ACA44A63}"/>
                </a:ext>
              </a:extLst>
            </p:cNvPr>
            <p:cNvSpPr/>
            <p:nvPr/>
          </p:nvSpPr>
          <p:spPr>
            <a:xfrm>
              <a:off x="1168075" y="2497075"/>
              <a:ext cx="20550" cy="37650"/>
            </a:xfrm>
            <a:custGeom>
              <a:avLst/>
              <a:gdLst/>
              <a:ahLst/>
              <a:cxnLst/>
              <a:rect l="l" t="t" r="r" b="b"/>
              <a:pathLst>
                <a:path w="822" h="1506" extrusionOk="0">
                  <a:moveTo>
                    <a:pt x="740" y="82"/>
                  </a:moveTo>
                  <a:lnTo>
                    <a:pt x="740" y="1423"/>
                  </a:lnTo>
                  <a:lnTo>
                    <a:pt x="82" y="1423"/>
                  </a:lnTo>
                  <a:lnTo>
                    <a:pt x="82" y="82"/>
                  </a:lnTo>
                  <a:close/>
                  <a:moveTo>
                    <a:pt x="0" y="1"/>
                  </a:moveTo>
                  <a:lnTo>
                    <a:pt x="0" y="1505"/>
                  </a:lnTo>
                  <a:lnTo>
                    <a:pt x="822" y="1505"/>
                  </a:lnTo>
                  <a:lnTo>
                    <a:pt x="822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9" name="Google Shape;5149;p53">
              <a:extLst>
                <a:ext uri="{FF2B5EF4-FFF2-40B4-BE49-F238E27FC236}">
                  <a16:creationId xmlns:a16="http://schemas.microsoft.com/office/drawing/2014/main" id="{92CC1844-916D-9DAA-9A69-FD4244683F98}"/>
                </a:ext>
              </a:extLst>
            </p:cNvPr>
            <p:cNvSpPr/>
            <p:nvPr/>
          </p:nvSpPr>
          <p:spPr>
            <a:xfrm>
              <a:off x="1066175" y="2497075"/>
              <a:ext cx="11125" cy="37650"/>
            </a:xfrm>
            <a:custGeom>
              <a:avLst/>
              <a:gdLst/>
              <a:ahLst/>
              <a:cxnLst/>
              <a:rect l="l" t="t" r="r" b="b"/>
              <a:pathLst>
                <a:path w="445" h="1506" extrusionOk="0">
                  <a:moveTo>
                    <a:pt x="363" y="82"/>
                  </a:moveTo>
                  <a:lnTo>
                    <a:pt x="363" y="1423"/>
                  </a:lnTo>
                  <a:lnTo>
                    <a:pt x="82" y="1423"/>
                  </a:lnTo>
                  <a:lnTo>
                    <a:pt x="82" y="82"/>
                  </a:lnTo>
                  <a:close/>
                  <a:moveTo>
                    <a:pt x="0" y="1"/>
                  </a:moveTo>
                  <a:lnTo>
                    <a:pt x="0" y="1505"/>
                  </a:lnTo>
                  <a:lnTo>
                    <a:pt x="445" y="1505"/>
                  </a:lnTo>
                  <a:lnTo>
                    <a:pt x="445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0" name="Google Shape;5150;p53">
              <a:extLst>
                <a:ext uri="{FF2B5EF4-FFF2-40B4-BE49-F238E27FC236}">
                  <a16:creationId xmlns:a16="http://schemas.microsoft.com/office/drawing/2014/main" id="{81DAFD0E-9B70-4074-430D-74B8138BACD5}"/>
                </a:ext>
              </a:extLst>
            </p:cNvPr>
            <p:cNvSpPr/>
            <p:nvPr/>
          </p:nvSpPr>
          <p:spPr>
            <a:xfrm>
              <a:off x="1075225" y="2497075"/>
              <a:ext cx="20625" cy="37650"/>
            </a:xfrm>
            <a:custGeom>
              <a:avLst/>
              <a:gdLst/>
              <a:ahLst/>
              <a:cxnLst/>
              <a:rect l="l" t="t" r="r" b="b"/>
              <a:pathLst>
                <a:path w="825" h="1506" extrusionOk="0">
                  <a:moveTo>
                    <a:pt x="750" y="82"/>
                  </a:moveTo>
                  <a:lnTo>
                    <a:pt x="750" y="1423"/>
                  </a:lnTo>
                  <a:lnTo>
                    <a:pt x="83" y="1423"/>
                  </a:lnTo>
                  <a:lnTo>
                    <a:pt x="83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1" name="Google Shape;5151;p53">
              <a:extLst>
                <a:ext uri="{FF2B5EF4-FFF2-40B4-BE49-F238E27FC236}">
                  <a16:creationId xmlns:a16="http://schemas.microsoft.com/office/drawing/2014/main" id="{247D45F8-05CA-3341-EA7A-10AF6521FC24}"/>
                </a:ext>
              </a:extLst>
            </p:cNvPr>
            <p:cNvSpPr/>
            <p:nvPr/>
          </p:nvSpPr>
          <p:spPr>
            <a:xfrm>
              <a:off x="1093950" y="2497075"/>
              <a:ext cx="20400" cy="37650"/>
            </a:xfrm>
            <a:custGeom>
              <a:avLst/>
              <a:gdLst/>
              <a:ahLst/>
              <a:cxnLst/>
              <a:rect l="l" t="t" r="r" b="b"/>
              <a:pathLst>
                <a:path w="816" h="1506" extrusionOk="0">
                  <a:moveTo>
                    <a:pt x="742" y="82"/>
                  </a:moveTo>
                  <a:lnTo>
                    <a:pt x="742" y="1423"/>
                  </a:lnTo>
                  <a:lnTo>
                    <a:pt x="75" y="1423"/>
                  </a:lnTo>
                  <a:lnTo>
                    <a:pt x="75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15" y="1505"/>
                  </a:lnTo>
                  <a:lnTo>
                    <a:pt x="815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2" name="Google Shape;5152;p53">
              <a:extLst>
                <a:ext uri="{FF2B5EF4-FFF2-40B4-BE49-F238E27FC236}">
                  <a16:creationId xmlns:a16="http://schemas.microsoft.com/office/drawing/2014/main" id="{22E6D0E3-7A32-89E2-7B98-327A39AEF1D6}"/>
                </a:ext>
              </a:extLst>
            </p:cNvPr>
            <p:cNvSpPr/>
            <p:nvPr/>
          </p:nvSpPr>
          <p:spPr>
            <a:xfrm>
              <a:off x="1130975" y="2497075"/>
              <a:ext cx="20625" cy="37650"/>
            </a:xfrm>
            <a:custGeom>
              <a:avLst/>
              <a:gdLst/>
              <a:ahLst/>
              <a:cxnLst/>
              <a:rect l="l" t="t" r="r" b="b"/>
              <a:pathLst>
                <a:path w="825" h="1506" extrusionOk="0">
                  <a:moveTo>
                    <a:pt x="743" y="82"/>
                  </a:moveTo>
                  <a:lnTo>
                    <a:pt x="743" y="1423"/>
                  </a:lnTo>
                  <a:lnTo>
                    <a:pt x="83" y="1423"/>
                  </a:lnTo>
                  <a:lnTo>
                    <a:pt x="83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3" name="Google Shape;5153;p53">
              <a:extLst>
                <a:ext uri="{FF2B5EF4-FFF2-40B4-BE49-F238E27FC236}">
                  <a16:creationId xmlns:a16="http://schemas.microsoft.com/office/drawing/2014/main" id="{D30018F4-CEAD-0DA9-D679-A708C4CD90FC}"/>
                </a:ext>
              </a:extLst>
            </p:cNvPr>
            <p:cNvSpPr/>
            <p:nvPr/>
          </p:nvSpPr>
          <p:spPr>
            <a:xfrm>
              <a:off x="1112500" y="2497075"/>
              <a:ext cx="20550" cy="37650"/>
            </a:xfrm>
            <a:custGeom>
              <a:avLst/>
              <a:gdLst/>
              <a:ahLst/>
              <a:cxnLst/>
              <a:rect l="l" t="t" r="r" b="b"/>
              <a:pathLst>
                <a:path w="822" h="1506" extrusionOk="0">
                  <a:moveTo>
                    <a:pt x="740" y="82"/>
                  </a:moveTo>
                  <a:lnTo>
                    <a:pt x="740" y="1423"/>
                  </a:lnTo>
                  <a:lnTo>
                    <a:pt x="73" y="1423"/>
                  </a:lnTo>
                  <a:lnTo>
                    <a:pt x="73" y="82"/>
                  </a:lnTo>
                  <a:close/>
                  <a:moveTo>
                    <a:pt x="0" y="1"/>
                  </a:moveTo>
                  <a:lnTo>
                    <a:pt x="0" y="1505"/>
                  </a:lnTo>
                  <a:lnTo>
                    <a:pt x="822" y="1505"/>
                  </a:lnTo>
                  <a:lnTo>
                    <a:pt x="822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4" name="Google Shape;5154;p53">
              <a:extLst>
                <a:ext uri="{FF2B5EF4-FFF2-40B4-BE49-F238E27FC236}">
                  <a16:creationId xmlns:a16="http://schemas.microsoft.com/office/drawing/2014/main" id="{71CD1352-6D9B-FED8-03E0-D63A7CCA9DFE}"/>
                </a:ext>
              </a:extLst>
            </p:cNvPr>
            <p:cNvSpPr/>
            <p:nvPr/>
          </p:nvSpPr>
          <p:spPr>
            <a:xfrm>
              <a:off x="1116350" y="2274025"/>
              <a:ext cx="52275" cy="316100"/>
            </a:xfrm>
            <a:custGeom>
              <a:avLst/>
              <a:gdLst/>
              <a:ahLst/>
              <a:cxnLst/>
              <a:rect l="l" t="t" r="r" b="b"/>
              <a:pathLst>
                <a:path w="2091" h="12644" extrusionOk="0">
                  <a:moveTo>
                    <a:pt x="565" y="1"/>
                  </a:moveTo>
                  <a:lnTo>
                    <a:pt x="1" y="12613"/>
                  </a:lnTo>
                  <a:lnTo>
                    <a:pt x="2090" y="12643"/>
                  </a:lnTo>
                  <a:lnTo>
                    <a:pt x="1824" y="17"/>
                  </a:lnTo>
                  <a:lnTo>
                    <a:pt x="565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5" name="Google Shape;5155;p53">
              <a:extLst>
                <a:ext uri="{FF2B5EF4-FFF2-40B4-BE49-F238E27FC236}">
                  <a16:creationId xmlns:a16="http://schemas.microsoft.com/office/drawing/2014/main" id="{FCFAA684-6CCD-BDF5-9860-DE3371F2ECB8}"/>
                </a:ext>
              </a:extLst>
            </p:cNvPr>
            <p:cNvSpPr/>
            <p:nvPr/>
          </p:nvSpPr>
          <p:spPr>
            <a:xfrm>
              <a:off x="1116350" y="2274250"/>
              <a:ext cx="29875" cy="312875"/>
            </a:xfrm>
            <a:custGeom>
              <a:avLst/>
              <a:gdLst/>
              <a:ahLst/>
              <a:cxnLst/>
              <a:rect l="l" t="t" r="r" b="b"/>
              <a:pathLst>
                <a:path w="1195" h="12515" extrusionOk="0">
                  <a:moveTo>
                    <a:pt x="565" y="0"/>
                  </a:moveTo>
                  <a:lnTo>
                    <a:pt x="1" y="12515"/>
                  </a:lnTo>
                  <a:lnTo>
                    <a:pt x="1047" y="12515"/>
                  </a:lnTo>
                  <a:lnTo>
                    <a:pt x="1194" y="8"/>
                  </a:lnTo>
                  <a:lnTo>
                    <a:pt x="565" y="0"/>
                  </a:lnTo>
                  <a:close/>
                </a:path>
              </a:pathLst>
            </a:custGeom>
            <a:solidFill>
              <a:srgbClr val="92939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6" name="Google Shape;5156;p53">
              <a:extLst>
                <a:ext uri="{FF2B5EF4-FFF2-40B4-BE49-F238E27FC236}">
                  <a16:creationId xmlns:a16="http://schemas.microsoft.com/office/drawing/2014/main" id="{A01B9C73-D1F3-2ABC-B094-3515AFCE5B3A}"/>
                </a:ext>
              </a:extLst>
            </p:cNvPr>
            <p:cNvSpPr/>
            <p:nvPr/>
          </p:nvSpPr>
          <p:spPr>
            <a:xfrm>
              <a:off x="1126375" y="2350000"/>
              <a:ext cx="37450" cy="18925"/>
            </a:xfrm>
            <a:custGeom>
              <a:avLst/>
              <a:gdLst/>
              <a:ahLst/>
              <a:cxnLst/>
              <a:rect l="l" t="t" r="r" b="b"/>
              <a:pathLst>
                <a:path w="1498" h="757" extrusionOk="0">
                  <a:moveTo>
                    <a:pt x="37" y="1"/>
                  </a:moveTo>
                  <a:lnTo>
                    <a:pt x="0" y="734"/>
                  </a:lnTo>
                  <a:lnTo>
                    <a:pt x="749" y="741"/>
                  </a:lnTo>
                  <a:lnTo>
                    <a:pt x="1497" y="757"/>
                  </a:lnTo>
                  <a:lnTo>
                    <a:pt x="1483" y="22"/>
                  </a:lnTo>
                  <a:lnTo>
                    <a:pt x="756" y="15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7" name="Google Shape;5157;p53">
              <a:extLst>
                <a:ext uri="{FF2B5EF4-FFF2-40B4-BE49-F238E27FC236}">
                  <a16:creationId xmlns:a16="http://schemas.microsoft.com/office/drawing/2014/main" id="{0A8219D1-457E-86CF-89CC-FD9B77234AE0}"/>
                </a:ext>
              </a:extLst>
            </p:cNvPr>
            <p:cNvSpPr/>
            <p:nvPr/>
          </p:nvSpPr>
          <p:spPr>
            <a:xfrm>
              <a:off x="1124150" y="2392950"/>
              <a:ext cx="40775" cy="27275"/>
            </a:xfrm>
            <a:custGeom>
              <a:avLst/>
              <a:gdLst/>
              <a:ahLst/>
              <a:cxnLst/>
              <a:rect l="l" t="t" r="r" b="b"/>
              <a:pathLst>
                <a:path w="1631" h="1091" extrusionOk="0">
                  <a:moveTo>
                    <a:pt x="45" y="1"/>
                  </a:moveTo>
                  <a:lnTo>
                    <a:pt x="0" y="1068"/>
                  </a:lnTo>
                  <a:lnTo>
                    <a:pt x="816" y="1077"/>
                  </a:lnTo>
                  <a:lnTo>
                    <a:pt x="1631" y="1091"/>
                  </a:lnTo>
                  <a:lnTo>
                    <a:pt x="1608" y="17"/>
                  </a:lnTo>
                  <a:lnTo>
                    <a:pt x="831" y="10"/>
                  </a:lnTo>
                  <a:lnTo>
                    <a:pt x="45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8" name="Google Shape;5158;p53">
              <a:extLst>
                <a:ext uri="{FF2B5EF4-FFF2-40B4-BE49-F238E27FC236}">
                  <a16:creationId xmlns:a16="http://schemas.microsoft.com/office/drawing/2014/main" id="{71C92829-F551-77DF-5175-2F9B85DD64C9}"/>
                </a:ext>
              </a:extLst>
            </p:cNvPr>
            <p:cNvSpPr/>
            <p:nvPr/>
          </p:nvSpPr>
          <p:spPr>
            <a:xfrm>
              <a:off x="999125" y="2054350"/>
              <a:ext cx="117650" cy="77825"/>
            </a:xfrm>
            <a:custGeom>
              <a:avLst/>
              <a:gdLst/>
              <a:ahLst/>
              <a:cxnLst/>
              <a:rect l="l" t="t" r="r" b="b"/>
              <a:pathLst>
                <a:path w="4706" h="3113" extrusionOk="0">
                  <a:moveTo>
                    <a:pt x="0" y="1"/>
                  </a:moveTo>
                  <a:lnTo>
                    <a:pt x="0" y="8"/>
                  </a:lnTo>
                  <a:lnTo>
                    <a:pt x="0" y="2231"/>
                  </a:lnTo>
                  <a:lnTo>
                    <a:pt x="0" y="3113"/>
                  </a:lnTo>
                  <a:lnTo>
                    <a:pt x="3061" y="3113"/>
                  </a:lnTo>
                  <a:cubicBezTo>
                    <a:pt x="3075" y="3097"/>
                    <a:pt x="3089" y="3090"/>
                    <a:pt x="3105" y="3075"/>
                  </a:cubicBezTo>
                  <a:cubicBezTo>
                    <a:pt x="3112" y="3090"/>
                    <a:pt x="3120" y="3097"/>
                    <a:pt x="3120" y="3113"/>
                  </a:cubicBezTo>
                  <a:lnTo>
                    <a:pt x="4638" y="3113"/>
                  </a:lnTo>
                  <a:cubicBezTo>
                    <a:pt x="4683" y="3017"/>
                    <a:pt x="4706" y="2912"/>
                    <a:pt x="4706" y="2794"/>
                  </a:cubicBezTo>
                  <a:cubicBezTo>
                    <a:pt x="4706" y="2341"/>
                    <a:pt x="4334" y="1971"/>
                    <a:pt x="3883" y="1971"/>
                  </a:cubicBezTo>
                  <a:cubicBezTo>
                    <a:pt x="3719" y="1971"/>
                    <a:pt x="3571" y="2016"/>
                    <a:pt x="3445" y="2097"/>
                  </a:cubicBezTo>
                  <a:cubicBezTo>
                    <a:pt x="3363" y="1571"/>
                    <a:pt x="2904" y="1171"/>
                    <a:pt x="2357" y="1171"/>
                  </a:cubicBezTo>
                  <a:cubicBezTo>
                    <a:pt x="2172" y="1171"/>
                    <a:pt x="1994" y="1215"/>
                    <a:pt x="1837" y="1297"/>
                  </a:cubicBezTo>
                  <a:cubicBezTo>
                    <a:pt x="1505" y="593"/>
                    <a:pt x="815" y="82"/>
                    <a:pt x="0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9" name="Google Shape;5159;p53">
              <a:extLst>
                <a:ext uri="{FF2B5EF4-FFF2-40B4-BE49-F238E27FC236}">
                  <a16:creationId xmlns:a16="http://schemas.microsoft.com/office/drawing/2014/main" id="{C6FB2FB6-86D4-DE13-EF8A-54387C9A1D40}"/>
                </a:ext>
              </a:extLst>
            </p:cNvPr>
            <p:cNvSpPr/>
            <p:nvPr/>
          </p:nvSpPr>
          <p:spPr>
            <a:xfrm>
              <a:off x="1361075" y="2415000"/>
              <a:ext cx="188075" cy="174525"/>
            </a:xfrm>
            <a:custGeom>
              <a:avLst/>
              <a:gdLst/>
              <a:ahLst/>
              <a:cxnLst/>
              <a:rect l="l" t="t" r="r" b="b"/>
              <a:pathLst>
                <a:path w="7523" h="6981" extrusionOk="0">
                  <a:moveTo>
                    <a:pt x="0" y="1"/>
                  </a:moveTo>
                  <a:lnTo>
                    <a:pt x="0" y="6981"/>
                  </a:lnTo>
                  <a:lnTo>
                    <a:pt x="7523" y="6981"/>
                  </a:lnTo>
                  <a:lnTo>
                    <a:pt x="7523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0" name="Google Shape;5160;p53">
              <a:extLst>
                <a:ext uri="{FF2B5EF4-FFF2-40B4-BE49-F238E27FC236}">
                  <a16:creationId xmlns:a16="http://schemas.microsoft.com/office/drawing/2014/main" id="{F96051E9-2EDF-9ADE-F05D-BC589B42E8B4}"/>
                </a:ext>
              </a:extLst>
            </p:cNvPr>
            <p:cNvSpPr/>
            <p:nvPr/>
          </p:nvSpPr>
          <p:spPr>
            <a:xfrm>
              <a:off x="1549125" y="2418925"/>
              <a:ext cx="200" cy="168200"/>
            </a:xfrm>
            <a:custGeom>
              <a:avLst/>
              <a:gdLst/>
              <a:ahLst/>
              <a:cxnLst/>
              <a:rect l="l" t="t" r="r" b="b"/>
              <a:pathLst>
                <a:path w="8" h="6728" extrusionOk="0">
                  <a:moveTo>
                    <a:pt x="1" y="0"/>
                  </a:moveTo>
                  <a:lnTo>
                    <a:pt x="1" y="6728"/>
                  </a:lnTo>
                  <a:lnTo>
                    <a:pt x="8" y="6728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52596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1" name="Google Shape;5161;p53">
              <a:extLst>
                <a:ext uri="{FF2B5EF4-FFF2-40B4-BE49-F238E27FC236}">
                  <a16:creationId xmlns:a16="http://schemas.microsoft.com/office/drawing/2014/main" id="{28F4DCBB-F753-5B26-AD33-D15AF79C2EBC}"/>
                </a:ext>
              </a:extLst>
            </p:cNvPr>
            <p:cNvSpPr/>
            <p:nvPr/>
          </p:nvSpPr>
          <p:spPr>
            <a:xfrm>
              <a:off x="1502625" y="2418925"/>
              <a:ext cx="46525" cy="158025"/>
            </a:xfrm>
            <a:custGeom>
              <a:avLst/>
              <a:gdLst/>
              <a:ahLst/>
              <a:cxnLst/>
              <a:rect l="l" t="t" r="r" b="b"/>
              <a:pathLst>
                <a:path w="1861" h="6321" extrusionOk="0">
                  <a:moveTo>
                    <a:pt x="0" y="0"/>
                  </a:moveTo>
                  <a:lnTo>
                    <a:pt x="0" y="6321"/>
                  </a:lnTo>
                  <a:lnTo>
                    <a:pt x="1861" y="6321"/>
                  </a:lnTo>
                  <a:lnTo>
                    <a:pt x="1861" y="0"/>
                  </a:lnTo>
                  <a:close/>
                </a:path>
              </a:pathLst>
            </a:custGeom>
            <a:solidFill>
              <a:srgbClr val="85868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2" name="Google Shape;5162;p53">
              <a:extLst>
                <a:ext uri="{FF2B5EF4-FFF2-40B4-BE49-F238E27FC236}">
                  <a16:creationId xmlns:a16="http://schemas.microsoft.com/office/drawing/2014/main" id="{161D583C-1F37-7A14-6A33-88CED1F0B709}"/>
                </a:ext>
              </a:extLst>
            </p:cNvPr>
            <p:cNvSpPr/>
            <p:nvPr/>
          </p:nvSpPr>
          <p:spPr>
            <a:xfrm>
              <a:off x="1353275" y="2411325"/>
              <a:ext cx="203425" cy="7625"/>
            </a:xfrm>
            <a:custGeom>
              <a:avLst/>
              <a:gdLst/>
              <a:ahLst/>
              <a:cxnLst/>
              <a:rect l="l" t="t" r="r" b="b"/>
              <a:pathLst>
                <a:path w="8137" h="305" extrusionOk="0">
                  <a:moveTo>
                    <a:pt x="150" y="0"/>
                  </a:moveTo>
                  <a:cubicBezTo>
                    <a:pt x="68" y="0"/>
                    <a:pt x="1" y="66"/>
                    <a:pt x="1" y="148"/>
                  </a:cubicBezTo>
                  <a:cubicBezTo>
                    <a:pt x="1" y="237"/>
                    <a:pt x="68" y="304"/>
                    <a:pt x="150" y="304"/>
                  </a:cubicBezTo>
                  <a:lnTo>
                    <a:pt x="7989" y="304"/>
                  </a:lnTo>
                  <a:cubicBezTo>
                    <a:pt x="8071" y="304"/>
                    <a:pt x="8137" y="237"/>
                    <a:pt x="8137" y="148"/>
                  </a:cubicBezTo>
                  <a:cubicBezTo>
                    <a:pt x="8137" y="66"/>
                    <a:pt x="8071" y="0"/>
                    <a:pt x="7989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3" name="Google Shape;5163;p53">
              <a:extLst>
                <a:ext uri="{FF2B5EF4-FFF2-40B4-BE49-F238E27FC236}">
                  <a16:creationId xmlns:a16="http://schemas.microsoft.com/office/drawing/2014/main" id="{FBE044E9-4D07-205E-4091-8D42AFBA2E61}"/>
                </a:ext>
              </a:extLst>
            </p:cNvPr>
            <p:cNvSpPr/>
            <p:nvPr/>
          </p:nvSpPr>
          <p:spPr>
            <a:xfrm>
              <a:off x="1524450" y="2448925"/>
              <a:ext cx="11900" cy="17425"/>
            </a:xfrm>
            <a:custGeom>
              <a:avLst/>
              <a:gdLst/>
              <a:ahLst/>
              <a:cxnLst/>
              <a:rect l="l" t="t" r="r" b="b"/>
              <a:pathLst>
                <a:path w="476" h="697" extrusionOk="0">
                  <a:moveTo>
                    <a:pt x="1" y="1"/>
                  </a:moveTo>
                  <a:lnTo>
                    <a:pt x="1" y="696"/>
                  </a:lnTo>
                  <a:lnTo>
                    <a:pt x="475" y="696"/>
                  </a:lnTo>
                  <a:lnTo>
                    <a:pt x="475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4" name="Google Shape;5164;p53">
              <a:extLst>
                <a:ext uri="{FF2B5EF4-FFF2-40B4-BE49-F238E27FC236}">
                  <a16:creationId xmlns:a16="http://schemas.microsoft.com/office/drawing/2014/main" id="{E6176A51-2C93-175F-EFD1-0F8D301A055B}"/>
                </a:ext>
              </a:extLst>
            </p:cNvPr>
            <p:cNvSpPr/>
            <p:nvPr/>
          </p:nvSpPr>
          <p:spPr>
            <a:xfrm>
              <a:off x="1503150" y="2448925"/>
              <a:ext cx="11725" cy="17425"/>
            </a:xfrm>
            <a:custGeom>
              <a:avLst/>
              <a:gdLst/>
              <a:ahLst/>
              <a:cxnLst/>
              <a:rect l="l" t="t" r="r" b="b"/>
              <a:pathLst>
                <a:path w="469" h="697" extrusionOk="0">
                  <a:moveTo>
                    <a:pt x="1" y="1"/>
                  </a:moveTo>
                  <a:lnTo>
                    <a:pt x="1" y="696"/>
                  </a:lnTo>
                  <a:lnTo>
                    <a:pt x="468" y="696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5" name="Google Shape;5165;p53">
              <a:extLst>
                <a:ext uri="{FF2B5EF4-FFF2-40B4-BE49-F238E27FC236}">
                  <a16:creationId xmlns:a16="http://schemas.microsoft.com/office/drawing/2014/main" id="{1603C82B-F447-9002-6F48-8E1D49B85665}"/>
                </a:ext>
              </a:extLst>
            </p:cNvPr>
            <p:cNvSpPr/>
            <p:nvPr/>
          </p:nvSpPr>
          <p:spPr>
            <a:xfrm>
              <a:off x="1481675" y="2448925"/>
              <a:ext cx="11675" cy="17425"/>
            </a:xfrm>
            <a:custGeom>
              <a:avLst/>
              <a:gdLst/>
              <a:ahLst/>
              <a:cxnLst/>
              <a:rect l="l" t="t" r="r" b="b"/>
              <a:pathLst>
                <a:path w="467" h="697" extrusionOk="0">
                  <a:moveTo>
                    <a:pt x="1" y="1"/>
                  </a:moveTo>
                  <a:lnTo>
                    <a:pt x="1" y="696"/>
                  </a:lnTo>
                  <a:lnTo>
                    <a:pt x="467" y="696"/>
                  </a:lnTo>
                  <a:lnTo>
                    <a:pt x="46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6" name="Google Shape;5166;p53">
              <a:extLst>
                <a:ext uri="{FF2B5EF4-FFF2-40B4-BE49-F238E27FC236}">
                  <a16:creationId xmlns:a16="http://schemas.microsoft.com/office/drawing/2014/main" id="{FE503CD3-DBAF-2234-9803-D1F8EB02F547}"/>
                </a:ext>
              </a:extLst>
            </p:cNvPr>
            <p:cNvSpPr/>
            <p:nvPr/>
          </p:nvSpPr>
          <p:spPr>
            <a:xfrm>
              <a:off x="1460200" y="2448925"/>
              <a:ext cx="11675" cy="17425"/>
            </a:xfrm>
            <a:custGeom>
              <a:avLst/>
              <a:gdLst/>
              <a:ahLst/>
              <a:cxnLst/>
              <a:rect l="l" t="t" r="r" b="b"/>
              <a:pathLst>
                <a:path w="467" h="697" extrusionOk="0">
                  <a:moveTo>
                    <a:pt x="1" y="1"/>
                  </a:moveTo>
                  <a:lnTo>
                    <a:pt x="1" y="696"/>
                  </a:lnTo>
                  <a:lnTo>
                    <a:pt x="467" y="696"/>
                  </a:lnTo>
                  <a:lnTo>
                    <a:pt x="46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7" name="Google Shape;5167;p53">
              <a:extLst>
                <a:ext uri="{FF2B5EF4-FFF2-40B4-BE49-F238E27FC236}">
                  <a16:creationId xmlns:a16="http://schemas.microsoft.com/office/drawing/2014/main" id="{253CF0B3-2D09-4A84-CAD0-3971DB9302F5}"/>
                </a:ext>
              </a:extLst>
            </p:cNvPr>
            <p:cNvSpPr/>
            <p:nvPr/>
          </p:nvSpPr>
          <p:spPr>
            <a:xfrm>
              <a:off x="1438700" y="2448925"/>
              <a:ext cx="11700" cy="17425"/>
            </a:xfrm>
            <a:custGeom>
              <a:avLst/>
              <a:gdLst/>
              <a:ahLst/>
              <a:cxnLst/>
              <a:rect l="l" t="t" r="r" b="b"/>
              <a:pathLst>
                <a:path w="468" h="697" extrusionOk="0">
                  <a:moveTo>
                    <a:pt x="0" y="1"/>
                  </a:moveTo>
                  <a:lnTo>
                    <a:pt x="0" y="696"/>
                  </a:lnTo>
                  <a:lnTo>
                    <a:pt x="468" y="696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8" name="Google Shape;5168;p53">
              <a:extLst>
                <a:ext uri="{FF2B5EF4-FFF2-40B4-BE49-F238E27FC236}">
                  <a16:creationId xmlns:a16="http://schemas.microsoft.com/office/drawing/2014/main" id="{D79AB9EF-F5E6-4738-93FC-3BBD9E803CCA}"/>
                </a:ext>
              </a:extLst>
            </p:cNvPr>
            <p:cNvSpPr/>
            <p:nvPr/>
          </p:nvSpPr>
          <p:spPr>
            <a:xfrm>
              <a:off x="1417225" y="2448925"/>
              <a:ext cx="11675" cy="17425"/>
            </a:xfrm>
            <a:custGeom>
              <a:avLst/>
              <a:gdLst/>
              <a:ahLst/>
              <a:cxnLst/>
              <a:rect l="l" t="t" r="r" b="b"/>
              <a:pathLst>
                <a:path w="467" h="697" extrusionOk="0">
                  <a:moveTo>
                    <a:pt x="0" y="1"/>
                  </a:moveTo>
                  <a:lnTo>
                    <a:pt x="0" y="696"/>
                  </a:lnTo>
                  <a:lnTo>
                    <a:pt x="466" y="696"/>
                  </a:lnTo>
                  <a:lnTo>
                    <a:pt x="466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9" name="Google Shape;5169;p53">
              <a:extLst>
                <a:ext uri="{FF2B5EF4-FFF2-40B4-BE49-F238E27FC236}">
                  <a16:creationId xmlns:a16="http://schemas.microsoft.com/office/drawing/2014/main" id="{6E798659-1AA0-038D-87B2-F87BF84CDC5E}"/>
                </a:ext>
              </a:extLst>
            </p:cNvPr>
            <p:cNvSpPr/>
            <p:nvPr/>
          </p:nvSpPr>
          <p:spPr>
            <a:xfrm>
              <a:off x="1395750" y="2448925"/>
              <a:ext cx="11675" cy="17425"/>
            </a:xfrm>
            <a:custGeom>
              <a:avLst/>
              <a:gdLst/>
              <a:ahLst/>
              <a:cxnLst/>
              <a:rect l="l" t="t" r="r" b="b"/>
              <a:pathLst>
                <a:path w="467" h="697" extrusionOk="0">
                  <a:moveTo>
                    <a:pt x="0" y="1"/>
                  </a:moveTo>
                  <a:lnTo>
                    <a:pt x="0" y="696"/>
                  </a:lnTo>
                  <a:lnTo>
                    <a:pt x="466" y="696"/>
                  </a:lnTo>
                  <a:lnTo>
                    <a:pt x="466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0" name="Google Shape;5170;p53">
              <a:extLst>
                <a:ext uri="{FF2B5EF4-FFF2-40B4-BE49-F238E27FC236}">
                  <a16:creationId xmlns:a16="http://schemas.microsoft.com/office/drawing/2014/main" id="{18705DC5-FB9E-B7A4-D2DB-B400BFFF115E}"/>
                </a:ext>
              </a:extLst>
            </p:cNvPr>
            <p:cNvSpPr/>
            <p:nvPr/>
          </p:nvSpPr>
          <p:spPr>
            <a:xfrm>
              <a:off x="1374225" y="2448925"/>
              <a:ext cx="11725" cy="17425"/>
            </a:xfrm>
            <a:custGeom>
              <a:avLst/>
              <a:gdLst/>
              <a:ahLst/>
              <a:cxnLst/>
              <a:rect l="l" t="t" r="r" b="b"/>
              <a:pathLst>
                <a:path w="469" h="697" extrusionOk="0">
                  <a:moveTo>
                    <a:pt x="0" y="1"/>
                  </a:moveTo>
                  <a:lnTo>
                    <a:pt x="0" y="696"/>
                  </a:lnTo>
                  <a:lnTo>
                    <a:pt x="468" y="696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1" name="Google Shape;5171;p53">
              <a:extLst>
                <a:ext uri="{FF2B5EF4-FFF2-40B4-BE49-F238E27FC236}">
                  <a16:creationId xmlns:a16="http://schemas.microsoft.com/office/drawing/2014/main" id="{1B981E40-F0A8-7073-39A1-57A3A1CBAC63}"/>
                </a:ext>
              </a:extLst>
            </p:cNvPr>
            <p:cNvSpPr/>
            <p:nvPr/>
          </p:nvSpPr>
          <p:spPr>
            <a:xfrm>
              <a:off x="1524450" y="2482450"/>
              <a:ext cx="11900" cy="17450"/>
            </a:xfrm>
            <a:custGeom>
              <a:avLst/>
              <a:gdLst/>
              <a:ahLst/>
              <a:cxnLst/>
              <a:rect l="l" t="t" r="r" b="b"/>
              <a:pathLst>
                <a:path w="476" h="698" extrusionOk="0">
                  <a:moveTo>
                    <a:pt x="1" y="1"/>
                  </a:moveTo>
                  <a:lnTo>
                    <a:pt x="1" y="698"/>
                  </a:lnTo>
                  <a:lnTo>
                    <a:pt x="475" y="698"/>
                  </a:lnTo>
                  <a:lnTo>
                    <a:pt x="475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2" name="Google Shape;5172;p53">
              <a:extLst>
                <a:ext uri="{FF2B5EF4-FFF2-40B4-BE49-F238E27FC236}">
                  <a16:creationId xmlns:a16="http://schemas.microsoft.com/office/drawing/2014/main" id="{3EC1CC3E-7600-F0D6-C448-61D03370E73A}"/>
                </a:ext>
              </a:extLst>
            </p:cNvPr>
            <p:cNvSpPr/>
            <p:nvPr/>
          </p:nvSpPr>
          <p:spPr>
            <a:xfrm>
              <a:off x="1503150" y="2482450"/>
              <a:ext cx="11725" cy="17450"/>
            </a:xfrm>
            <a:custGeom>
              <a:avLst/>
              <a:gdLst/>
              <a:ahLst/>
              <a:cxnLst/>
              <a:rect l="l" t="t" r="r" b="b"/>
              <a:pathLst>
                <a:path w="469" h="698" extrusionOk="0">
                  <a:moveTo>
                    <a:pt x="1" y="1"/>
                  </a:moveTo>
                  <a:lnTo>
                    <a:pt x="1" y="698"/>
                  </a:lnTo>
                  <a:lnTo>
                    <a:pt x="468" y="698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3" name="Google Shape;5173;p53">
              <a:extLst>
                <a:ext uri="{FF2B5EF4-FFF2-40B4-BE49-F238E27FC236}">
                  <a16:creationId xmlns:a16="http://schemas.microsoft.com/office/drawing/2014/main" id="{44E593CF-2E2F-84D9-DED6-90E167D9F196}"/>
                </a:ext>
              </a:extLst>
            </p:cNvPr>
            <p:cNvSpPr/>
            <p:nvPr/>
          </p:nvSpPr>
          <p:spPr>
            <a:xfrm>
              <a:off x="1481675" y="2482450"/>
              <a:ext cx="11675" cy="17450"/>
            </a:xfrm>
            <a:custGeom>
              <a:avLst/>
              <a:gdLst/>
              <a:ahLst/>
              <a:cxnLst/>
              <a:rect l="l" t="t" r="r" b="b"/>
              <a:pathLst>
                <a:path w="467" h="698" extrusionOk="0">
                  <a:moveTo>
                    <a:pt x="1" y="1"/>
                  </a:moveTo>
                  <a:lnTo>
                    <a:pt x="1" y="698"/>
                  </a:lnTo>
                  <a:lnTo>
                    <a:pt x="467" y="698"/>
                  </a:lnTo>
                  <a:lnTo>
                    <a:pt x="46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4" name="Google Shape;5174;p53">
              <a:extLst>
                <a:ext uri="{FF2B5EF4-FFF2-40B4-BE49-F238E27FC236}">
                  <a16:creationId xmlns:a16="http://schemas.microsoft.com/office/drawing/2014/main" id="{5D7FDA83-8029-3FB6-491F-4DD01AFCBDB3}"/>
                </a:ext>
              </a:extLst>
            </p:cNvPr>
            <p:cNvSpPr/>
            <p:nvPr/>
          </p:nvSpPr>
          <p:spPr>
            <a:xfrm>
              <a:off x="1460200" y="2482450"/>
              <a:ext cx="11675" cy="17450"/>
            </a:xfrm>
            <a:custGeom>
              <a:avLst/>
              <a:gdLst/>
              <a:ahLst/>
              <a:cxnLst/>
              <a:rect l="l" t="t" r="r" b="b"/>
              <a:pathLst>
                <a:path w="467" h="698" extrusionOk="0">
                  <a:moveTo>
                    <a:pt x="1" y="1"/>
                  </a:moveTo>
                  <a:lnTo>
                    <a:pt x="1" y="698"/>
                  </a:lnTo>
                  <a:lnTo>
                    <a:pt x="467" y="698"/>
                  </a:lnTo>
                  <a:lnTo>
                    <a:pt x="46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5" name="Google Shape;5175;p53">
              <a:extLst>
                <a:ext uri="{FF2B5EF4-FFF2-40B4-BE49-F238E27FC236}">
                  <a16:creationId xmlns:a16="http://schemas.microsoft.com/office/drawing/2014/main" id="{747F57EF-9387-9858-F65B-3E2597B2D37F}"/>
                </a:ext>
              </a:extLst>
            </p:cNvPr>
            <p:cNvSpPr/>
            <p:nvPr/>
          </p:nvSpPr>
          <p:spPr>
            <a:xfrm>
              <a:off x="1438700" y="2482450"/>
              <a:ext cx="11700" cy="17450"/>
            </a:xfrm>
            <a:custGeom>
              <a:avLst/>
              <a:gdLst/>
              <a:ahLst/>
              <a:cxnLst/>
              <a:rect l="l" t="t" r="r" b="b"/>
              <a:pathLst>
                <a:path w="468" h="698" extrusionOk="0">
                  <a:moveTo>
                    <a:pt x="0" y="1"/>
                  </a:moveTo>
                  <a:lnTo>
                    <a:pt x="0" y="698"/>
                  </a:lnTo>
                  <a:lnTo>
                    <a:pt x="468" y="698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6" name="Google Shape;5176;p53">
              <a:extLst>
                <a:ext uri="{FF2B5EF4-FFF2-40B4-BE49-F238E27FC236}">
                  <a16:creationId xmlns:a16="http://schemas.microsoft.com/office/drawing/2014/main" id="{4BFE1AAF-7740-15E0-ABFF-573B8E05FF9F}"/>
                </a:ext>
              </a:extLst>
            </p:cNvPr>
            <p:cNvSpPr/>
            <p:nvPr/>
          </p:nvSpPr>
          <p:spPr>
            <a:xfrm>
              <a:off x="1417225" y="2482450"/>
              <a:ext cx="11675" cy="17450"/>
            </a:xfrm>
            <a:custGeom>
              <a:avLst/>
              <a:gdLst/>
              <a:ahLst/>
              <a:cxnLst/>
              <a:rect l="l" t="t" r="r" b="b"/>
              <a:pathLst>
                <a:path w="467" h="698" extrusionOk="0">
                  <a:moveTo>
                    <a:pt x="0" y="1"/>
                  </a:moveTo>
                  <a:lnTo>
                    <a:pt x="0" y="698"/>
                  </a:lnTo>
                  <a:lnTo>
                    <a:pt x="466" y="698"/>
                  </a:lnTo>
                  <a:lnTo>
                    <a:pt x="466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7" name="Google Shape;5177;p53">
              <a:extLst>
                <a:ext uri="{FF2B5EF4-FFF2-40B4-BE49-F238E27FC236}">
                  <a16:creationId xmlns:a16="http://schemas.microsoft.com/office/drawing/2014/main" id="{41B83464-5C79-C0B2-A3D3-BD9B74979C28}"/>
                </a:ext>
              </a:extLst>
            </p:cNvPr>
            <p:cNvSpPr/>
            <p:nvPr/>
          </p:nvSpPr>
          <p:spPr>
            <a:xfrm>
              <a:off x="1395750" y="2482450"/>
              <a:ext cx="11675" cy="17450"/>
            </a:xfrm>
            <a:custGeom>
              <a:avLst/>
              <a:gdLst/>
              <a:ahLst/>
              <a:cxnLst/>
              <a:rect l="l" t="t" r="r" b="b"/>
              <a:pathLst>
                <a:path w="467" h="698" extrusionOk="0">
                  <a:moveTo>
                    <a:pt x="0" y="1"/>
                  </a:moveTo>
                  <a:lnTo>
                    <a:pt x="0" y="698"/>
                  </a:lnTo>
                  <a:lnTo>
                    <a:pt x="466" y="698"/>
                  </a:lnTo>
                  <a:lnTo>
                    <a:pt x="466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8" name="Google Shape;5178;p53">
              <a:extLst>
                <a:ext uri="{FF2B5EF4-FFF2-40B4-BE49-F238E27FC236}">
                  <a16:creationId xmlns:a16="http://schemas.microsoft.com/office/drawing/2014/main" id="{C3EC711C-3DD1-9A19-ED3A-4997858AFC1A}"/>
                </a:ext>
              </a:extLst>
            </p:cNvPr>
            <p:cNvSpPr/>
            <p:nvPr/>
          </p:nvSpPr>
          <p:spPr>
            <a:xfrm>
              <a:off x="1374225" y="2482450"/>
              <a:ext cx="11725" cy="17450"/>
            </a:xfrm>
            <a:custGeom>
              <a:avLst/>
              <a:gdLst/>
              <a:ahLst/>
              <a:cxnLst/>
              <a:rect l="l" t="t" r="r" b="b"/>
              <a:pathLst>
                <a:path w="469" h="698" extrusionOk="0">
                  <a:moveTo>
                    <a:pt x="0" y="1"/>
                  </a:moveTo>
                  <a:lnTo>
                    <a:pt x="0" y="698"/>
                  </a:lnTo>
                  <a:lnTo>
                    <a:pt x="468" y="698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9" name="Google Shape;5179;p53">
              <a:extLst>
                <a:ext uri="{FF2B5EF4-FFF2-40B4-BE49-F238E27FC236}">
                  <a16:creationId xmlns:a16="http://schemas.microsoft.com/office/drawing/2014/main" id="{264D25F0-2A46-6081-2886-83247FEAB185}"/>
                </a:ext>
              </a:extLst>
            </p:cNvPr>
            <p:cNvSpPr/>
            <p:nvPr/>
          </p:nvSpPr>
          <p:spPr>
            <a:xfrm>
              <a:off x="1524450" y="2515975"/>
              <a:ext cx="11900" cy="17625"/>
            </a:xfrm>
            <a:custGeom>
              <a:avLst/>
              <a:gdLst/>
              <a:ahLst/>
              <a:cxnLst/>
              <a:rect l="l" t="t" r="r" b="b"/>
              <a:pathLst>
                <a:path w="476" h="705" extrusionOk="0">
                  <a:moveTo>
                    <a:pt x="1" y="0"/>
                  </a:moveTo>
                  <a:lnTo>
                    <a:pt x="1" y="705"/>
                  </a:lnTo>
                  <a:lnTo>
                    <a:pt x="475" y="705"/>
                  </a:lnTo>
                  <a:lnTo>
                    <a:pt x="475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0" name="Google Shape;5180;p53">
              <a:extLst>
                <a:ext uri="{FF2B5EF4-FFF2-40B4-BE49-F238E27FC236}">
                  <a16:creationId xmlns:a16="http://schemas.microsoft.com/office/drawing/2014/main" id="{C7DDB034-9E3B-85F3-A11E-8FAFB3997E03}"/>
                </a:ext>
              </a:extLst>
            </p:cNvPr>
            <p:cNvSpPr/>
            <p:nvPr/>
          </p:nvSpPr>
          <p:spPr>
            <a:xfrm>
              <a:off x="1503150" y="2515975"/>
              <a:ext cx="11725" cy="17625"/>
            </a:xfrm>
            <a:custGeom>
              <a:avLst/>
              <a:gdLst/>
              <a:ahLst/>
              <a:cxnLst/>
              <a:rect l="l" t="t" r="r" b="b"/>
              <a:pathLst>
                <a:path w="469" h="705" extrusionOk="0">
                  <a:moveTo>
                    <a:pt x="1" y="0"/>
                  </a:moveTo>
                  <a:lnTo>
                    <a:pt x="1" y="705"/>
                  </a:lnTo>
                  <a:lnTo>
                    <a:pt x="468" y="705"/>
                  </a:lnTo>
                  <a:lnTo>
                    <a:pt x="468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1" name="Google Shape;5181;p53">
              <a:extLst>
                <a:ext uri="{FF2B5EF4-FFF2-40B4-BE49-F238E27FC236}">
                  <a16:creationId xmlns:a16="http://schemas.microsoft.com/office/drawing/2014/main" id="{F953473A-1CD2-F317-A33F-9767D16B7D5F}"/>
                </a:ext>
              </a:extLst>
            </p:cNvPr>
            <p:cNvSpPr/>
            <p:nvPr/>
          </p:nvSpPr>
          <p:spPr>
            <a:xfrm>
              <a:off x="1481675" y="2515975"/>
              <a:ext cx="11675" cy="17625"/>
            </a:xfrm>
            <a:custGeom>
              <a:avLst/>
              <a:gdLst/>
              <a:ahLst/>
              <a:cxnLst/>
              <a:rect l="l" t="t" r="r" b="b"/>
              <a:pathLst>
                <a:path w="467" h="705" extrusionOk="0">
                  <a:moveTo>
                    <a:pt x="1" y="0"/>
                  </a:moveTo>
                  <a:lnTo>
                    <a:pt x="1" y="705"/>
                  </a:lnTo>
                  <a:lnTo>
                    <a:pt x="467" y="705"/>
                  </a:lnTo>
                  <a:lnTo>
                    <a:pt x="467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2" name="Google Shape;5182;p53">
              <a:extLst>
                <a:ext uri="{FF2B5EF4-FFF2-40B4-BE49-F238E27FC236}">
                  <a16:creationId xmlns:a16="http://schemas.microsoft.com/office/drawing/2014/main" id="{F1C81F70-7987-156A-A8F4-E074B8FCBD67}"/>
                </a:ext>
              </a:extLst>
            </p:cNvPr>
            <p:cNvSpPr/>
            <p:nvPr/>
          </p:nvSpPr>
          <p:spPr>
            <a:xfrm>
              <a:off x="1460200" y="2515975"/>
              <a:ext cx="11675" cy="17625"/>
            </a:xfrm>
            <a:custGeom>
              <a:avLst/>
              <a:gdLst/>
              <a:ahLst/>
              <a:cxnLst/>
              <a:rect l="l" t="t" r="r" b="b"/>
              <a:pathLst>
                <a:path w="467" h="705" extrusionOk="0">
                  <a:moveTo>
                    <a:pt x="1" y="0"/>
                  </a:moveTo>
                  <a:lnTo>
                    <a:pt x="1" y="705"/>
                  </a:lnTo>
                  <a:lnTo>
                    <a:pt x="467" y="705"/>
                  </a:lnTo>
                  <a:lnTo>
                    <a:pt x="467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3" name="Google Shape;5183;p53">
              <a:extLst>
                <a:ext uri="{FF2B5EF4-FFF2-40B4-BE49-F238E27FC236}">
                  <a16:creationId xmlns:a16="http://schemas.microsoft.com/office/drawing/2014/main" id="{D129C75A-1AA7-4A4B-C2D8-0AF003D9CDA7}"/>
                </a:ext>
              </a:extLst>
            </p:cNvPr>
            <p:cNvSpPr/>
            <p:nvPr/>
          </p:nvSpPr>
          <p:spPr>
            <a:xfrm>
              <a:off x="1438700" y="2515975"/>
              <a:ext cx="11700" cy="17625"/>
            </a:xfrm>
            <a:custGeom>
              <a:avLst/>
              <a:gdLst/>
              <a:ahLst/>
              <a:cxnLst/>
              <a:rect l="l" t="t" r="r" b="b"/>
              <a:pathLst>
                <a:path w="468" h="705" extrusionOk="0">
                  <a:moveTo>
                    <a:pt x="0" y="0"/>
                  </a:moveTo>
                  <a:lnTo>
                    <a:pt x="0" y="705"/>
                  </a:lnTo>
                  <a:lnTo>
                    <a:pt x="468" y="705"/>
                  </a:lnTo>
                  <a:lnTo>
                    <a:pt x="468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4" name="Google Shape;5184;p53">
              <a:extLst>
                <a:ext uri="{FF2B5EF4-FFF2-40B4-BE49-F238E27FC236}">
                  <a16:creationId xmlns:a16="http://schemas.microsoft.com/office/drawing/2014/main" id="{AF8D985E-AF30-A855-2656-037643368921}"/>
                </a:ext>
              </a:extLst>
            </p:cNvPr>
            <p:cNvSpPr/>
            <p:nvPr/>
          </p:nvSpPr>
          <p:spPr>
            <a:xfrm>
              <a:off x="1417225" y="2515975"/>
              <a:ext cx="11675" cy="17625"/>
            </a:xfrm>
            <a:custGeom>
              <a:avLst/>
              <a:gdLst/>
              <a:ahLst/>
              <a:cxnLst/>
              <a:rect l="l" t="t" r="r" b="b"/>
              <a:pathLst>
                <a:path w="467" h="705" extrusionOk="0">
                  <a:moveTo>
                    <a:pt x="0" y="0"/>
                  </a:moveTo>
                  <a:lnTo>
                    <a:pt x="0" y="705"/>
                  </a:lnTo>
                  <a:lnTo>
                    <a:pt x="466" y="705"/>
                  </a:lnTo>
                  <a:lnTo>
                    <a:pt x="466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5" name="Google Shape;5185;p53">
              <a:extLst>
                <a:ext uri="{FF2B5EF4-FFF2-40B4-BE49-F238E27FC236}">
                  <a16:creationId xmlns:a16="http://schemas.microsoft.com/office/drawing/2014/main" id="{DA0A0923-0B16-6054-1ACA-5F3A591F836F}"/>
                </a:ext>
              </a:extLst>
            </p:cNvPr>
            <p:cNvSpPr/>
            <p:nvPr/>
          </p:nvSpPr>
          <p:spPr>
            <a:xfrm>
              <a:off x="1395750" y="2515975"/>
              <a:ext cx="11675" cy="17625"/>
            </a:xfrm>
            <a:custGeom>
              <a:avLst/>
              <a:gdLst/>
              <a:ahLst/>
              <a:cxnLst/>
              <a:rect l="l" t="t" r="r" b="b"/>
              <a:pathLst>
                <a:path w="467" h="705" extrusionOk="0">
                  <a:moveTo>
                    <a:pt x="0" y="0"/>
                  </a:moveTo>
                  <a:lnTo>
                    <a:pt x="0" y="705"/>
                  </a:lnTo>
                  <a:lnTo>
                    <a:pt x="466" y="705"/>
                  </a:lnTo>
                  <a:lnTo>
                    <a:pt x="466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6" name="Google Shape;5186;p53">
              <a:extLst>
                <a:ext uri="{FF2B5EF4-FFF2-40B4-BE49-F238E27FC236}">
                  <a16:creationId xmlns:a16="http://schemas.microsoft.com/office/drawing/2014/main" id="{D052F51A-C7F9-0EAA-E4AB-ED15B9B3378A}"/>
                </a:ext>
              </a:extLst>
            </p:cNvPr>
            <p:cNvSpPr/>
            <p:nvPr/>
          </p:nvSpPr>
          <p:spPr>
            <a:xfrm>
              <a:off x="1374225" y="2515975"/>
              <a:ext cx="11725" cy="17625"/>
            </a:xfrm>
            <a:custGeom>
              <a:avLst/>
              <a:gdLst/>
              <a:ahLst/>
              <a:cxnLst/>
              <a:rect l="l" t="t" r="r" b="b"/>
              <a:pathLst>
                <a:path w="469" h="705" extrusionOk="0">
                  <a:moveTo>
                    <a:pt x="0" y="0"/>
                  </a:moveTo>
                  <a:lnTo>
                    <a:pt x="0" y="705"/>
                  </a:lnTo>
                  <a:lnTo>
                    <a:pt x="468" y="705"/>
                  </a:lnTo>
                  <a:lnTo>
                    <a:pt x="468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7" name="Google Shape;5187;p53">
              <a:extLst>
                <a:ext uri="{FF2B5EF4-FFF2-40B4-BE49-F238E27FC236}">
                  <a16:creationId xmlns:a16="http://schemas.microsoft.com/office/drawing/2014/main" id="{39EFB25C-38C5-70EE-387C-7BF5F53EF427}"/>
                </a:ext>
              </a:extLst>
            </p:cNvPr>
            <p:cNvSpPr/>
            <p:nvPr/>
          </p:nvSpPr>
          <p:spPr>
            <a:xfrm>
              <a:off x="1360875" y="2576925"/>
              <a:ext cx="188275" cy="11150"/>
            </a:xfrm>
            <a:custGeom>
              <a:avLst/>
              <a:gdLst/>
              <a:ahLst/>
              <a:cxnLst/>
              <a:rect l="l" t="t" r="r" b="b"/>
              <a:pathLst>
                <a:path w="7531" h="446" extrusionOk="0">
                  <a:moveTo>
                    <a:pt x="1" y="1"/>
                  </a:moveTo>
                  <a:lnTo>
                    <a:pt x="1" y="445"/>
                  </a:lnTo>
                  <a:lnTo>
                    <a:pt x="7531" y="445"/>
                  </a:lnTo>
                  <a:lnTo>
                    <a:pt x="7531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8" name="Google Shape;5188;p53">
              <a:extLst>
                <a:ext uri="{FF2B5EF4-FFF2-40B4-BE49-F238E27FC236}">
                  <a16:creationId xmlns:a16="http://schemas.microsoft.com/office/drawing/2014/main" id="{F807955A-F9F8-E9D3-74DC-8E181905B8F3}"/>
                </a:ext>
              </a:extLst>
            </p:cNvPr>
            <p:cNvSpPr/>
            <p:nvPr/>
          </p:nvSpPr>
          <p:spPr>
            <a:xfrm>
              <a:off x="1232125" y="2361475"/>
              <a:ext cx="156225" cy="228650"/>
            </a:xfrm>
            <a:custGeom>
              <a:avLst/>
              <a:gdLst/>
              <a:ahLst/>
              <a:cxnLst/>
              <a:rect l="l" t="t" r="r" b="b"/>
              <a:pathLst>
                <a:path w="6249" h="9146" extrusionOk="0">
                  <a:moveTo>
                    <a:pt x="1246" y="1"/>
                  </a:moveTo>
                  <a:cubicBezTo>
                    <a:pt x="1246" y="1"/>
                    <a:pt x="854" y="8122"/>
                    <a:pt x="1" y="9145"/>
                  </a:cubicBezTo>
                  <a:lnTo>
                    <a:pt x="6248" y="9145"/>
                  </a:lnTo>
                  <a:cubicBezTo>
                    <a:pt x="6248" y="9145"/>
                    <a:pt x="4966" y="6373"/>
                    <a:pt x="4758" y="1"/>
                  </a:cubicBez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9" name="Google Shape;5189;p53">
              <a:extLst>
                <a:ext uri="{FF2B5EF4-FFF2-40B4-BE49-F238E27FC236}">
                  <a16:creationId xmlns:a16="http://schemas.microsoft.com/office/drawing/2014/main" id="{36C3DB0E-A7B0-8CC4-0B6F-981532923CA2}"/>
                </a:ext>
              </a:extLst>
            </p:cNvPr>
            <p:cNvSpPr/>
            <p:nvPr/>
          </p:nvSpPr>
          <p:spPr>
            <a:xfrm>
              <a:off x="1310150" y="2361475"/>
              <a:ext cx="76900" cy="225650"/>
            </a:xfrm>
            <a:custGeom>
              <a:avLst/>
              <a:gdLst/>
              <a:ahLst/>
              <a:cxnLst/>
              <a:rect l="l" t="t" r="r" b="b"/>
              <a:pathLst>
                <a:path w="3076" h="9026" extrusionOk="0">
                  <a:moveTo>
                    <a:pt x="1" y="1"/>
                  </a:moveTo>
                  <a:lnTo>
                    <a:pt x="1" y="9026"/>
                  </a:lnTo>
                  <a:lnTo>
                    <a:pt x="3076" y="9026"/>
                  </a:lnTo>
                  <a:cubicBezTo>
                    <a:pt x="3038" y="8944"/>
                    <a:pt x="2987" y="8804"/>
                    <a:pt x="2926" y="8619"/>
                  </a:cubicBezTo>
                  <a:cubicBezTo>
                    <a:pt x="2697" y="7959"/>
                    <a:pt x="2327" y="6684"/>
                    <a:pt x="2037" y="4706"/>
                  </a:cubicBezTo>
                  <a:cubicBezTo>
                    <a:pt x="1934" y="3981"/>
                    <a:pt x="1838" y="3164"/>
                    <a:pt x="1763" y="2247"/>
                  </a:cubicBezTo>
                  <a:cubicBezTo>
                    <a:pt x="1756" y="2186"/>
                    <a:pt x="1749" y="2128"/>
                    <a:pt x="1749" y="2069"/>
                  </a:cubicBezTo>
                  <a:cubicBezTo>
                    <a:pt x="1697" y="1423"/>
                    <a:pt x="1660" y="735"/>
                    <a:pt x="1637" y="1"/>
                  </a:cubicBezTo>
                  <a:close/>
                </a:path>
              </a:pathLst>
            </a:custGeom>
            <a:solidFill>
              <a:srgbClr val="A9645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0" name="Google Shape;5190;p53">
              <a:extLst>
                <a:ext uri="{FF2B5EF4-FFF2-40B4-BE49-F238E27FC236}">
                  <a16:creationId xmlns:a16="http://schemas.microsoft.com/office/drawing/2014/main" id="{A9BCDA16-1526-2182-68F8-AC963F3CB891}"/>
                </a:ext>
              </a:extLst>
            </p:cNvPr>
            <p:cNvSpPr/>
            <p:nvPr/>
          </p:nvSpPr>
          <p:spPr>
            <a:xfrm>
              <a:off x="1258275" y="2424650"/>
              <a:ext cx="97650" cy="11500"/>
            </a:xfrm>
            <a:custGeom>
              <a:avLst/>
              <a:gdLst/>
              <a:ahLst/>
              <a:cxnLst/>
              <a:rect l="l" t="t" r="r" b="b"/>
              <a:pathLst>
                <a:path w="3906" h="460" extrusionOk="0">
                  <a:moveTo>
                    <a:pt x="38" y="1"/>
                  </a:moveTo>
                  <a:lnTo>
                    <a:pt x="0" y="460"/>
                  </a:lnTo>
                  <a:lnTo>
                    <a:pt x="3906" y="460"/>
                  </a:lnTo>
                  <a:lnTo>
                    <a:pt x="386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1" name="Google Shape;5191;p53">
              <a:extLst>
                <a:ext uri="{FF2B5EF4-FFF2-40B4-BE49-F238E27FC236}">
                  <a16:creationId xmlns:a16="http://schemas.microsoft.com/office/drawing/2014/main" id="{FB7E6341-4091-2859-2938-60E7F719A4E5}"/>
                </a:ext>
              </a:extLst>
            </p:cNvPr>
            <p:cNvSpPr/>
            <p:nvPr/>
          </p:nvSpPr>
          <p:spPr>
            <a:xfrm>
              <a:off x="1254175" y="2469875"/>
              <a:ext cx="107325" cy="11675"/>
            </a:xfrm>
            <a:custGeom>
              <a:avLst/>
              <a:gdLst/>
              <a:ahLst/>
              <a:cxnLst/>
              <a:rect l="l" t="t" r="r" b="b"/>
              <a:pathLst>
                <a:path w="4293" h="467" extrusionOk="0">
                  <a:moveTo>
                    <a:pt x="45" y="0"/>
                  </a:moveTo>
                  <a:lnTo>
                    <a:pt x="1" y="466"/>
                  </a:lnTo>
                  <a:lnTo>
                    <a:pt x="4292" y="466"/>
                  </a:lnTo>
                  <a:lnTo>
                    <a:pt x="4224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2" name="Google Shape;5192;p53">
              <a:extLst>
                <a:ext uri="{FF2B5EF4-FFF2-40B4-BE49-F238E27FC236}">
                  <a16:creationId xmlns:a16="http://schemas.microsoft.com/office/drawing/2014/main" id="{FD6AF0A5-19DA-7768-463B-FE1909C8A5BC}"/>
                </a:ext>
              </a:extLst>
            </p:cNvPr>
            <p:cNvSpPr/>
            <p:nvPr/>
          </p:nvSpPr>
          <p:spPr>
            <a:xfrm>
              <a:off x="1263475" y="2361475"/>
              <a:ext cx="88000" cy="13000"/>
            </a:xfrm>
            <a:custGeom>
              <a:avLst/>
              <a:gdLst/>
              <a:ahLst/>
              <a:cxnLst/>
              <a:rect l="l" t="t" r="r" b="b"/>
              <a:pathLst>
                <a:path w="3520" h="520" extrusionOk="0">
                  <a:moveTo>
                    <a:pt x="29" y="1"/>
                  </a:moveTo>
                  <a:lnTo>
                    <a:pt x="1" y="513"/>
                  </a:lnTo>
                  <a:lnTo>
                    <a:pt x="3520" y="520"/>
                  </a:lnTo>
                  <a:lnTo>
                    <a:pt x="350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3" name="Google Shape;5193;p53">
              <a:extLst>
                <a:ext uri="{FF2B5EF4-FFF2-40B4-BE49-F238E27FC236}">
                  <a16:creationId xmlns:a16="http://schemas.microsoft.com/office/drawing/2014/main" id="{E36C69E7-96E0-99E3-BC84-C459A18CC238}"/>
                </a:ext>
              </a:extLst>
            </p:cNvPr>
            <p:cNvSpPr/>
            <p:nvPr/>
          </p:nvSpPr>
          <p:spPr>
            <a:xfrm>
              <a:off x="998550" y="2256650"/>
              <a:ext cx="88400" cy="333475"/>
            </a:xfrm>
            <a:custGeom>
              <a:avLst/>
              <a:gdLst/>
              <a:ahLst/>
              <a:cxnLst/>
              <a:rect l="l" t="t" r="r" b="b"/>
              <a:pathLst>
                <a:path w="3536" h="13339" extrusionOk="0">
                  <a:moveTo>
                    <a:pt x="7" y="0"/>
                  </a:moveTo>
                  <a:lnTo>
                    <a:pt x="0" y="13338"/>
                  </a:lnTo>
                  <a:lnTo>
                    <a:pt x="3536" y="13338"/>
                  </a:lnTo>
                  <a:cubicBezTo>
                    <a:pt x="3536" y="13338"/>
                    <a:pt x="3491" y="5773"/>
                    <a:pt x="3395" y="5261"/>
                  </a:cubicBezTo>
                  <a:cubicBezTo>
                    <a:pt x="3306" y="4757"/>
                    <a:pt x="3009" y="3794"/>
                    <a:pt x="2076" y="2757"/>
                  </a:cubicBezTo>
                  <a:cubicBezTo>
                    <a:pt x="1149" y="1711"/>
                    <a:pt x="7" y="0"/>
                    <a:pt x="7" y="0"/>
                  </a:cubicBez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4" name="Google Shape;5194;p53">
              <a:extLst>
                <a:ext uri="{FF2B5EF4-FFF2-40B4-BE49-F238E27FC236}">
                  <a16:creationId xmlns:a16="http://schemas.microsoft.com/office/drawing/2014/main" id="{33A735ED-38BB-4A0E-C0AE-50D4B17F6D4F}"/>
                </a:ext>
              </a:extLst>
            </p:cNvPr>
            <p:cNvSpPr/>
            <p:nvPr/>
          </p:nvSpPr>
          <p:spPr>
            <a:xfrm>
              <a:off x="998725" y="2256650"/>
              <a:ext cx="88225" cy="330475"/>
            </a:xfrm>
            <a:custGeom>
              <a:avLst/>
              <a:gdLst/>
              <a:ahLst/>
              <a:cxnLst/>
              <a:rect l="l" t="t" r="r" b="b"/>
              <a:pathLst>
                <a:path w="3529" h="13219" extrusionOk="0">
                  <a:moveTo>
                    <a:pt x="0" y="0"/>
                  </a:moveTo>
                  <a:lnTo>
                    <a:pt x="1275" y="2853"/>
                  </a:lnTo>
                  <a:cubicBezTo>
                    <a:pt x="1334" y="2972"/>
                    <a:pt x="2261" y="4839"/>
                    <a:pt x="2268" y="6810"/>
                  </a:cubicBezTo>
                  <a:lnTo>
                    <a:pt x="2328" y="13219"/>
                  </a:lnTo>
                  <a:lnTo>
                    <a:pt x="3529" y="13219"/>
                  </a:lnTo>
                  <a:cubicBezTo>
                    <a:pt x="3529" y="12931"/>
                    <a:pt x="3521" y="12122"/>
                    <a:pt x="3513" y="11122"/>
                  </a:cubicBezTo>
                  <a:lnTo>
                    <a:pt x="3513" y="11040"/>
                  </a:lnTo>
                  <a:cubicBezTo>
                    <a:pt x="3505" y="10619"/>
                    <a:pt x="3505" y="10158"/>
                    <a:pt x="3498" y="9699"/>
                  </a:cubicBezTo>
                  <a:lnTo>
                    <a:pt x="3498" y="9618"/>
                  </a:lnTo>
                  <a:cubicBezTo>
                    <a:pt x="3491" y="9269"/>
                    <a:pt x="3491" y="8913"/>
                    <a:pt x="3484" y="8574"/>
                  </a:cubicBezTo>
                  <a:cubicBezTo>
                    <a:pt x="3484" y="8431"/>
                    <a:pt x="3477" y="8298"/>
                    <a:pt x="3477" y="8158"/>
                  </a:cubicBezTo>
                  <a:cubicBezTo>
                    <a:pt x="3454" y="6706"/>
                    <a:pt x="3424" y="5462"/>
                    <a:pt x="3388" y="5261"/>
                  </a:cubicBezTo>
                  <a:lnTo>
                    <a:pt x="3388" y="5254"/>
                  </a:lnTo>
                  <a:cubicBezTo>
                    <a:pt x="3299" y="4741"/>
                    <a:pt x="2995" y="3786"/>
                    <a:pt x="2069" y="2757"/>
                  </a:cubicBezTo>
                  <a:cubicBezTo>
                    <a:pt x="1142" y="171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A9645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5" name="Google Shape;5195;p53">
              <a:extLst>
                <a:ext uri="{FF2B5EF4-FFF2-40B4-BE49-F238E27FC236}">
                  <a16:creationId xmlns:a16="http://schemas.microsoft.com/office/drawing/2014/main" id="{BE97422D-09F6-328B-6207-18F5E5CCA015}"/>
                </a:ext>
              </a:extLst>
            </p:cNvPr>
            <p:cNvSpPr/>
            <p:nvPr/>
          </p:nvSpPr>
          <p:spPr>
            <a:xfrm>
              <a:off x="998725" y="2394300"/>
              <a:ext cx="85825" cy="15750"/>
            </a:xfrm>
            <a:custGeom>
              <a:avLst/>
              <a:gdLst/>
              <a:ahLst/>
              <a:cxnLst/>
              <a:rect l="l" t="t" r="r" b="b"/>
              <a:pathLst>
                <a:path w="3433" h="630" extrusionOk="0">
                  <a:moveTo>
                    <a:pt x="0" y="0"/>
                  </a:moveTo>
                  <a:lnTo>
                    <a:pt x="0" y="630"/>
                  </a:lnTo>
                  <a:lnTo>
                    <a:pt x="3433" y="630"/>
                  </a:lnTo>
                  <a:lnTo>
                    <a:pt x="3433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6" name="Google Shape;5196;p53">
              <a:extLst>
                <a:ext uri="{FF2B5EF4-FFF2-40B4-BE49-F238E27FC236}">
                  <a16:creationId xmlns:a16="http://schemas.microsoft.com/office/drawing/2014/main" id="{658F7F20-03E8-A441-ACFC-A9D9E2537090}"/>
                </a:ext>
              </a:extLst>
            </p:cNvPr>
            <p:cNvSpPr/>
            <p:nvPr/>
          </p:nvSpPr>
          <p:spPr>
            <a:xfrm>
              <a:off x="998550" y="2439100"/>
              <a:ext cx="87125" cy="3725"/>
            </a:xfrm>
            <a:custGeom>
              <a:avLst/>
              <a:gdLst/>
              <a:ahLst/>
              <a:cxnLst/>
              <a:rect l="l" t="t" r="r" b="b"/>
              <a:pathLst>
                <a:path w="3485" h="149" extrusionOk="0">
                  <a:moveTo>
                    <a:pt x="0" y="1"/>
                  </a:moveTo>
                  <a:lnTo>
                    <a:pt x="0" y="148"/>
                  </a:lnTo>
                  <a:lnTo>
                    <a:pt x="3484" y="148"/>
                  </a:lnTo>
                  <a:lnTo>
                    <a:pt x="348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7" name="Google Shape;5197;p53">
              <a:extLst>
                <a:ext uri="{FF2B5EF4-FFF2-40B4-BE49-F238E27FC236}">
                  <a16:creationId xmlns:a16="http://schemas.microsoft.com/office/drawing/2014/main" id="{4C56BC10-52F7-FC7D-9C58-2650205D5D5E}"/>
                </a:ext>
              </a:extLst>
            </p:cNvPr>
            <p:cNvSpPr/>
            <p:nvPr/>
          </p:nvSpPr>
          <p:spPr>
            <a:xfrm>
              <a:off x="998550" y="2447825"/>
              <a:ext cx="87125" cy="3700"/>
            </a:xfrm>
            <a:custGeom>
              <a:avLst/>
              <a:gdLst/>
              <a:ahLst/>
              <a:cxnLst/>
              <a:rect l="l" t="t" r="r" b="b"/>
              <a:pathLst>
                <a:path w="3485" h="148" extrusionOk="0">
                  <a:moveTo>
                    <a:pt x="0" y="0"/>
                  </a:moveTo>
                  <a:lnTo>
                    <a:pt x="0" y="148"/>
                  </a:lnTo>
                  <a:lnTo>
                    <a:pt x="3484" y="148"/>
                  </a:lnTo>
                  <a:lnTo>
                    <a:pt x="3484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8" name="Google Shape;5198;p53">
              <a:extLst>
                <a:ext uri="{FF2B5EF4-FFF2-40B4-BE49-F238E27FC236}">
                  <a16:creationId xmlns:a16="http://schemas.microsoft.com/office/drawing/2014/main" id="{4D4EF080-6C1C-F91D-FCDB-40E9F22F726E}"/>
                </a:ext>
              </a:extLst>
            </p:cNvPr>
            <p:cNvSpPr/>
            <p:nvPr/>
          </p:nvSpPr>
          <p:spPr>
            <a:xfrm>
              <a:off x="998550" y="2456525"/>
              <a:ext cx="87125" cy="3725"/>
            </a:xfrm>
            <a:custGeom>
              <a:avLst/>
              <a:gdLst/>
              <a:ahLst/>
              <a:cxnLst/>
              <a:rect l="l" t="t" r="r" b="b"/>
              <a:pathLst>
                <a:path w="3485" h="149" extrusionOk="0">
                  <a:moveTo>
                    <a:pt x="0" y="1"/>
                  </a:moveTo>
                  <a:lnTo>
                    <a:pt x="0" y="148"/>
                  </a:lnTo>
                  <a:lnTo>
                    <a:pt x="3484" y="148"/>
                  </a:lnTo>
                  <a:lnTo>
                    <a:pt x="348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9" name="Google Shape;5199;p53">
              <a:extLst>
                <a:ext uri="{FF2B5EF4-FFF2-40B4-BE49-F238E27FC236}">
                  <a16:creationId xmlns:a16="http://schemas.microsoft.com/office/drawing/2014/main" id="{E3C0C6F1-7410-E67A-8853-6B8661619F98}"/>
                </a:ext>
              </a:extLst>
            </p:cNvPr>
            <p:cNvSpPr/>
            <p:nvPr/>
          </p:nvSpPr>
          <p:spPr>
            <a:xfrm>
              <a:off x="998550" y="2465200"/>
              <a:ext cx="87125" cy="3750"/>
            </a:xfrm>
            <a:custGeom>
              <a:avLst/>
              <a:gdLst/>
              <a:ahLst/>
              <a:cxnLst/>
              <a:rect l="l" t="t" r="r" b="b"/>
              <a:pathLst>
                <a:path w="3485" h="150" extrusionOk="0">
                  <a:moveTo>
                    <a:pt x="0" y="1"/>
                  </a:moveTo>
                  <a:lnTo>
                    <a:pt x="0" y="150"/>
                  </a:lnTo>
                  <a:lnTo>
                    <a:pt x="3484" y="150"/>
                  </a:lnTo>
                  <a:lnTo>
                    <a:pt x="348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0" name="Google Shape;5200;p53">
              <a:extLst>
                <a:ext uri="{FF2B5EF4-FFF2-40B4-BE49-F238E27FC236}">
                  <a16:creationId xmlns:a16="http://schemas.microsoft.com/office/drawing/2014/main" id="{6121F199-1439-25C2-8088-6D942A1EEF77}"/>
                </a:ext>
              </a:extLst>
            </p:cNvPr>
            <p:cNvSpPr/>
            <p:nvPr/>
          </p:nvSpPr>
          <p:spPr>
            <a:xfrm>
              <a:off x="998550" y="2473925"/>
              <a:ext cx="87125" cy="3750"/>
            </a:xfrm>
            <a:custGeom>
              <a:avLst/>
              <a:gdLst/>
              <a:ahLst/>
              <a:cxnLst/>
              <a:rect l="l" t="t" r="r" b="b"/>
              <a:pathLst>
                <a:path w="3485" h="150" extrusionOk="0">
                  <a:moveTo>
                    <a:pt x="0" y="0"/>
                  </a:moveTo>
                  <a:lnTo>
                    <a:pt x="0" y="150"/>
                  </a:lnTo>
                  <a:lnTo>
                    <a:pt x="3484" y="150"/>
                  </a:lnTo>
                  <a:lnTo>
                    <a:pt x="3484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1" name="Google Shape;5201;p53">
              <a:extLst>
                <a:ext uri="{FF2B5EF4-FFF2-40B4-BE49-F238E27FC236}">
                  <a16:creationId xmlns:a16="http://schemas.microsoft.com/office/drawing/2014/main" id="{DCC0D7B0-808B-A71F-AB57-4F58B2FE2E73}"/>
                </a:ext>
              </a:extLst>
            </p:cNvPr>
            <p:cNvSpPr/>
            <p:nvPr/>
          </p:nvSpPr>
          <p:spPr>
            <a:xfrm>
              <a:off x="1267175" y="2240900"/>
              <a:ext cx="35000" cy="35200"/>
            </a:xfrm>
            <a:custGeom>
              <a:avLst/>
              <a:gdLst/>
              <a:ahLst/>
              <a:cxnLst/>
              <a:rect l="l" t="t" r="r" b="b"/>
              <a:pathLst>
                <a:path w="1400" h="1408" extrusionOk="0">
                  <a:moveTo>
                    <a:pt x="697" y="1"/>
                  </a:moveTo>
                  <a:cubicBezTo>
                    <a:pt x="311" y="1"/>
                    <a:pt x="0" y="319"/>
                    <a:pt x="0" y="703"/>
                  </a:cubicBezTo>
                  <a:cubicBezTo>
                    <a:pt x="0" y="1089"/>
                    <a:pt x="311" y="1407"/>
                    <a:pt x="697" y="1407"/>
                  </a:cubicBezTo>
                  <a:cubicBezTo>
                    <a:pt x="1088" y="1407"/>
                    <a:pt x="1400" y="1089"/>
                    <a:pt x="1400" y="703"/>
                  </a:cubicBezTo>
                  <a:cubicBezTo>
                    <a:pt x="1400" y="319"/>
                    <a:pt x="1088" y="1"/>
                    <a:pt x="697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2" name="Google Shape;5202;p53">
              <a:extLst>
                <a:ext uri="{FF2B5EF4-FFF2-40B4-BE49-F238E27FC236}">
                  <a16:creationId xmlns:a16="http://schemas.microsoft.com/office/drawing/2014/main" id="{BFFB4B31-86A5-9D11-FAB4-6CAA087D9737}"/>
                </a:ext>
              </a:extLst>
            </p:cNvPr>
            <p:cNvSpPr/>
            <p:nvPr/>
          </p:nvSpPr>
          <p:spPr>
            <a:xfrm>
              <a:off x="1123775" y="2239225"/>
              <a:ext cx="22275" cy="22250"/>
            </a:xfrm>
            <a:custGeom>
              <a:avLst/>
              <a:gdLst/>
              <a:ahLst/>
              <a:cxnLst/>
              <a:rect l="l" t="t" r="r" b="b"/>
              <a:pathLst>
                <a:path w="891" h="890" extrusionOk="0">
                  <a:moveTo>
                    <a:pt x="445" y="0"/>
                  </a:moveTo>
                  <a:cubicBezTo>
                    <a:pt x="200" y="0"/>
                    <a:pt x="1" y="201"/>
                    <a:pt x="1" y="445"/>
                  </a:cubicBezTo>
                  <a:cubicBezTo>
                    <a:pt x="1" y="697"/>
                    <a:pt x="200" y="889"/>
                    <a:pt x="445" y="889"/>
                  </a:cubicBezTo>
                  <a:cubicBezTo>
                    <a:pt x="689" y="889"/>
                    <a:pt x="890" y="697"/>
                    <a:pt x="890" y="445"/>
                  </a:cubicBezTo>
                  <a:cubicBezTo>
                    <a:pt x="890" y="201"/>
                    <a:pt x="689" y="0"/>
                    <a:pt x="445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3" name="Google Shape;5203;p53">
              <a:extLst>
                <a:ext uri="{FF2B5EF4-FFF2-40B4-BE49-F238E27FC236}">
                  <a16:creationId xmlns:a16="http://schemas.microsoft.com/office/drawing/2014/main" id="{FD4A3560-7B18-F65D-46DE-4B531D5A6F90}"/>
                </a:ext>
              </a:extLst>
            </p:cNvPr>
            <p:cNvSpPr/>
            <p:nvPr/>
          </p:nvSpPr>
          <p:spPr>
            <a:xfrm>
              <a:off x="1139000" y="2197150"/>
              <a:ext cx="43150" cy="43025"/>
            </a:xfrm>
            <a:custGeom>
              <a:avLst/>
              <a:gdLst/>
              <a:ahLst/>
              <a:cxnLst/>
              <a:rect l="l" t="t" r="r" b="b"/>
              <a:pathLst>
                <a:path w="1726" h="1721" extrusionOk="0">
                  <a:moveTo>
                    <a:pt x="866" y="1"/>
                  </a:moveTo>
                  <a:cubicBezTo>
                    <a:pt x="391" y="1"/>
                    <a:pt x="0" y="387"/>
                    <a:pt x="0" y="862"/>
                  </a:cubicBezTo>
                  <a:cubicBezTo>
                    <a:pt x="0" y="1335"/>
                    <a:pt x="391" y="1720"/>
                    <a:pt x="866" y="1720"/>
                  </a:cubicBezTo>
                  <a:cubicBezTo>
                    <a:pt x="1341" y="1720"/>
                    <a:pt x="1725" y="1335"/>
                    <a:pt x="1725" y="862"/>
                  </a:cubicBezTo>
                  <a:cubicBezTo>
                    <a:pt x="1725" y="387"/>
                    <a:pt x="1341" y="1"/>
                    <a:pt x="866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4" name="Google Shape;5204;p53">
              <a:extLst>
                <a:ext uri="{FF2B5EF4-FFF2-40B4-BE49-F238E27FC236}">
                  <a16:creationId xmlns:a16="http://schemas.microsoft.com/office/drawing/2014/main" id="{66C7575E-2777-5989-365E-DC7822733371}"/>
                </a:ext>
              </a:extLst>
            </p:cNvPr>
            <p:cNvSpPr/>
            <p:nvPr/>
          </p:nvSpPr>
          <p:spPr>
            <a:xfrm>
              <a:off x="1250850" y="2278125"/>
              <a:ext cx="14875" cy="14650"/>
            </a:xfrm>
            <a:custGeom>
              <a:avLst/>
              <a:gdLst/>
              <a:ahLst/>
              <a:cxnLst/>
              <a:rect l="l" t="t" r="r" b="b"/>
              <a:pathLst>
                <a:path w="595" h="586" extrusionOk="0">
                  <a:moveTo>
                    <a:pt x="297" y="0"/>
                  </a:moveTo>
                  <a:cubicBezTo>
                    <a:pt x="134" y="0"/>
                    <a:pt x="0" y="134"/>
                    <a:pt x="0" y="297"/>
                  </a:cubicBezTo>
                  <a:cubicBezTo>
                    <a:pt x="0" y="455"/>
                    <a:pt x="127" y="586"/>
                    <a:pt x="285" y="586"/>
                  </a:cubicBezTo>
                  <a:cubicBezTo>
                    <a:pt x="289" y="586"/>
                    <a:pt x="293" y="585"/>
                    <a:pt x="297" y="585"/>
                  </a:cubicBezTo>
                  <a:cubicBezTo>
                    <a:pt x="461" y="585"/>
                    <a:pt x="594" y="452"/>
                    <a:pt x="594" y="290"/>
                  </a:cubicBezTo>
                  <a:cubicBezTo>
                    <a:pt x="594" y="126"/>
                    <a:pt x="461" y="0"/>
                    <a:pt x="297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5" name="Google Shape;5205;p53">
              <a:extLst>
                <a:ext uri="{FF2B5EF4-FFF2-40B4-BE49-F238E27FC236}">
                  <a16:creationId xmlns:a16="http://schemas.microsoft.com/office/drawing/2014/main" id="{95D8B656-FF73-F6DC-A2EB-4ABB8AD7C883}"/>
                </a:ext>
              </a:extLst>
            </p:cNvPr>
            <p:cNvSpPr/>
            <p:nvPr/>
          </p:nvSpPr>
          <p:spPr>
            <a:xfrm>
              <a:off x="1423700" y="2188075"/>
              <a:ext cx="164350" cy="71525"/>
            </a:xfrm>
            <a:custGeom>
              <a:avLst/>
              <a:gdLst/>
              <a:ahLst/>
              <a:cxnLst/>
              <a:rect l="l" t="t" r="r" b="b"/>
              <a:pathLst>
                <a:path w="6574" h="2861" extrusionOk="0">
                  <a:moveTo>
                    <a:pt x="3078" y="1"/>
                  </a:moveTo>
                  <a:cubicBezTo>
                    <a:pt x="3067" y="1"/>
                    <a:pt x="3056" y="1"/>
                    <a:pt x="3045" y="1"/>
                  </a:cubicBezTo>
                  <a:cubicBezTo>
                    <a:pt x="2512" y="8"/>
                    <a:pt x="2083" y="401"/>
                    <a:pt x="2001" y="904"/>
                  </a:cubicBezTo>
                  <a:cubicBezTo>
                    <a:pt x="1964" y="904"/>
                    <a:pt x="1927" y="897"/>
                    <a:pt x="1889" y="897"/>
                  </a:cubicBezTo>
                  <a:cubicBezTo>
                    <a:pt x="1431" y="913"/>
                    <a:pt x="1068" y="1283"/>
                    <a:pt x="1061" y="1735"/>
                  </a:cubicBezTo>
                  <a:cubicBezTo>
                    <a:pt x="534" y="1891"/>
                    <a:pt x="127" y="2327"/>
                    <a:pt x="1" y="2861"/>
                  </a:cubicBezTo>
                  <a:lnTo>
                    <a:pt x="6574" y="2743"/>
                  </a:lnTo>
                  <a:cubicBezTo>
                    <a:pt x="6390" y="2086"/>
                    <a:pt x="6007" y="1601"/>
                    <a:pt x="5306" y="1601"/>
                  </a:cubicBezTo>
                  <a:cubicBezTo>
                    <a:pt x="5296" y="1601"/>
                    <a:pt x="5286" y="1601"/>
                    <a:pt x="5275" y="1602"/>
                  </a:cubicBezTo>
                  <a:lnTo>
                    <a:pt x="5217" y="1602"/>
                  </a:lnTo>
                  <a:cubicBezTo>
                    <a:pt x="5210" y="1101"/>
                    <a:pt x="4802" y="698"/>
                    <a:pt x="4305" y="698"/>
                  </a:cubicBezTo>
                  <a:cubicBezTo>
                    <a:pt x="4295" y="698"/>
                    <a:pt x="4286" y="698"/>
                    <a:pt x="4276" y="698"/>
                  </a:cubicBezTo>
                  <a:cubicBezTo>
                    <a:pt x="4208" y="698"/>
                    <a:pt x="4150" y="705"/>
                    <a:pt x="4084" y="719"/>
                  </a:cubicBezTo>
                  <a:cubicBezTo>
                    <a:pt x="3938" y="301"/>
                    <a:pt x="3545" y="1"/>
                    <a:pt x="3078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6" name="Google Shape;5206;p53">
              <a:extLst>
                <a:ext uri="{FF2B5EF4-FFF2-40B4-BE49-F238E27FC236}">
                  <a16:creationId xmlns:a16="http://schemas.microsoft.com/office/drawing/2014/main" id="{41D3B9B1-523A-5378-AE70-73FF1EB2830D}"/>
                </a:ext>
              </a:extLst>
            </p:cNvPr>
            <p:cNvSpPr/>
            <p:nvPr/>
          </p:nvSpPr>
          <p:spPr>
            <a:xfrm>
              <a:off x="1423700" y="2187725"/>
              <a:ext cx="165650" cy="71175"/>
            </a:xfrm>
            <a:custGeom>
              <a:avLst/>
              <a:gdLst/>
              <a:ahLst/>
              <a:cxnLst/>
              <a:rect l="l" t="t" r="r" b="b"/>
              <a:pathLst>
                <a:path w="6626" h="2847" extrusionOk="0">
                  <a:moveTo>
                    <a:pt x="3085" y="1"/>
                  </a:moveTo>
                  <a:cubicBezTo>
                    <a:pt x="3079" y="1"/>
                    <a:pt x="3074" y="1"/>
                    <a:pt x="3068" y="1"/>
                  </a:cubicBezTo>
                  <a:cubicBezTo>
                    <a:pt x="2535" y="8"/>
                    <a:pt x="2097" y="394"/>
                    <a:pt x="2016" y="904"/>
                  </a:cubicBezTo>
                  <a:cubicBezTo>
                    <a:pt x="1978" y="897"/>
                    <a:pt x="1941" y="897"/>
                    <a:pt x="1905" y="897"/>
                  </a:cubicBezTo>
                  <a:cubicBezTo>
                    <a:pt x="1445" y="897"/>
                    <a:pt x="1075" y="1267"/>
                    <a:pt x="1068" y="1728"/>
                  </a:cubicBezTo>
                  <a:cubicBezTo>
                    <a:pt x="541" y="1875"/>
                    <a:pt x="127" y="2306"/>
                    <a:pt x="1" y="2846"/>
                  </a:cubicBezTo>
                  <a:lnTo>
                    <a:pt x="6625" y="2764"/>
                  </a:lnTo>
                  <a:cubicBezTo>
                    <a:pt x="6449" y="2109"/>
                    <a:pt x="6009" y="1615"/>
                    <a:pt x="5300" y="1615"/>
                  </a:cubicBezTo>
                  <a:cubicBezTo>
                    <a:pt x="5294" y="1615"/>
                    <a:pt x="5289" y="1615"/>
                    <a:pt x="5284" y="1616"/>
                  </a:cubicBezTo>
                  <a:lnTo>
                    <a:pt x="5224" y="1616"/>
                  </a:lnTo>
                  <a:cubicBezTo>
                    <a:pt x="5224" y="1111"/>
                    <a:pt x="4811" y="705"/>
                    <a:pt x="4307" y="705"/>
                  </a:cubicBezTo>
                  <a:cubicBezTo>
                    <a:pt x="4301" y="705"/>
                    <a:pt x="4296" y="705"/>
                    <a:pt x="4290" y="705"/>
                  </a:cubicBezTo>
                  <a:cubicBezTo>
                    <a:pt x="4224" y="705"/>
                    <a:pt x="4164" y="712"/>
                    <a:pt x="4098" y="726"/>
                  </a:cubicBezTo>
                  <a:cubicBezTo>
                    <a:pt x="3952" y="301"/>
                    <a:pt x="3551" y="1"/>
                    <a:pt x="3085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7" name="Google Shape;5207;p53">
              <a:extLst>
                <a:ext uri="{FF2B5EF4-FFF2-40B4-BE49-F238E27FC236}">
                  <a16:creationId xmlns:a16="http://schemas.microsoft.com/office/drawing/2014/main" id="{D4466CCE-44AE-C4B9-85C9-FCE497B38618}"/>
                </a:ext>
              </a:extLst>
            </p:cNvPr>
            <p:cNvSpPr/>
            <p:nvPr/>
          </p:nvSpPr>
          <p:spPr>
            <a:xfrm>
              <a:off x="1471325" y="2209950"/>
              <a:ext cx="18150" cy="36125"/>
            </a:xfrm>
            <a:custGeom>
              <a:avLst/>
              <a:gdLst/>
              <a:ahLst/>
              <a:cxnLst/>
              <a:rect l="l" t="t" r="r" b="b"/>
              <a:pathLst>
                <a:path w="726" h="1445" extrusionOk="0">
                  <a:moveTo>
                    <a:pt x="0" y="1"/>
                  </a:moveTo>
                  <a:cubicBezTo>
                    <a:pt x="0" y="1"/>
                    <a:pt x="578" y="186"/>
                    <a:pt x="548" y="719"/>
                  </a:cubicBezTo>
                  <a:cubicBezTo>
                    <a:pt x="518" y="1312"/>
                    <a:pt x="0" y="1445"/>
                    <a:pt x="0" y="1445"/>
                  </a:cubicBezTo>
                  <a:cubicBezTo>
                    <a:pt x="401" y="1445"/>
                    <a:pt x="726" y="1120"/>
                    <a:pt x="726" y="719"/>
                  </a:cubicBezTo>
                  <a:cubicBezTo>
                    <a:pt x="726" y="326"/>
                    <a:pt x="401" y="1"/>
                    <a:pt x="0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8" name="Google Shape;5208;p53">
              <a:extLst>
                <a:ext uri="{FF2B5EF4-FFF2-40B4-BE49-F238E27FC236}">
                  <a16:creationId xmlns:a16="http://schemas.microsoft.com/office/drawing/2014/main" id="{A4CB0F1E-87E8-E6FC-623B-D879F620CC36}"/>
                </a:ext>
              </a:extLst>
            </p:cNvPr>
            <p:cNvSpPr/>
            <p:nvPr/>
          </p:nvSpPr>
          <p:spPr>
            <a:xfrm>
              <a:off x="1533575" y="2227925"/>
              <a:ext cx="53550" cy="27050"/>
            </a:xfrm>
            <a:custGeom>
              <a:avLst/>
              <a:gdLst/>
              <a:ahLst/>
              <a:cxnLst/>
              <a:rect l="l" t="t" r="r" b="b"/>
              <a:pathLst>
                <a:path w="2142" h="1082" extrusionOk="0">
                  <a:moveTo>
                    <a:pt x="1068" y="0"/>
                  </a:moveTo>
                  <a:cubicBezTo>
                    <a:pt x="489" y="0"/>
                    <a:pt x="7" y="471"/>
                    <a:pt x="0" y="1053"/>
                  </a:cubicBezTo>
                  <a:cubicBezTo>
                    <a:pt x="0" y="1053"/>
                    <a:pt x="272" y="206"/>
                    <a:pt x="1007" y="206"/>
                  </a:cubicBezTo>
                  <a:cubicBezTo>
                    <a:pt x="1029" y="206"/>
                    <a:pt x="1052" y="207"/>
                    <a:pt x="1074" y="208"/>
                  </a:cubicBezTo>
                  <a:cubicBezTo>
                    <a:pt x="1947" y="274"/>
                    <a:pt x="2134" y="1082"/>
                    <a:pt x="2134" y="1082"/>
                  </a:cubicBezTo>
                  <a:cubicBezTo>
                    <a:pt x="2141" y="497"/>
                    <a:pt x="1674" y="15"/>
                    <a:pt x="1081" y="0"/>
                  </a:cubicBezTo>
                  <a:cubicBezTo>
                    <a:pt x="1077" y="0"/>
                    <a:pt x="1073" y="0"/>
                    <a:pt x="1068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9" name="Google Shape;5209;p53">
              <a:extLst>
                <a:ext uri="{FF2B5EF4-FFF2-40B4-BE49-F238E27FC236}">
                  <a16:creationId xmlns:a16="http://schemas.microsoft.com/office/drawing/2014/main" id="{FEFFC622-872C-DA21-8D82-F513346CBE4B}"/>
                </a:ext>
              </a:extLst>
            </p:cNvPr>
            <p:cNvSpPr/>
            <p:nvPr/>
          </p:nvSpPr>
          <p:spPr>
            <a:xfrm>
              <a:off x="1162875" y="2146425"/>
              <a:ext cx="77275" cy="40575"/>
            </a:xfrm>
            <a:custGeom>
              <a:avLst/>
              <a:gdLst/>
              <a:ahLst/>
              <a:cxnLst/>
              <a:rect l="l" t="t" r="r" b="b"/>
              <a:pathLst>
                <a:path w="3091" h="1623" extrusionOk="0">
                  <a:moveTo>
                    <a:pt x="807" y="1"/>
                  </a:moveTo>
                  <a:cubicBezTo>
                    <a:pt x="363" y="1"/>
                    <a:pt x="0" y="363"/>
                    <a:pt x="0" y="815"/>
                  </a:cubicBezTo>
                  <a:cubicBezTo>
                    <a:pt x="0" y="1260"/>
                    <a:pt x="363" y="1623"/>
                    <a:pt x="807" y="1623"/>
                  </a:cubicBezTo>
                  <a:lnTo>
                    <a:pt x="2275" y="1623"/>
                  </a:lnTo>
                  <a:cubicBezTo>
                    <a:pt x="2726" y="1623"/>
                    <a:pt x="3091" y="1260"/>
                    <a:pt x="3091" y="815"/>
                  </a:cubicBezTo>
                  <a:cubicBezTo>
                    <a:pt x="3091" y="363"/>
                    <a:pt x="2726" y="1"/>
                    <a:pt x="227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0" name="Google Shape;5210;p53">
              <a:extLst>
                <a:ext uri="{FF2B5EF4-FFF2-40B4-BE49-F238E27FC236}">
                  <a16:creationId xmlns:a16="http://schemas.microsoft.com/office/drawing/2014/main" id="{F66D1636-9016-1E6A-6EDA-5FF6F52886F7}"/>
                </a:ext>
              </a:extLst>
            </p:cNvPr>
            <p:cNvSpPr/>
            <p:nvPr/>
          </p:nvSpPr>
          <p:spPr>
            <a:xfrm>
              <a:off x="1136775" y="1958600"/>
              <a:ext cx="77250" cy="40550"/>
            </a:xfrm>
            <a:custGeom>
              <a:avLst/>
              <a:gdLst/>
              <a:ahLst/>
              <a:cxnLst/>
              <a:rect l="l" t="t" r="r" b="b"/>
              <a:pathLst>
                <a:path w="3090" h="1622" extrusionOk="0">
                  <a:moveTo>
                    <a:pt x="808" y="0"/>
                  </a:moveTo>
                  <a:cubicBezTo>
                    <a:pt x="363" y="0"/>
                    <a:pt x="0" y="363"/>
                    <a:pt x="0" y="815"/>
                  </a:cubicBezTo>
                  <a:cubicBezTo>
                    <a:pt x="0" y="1259"/>
                    <a:pt x="363" y="1622"/>
                    <a:pt x="808" y="1622"/>
                  </a:cubicBezTo>
                  <a:lnTo>
                    <a:pt x="2282" y="1622"/>
                  </a:lnTo>
                  <a:cubicBezTo>
                    <a:pt x="2726" y="1622"/>
                    <a:pt x="3089" y="1259"/>
                    <a:pt x="3089" y="815"/>
                  </a:cubicBezTo>
                  <a:cubicBezTo>
                    <a:pt x="3089" y="363"/>
                    <a:pt x="2726" y="0"/>
                    <a:pt x="2282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1" name="Google Shape;5211;p53">
              <a:extLst>
                <a:ext uri="{FF2B5EF4-FFF2-40B4-BE49-F238E27FC236}">
                  <a16:creationId xmlns:a16="http://schemas.microsoft.com/office/drawing/2014/main" id="{CE59CBD9-81B6-3EC6-6D74-E311CB90FF2D}"/>
                </a:ext>
              </a:extLst>
            </p:cNvPr>
            <p:cNvSpPr/>
            <p:nvPr/>
          </p:nvSpPr>
          <p:spPr>
            <a:xfrm>
              <a:off x="1001175" y="2198450"/>
              <a:ext cx="37975" cy="40625"/>
            </a:xfrm>
            <a:custGeom>
              <a:avLst/>
              <a:gdLst/>
              <a:ahLst/>
              <a:cxnLst/>
              <a:rect l="l" t="t" r="r" b="b"/>
              <a:pathLst>
                <a:path w="1519" h="1625" extrusionOk="0">
                  <a:moveTo>
                    <a:pt x="0" y="0"/>
                  </a:moveTo>
                  <a:lnTo>
                    <a:pt x="0" y="1624"/>
                  </a:lnTo>
                  <a:lnTo>
                    <a:pt x="703" y="1624"/>
                  </a:lnTo>
                  <a:cubicBezTo>
                    <a:pt x="1156" y="1624"/>
                    <a:pt x="1519" y="1254"/>
                    <a:pt x="1519" y="810"/>
                  </a:cubicBezTo>
                  <a:cubicBezTo>
                    <a:pt x="1519" y="365"/>
                    <a:pt x="1156" y="0"/>
                    <a:pt x="703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2" name="Google Shape;5212;p53">
              <a:extLst>
                <a:ext uri="{FF2B5EF4-FFF2-40B4-BE49-F238E27FC236}">
                  <a16:creationId xmlns:a16="http://schemas.microsoft.com/office/drawing/2014/main" id="{1C82096F-6D8C-5DFE-67B7-A6574863C058}"/>
                </a:ext>
              </a:extLst>
            </p:cNvPr>
            <p:cNvSpPr/>
            <p:nvPr/>
          </p:nvSpPr>
          <p:spPr>
            <a:xfrm>
              <a:off x="1222875" y="2077875"/>
              <a:ext cx="123575" cy="64850"/>
            </a:xfrm>
            <a:custGeom>
              <a:avLst/>
              <a:gdLst/>
              <a:ahLst/>
              <a:cxnLst/>
              <a:rect l="l" t="t" r="r" b="b"/>
              <a:pathLst>
                <a:path w="4943" h="2594" extrusionOk="0">
                  <a:moveTo>
                    <a:pt x="1297" y="0"/>
                  </a:moveTo>
                  <a:cubicBezTo>
                    <a:pt x="586" y="0"/>
                    <a:pt x="1" y="578"/>
                    <a:pt x="1" y="1297"/>
                  </a:cubicBezTo>
                  <a:cubicBezTo>
                    <a:pt x="1" y="2008"/>
                    <a:pt x="586" y="2593"/>
                    <a:pt x="1297" y="2593"/>
                  </a:cubicBezTo>
                  <a:lnTo>
                    <a:pt x="3647" y="2593"/>
                  </a:lnTo>
                  <a:cubicBezTo>
                    <a:pt x="4358" y="2593"/>
                    <a:pt x="4943" y="2008"/>
                    <a:pt x="4943" y="1297"/>
                  </a:cubicBezTo>
                  <a:cubicBezTo>
                    <a:pt x="4943" y="578"/>
                    <a:pt x="4358" y="0"/>
                    <a:pt x="3647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3" name="Google Shape;5213;p53">
              <a:extLst>
                <a:ext uri="{FF2B5EF4-FFF2-40B4-BE49-F238E27FC236}">
                  <a16:creationId xmlns:a16="http://schemas.microsoft.com/office/drawing/2014/main" id="{F03AC5B8-7C72-4005-7C82-BF0C25E0EF11}"/>
                </a:ext>
              </a:extLst>
            </p:cNvPr>
            <p:cNvSpPr/>
            <p:nvPr/>
          </p:nvSpPr>
          <p:spPr>
            <a:xfrm>
              <a:off x="1271425" y="2182175"/>
              <a:ext cx="145225" cy="41325"/>
            </a:xfrm>
            <a:custGeom>
              <a:avLst/>
              <a:gdLst/>
              <a:ahLst/>
              <a:cxnLst/>
              <a:rect l="l" t="t" r="r" b="b"/>
              <a:pathLst>
                <a:path w="5809" h="1653" extrusionOk="0">
                  <a:moveTo>
                    <a:pt x="822" y="0"/>
                  </a:moveTo>
                  <a:cubicBezTo>
                    <a:pt x="371" y="0"/>
                    <a:pt x="1" y="370"/>
                    <a:pt x="1" y="822"/>
                  </a:cubicBezTo>
                  <a:cubicBezTo>
                    <a:pt x="1" y="1283"/>
                    <a:pt x="371" y="1653"/>
                    <a:pt x="822" y="1653"/>
                  </a:cubicBezTo>
                  <a:lnTo>
                    <a:pt x="4987" y="1653"/>
                  </a:lnTo>
                  <a:cubicBezTo>
                    <a:pt x="5439" y="1653"/>
                    <a:pt x="5809" y="1283"/>
                    <a:pt x="5809" y="822"/>
                  </a:cubicBezTo>
                  <a:cubicBezTo>
                    <a:pt x="5809" y="370"/>
                    <a:pt x="5439" y="0"/>
                    <a:pt x="4987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4" name="Google Shape;5214;p53">
              <a:extLst>
                <a:ext uri="{FF2B5EF4-FFF2-40B4-BE49-F238E27FC236}">
                  <a16:creationId xmlns:a16="http://schemas.microsoft.com/office/drawing/2014/main" id="{2D934C80-89E1-8FE6-035F-DA185977A9BC}"/>
                </a:ext>
              </a:extLst>
            </p:cNvPr>
            <p:cNvSpPr/>
            <p:nvPr/>
          </p:nvSpPr>
          <p:spPr>
            <a:xfrm>
              <a:off x="998725" y="2587100"/>
              <a:ext cx="642450" cy="39875"/>
            </a:xfrm>
            <a:custGeom>
              <a:avLst/>
              <a:gdLst/>
              <a:ahLst/>
              <a:cxnLst/>
              <a:rect l="l" t="t" r="r" b="b"/>
              <a:pathLst>
                <a:path w="25698" h="1595" extrusionOk="0">
                  <a:moveTo>
                    <a:pt x="0" y="1"/>
                  </a:moveTo>
                  <a:lnTo>
                    <a:pt x="0" y="1594"/>
                  </a:lnTo>
                  <a:lnTo>
                    <a:pt x="24350" y="1594"/>
                  </a:lnTo>
                  <a:cubicBezTo>
                    <a:pt x="25698" y="1594"/>
                    <a:pt x="25557" y="1"/>
                    <a:pt x="2435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5" name="Google Shape;5215;p53">
              <a:extLst>
                <a:ext uri="{FF2B5EF4-FFF2-40B4-BE49-F238E27FC236}">
                  <a16:creationId xmlns:a16="http://schemas.microsoft.com/office/drawing/2014/main" id="{BDD57759-ABCB-D699-5ED6-6AACC1F2B53F}"/>
                </a:ext>
              </a:extLst>
            </p:cNvPr>
            <p:cNvSpPr/>
            <p:nvPr/>
          </p:nvSpPr>
          <p:spPr>
            <a:xfrm>
              <a:off x="998725" y="2626950"/>
              <a:ext cx="693050" cy="39850"/>
            </a:xfrm>
            <a:custGeom>
              <a:avLst/>
              <a:gdLst/>
              <a:ahLst/>
              <a:cxnLst/>
              <a:rect l="l" t="t" r="r" b="b"/>
              <a:pathLst>
                <a:path w="27722" h="1594" extrusionOk="0">
                  <a:moveTo>
                    <a:pt x="0" y="0"/>
                  </a:moveTo>
                  <a:lnTo>
                    <a:pt x="0" y="1578"/>
                  </a:lnTo>
                  <a:lnTo>
                    <a:pt x="20763" y="1578"/>
                  </a:lnTo>
                  <a:cubicBezTo>
                    <a:pt x="20807" y="1578"/>
                    <a:pt x="20861" y="1587"/>
                    <a:pt x="20905" y="1594"/>
                  </a:cubicBezTo>
                  <a:lnTo>
                    <a:pt x="26692" y="1594"/>
                  </a:lnTo>
                  <a:cubicBezTo>
                    <a:pt x="27670" y="1594"/>
                    <a:pt x="27722" y="164"/>
                    <a:pt x="26774" y="15"/>
                  </a:cubicBezTo>
                  <a:cubicBezTo>
                    <a:pt x="26720" y="7"/>
                    <a:pt x="26662" y="0"/>
                    <a:pt x="26610" y="0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6" name="Google Shape;5216;p53">
              <a:extLst>
                <a:ext uri="{FF2B5EF4-FFF2-40B4-BE49-F238E27FC236}">
                  <a16:creationId xmlns:a16="http://schemas.microsoft.com/office/drawing/2014/main" id="{1EB4E084-0AF7-62CE-2638-1F9E5229249D}"/>
                </a:ext>
              </a:extLst>
            </p:cNvPr>
            <p:cNvSpPr/>
            <p:nvPr/>
          </p:nvSpPr>
          <p:spPr>
            <a:xfrm>
              <a:off x="998725" y="2666375"/>
              <a:ext cx="522650" cy="425"/>
            </a:xfrm>
            <a:custGeom>
              <a:avLst/>
              <a:gdLst/>
              <a:ahLst/>
              <a:cxnLst/>
              <a:rect l="l" t="t" r="r" b="b"/>
              <a:pathLst>
                <a:path w="20906" h="17" extrusionOk="0">
                  <a:moveTo>
                    <a:pt x="0" y="1"/>
                  </a:moveTo>
                  <a:lnTo>
                    <a:pt x="0" y="17"/>
                  </a:lnTo>
                  <a:lnTo>
                    <a:pt x="20905" y="17"/>
                  </a:lnTo>
                  <a:cubicBezTo>
                    <a:pt x="20861" y="10"/>
                    <a:pt x="20807" y="1"/>
                    <a:pt x="20763" y="1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7" name="Google Shape;5217;p53">
              <a:extLst>
                <a:ext uri="{FF2B5EF4-FFF2-40B4-BE49-F238E27FC236}">
                  <a16:creationId xmlns:a16="http://schemas.microsoft.com/office/drawing/2014/main" id="{C1FD99B5-B07C-5AD4-24C8-D35FF3F70EC2}"/>
                </a:ext>
              </a:extLst>
            </p:cNvPr>
            <p:cNvSpPr/>
            <p:nvPr/>
          </p:nvSpPr>
          <p:spPr>
            <a:xfrm>
              <a:off x="1210125" y="2313150"/>
              <a:ext cx="45950" cy="276975"/>
            </a:xfrm>
            <a:custGeom>
              <a:avLst/>
              <a:gdLst/>
              <a:ahLst/>
              <a:cxnLst/>
              <a:rect l="l" t="t" r="r" b="b"/>
              <a:pathLst>
                <a:path w="1838" h="11079" extrusionOk="0">
                  <a:moveTo>
                    <a:pt x="497" y="1"/>
                  </a:moveTo>
                  <a:lnTo>
                    <a:pt x="0" y="11055"/>
                  </a:lnTo>
                  <a:lnTo>
                    <a:pt x="1838" y="11078"/>
                  </a:lnTo>
                  <a:lnTo>
                    <a:pt x="1838" y="11078"/>
                  </a:lnTo>
                  <a:lnTo>
                    <a:pt x="1601" y="15"/>
                  </a:lnTo>
                  <a:lnTo>
                    <a:pt x="497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8" name="Google Shape;5218;p53">
              <a:extLst>
                <a:ext uri="{FF2B5EF4-FFF2-40B4-BE49-F238E27FC236}">
                  <a16:creationId xmlns:a16="http://schemas.microsoft.com/office/drawing/2014/main" id="{B96DE9BC-ADE1-9592-2001-D0FC61A0EEC0}"/>
                </a:ext>
              </a:extLst>
            </p:cNvPr>
            <p:cNvSpPr/>
            <p:nvPr/>
          </p:nvSpPr>
          <p:spPr>
            <a:xfrm>
              <a:off x="1210125" y="2313150"/>
              <a:ext cx="26300" cy="276550"/>
            </a:xfrm>
            <a:custGeom>
              <a:avLst/>
              <a:gdLst/>
              <a:ahLst/>
              <a:cxnLst/>
              <a:rect l="l" t="t" r="r" b="b"/>
              <a:pathLst>
                <a:path w="1052" h="11062" extrusionOk="0">
                  <a:moveTo>
                    <a:pt x="497" y="1"/>
                  </a:moveTo>
                  <a:lnTo>
                    <a:pt x="363" y="2994"/>
                  </a:lnTo>
                  <a:lnTo>
                    <a:pt x="0" y="11055"/>
                  </a:lnTo>
                  <a:lnTo>
                    <a:pt x="918" y="11062"/>
                  </a:lnTo>
                  <a:lnTo>
                    <a:pt x="1051" y="8"/>
                  </a:lnTo>
                  <a:lnTo>
                    <a:pt x="497" y="1"/>
                  </a:lnTo>
                  <a:close/>
                </a:path>
              </a:pathLst>
            </a:custGeom>
            <a:solidFill>
              <a:srgbClr val="92939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9" name="Google Shape;5219;p53">
              <a:extLst>
                <a:ext uri="{FF2B5EF4-FFF2-40B4-BE49-F238E27FC236}">
                  <a16:creationId xmlns:a16="http://schemas.microsoft.com/office/drawing/2014/main" id="{235A73B1-4839-CF98-026F-E6A06083F2DB}"/>
                </a:ext>
              </a:extLst>
            </p:cNvPr>
            <p:cNvSpPr/>
            <p:nvPr/>
          </p:nvSpPr>
          <p:spPr>
            <a:xfrm>
              <a:off x="1219025" y="2379850"/>
              <a:ext cx="32775" cy="16475"/>
            </a:xfrm>
            <a:custGeom>
              <a:avLst/>
              <a:gdLst/>
              <a:ahLst/>
              <a:cxnLst/>
              <a:rect l="l" t="t" r="r" b="b"/>
              <a:pathLst>
                <a:path w="1311" h="659" extrusionOk="0">
                  <a:moveTo>
                    <a:pt x="29" y="0"/>
                  </a:moveTo>
                  <a:lnTo>
                    <a:pt x="0" y="637"/>
                  </a:lnTo>
                  <a:lnTo>
                    <a:pt x="651" y="651"/>
                  </a:lnTo>
                  <a:lnTo>
                    <a:pt x="1311" y="658"/>
                  </a:lnTo>
                  <a:lnTo>
                    <a:pt x="1297" y="14"/>
                  </a:lnTo>
                  <a:lnTo>
                    <a:pt x="667" y="7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0" name="Google Shape;5220;p53">
              <a:extLst>
                <a:ext uri="{FF2B5EF4-FFF2-40B4-BE49-F238E27FC236}">
                  <a16:creationId xmlns:a16="http://schemas.microsoft.com/office/drawing/2014/main" id="{98B22697-A7E3-6A95-1C7C-E487BE446D3C}"/>
                </a:ext>
              </a:extLst>
            </p:cNvPr>
            <p:cNvSpPr/>
            <p:nvPr/>
          </p:nvSpPr>
          <p:spPr>
            <a:xfrm>
              <a:off x="1216975" y="2417225"/>
              <a:ext cx="35775" cy="23950"/>
            </a:xfrm>
            <a:custGeom>
              <a:avLst/>
              <a:gdLst/>
              <a:ahLst/>
              <a:cxnLst/>
              <a:rect l="l" t="t" r="r" b="b"/>
              <a:pathLst>
                <a:path w="1431" h="958" extrusionOk="0">
                  <a:moveTo>
                    <a:pt x="45" y="1"/>
                  </a:moveTo>
                  <a:lnTo>
                    <a:pt x="0" y="941"/>
                  </a:lnTo>
                  <a:lnTo>
                    <a:pt x="719" y="950"/>
                  </a:lnTo>
                  <a:lnTo>
                    <a:pt x="1430" y="957"/>
                  </a:lnTo>
                  <a:lnTo>
                    <a:pt x="1416" y="24"/>
                  </a:lnTo>
                  <a:lnTo>
                    <a:pt x="726" y="8"/>
                  </a:lnTo>
                  <a:lnTo>
                    <a:pt x="45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21" name="Google Shape;5221;p53">
            <a:extLst>
              <a:ext uri="{FF2B5EF4-FFF2-40B4-BE49-F238E27FC236}">
                <a16:creationId xmlns:a16="http://schemas.microsoft.com/office/drawing/2014/main" id="{C0BA4443-075A-0F40-AE80-E46399C2E561}"/>
              </a:ext>
            </a:extLst>
          </p:cNvPr>
          <p:cNvGrpSpPr/>
          <p:nvPr/>
        </p:nvGrpSpPr>
        <p:grpSpPr>
          <a:xfrm>
            <a:off x="6987193" y="2679817"/>
            <a:ext cx="2520565" cy="1945481"/>
            <a:chOff x="7095475" y="1127208"/>
            <a:chExt cx="817675" cy="631117"/>
          </a:xfrm>
        </p:grpSpPr>
        <p:sp>
          <p:nvSpPr>
            <p:cNvPr id="5222" name="Google Shape;5222;p53">
              <a:extLst>
                <a:ext uri="{FF2B5EF4-FFF2-40B4-BE49-F238E27FC236}">
                  <a16:creationId xmlns:a16="http://schemas.microsoft.com/office/drawing/2014/main" id="{1B90619B-5049-D714-8223-86574DB8AA8F}"/>
                </a:ext>
              </a:extLst>
            </p:cNvPr>
            <p:cNvSpPr/>
            <p:nvPr/>
          </p:nvSpPr>
          <p:spPr>
            <a:xfrm>
              <a:off x="7137300" y="1488925"/>
              <a:ext cx="169725" cy="73950"/>
            </a:xfrm>
            <a:custGeom>
              <a:avLst/>
              <a:gdLst/>
              <a:ahLst/>
              <a:cxnLst/>
              <a:rect l="l" t="t" r="r" b="b"/>
              <a:pathLst>
                <a:path w="6789" h="2958" extrusionOk="0">
                  <a:moveTo>
                    <a:pt x="3232" y="0"/>
                  </a:moveTo>
                  <a:cubicBezTo>
                    <a:pt x="2690" y="0"/>
                    <a:pt x="2239" y="391"/>
                    <a:pt x="2135" y="906"/>
                  </a:cubicBezTo>
                  <a:cubicBezTo>
                    <a:pt x="2097" y="899"/>
                    <a:pt x="2062" y="899"/>
                    <a:pt x="2017" y="890"/>
                  </a:cubicBezTo>
                  <a:cubicBezTo>
                    <a:pt x="1550" y="890"/>
                    <a:pt x="1157" y="1261"/>
                    <a:pt x="1135" y="1727"/>
                  </a:cubicBezTo>
                  <a:cubicBezTo>
                    <a:pt x="586" y="1868"/>
                    <a:pt x="150" y="2305"/>
                    <a:pt x="1" y="2855"/>
                  </a:cubicBezTo>
                  <a:lnTo>
                    <a:pt x="6789" y="2958"/>
                  </a:lnTo>
                  <a:cubicBezTo>
                    <a:pt x="6625" y="2268"/>
                    <a:pt x="6241" y="1743"/>
                    <a:pt x="5499" y="1734"/>
                  </a:cubicBezTo>
                  <a:lnTo>
                    <a:pt x="5432" y="1734"/>
                  </a:lnTo>
                  <a:cubicBezTo>
                    <a:pt x="5441" y="1210"/>
                    <a:pt x="5025" y="772"/>
                    <a:pt x="4498" y="765"/>
                  </a:cubicBezTo>
                  <a:cubicBezTo>
                    <a:pt x="4425" y="765"/>
                    <a:pt x="4358" y="772"/>
                    <a:pt x="4292" y="787"/>
                  </a:cubicBezTo>
                  <a:cubicBezTo>
                    <a:pt x="4159" y="335"/>
                    <a:pt x="3742" y="9"/>
                    <a:pt x="3246" y="1"/>
                  </a:cubicBezTo>
                  <a:cubicBezTo>
                    <a:pt x="3241" y="1"/>
                    <a:pt x="3237" y="0"/>
                    <a:pt x="3232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3" name="Google Shape;5223;p53">
              <a:extLst>
                <a:ext uri="{FF2B5EF4-FFF2-40B4-BE49-F238E27FC236}">
                  <a16:creationId xmlns:a16="http://schemas.microsoft.com/office/drawing/2014/main" id="{94C1B7F9-D90A-B654-7764-508150737377}"/>
                </a:ext>
              </a:extLst>
            </p:cNvPr>
            <p:cNvSpPr/>
            <p:nvPr/>
          </p:nvSpPr>
          <p:spPr>
            <a:xfrm>
              <a:off x="7191050" y="1511725"/>
              <a:ext cx="18700" cy="37475"/>
            </a:xfrm>
            <a:custGeom>
              <a:avLst/>
              <a:gdLst/>
              <a:ahLst/>
              <a:cxnLst/>
              <a:rect l="l" t="t" r="r" b="b"/>
              <a:pathLst>
                <a:path w="748" h="1499" extrusionOk="0">
                  <a:moveTo>
                    <a:pt x="1" y="1"/>
                  </a:moveTo>
                  <a:cubicBezTo>
                    <a:pt x="1" y="1"/>
                    <a:pt x="593" y="193"/>
                    <a:pt x="563" y="750"/>
                  </a:cubicBezTo>
                  <a:cubicBezTo>
                    <a:pt x="534" y="1365"/>
                    <a:pt x="1" y="1498"/>
                    <a:pt x="1" y="1498"/>
                  </a:cubicBezTo>
                  <a:cubicBezTo>
                    <a:pt x="415" y="1498"/>
                    <a:pt x="748" y="1164"/>
                    <a:pt x="748" y="750"/>
                  </a:cubicBezTo>
                  <a:cubicBezTo>
                    <a:pt x="748" y="333"/>
                    <a:pt x="415" y="1"/>
                    <a:pt x="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4" name="Google Shape;5224;p53">
              <a:extLst>
                <a:ext uri="{FF2B5EF4-FFF2-40B4-BE49-F238E27FC236}">
                  <a16:creationId xmlns:a16="http://schemas.microsoft.com/office/drawing/2014/main" id="{98E04F75-4355-E0BF-FC11-89724BD48936}"/>
                </a:ext>
              </a:extLst>
            </p:cNvPr>
            <p:cNvSpPr/>
            <p:nvPr/>
          </p:nvSpPr>
          <p:spPr>
            <a:xfrm>
              <a:off x="7286250" y="1534500"/>
              <a:ext cx="11300" cy="7100"/>
            </a:xfrm>
            <a:custGeom>
              <a:avLst/>
              <a:gdLst/>
              <a:ahLst/>
              <a:cxnLst/>
              <a:rect l="l" t="t" r="r" b="b"/>
              <a:pathLst>
                <a:path w="452" h="284" extrusionOk="0">
                  <a:moveTo>
                    <a:pt x="0" y="0"/>
                  </a:moveTo>
                  <a:lnTo>
                    <a:pt x="0" y="0"/>
                  </a:lnTo>
                  <a:cubicBezTo>
                    <a:pt x="164" y="61"/>
                    <a:pt x="297" y="157"/>
                    <a:pt x="416" y="283"/>
                  </a:cubicBezTo>
                  <a:lnTo>
                    <a:pt x="452" y="232"/>
                  </a:lnTo>
                  <a:cubicBezTo>
                    <a:pt x="319" y="120"/>
                    <a:pt x="171" y="38"/>
                    <a:pt x="0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5" name="Google Shape;5225;p53">
              <a:extLst>
                <a:ext uri="{FF2B5EF4-FFF2-40B4-BE49-F238E27FC236}">
                  <a16:creationId xmlns:a16="http://schemas.microsoft.com/office/drawing/2014/main" id="{1DD62548-4744-E1F0-9C3D-A7EF65B83695}"/>
                </a:ext>
              </a:extLst>
            </p:cNvPr>
            <p:cNvSpPr/>
            <p:nvPr/>
          </p:nvSpPr>
          <p:spPr>
            <a:xfrm>
              <a:off x="7251975" y="1533600"/>
              <a:ext cx="44700" cy="27250"/>
            </a:xfrm>
            <a:custGeom>
              <a:avLst/>
              <a:gdLst/>
              <a:ahLst/>
              <a:cxnLst/>
              <a:rect l="l" t="t" r="r" b="b"/>
              <a:pathLst>
                <a:path w="1788" h="1090" extrusionOk="0">
                  <a:moveTo>
                    <a:pt x="1105" y="1"/>
                  </a:moveTo>
                  <a:cubicBezTo>
                    <a:pt x="505" y="1"/>
                    <a:pt x="16" y="481"/>
                    <a:pt x="0" y="1089"/>
                  </a:cubicBezTo>
                  <a:cubicBezTo>
                    <a:pt x="0" y="1089"/>
                    <a:pt x="283" y="214"/>
                    <a:pt x="1046" y="214"/>
                  </a:cubicBezTo>
                  <a:lnTo>
                    <a:pt x="1121" y="214"/>
                  </a:lnTo>
                  <a:cubicBezTo>
                    <a:pt x="1364" y="237"/>
                    <a:pt x="1565" y="312"/>
                    <a:pt x="1713" y="415"/>
                  </a:cubicBezTo>
                  <a:lnTo>
                    <a:pt x="1787" y="319"/>
                  </a:lnTo>
                  <a:cubicBezTo>
                    <a:pt x="1668" y="193"/>
                    <a:pt x="1535" y="97"/>
                    <a:pt x="1371" y="36"/>
                  </a:cubicBezTo>
                  <a:cubicBezTo>
                    <a:pt x="1298" y="15"/>
                    <a:pt x="1209" y="1"/>
                    <a:pt x="112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6" name="Google Shape;5226;p53">
              <a:extLst>
                <a:ext uri="{FF2B5EF4-FFF2-40B4-BE49-F238E27FC236}">
                  <a16:creationId xmlns:a16="http://schemas.microsoft.com/office/drawing/2014/main" id="{D2001627-1F0F-FDE9-E6EC-6555CBC8B5BE}"/>
                </a:ext>
              </a:extLst>
            </p:cNvPr>
            <p:cNvSpPr/>
            <p:nvPr/>
          </p:nvSpPr>
          <p:spPr>
            <a:xfrm>
              <a:off x="7457400" y="1303300"/>
              <a:ext cx="214200" cy="93225"/>
            </a:xfrm>
            <a:custGeom>
              <a:avLst/>
              <a:gdLst/>
              <a:ahLst/>
              <a:cxnLst/>
              <a:rect l="l" t="t" r="r" b="b"/>
              <a:pathLst>
                <a:path w="8568" h="3729" extrusionOk="0">
                  <a:moveTo>
                    <a:pt x="4485" y="1"/>
                  </a:moveTo>
                  <a:cubicBezTo>
                    <a:pt x="4480" y="1"/>
                    <a:pt x="4475" y="1"/>
                    <a:pt x="4470" y="1"/>
                  </a:cubicBezTo>
                  <a:cubicBezTo>
                    <a:pt x="3848" y="17"/>
                    <a:pt x="3328" y="424"/>
                    <a:pt x="3150" y="995"/>
                  </a:cubicBezTo>
                  <a:cubicBezTo>
                    <a:pt x="3069" y="972"/>
                    <a:pt x="2987" y="965"/>
                    <a:pt x="2898" y="965"/>
                  </a:cubicBezTo>
                  <a:cubicBezTo>
                    <a:pt x="2231" y="979"/>
                    <a:pt x="1706" y="1521"/>
                    <a:pt x="1714" y="2188"/>
                  </a:cubicBezTo>
                  <a:lnTo>
                    <a:pt x="1632" y="2188"/>
                  </a:lnTo>
                  <a:cubicBezTo>
                    <a:pt x="698" y="2202"/>
                    <a:pt x="209" y="2862"/>
                    <a:pt x="1" y="3728"/>
                  </a:cubicBezTo>
                  <a:lnTo>
                    <a:pt x="8567" y="3602"/>
                  </a:lnTo>
                  <a:cubicBezTo>
                    <a:pt x="8382" y="2907"/>
                    <a:pt x="7826" y="2357"/>
                    <a:pt x="7130" y="2179"/>
                  </a:cubicBezTo>
                  <a:cubicBezTo>
                    <a:pt x="7108" y="1592"/>
                    <a:pt x="6626" y="1128"/>
                    <a:pt x="6033" y="1128"/>
                  </a:cubicBezTo>
                  <a:cubicBezTo>
                    <a:pt x="6028" y="1128"/>
                    <a:pt x="6024" y="1128"/>
                    <a:pt x="6019" y="1128"/>
                  </a:cubicBezTo>
                  <a:cubicBezTo>
                    <a:pt x="5975" y="1128"/>
                    <a:pt x="5921" y="1135"/>
                    <a:pt x="5877" y="1143"/>
                  </a:cubicBezTo>
                  <a:cubicBezTo>
                    <a:pt x="5744" y="488"/>
                    <a:pt x="5174" y="1"/>
                    <a:pt x="4485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7" name="Google Shape;5227;p53">
              <a:extLst>
                <a:ext uri="{FF2B5EF4-FFF2-40B4-BE49-F238E27FC236}">
                  <a16:creationId xmlns:a16="http://schemas.microsoft.com/office/drawing/2014/main" id="{C952A5BA-04CF-67FC-55C3-20D8E7FFED22}"/>
                </a:ext>
              </a:extLst>
            </p:cNvPr>
            <p:cNvSpPr/>
            <p:nvPr/>
          </p:nvSpPr>
          <p:spPr>
            <a:xfrm>
              <a:off x="7580250" y="1332200"/>
              <a:ext cx="23550" cy="47125"/>
            </a:xfrm>
            <a:custGeom>
              <a:avLst/>
              <a:gdLst/>
              <a:ahLst/>
              <a:cxnLst/>
              <a:rect l="l" t="t" r="r" b="b"/>
              <a:pathLst>
                <a:path w="942" h="1885" extrusionOk="0">
                  <a:moveTo>
                    <a:pt x="941" y="1"/>
                  </a:moveTo>
                  <a:cubicBezTo>
                    <a:pt x="422" y="1"/>
                    <a:pt x="1" y="424"/>
                    <a:pt x="1" y="943"/>
                  </a:cubicBezTo>
                  <a:cubicBezTo>
                    <a:pt x="1" y="1461"/>
                    <a:pt x="422" y="1884"/>
                    <a:pt x="941" y="1884"/>
                  </a:cubicBezTo>
                  <a:cubicBezTo>
                    <a:pt x="941" y="1884"/>
                    <a:pt x="274" y="1713"/>
                    <a:pt x="230" y="943"/>
                  </a:cubicBezTo>
                  <a:cubicBezTo>
                    <a:pt x="193" y="246"/>
                    <a:pt x="941" y="1"/>
                    <a:pt x="94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8" name="Google Shape;5228;p53">
              <a:extLst>
                <a:ext uri="{FF2B5EF4-FFF2-40B4-BE49-F238E27FC236}">
                  <a16:creationId xmlns:a16="http://schemas.microsoft.com/office/drawing/2014/main" id="{C5DD1612-9C53-1AB4-8908-D53D34720EC4}"/>
                </a:ext>
              </a:extLst>
            </p:cNvPr>
            <p:cNvSpPr/>
            <p:nvPr/>
          </p:nvSpPr>
          <p:spPr>
            <a:xfrm>
              <a:off x="7457050" y="1360750"/>
              <a:ext cx="26525" cy="34300"/>
            </a:xfrm>
            <a:custGeom>
              <a:avLst/>
              <a:gdLst/>
              <a:ahLst/>
              <a:cxnLst/>
              <a:rect l="l" t="t" r="r" b="b"/>
              <a:pathLst>
                <a:path w="1061" h="1372" extrusionOk="0">
                  <a:moveTo>
                    <a:pt x="1061" y="1"/>
                  </a:moveTo>
                  <a:cubicBezTo>
                    <a:pt x="452" y="157"/>
                    <a:pt x="1" y="712"/>
                    <a:pt x="8" y="1372"/>
                  </a:cubicBezTo>
                  <a:cubicBezTo>
                    <a:pt x="8" y="1372"/>
                    <a:pt x="38" y="1245"/>
                    <a:pt x="120" y="1082"/>
                  </a:cubicBezTo>
                  <a:cubicBezTo>
                    <a:pt x="305" y="579"/>
                    <a:pt x="600" y="185"/>
                    <a:pt x="1061" y="1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9" name="Google Shape;5229;p53">
              <a:extLst>
                <a:ext uri="{FF2B5EF4-FFF2-40B4-BE49-F238E27FC236}">
                  <a16:creationId xmlns:a16="http://schemas.microsoft.com/office/drawing/2014/main" id="{3C7BECC9-3335-85CD-A91A-0A0DE0528940}"/>
                </a:ext>
              </a:extLst>
            </p:cNvPr>
            <p:cNvSpPr/>
            <p:nvPr/>
          </p:nvSpPr>
          <p:spPr>
            <a:xfrm>
              <a:off x="7460025" y="1359825"/>
              <a:ext cx="66900" cy="34125"/>
            </a:xfrm>
            <a:custGeom>
              <a:avLst/>
              <a:gdLst/>
              <a:ahLst/>
              <a:cxnLst/>
              <a:rect l="l" t="t" r="r" b="b"/>
              <a:pathLst>
                <a:path w="2676" h="1365" extrusionOk="0">
                  <a:moveTo>
                    <a:pt x="1260" y="0"/>
                  </a:moveTo>
                  <a:cubicBezTo>
                    <a:pt x="1148" y="0"/>
                    <a:pt x="1045" y="16"/>
                    <a:pt x="942" y="38"/>
                  </a:cubicBezTo>
                  <a:cubicBezTo>
                    <a:pt x="481" y="222"/>
                    <a:pt x="186" y="616"/>
                    <a:pt x="1" y="1119"/>
                  </a:cubicBezTo>
                  <a:cubicBezTo>
                    <a:pt x="163" y="800"/>
                    <a:pt x="518" y="319"/>
                    <a:pt x="1267" y="267"/>
                  </a:cubicBezTo>
                  <a:lnTo>
                    <a:pt x="1356" y="267"/>
                  </a:lnTo>
                  <a:cubicBezTo>
                    <a:pt x="2320" y="267"/>
                    <a:pt x="2676" y="1364"/>
                    <a:pt x="2676" y="1364"/>
                  </a:cubicBezTo>
                  <a:cubicBezTo>
                    <a:pt x="2660" y="608"/>
                    <a:pt x="2037" y="0"/>
                    <a:pt x="1281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0" name="Google Shape;5230;p53">
              <a:extLst>
                <a:ext uri="{FF2B5EF4-FFF2-40B4-BE49-F238E27FC236}">
                  <a16:creationId xmlns:a16="http://schemas.microsoft.com/office/drawing/2014/main" id="{71BCF1EF-45FE-FDDD-54AC-B54C3C0AFA98}"/>
                </a:ext>
              </a:extLst>
            </p:cNvPr>
            <p:cNvSpPr/>
            <p:nvPr/>
          </p:nvSpPr>
          <p:spPr>
            <a:xfrm>
              <a:off x="7364800" y="1192375"/>
              <a:ext cx="181725" cy="65975"/>
            </a:xfrm>
            <a:custGeom>
              <a:avLst/>
              <a:gdLst/>
              <a:ahLst/>
              <a:cxnLst/>
              <a:rect l="l" t="t" r="r" b="b"/>
              <a:pathLst>
                <a:path w="7269" h="2639" extrusionOk="0">
                  <a:moveTo>
                    <a:pt x="3113" y="1"/>
                  </a:moveTo>
                  <a:cubicBezTo>
                    <a:pt x="2305" y="1"/>
                    <a:pt x="1615" y="497"/>
                    <a:pt x="1334" y="1192"/>
                  </a:cubicBezTo>
                  <a:cubicBezTo>
                    <a:pt x="1283" y="1185"/>
                    <a:pt x="1238" y="1185"/>
                    <a:pt x="1187" y="1185"/>
                  </a:cubicBezTo>
                  <a:cubicBezTo>
                    <a:pt x="534" y="1185"/>
                    <a:pt x="1" y="1712"/>
                    <a:pt x="1" y="2371"/>
                  </a:cubicBezTo>
                  <a:cubicBezTo>
                    <a:pt x="1" y="2460"/>
                    <a:pt x="15" y="2549"/>
                    <a:pt x="38" y="2638"/>
                  </a:cubicBezTo>
                  <a:lnTo>
                    <a:pt x="5876" y="2638"/>
                  </a:lnTo>
                  <a:cubicBezTo>
                    <a:pt x="5891" y="2624"/>
                    <a:pt x="5907" y="2615"/>
                    <a:pt x="5921" y="2601"/>
                  </a:cubicBezTo>
                  <a:cubicBezTo>
                    <a:pt x="5921" y="2615"/>
                    <a:pt x="5928" y="2624"/>
                    <a:pt x="5935" y="2638"/>
                  </a:cubicBezTo>
                  <a:lnTo>
                    <a:pt x="7217" y="2638"/>
                  </a:lnTo>
                  <a:cubicBezTo>
                    <a:pt x="7248" y="2556"/>
                    <a:pt x="7269" y="2467"/>
                    <a:pt x="7269" y="2371"/>
                  </a:cubicBezTo>
                  <a:cubicBezTo>
                    <a:pt x="7269" y="1986"/>
                    <a:pt x="6958" y="1674"/>
                    <a:pt x="6573" y="1674"/>
                  </a:cubicBezTo>
                  <a:cubicBezTo>
                    <a:pt x="6440" y="1674"/>
                    <a:pt x="6314" y="1712"/>
                    <a:pt x="6202" y="1779"/>
                  </a:cubicBezTo>
                  <a:cubicBezTo>
                    <a:pt x="6136" y="1335"/>
                    <a:pt x="5750" y="993"/>
                    <a:pt x="5291" y="993"/>
                  </a:cubicBezTo>
                  <a:cubicBezTo>
                    <a:pt x="5128" y="993"/>
                    <a:pt x="4980" y="1038"/>
                    <a:pt x="4854" y="1103"/>
                  </a:cubicBezTo>
                  <a:cubicBezTo>
                    <a:pt x="4543" y="453"/>
                    <a:pt x="3883" y="1"/>
                    <a:pt x="3113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1" name="Google Shape;5231;p53">
              <a:extLst>
                <a:ext uri="{FF2B5EF4-FFF2-40B4-BE49-F238E27FC236}">
                  <a16:creationId xmlns:a16="http://schemas.microsoft.com/office/drawing/2014/main" id="{2EB75FF2-B69D-85BA-3014-C41B211F1C60}"/>
                </a:ext>
              </a:extLst>
            </p:cNvPr>
            <p:cNvSpPr/>
            <p:nvPr/>
          </p:nvSpPr>
          <p:spPr>
            <a:xfrm>
              <a:off x="7506267" y="1127208"/>
              <a:ext cx="100825" cy="36700"/>
            </a:xfrm>
            <a:custGeom>
              <a:avLst/>
              <a:gdLst/>
              <a:ahLst/>
              <a:cxnLst/>
              <a:rect l="l" t="t" r="r" b="b"/>
              <a:pathLst>
                <a:path w="4033" h="1468" extrusionOk="0">
                  <a:moveTo>
                    <a:pt x="2306" y="0"/>
                  </a:moveTo>
                  <a:cubicBezTo>
                    <a:pt x="1875" y="0"/>
                    <a:pt x="1512" y="253"/>
                    <a:pt x="1342" y="616"/>
                  </a:cubicBezTo>
                  <a:cubicBezTo>
                    <a:pt x="1267" y="578"/>
                    <a:pt x="1187" y="557"/>
                    <a:pt x="1098" y="557"/>
                  </a:cubicBezTo>
                  <a:cubicBezTo>
                    <a:pt x="838" y="557"/>
                    <a:pt x="623" y="742"/>
                    <a:pt x="586" y="986"/>
                  </a:cubicBezTo>
                  <a:cubicBezTo>
                    <a:pt x="527" y="950"/>
                    <a:pt x="460" y="927"/>
                    <a:pt x="387" y="927"/>
                  </a:cubicBezTo>
                  <a:cubicBezTo>
                    <a:pt x="171" y="927"/>
                    <a:pt x="1" y="1105"/>
                    <a:pt x="1" y="1320"/>
                  </a:cubicBezTo>
                  <a:cubicBezTo>
                    <a:pt x="1" y="1372"/>
                    <a:pt x="8" y="1416"/>
                    <a:pt x="31" y="1468"/>
                  </a:cubicBezTo>
                  <a:lnTo>
                    <a:pt x="742" y="1468"/>
                  </a:lnTo>
                  <a:cubicBezTo>
                    <a:pt x="742" y="1460"/>
                    <a:pt x="742" y="1453"/>
                    <a:pt x="749" y="1446"/>
                  </a:cubicBezTo>
                  <a:cubicBezTo>
                    <a:pt x="757" y="1453"/>
                    <a:pt x="764" y="1460"/>
                    <a:pt x="771" y="1468"/>
                  </a:cubicBezTo>
                  <a:lnTo>
                    <a:pt x="4009" y="1468"/>
                  </a:lnTo>
                  <a:cubicBezTo>
                    <a:pt x="4023" y="1416"/>
                    <a:pt x="4032" y="1364"/>
                    <a:pt x="4032" y="1320"/>
                  </a:cubicBezTo>
                  <a:cubicBezTo>
                    <a:pt x="4032" y="957"/>
                    <a:pt x="3735" y="660"/>
                    <a:pt x="3373" y="660"/>
                  </a:cubicBezTo>
                  <a:cubicBezTo>
                    <a:pt x="3342" y="660"/>
                    <a:pt x="3321" y="660"/>
                    <a:pt x="3291" y="667"/>
                  </a:cubicBezTo>
                  <a:cubicBezTo>
                    <a:pt x="3134" y="274"/>
                    <a:pt x="2750" y="0"/>
                    <a:pt x="230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2" name="Google Shape;5232;p53">
              <a:extLst>
                <a:ext uri="{FF2B5EF4-FFF2-40B4-BE49-F238E27FC236}">
                  <a16:creationId xmlns:a16="http://schemas.microsoft.com/office/drawing/2014/main" id="{CD878959-06B9-BA6E-92C6-6B75600F7F19}"/>
                </a:ext>
              </a:extLst>
            </p:cNvPr>
            <p:cNvSpPr/>
            <p:nvPr/>
          </p:nvSpPr>
          <p:spPr>
            <a:xfrm>
              <a:off x="7210300" y="1305925"/>
              <a:ext cx="123225" cy="60400"/>
            </a:xfrm>
            <a:custGeom>
              <a:avLst/>
              <a:gdLst/>
              <a:ahLst/>
              <a:cxnLst/>
              <a:rect l="l" t="t" r="r" b="b"/>
              <a:pathLst>
                <a:path w="4929" h="2416" extrusionOk="0">
                  <a:moveTo>
                    <a:pt x="2165" y="1"/>
                  </a:moveTo>
                  <a:cubicBezTo>
                    <a:pt x="1290" y="1"/>
                    <a:pt x="579" y="682"/>
                    <a:pt x="527" y="1541"/>
                  </a:cubicBezTo>
                  <a:cubicBezTo>
                    <a:pt x="223" y="1601"/>
                    <a:pt x="1" y="1868"/>
                    <a:pt x="1" y="2186"/>
                  </a:cubicBezTo>
                  <a:cubicBezTo>
                    <a:pt x="1" y="2261"/>
                    <a:pt x="15" y="2341"/>
                    <a:pt x="45" y="2416"/>
                  </a:cubicBezTo>
                  <a:lnTo>
                    <a:pt x="4922" y="2416"/>
                  </a:lnTo>
                  <a:cubicBezTo>
                    <a:pt x="4922" y="2394"/>
                    <a:pt x="4929" y="2371"/>
                    <a:pt x="4929" y="2357"/>
                  </a:cubicBezTo>
                  <a:cubicBezTo>
                    <a:pt x="4929" y="1889"/>
                    <a:pt x="4550" y="1512"/>
                    <a:pt x="4084" y="1512"/>
                  </a:cubicBezTo>
                  <a:cubicBezTo>
                    <a:pt x="3988" y="1512"/>
                    <a:pt x="3890" y="1534"/>
                    <a:pt x="3810" y="1564"/>
                  </a:cubicBezTo>
                  <a:cubicBezTo>
                    <a:pt x="3766" y="696"/>
                    <a:pt x="3045" y="1"/>
                    <a:pt x="216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3" name="Google Shape;5233;p53">
              <a:extLst>
                <a:ext uri="{FF2B5EF4-FFF2-40B4-BE49-F238E27FC236}">
                  <a16:creationId xmlns:a16="http://schemas.microsoft.com/office/drawing/2014/main" id="{8179B429-0C03-E2E4-E434-F581D8A7FE8A}"/>
                </a:ext>
              </a:extLst>
            </p:cNvPr>
            <p:cNvSpPr/>
            <p:nvPr/>
          </p:nvSpPr>
          <p:spPr>
            <a:xfrm>
              <a:off x="7267000" y="1159750"/>
              <a:ext cx="166575" cy="81575"/>
            </a:xfrm>
            <a:custGeom>
              <a:avLst/>
              <a:gdLst/>
              <a:ahLst/>
              <a:cxnLst/>
              <a:rect l="l" t="t" r="r" b="b"/>
              <a:pathLst>
                <a:path w="6663" h="3263" extrusionOk="0">
                  <a:moveTo>
                    <a:pt x="3742" y="1"/>
                  </a:moveTo>
                  <a:cubicBezTo>
                    <a:pt x="2549" y="1"/>
                    <a:pt x="1578" y="934"/>
                    <a:pt x="1519" y="2113"/>
                  </a:cubicBezTo>
                  <a:cubicBezTo>
                    <a:pt x="1400" y="2069"/>
                    <a:pt x="1275" y="2046"/>
                    <a:pt x="1142" y="2046"/>
                  </a:cubicBezTo>
                  <a:cubicBezTo>
                    <a:pt x="511" y="2046"/>
                    <a:pt x="0" y="2551"/>
                    <a:pt x="0" y="3180"/>
                  </a:cubicBezTo>
                  <a:cubicBezTo>
                    <a:pt x="0" y="3209"/>
                    <a:pt x="0" y="3232"/>
                    <a:pt x="7" y="3262"/>
                  </a:cubicBezTo>
                  <a:lnTo>
                    <a:pt x="6610" y="3262"/>
                  </a:lnTo>
                  <a:cubicBezTo>
                    <a:pt x="6646" y="3164"/>
                    <a:pt x="6662" y="3061"/>
                    <a:pt x="6662" y="2951"/>
                  </a:cubicBezTo>
                  <a:cubicBezTo>
                    <a:pt x="6662" y="2520"/>
                    <a:pt x="6365" y="2165"/>
                    <a:pt x="5958" y="2076"/>
                  </a:cubicBezTo>
                  <a:cubicBezTo>
                    <a:pt x="5883" y="920"/>
                    <a:pt x="4921" y="1"/>
                    <a:pt x="3742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4" name="Google Shape;5234;p53">
              <a:extLst>
                <a:ext uri="{FF2B5EF4-FFF2-40B4-BE49-F238E27FC236}">
                  <a16:creationId xmlns:a16="http://schemas.microsoft.com/office/drawing/2014/main" id="{0A6CB005-B9E8-66C5-59D3-5016A3642A38}"/>
                </a:ext>
              </a:extLst>
            </p:cNvPr>
            <p:cNvSpPr/>
            <p:nvPr/>
          </p:nvSpPr>
          <p:spPr>
            <a:xfrm>
              <a:off x="7225125" y="1603800"/>
              <a:ext cx="228450" cy="75025"/>
            </a:xfrm>
            <a:custGeom>
              <a:avLst/>
              <a:gdLst/>
              <a:ahLst/>
              <a:cxnLst/>
              <a:rect l="l" t="t" r="r" b="b"/>
              <a:pathLst>
                <a:path w="9138" h="3001" extrusionOk="0">
                  <a:moveTo>
                    <a:pt x="1104" y="1"/>
                  </a:moveTo>
                  <a:lnTo>
                    <a:pt x="0" y="1571"/>
                  </a:lnTo>
                  <a:cubicBezTo>
                    <a:pt x="75" y="1550"/>
                    <a:pt x="149" y="1534"/>
                    <a:pt x="229" y="1534"/>
                  </a:cubicBezTo>
                  <a:cubicBezTo>
                    <a:pt x="608" y="1534"/>
                    <a:pt x="912" y="1808"/>
                    <a:pt x="971" y="2172"/>
                  </a:cubicBezTo>
                  <a:cubicBezTo>
                    <a:pt x="1015" y="2149"/>
                    <a:pt x="1067" y="2135"/>
                    <a:pt x="1128" y="2135"/>
                  </a:cubicBezTo>
                  <a:cubicBezTo>
                    <a:pt x="1163" y="2135"/>
                    <a:pt x="1200" y="2142"/>
                    <a:pt x="1238" y="2156"/>
                  </a:cubicBezTo>
                  <a:cubicBezTo>
                    <a:pt x="1341" y="2030"/>
                    <a:pt x="1490" y="1957"/>
                    <a:pt x="1661" y="1957"/>
                  </a:cubicBezTo>
                  <a:cubicBezTo>
                    <a:pt x="1956" y="1957"/>
                    <a:pt x="2195" y="2201"/>
                    <a:pt x="2195" y="2498"/>
                  </a:cubicBezTo>
                  <a:lnTo>
                    <a:pt x="2195" y="2535"/>
                  </a:lnTo>
                  <a:cubicBezTo>
                    <a:pt x="2246" y="2498"/>
                    <a:pt x="2305" y="2467"/>
                    <a:pt x="2372" y="2467"/>
                  </a:cubicBezTo>
                  <a:cubicBezTo>
                    <a:pt x="2527" y="2467"/>
                    <a:pt x="2653" y="2594"/>
                    <a:pt x="2653" y="2750"/>
                  </a:cubicBezTo>
                  <a:cubicBezTo>
                    <a:pt x="2653" y="2860"/>
                    <a:pt x="2595" y="2957"/>
                    <a:pt x="2497" y="3001"/>
                  </a:cubicBezTo>
                  <a:lnTo>
                    <a:pt x="5188" y="3001"/>
                  </a:lnTo>
                  <a:cubicBezTo>
                    <a:pt x="5136" y="2973"/>
                    <a:pt x="5106" y="2912"/>
                    <a:pt x="5106" y="2853"/>
                  </a:cubicBezTo>
                  <a:cubicBezTo>
                    <a:pt x="5106" y="2750"/>
                    <a:pt x="5188" y="2668"/>
                    <a:pt x="5291" y="2668"/>
                  </a:cubicBezTo>
                  <a:cubicBezTo>
                    <a:pt x="5335" y="2668"/>
                    <a:pt x="5380" y="2683"/>
                    <a:pt x="5410" y="2706"/>
                  </a:cubicBezTo>
                  <a:lnTo>
                    <a:pt x="5410" y="2683"/>
                  </a:lnTo>
                  <a:cubicBezTo>
                    <a:pt x="5410" y="2483"/>
                    <a:pt x="5573" y="2327"/>
                    <a:pt x="5765" y="2327"/>
                  </a:cubicBezTo>
                  <a:cubicBezTo>
                    <a:pt x="5876" y="2327"/>
                    <a:pt x="5981" y="2379"/>
                    <a:pt x="6039" y="2453"/>
                  </a:cubicBezTo>
                  <a:cubicBezTo>
                    <a:pt x="6070" y="2446"/>
                    <a:pt x="6091" y="2446"/>
                    <a:pt x="6121" y="2446"/>
                  </a:cubicBezTo>
                  <a:cubicBezTo>
                    <a:pt x="6159" y="2446"/>
                    <a:pt x="6187" y="2453"/>
                    <a:pt x="6224" y="2467"/>
                  </a:cubicBezTo>
                  <a:cubicBezTo>
                    <a:pt x="6240" y="2357"/>
                    <a:pt x="6292" y="2261"/>
                    <a:pt x="6365" y="2186"/>
                  </a:cubicBezTo>
                  <a:lnTo>
                    <a:pt x="6388" y="734"/>
                  </a:lnTo>
                  <a:cubicBezTo>
                    <a:pt x="6402" y="734"/>
                    <a:pt x="6409" y="1505"/>
                    <a:pt x="6418" y="2142"/>
                  </a:cubicBezTo>
                  <a:cubicBezTo>
                    <a:pt x="6498" y="2083"/>
                    <a:pt x="6603" y="2046"/>
                    <a:pt x="6713" y="2046"/>
                  </a:cubicBezTo>
                  <a:cubicBezTo>
                    <a:pt x="6774" y="2046"/>
                    <a:pt x="6833" y="2060"/>
                    <a:pt x="6884" y="2074"/>
                  </a:cubicBezTo>
                  <a:cubicBezTo>
                    <a:pt x="7076" y="2135"/>
                    <a:pt x="7218" y="2306"/>
                    <a:pt x="7218" y="2512"/>
                  </a:cubicBezTo>
                  <a:lnTo>
                    <a:pt x="7218" y="2549"/>
                  </a:lnTo>
                  <a:cubicBezTo>
                    <a:pt x="7233" y="2542"/>
                    <a:pt x="7247" y="2542"/>
                    <a:pt x="7270" y="2542"/>
                  </a:cubicBezTo>
                  <a:lnTo>
                    <a:pt x="7284" y="2542"/>
                  </a:lnTo>
                  <a:cubicBezTo>
                    <a:pt x="7441" y="2386"/>
                    <a:pt x="7626" y="2245"/>
                    <a:pt x="7832" y="2112"/>
                  </a:cubicBezTo>
                  <a:cubicBezTo>
                    <a:pt x="7841" y="1934"/>
                    <a:pt x="7900" y="1756"/>
                    <a:pt x="8010" y="1601"/>
                  </a:cubicBezTo>
                  <a:lnTo>
                    <a:pt x="9137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5" name="Google Shape;5235;p53">
              <a:extLst>
                <a:ext uri="{FF2B5EF4-FFF2-40B4-BE49-F238E27FC236}">
                  <a16:creationId xmlns:a16="http://schemas.microsoft.com/office/drawing/2014/main" id="{3D9E91F2-B400-1428-796F-5B54A1C9FD96}"/>
                </a:ext>
              </a:extLst>
            </p:cNvPr>
            <p:cNvSpPr/>
            <p:nvPr/>
          </p:nvSpPr>
          <p:spPr>
            <a:xfrm>
              <a:off x="7415350" y="1386900"/>
              <a:ext cx="497800" cy="293450"/>
            </a:xfrm>
            <a:custGeom>
              <a:avLst/>
              <a:gdLst/>
              <a:ahLst/>
              <a:cxnLst/>
              <a:rect l="l" t="t" r="r" b="b"/>
              <a:pathLst>
                <a:path w="19912" h="11738" extrusionOk="0">
                  <a:moveTo>
                    <a:pt x="8752" y="0"/>
                  </a:moveTo>
                  <a:cubicBezTo>
                    <a:pt x="8604" y="0"/>
                    <a:pt x="8471" y="59"/>
                    <a:pt x="8368" y="155"/>
                  </a:cubicBezTo>
                  <a:cubicBezTo>
                    <a:pt x="8270" y="251"/>
                    <a:pt x="8211" y="391"/>
                    <a:pt x="8211" y="541"/>
                  </a:cubicBezTo>
                  <a:lnTo>
                    <a:pt x="8211" y="770"/>
                  </a:lnTo>
                  <a:lnTo>
                    <a:pt x="8211" y="3512"/>
                  </a:lnTo>
                  <a:lnTo>
                    <a:pt x="8211" y="3742"/>
                  </a:lnTo>
                  <a:cubicBezTo>
                    <a:pt x="8211" y="3890"/>
                    <a:pt x="8153" y="4023"/>
                    <a:pt x="8048" y="4126"/>
                  </a:cubicBezTo>
                  <a:cubicBezTo>
                    <a:pt x="7952" y="4224"/>
                    <a:pt x="7818" y="4283"/>
                    <a:pt x="7664" y="4283"/>
                  </a:cubicBezTo>
                  <a:cubicBezTo>
                    <a:pt x="7367" y="4283"/>
                    <a:pt x="7123" y="4037"/>
                    <a:pt x="7123" y="3742"/>
                  </a:cubicBezTo>
                  <a:lnTo>
                    <a:pt x="7123" y="770"/>
                  </a:lnTo>
                  <a:lnTo>
                    <a:pt x="7123" y="756"/>
                  </a:lnTo>
                  <a:lnTo>
                    <a:pt x="401" y="10277"/>
                  </a:lnTo>
                  <a:cubicBezTo>
                    <a:pt x="1" y="10848"/>
                    <a:pt x="328" y="11693"/>
                    <a:pt x="979" y="11737"/>
                  </a:cubicBezTo>
                  <a:lnTo>
                    <a:pt x="18933" y="11737"/>
                  </a:lnTo>
                  <a:cubicBezTo>
                    <a:pt x="19586" y="11693"/>
                    <a:pt x="19911" y="10839"/>
                    <a:pt x="19511" y="10277"/>
                  </a:cubicBezTo>
                  <a:lnTo>
                    <a:pt x="12561" y="496"/>
                  </a:lnTo>
                  <a:lnTo>
                    <a:pt x="12561" y="3393"/>
                  </a:lnTo>
                  <a:cubicBezTo>
                    <a:pt x="12561" y="3541"/>
                    <a:pt x="12494" y="3674"/>
                    <a:pt x="12398" y="3770"/>
                  </a:cubicBezTo>
                  <a:cubicBezTo>
                    <a:pt x="12302" y="3875"/>
                    <a:pt x="12161" y="3934"/>
                    <a:pt x="12014" y="3934"/>
                  </a:cubicBezTo>
                  <a:cubicBezTo>
                    <a:pt x="11717" y="3934"/>
                    <a:pt x="11471" y="3690"/>
                    <a:pt x="11471" y="3393"/>
                  </a:cubicBezTo>
                  <a:lnTo>
                    <a:pt x="11471" y="1592"/>
                  </a:lnTo>
                  <a:cubicBezTo>
                    <a:pt x="11471" y="1290"/>
                    <a:pt x="11227" y="1044"/>
                    <a:pt x="10923" y="1044"/>
                  </a:cubicBezTo>
                  <a:cubicBezTo>
                    <a:pt x="10776" y="1044"/>
                    <a:pt x="10642" y="1112"/>
                    <a:pt x="10537" y="1208"/>
                  </a:cubicBezTo>
                  <a:cubicBezTo>
                    <a:pt x="10441" y="1304"/>
                    <a:pt x="10383" y="1444"/>
                    <a:pt x="10383" y="1592"/>
                  </a:cubicBezTo>
                  <a:lnTo>
                    <a:pt x="10383" y="2734"/>
                  </a:lnTo>
                  <a:cubicBezTo>
                    <a:pt x="10383" y="2890"/>
                    <a:pt x="10324" y="3023"/>
                    <a:pt x="10219" y="3119"/>
                  </a:cubicBezTo>
                  <a:cubicBezTo>
                    <a:pt x="10123" y="3223"/>
                    <a:pt x="9990" y="3281"/>
                    <a:pt x="9835" y="3281"/>
                  </a:cubicBezTo>
                  <a:cubicBezTo>
                    <a:pt x="9538" y="3281"/>
                    <a:pt x="9293" y="3038"/>
                    <a:pt x="9293" y="2734"/>
                  </a:cubicBezTo>
                  <a:lnTo>
                    <a:pt x="9302" y="2734"/>
                  </a:lnTo>
                  <a:lnTo>
                    <a:pt x="9302" y="541"/>
                  </a:lnTo>
                  <a:cubicBezTo>
                    <a:pt x="9302" y="244"/>
                    <a:pt x="9056" y="0"/>
                    <a:pt x="875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6" name="Google Shape;5236;p53">
              <a:extLst>
                <a:ext uri="{FF2B5EF4-FFF2-40B4-BE49-F238E27FC236}">
                  <a16:creationId xmlns:a16="http://schemas.microsoft.com/office/drawing/2014/main" id="{92E950FC-9CE7-5965-3893-CEE8B2497C3A}"/>
                </a:ext>
              </a:extLst>
            </p:cNvPr>
            <p:cNvSpPr/>
            <p:nvPr/>
          </p:nvSpPr>
          <p:spPr>
            <a:xfrm>
              <a:off x="7593425" y="1342600"/>
              <a:ext cx="135975" cy="151375"/>
            </a:xfrm>
            <a:custGeom>
              <a:avLst/>
              <a:gdLst/>
              <a:ahLst/>
              <a:cxnLst/>
              <a:rect l="l" t="t" r="r" b="b"/>
              <a:pathLst>
                <a:path w="5439" h="6055" extrusionOk="0">
                  <a:moveTo>
                    <a:pt x="2815" y="1"/>
                  </a:moveTo>
                  <a:cubicBezTo>
                    <a:pt x="2163" y="1"/>
                    <a:pt x="1547" y="334"/>
                    <a:pt x="1147" y="897"/>
                  </a:cubicBezTo>
                  <a:lnTo>
                    <a:pt x="0" y="2528"/>
                  </a:lnTo>
                  <a:lnTo>
                    <a:pt x="0" y="2542"/>
                  </a:lnTo>
                  <a:lnTo>
                    <a:pt x="0" y="5514"/>
                  </a:lnTo>
                  <a:cubicBezTo>
                    <a:pt x="0" y="5809"/>
                    <a:pt x="244" y="6055"/>
                    <a:pt x="541" y="6055"/>
                  </a:cubicBezTo>
                  <a:cubicBezTo>
                    <a:pt x="695" y="6055"/>
                    <a:pt x="829" y="5996"/>
                    <a:pt x="925" y="5898"/>
                  </a:cubicBezTo>
                  <a:cubicBezTo>
                    <a:pt x="1030" y="5795"/>
                    <a:pt x="1088" y="5662"/>
                    <a:pt x="1088" y="5514"/>
                  </a:cubicBezTo>
                  <a:lnTo>
                    <a:pt x="1088" y="5284"/>
                  </a:lnTo>
                  <a:lnTo>
                    <a:pt x="1088" y="2542"/>
                  </a:lnTo>
                  <a:lnTo>
                    <a:pt x="1088" y="2313"/>
                  </a:lnTo>
                  <a:cubicBezTo>
                    <a:pt x="1088" y="2163"/>
                    <a:pt x="1147" y="2023"/>
                    <a:pt x="1245" y="1927"/>
                  </a:cubicBezTo>
                  <a:cubicBezTo>
                    <a:pt x="1348" y="1831"/>
                    <a:pt x="1481" y="1772"/>
                    <a:pt x="1629" y="1772"/>
                  </a:cubicBezTo>
                  <a:cubicBezTo>
                    <a:pt x="1933" y="1772"/>
                    <a:pt x="2179" y="2016"/>
                    <a:pt x="2179" y="2313"/>
                  </a:cubicBezTo>
                  <a:lnTo>
                    <a:pt x="2179" y="4506"/>
                  </a:lnTo>
                  <a:lnTo>
                    <a:pt x="2170" y="4506"/>
                  </a:lnTo>
                  <a:cubicBezTo>
                    <a:pt x="2170" y="4810"/>
                    <a:pt x="2415" y="5053"/>
                    <a:pt x="2712" y="5053"/>
                  </a:cubicBezTo>
                  <a:cubicBezTo>
                    <a:pt x="2867" y="5053"/>
                    <a:pt x="3000" y="4995"/>
                    <a:pt x="3096" y="4891"/>
                  </a:cubicBezTo>
                  <a:cubicBezTo>
                    <a:pt x="3201" y="4795"/>
                    <a:pt x="3260" y="4662"/>
                    <a:pt x="3260" y="4506"/>
                  </a:cubicBezTo>
                  <a:lnTo>
                    <a:pt x="3260" y="3364"/>
                  </a:lnTo>
                  <a:cubicBezTo>
                    <a:pt x="3260" y="3216"/>
                    <a:pt x="3318" y="3076"/>
                    <a:pt x="3414" y="2980"/>
                  </a:cubicBezTo>
                  <a:cubicBezTo>
                    <a:pt x="3519" y="2884"/>
                    <a:pt x="3653" y="2816"/>
                    <a:pt x="3800" y="2816"/>
                  </a:cubicBezTo>
                  <a:cubicBezTo>
                    <a:pt x="4104" y="2816"/>
                    <a:pt x="4348" y="3062"/>
                    <a:pt x="4348" y="3364"/>
                  </a:cubicBezTo>
                  <a:lnTo>
                    <a:pt x="4348" y="5165"/>
                  </a:lnTo>
                  <a:cubicBezTo>
                    <a:pt x="4348" y="5462"/>
                    <a:pt x="4594" y="5706"/>
                    <a:pt x="4891" y="5706"/>
                  </a:cubicBezTo>
                  <a:cubicBezTo>
                    <a:pt x="5038" y="5706"/>
                    <a:pt x="5179" y="5647"/>
                    <a:pt x="5275" y="5542"/>
                  </a:cubicBezTo>
                  <a:cubicBezTo>
                    <a:pt x="5371" y="5446"/>
                    <a:pt x="5438" y="5313"/>
                    <a:pt x="5438" y="5165"/>
                  </a:cubicBezTo>
                  <a:lnTo>
                    <a:pt x="5438" y="2268"/>
                  </a:lnTo>
                  <a:lnTo>
                    <a:pt x="4437" y="867"/>
                  </a:lnTo>
                  <a:cubicBezTo>
                    <a:pt x="4053" y="326"/>
                    <a:pt x="3452" y="1"/>
                    <a:pt x="281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7" name="Google Shape;5237;p53">
              <a:extLst>
                <a:ext uri="{FF2B5EF4-FFF2-40B4-BE49-F238E27FC236}">
                  <a16:creationId xmlns:a16="http://schemas.microsoft.com/office/drawing/2014/main" id="{2D3E12F1-1E52-B161-DB7C-DDED9A9B94E5}"/>
                </a:ext>
              </a:extLst>
            </p:cNvPr>
            <p:cNvSpPr/>
            <p:nvPr/>
          </p:nvSpPr>
          <p:spPr>
            <a:xfrm>
              <a:off x="7437400" y="1679925"/>
              <a:ext cx="3375" cy="425"/>
            </a:xfrm>
            <a:custGeom>
              <a:avLst/>
              <a:gdLst/>
              <a:ahLst/>
              <a:cxnLst/>
              <a:rect l="l" t="t" r="r" b="b"/>
              <a:pathLst>
                <a:path w="135" h="17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8"/>
                    <a:pt x="61" y="16"/>
                    <a:pt x="97" y="16"/>
                  </a:cubicBezTo>
                  <a:lnTo>
                    <a:pt x="134" y="16"/>
                  </a:lnTo>
                  <a:lnTo>
                    <a:pt x="97" y="16"/>
                  </a:lnTo>
                  <a:cubicBezTo>
                    <a:pt x="61" y="16"/>
                    <a:pt x="31" y="8"/>
                    <a:pt x="1" y="0"/>
                  </a:cubicBezTo>
                  <a:close/>
                </a:path>
              </a:pathLst>
            </a:custGeom>
            <a:solidFill>
              <a:srgbClr val="67717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8" name="Google Shape;5238;p53">
              <a:extLst>
                <a:ext uri="{FF2B5EF4-FFF2-40B4-BE49-F238E27FC236}">
                  <a16:creationId xmlns:a16="http://schemas.microsoft.com/office/drawing/2014/main" id="{ABC605A0-35F0-BDD0-3938-B511E15B60BB}"/>
                </a:ext>
              </a:extLst>
            </p:cNvPr>
            <p:cNvSpPr/>
            <p:nvPr/>
          </p:nvSpPr>
          <p:spPr>
            <a:xfrm>
              <a:off x="7420900" y="1576550"/>
              <a:ext cx="371275" cy="103800"/>
            </a:xfrm>
            <a:custGeom>
              <a:avLst/>
              <a:gdLst/>
              <a:ahLst/>
              <a:cxnLst/>
              <a:rect l="l" t="t" r="r" b="b"/>
              <a:pathLst>
                <a:path w="14851" h="4152" extrusionOk="0">
                  <a:moveTo>
                    <a:pt x="661" y="4135"/>
                  </a:moveTo>
                  <a:cubicBezTo>
                    <a:pt x="691" y="4143"/>
                    <a:pt x="721" y="4151"/>
                    <a:pt x="757" y="4151"/>
                  </a:cubicBezTo>
                  <a:lnTo>
                    <a:pt x="6101" y="4151"/>
                  </a:lnTo>
                  <a:cubicBezTo>
                    <a:pt x="6101" y="4151"/>
                    <a:pt x="6101" y="4143"/>
                    <a:pt x="6108" y="4135"/>
                  </a:cubicBezTo>
                  <a:close/>
                  <a:moveTo>
                    <a:pt x="2076" y="1"/>
                  </a:moveTo>
                  <a:lnTo>
                    <a:pt x="179" y="2691"/>
                  </a:lnTo>
                  <a:cubicBezTo>
                    <a:pt x="69" y="2846"/>
                    <a:pt x="10" y="3024"/>
                    <a:pt x="1" y="3202"/>
                  </a:cubicBezTo>
                  <a:cubicBezTo>
                    <a:pt x="862" y="2661"/>
                    <a:pt x="2121" y="2313"/>
                    <a:pt x="3522" y="2313"/>
                  </a:cubicBezTo>
                  <a:cubicBezTo>
                    <a:pt x="4811" y="2313"/>
                    <a:pt x="5982" y="2602"/>
                    <a:pt x="6826" y="3068"/>
                  </a:cubicBezTo>
                  <a:cubicBezTo>
                    <a:pt x="7664" y="2231"/>
                    <a:pt x="8982" y="1683"/>
                    <a:pt x="10472" y="1683"/>
                  </a:cubicBezTo>
                  <a:cubicBezTo>
                    <a:pt x="12524" y="1683"/>
                    <a:pt x="14265" y="2720"/>
                    <a:pt x="14843" y="4151"/>
                  </a:cubicBezTo>
                  <a:lnTo>
                    <a:pt x="14850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9" name="Google Shape;5239;p53">
              <a:extLst>
                <a:ext uri="{FF2B5EF4-FFF2-40B4-BE49-F238E27FC236}">
                  <a16:creationId xmlns:a16="http://schemas.microsoft.com/office/drawing/2014/main" id="{10865868-55C5-22DB-E868-AB2C04840E18}"/>
                </a:ext>
              </a:extLst>
            </p:cNvPr>
            <p:cNvSpPr/>
            <p:nvPr/>
          </p:nvSpPr>
          <p:spPr>
            <a:xfrm>
              <a:off x="7697125" y="1146225"/>
              <a:ext cx="96725" cy="77300"/>
            </a:xfrm>
            <a:custGeom>
              <a:avLst/>
              <a:gdLst/>
              <a:ahLst/>
              <a:cxnLst/>
              <a:rect l="l" t="t" r="r" b="b"/>
              <a:pathLst>
                <a:path w="3869" h="3092" extrusionOk="0">
                  <a:moveTo>
                    <a:pt x="3647" y="1"/>
                  </a:moveTo>
                  <a:cubicBezTo>
                    <a:pt x="2706" y="1"/>
                    <a:pt x="1898" y="579"/>
                    <a:pt x="1557" y="1393"/>
                  </a:cubicBezTo>
                  <a:cubicBezTo>
                    <a:pt x="1505" y="1386"/>
                    <a:pt x="1445" y="1386"/>
                    <a:pt x="1393" y="1386"/>
                  </a:cubicBezTo>
                  <a:cubicBezTo>
                    <a:pt x="623" y="1386"/>
                    <a:pt x="1" y="2009"/>
                    <a:pt x="1" y="2772"/>
                  </a:cubicBezTo>
                  <a:cubicBezTo>
                    <a:pt x="1" y="2884"/>
                    <a:pt x="15" y="2987"/>
                    <a:pt x="38" y="3092"/>
                  </a:cubicBezTo>
                  <a:lnTo>
                    <a:pt x="3869" y="3092"/>
                  </a:lnTo>
                  <a:lnTo>
                    <a:pt x="3869" y="2217"/>
                  </a:lnTo>
                  <a:lnTo>
                    <a:pt x="3869" y="8"/>
                  </a:lnTo>
                  <a:cubicBezTo>
                    <a:pt x="3794" y="1"/>
                    <a:pt x="3721" y="1"/>
                    <a:pt x="3647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0" name="Google Shape;5240;p53">
              <a:extLst>
                <a:ext uri="{FF2B5EF4-FFF2-40B4-BE49-F238E27FC236}">
                  <a16:creationId xmlns:a16="http://schemas.microsoft.com/office/drawing/2014/main" id="{0B11FBBD-7878-E2F5-E39C-DC0B26C6B68D}"/>
                </a:ext>
              </a:extLst>
            </p:cNvPr>
            <p:cNvSpPr/>
            <p:nvPr/>
          </p:nvSpPr>
          <p:spPr>
            <a:xfrm>
              <a:off x="7397400" y="1634350"/>
              <a:ext cx="223250" cy="45600"/>
            </a:xfrm>
            <a:custGeom>
              <a:avLst/>
              <a:gdLst/>
              <a:ahLst/>
              <a:cxnLst/>
              <a:rect l="l" t="t" r="r" b="b"/>
              <a:pathLst>
                <a:path w="8930" h="1824" extrusionOk="0">
                  <a:moveTo>
                    <a:pt x="4462" y="1"/>
                  </a:moveTo>
                  <a:cubicBezTo>
                    <a:pt x="2364" y="1"/>
                    <a:pt x="585" y="772"/>
                    <a:pt x="0" y="1823"/>
                  </a:cubicBezTo>
                  <a:lnTo>
                    <a:pt x="8929" y="1823"/>
                  </a:lnTo>
                  <a:cubicBezTo>
                    <a:pt x="8344" y="772"/>
                    <a:pt x="6566" y="1"/>
                    <a:pt x="4462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1" name="Google Shape;5241;p53">
              <a:extLst>
                <a:ext uri="{FF2B5EF4-FFF2-40B4-BE49-F238E27FC236}">
                  <a16:creationId xmlns:a16="http://schemas.microsoft.com/office/drawing/2014/main" id="{A4F8BEFA-9986-96FA-E755-AB9AAF1B0339}"/>
                </a:ext>
              </a:extLst>
            </p:cNvPr>
            <p:cNvSpPr/>
            <p:nvPr/>
          </p:nvSpPr>
          <p:spPr>
            <a:xfrm>
              <a:off x="7573175" y="1618625"/>
              <a:ext cx="218825" cy="62075"/>
            </a:xfrm>
            <a:custGeom>
              <a:avLst/>
              <a:gdLst/>
              <a:ahLst/>
              <a:cxnLst/>
              <a:rect l="l" t="t" r="r" b="b"/>
              <a:pathLst>
                <a:path w="8753" h="2483" extrusionOk="0">
                  <a:moveTo>
                    <a:pt x="4381" y="0"/>
                  </a:moveTo>
                  <a:cubicBezTo>
                    <a:pt x="2322" y="0"/>
                    <a:pt x="572" y="1046"/>
                    <a:pt x="1" y="2483"/>
                  </a:cubicBezTo>
                  <a:lnTo>
                    <a:pt x="8752" y="2483"/>
                  </a:lnTo>
                  <a:cubicBezTo>
                    <a:pt x="8181" y="1046"/>
                    <a:pt x="6440" y="0"/>
                    <a:pt x="438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2" name="Google Shape;5242;p53">
              <a:extLst>
                <a:ext uri="{FF2B5EF4-FFF2-40B4-BE49-F238E27FC236}">
                  <a16:creationId xmlns:a16="http://schemas.microsoft.com/office/drawing/2014/main" id="{B2EBE5A6-924A-C31E-4A8B-ED087C2B31C7}"/>
                </a:ext>
              </a:extLst>
            </p:cNvPr>
            <p:cNvSpPr/>
            <p:nvPr/>
          </p:nvSpPr>
          <p:spPr>
            <a:xfrm>
              <a:off x="7615425" y="1633075"/>
              <a:ext cx="37450" cy="20775"/>
            </a:xfrm>
            <a:custGeom>
              <a:avLst/>
              <a:gdLst/>
              <a:ahLst/>
              <a:cxnLst/>
              <a:rect l="l" t="t" r="r" b="b"/>
              <a:pathLst>
                <a:path w="1498" h="831" extrusionOk="0">
                  <a:moveTo>
                    <a:pt x="978" y="0"/>
                  </a:moveTo>
                  <a:cubicBezTo>
                    <a:pt x="882" y="0"/>
                    <a:pt x="772" y="14"/>
                    <a:pt x="660" y="52"/>
                  </a:cubicBezTo>
                  <a:cubicBezTo>
                    <a:pt x="246" y="171"/>
                    <a:pt x="0" y="475"/>
                    <a:pt x="89" y="660"/>
                  </a:cubicBezTo>
                  <a:cubicBezTo>
                    <a:pt x="143" y="779"/>
                    <a:pt x="290" y="831"/>
                    <a:pt x="475" y="831"/>
                  </a:cubicBezTo>
                  <a:cubicBezTo>
                    <a:pt x="594" y="831"/>
                    <a:pt x="735" y="807"/>
                    <a:pt x="868" y="770"/>
                  </a:cubicBezTo>
                  <a:cubicBezTo>
                    <a:pt x="1224" y="667"/>
                    <a:pt x="1498" y="459"/>
                    <a:pt x="1467" y="260"/>
                  </a:cubicBezTo>
                  <a:cubicBezTo>
                    <a:pt x="1446" y="112"/>
                    <a:pt x="1245" y="0"/>
                    <a:pt x="978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3" name="Google Shape;5243;p53">
              <a:extLst>
                <a:ext uri="{FF2B5EF4-FFF2-40B4-BE49-F238E27FC236}">
                  <a16:creationId xmlns:a16="http://schemas.microsoft.com/office/drawing/2014/main" id="{4B31C712-E1DD-0D68-B092-CC0DB1B90BAD}"/>
                </a:ext>
              </a:extLst>
            </p:cNvPr>
            <p:cNvSpPr/>
            <p:nvPr/>
          </p:nvSpPr>
          <p:spPr>
            <a:xfrm>
              <a:off x="7658600" y="1636225"/>
              <a:ext cx="19500" cy="10025"/>
            </a:xfrm>
            <a:custGeom>
              <a:avLst/>
              <a:gdLst/>
              <a:ahLst/>
              <a:cxnLst/>
              <a:rect l="l" t="t" r="r" b="b"/>
              <a:pathLst>
                <a:path w="780" h="401" extrusionOk="0">
                  <a:moveTo>
                    <a:pt x="393" y="0"/>
                  </a:moveTo>
                  <a:cubicBezTo>
                    <a:pt x="171" y="0"/>
                    <a:pt x="0" y="103"/>
                    <a:pt x="16" y="215"/>
                  </a:cubicBezTo>
                  <a:cubicBezTo>
                    <a:pt x="23" y="326"/>
                    <a:pt x="185" y="400"/>
                    <a:pt x="386" y="400"/>
                  </a:cubicBezTo>
                  <a:lnTo>
                    <a:pt x="393" y="400"/>
                  </a:lnTo>
                  <a:cubicBezTo>
                    <a:pt x="594" y="400"/>
                    <a:pt x="763" y="319"/>
                    <a:pt x="772" y="215"/>
                  </a:cubicBezTo>
                  <a:cubicBezTo>
                    <a:pt x="779" y="103"/>
                    <a:pt x="608" y="0"/>
                    <a:pt x="393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4" name="Google Shape;5244;p53">
              <a:extLst>
                <a:ext uri="{FF2B5EF4-FFF2-40B4-BE49-F238E27FC236}">
                  <a16:creationId xmlns:a16="http://schemas.microsoft.com/office/drawing/2014/main" id="{DD53B75D-69A5-547A-2CEC-E10EFC36064E}"/>
                </a:ext>
              </a:extLst>
            </p:cNvPr>
            <p:cNvSpPr/>
            <p:nvPr/>
          </p:nvSpPr>
          <p:spPr>
            <a:xfrm>
              <a:off x="7362400" y="1596950"/>
              <a:ext cx="43375" cy="54675"/>
            </a:xfrm>
            <a:custGeom>
              <a:avLst/>
              <a:gdLst/>
              <a:ahLst/>
              <a:cxnLst/>
              <a:rect l="l" t="t" r="r" b="b"/>
              <a:pathLst>
                <a:path w="1735" h="2187" extrusionOk="0">
                  <a:moveTo>
                    <a:pt x="867" y="1"/>
                  </a:moveTo>
                  <a:cubicBezTo>
                    <a:pt x="490" y="1"/>
                    <a:pt x="178" y="303"/>
                    <a:pt x="178" y="682"/>
                  </a:cubicBezTo>
                  <a:cubicBezTo>
                    <a:pt x="178" y="712"/>
                    <a:pt x="186" y="741"/>
                    <a:pt x="193" y="778"/>
                  </a:cubicBezTo>
                  <a:cubicBezTo>
                    <a:pt x="66" y="926"/>
                    <a:pt x="1" y="1112"/>
                    <a:pt x="1" y="1319"/>
                  </a:cubicBezTo>
                  <a:cubicBezTo>
                    <a:pt x="1" y="1801"/>
                    <a:pt x="385" y="2187"/>
                    <a:pt x="867" y="2187"/>
                  </a:cubicBezTo>
                  <a:cubicBezTo>
                    <a:pt x="1342" y="2187"/>
                    <a:pt x="1735" y="1801"/>
                    <a:pt x="1735" y="1319"/>
                  </a:cubicBezTo>
                  <a:cubicBezTo>
                    <a:pt x="1735" y="1112"/>
                    <a:pt x="1660" y="926"/>
                    <a:pt x="1541" y="778"/>
                  </a:cubicBezTo>
                  <a:cubicBezTo>
                    <a:pt x="1541" y="741"/>
                    <a:pt x="1550" y="712"/>
                    <a:pt x="1550" y="682"/>
                  </a:cubicBezTo>
                  <a:cubicBezTo>
                    <a:pt x="1550" y="303"/>
                    <a:pt x="1245" y="1"/>
                    <a:pt x="86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5" name="Google Shape;5245;p53">
              <a:extLst>
                <a:ext uri="{FF2B5EF4-FFF2-40B4-BE49-F238E27FC236}">
                  <a16:creationId xmlns:a16="http://schemas.microsoft.com/office/drawing/2014/main" id="{C40F5FB3-CD99-619C-AEA2-25CF3F10D9B9}"/>
                </a:ext>
              </a:extLst>
            </p:cNvPr>
            <p:cNvSpPr/>
            <p:nvPr/>
          </p:nvSpPr>
          <p:spPr>
            <a:xfrm>
              <a:off x="7383875" y="1622125"/>
              <a:ext cx="1900" cy="57100"/>
            </a:xfrm>
            <a:custGeom>
              <a:avLst/>
              <a:gdLst/>
              <a:ahLst/>
              <a:cxnLst/>
              <a:rect l="l" t="t" r="r" b="b"/>
              <a:pathLst>
                <a:path w="76" h="2284" extrusionOk="0">
                  <a:moveTo>
                    <a:pt x="38" y="1"/>
                  </a:moveTo>
                  <a:lnTo>
                    <a:pt x="1" y="2247"/>
                  </a:lnTo>
                  <a:cubicBezTo>
                    <a:pt x="1" y="2268"/>
                    <a:pt x="15" y="2284"/>
                    <a:pt x="38" y="2284"/>
                  </a:cubicBezTo>
                  <a:cubicBezTo>
                    <a:pt x="59" y="2284"/>
                    <a:pt x="75" y="2268"/>
                    <a:pt x="75" y="2247"/>
                  </a:cubicBezTo>
                  <a:cubicBezTo>
                    <a:pt x="75" y="2247"/>
                    <a:pt x="59" y="1"/>
                    <a:pt x="38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6" name="Google Shape;5246;p53">
              <a:extLst>
                <a:ext uri="{FF2B5EF4-FFF2-40B4-BE49-F238E27FC236}">
                  <a16:creationId xmlns:a16="http://schemas.microsoft.com/office/drawing/2014/main" id="{A4206F31-669A-73B9-F577-1354CB8C65A5}"/>
                </a:ext>
              </a:extLst>
            </p:cNvPr>
            <p:cNvSpPr/>
            <p:nvPr/>
          </p:nvSpPr>
          <p:spPr>
            <a:xfrm>
              <a:off x="7373875" y="1635650"/>
              <a:ext cx="10950" cy="8900"/>
            </a:xfrm>
            <a:custGeom>
              <a:avLst/>
              <a:gdLst/>
              <a:ahLst/>
              <a:cxnLst/>
              <a:rect l="l" t="t" r="r" b="b"/>
              <a:pathLst>
                <a:path w="438" h="356" extrusionOk="0">
                  <a:moveTo>
                    <a:pt x="0" y="0"/>
                  </a:moveTo>
                  <a:cubicBezTo>
                    <a:pt x="205" y="342"/>
                    <a:pt x="404" y="356"/>
                    <a:pt x="434" y="356"/>
                  </a:cubicBezTo>
                  <a:cubicBezTo>
                    <a:pt x="437" y="356"/>
                    <a:pt x="438" y="356"/>
                    <a:pt x="438" y="356"/>
                  </a:cubicBezTo>
                  <a:lnTo>
                    <a:pt x="438" y="311"/>
                  </a:lnTo>
                  <a:cubicBezTo>
                    <a:pt x="438" y="311"/>
                    <a:pt x="434" y="314"/>
                    <a:pt x="422" y="314"/>
                  </a:cubicBezTo>
                  <a:cubicBezTo>
                    <a:pt x="396" y="314"/>
                    <a:pt x="334" y="300"/>
                    <a:pt x="201" y="208"/>
                  </a:cubicBezTo>
                  <a:cubicBezTo>
                    <a:pt x="82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7" name="Google Shape;5247;p53">
              <a:extLst>
                <a:ext uri="{FF2B5EF4-FFF2-40B4-BE49-F238E27FC236}">
                  <a16:creationId xmlns:a16="http://schemas.microsoft.com/office/drawing/2014/main" id="{CA5769F3-414D-B143-E33D-398C69BDB8E0}"/>
                </a:ext>
              </a:extLst>
            </p:cNvPr>
            <p:cNvSpPr/>
            <p:nvPr/>
          </p:nvSpPr>
          <p:spPr>
            <a:xfrm>
              <a:off x="7384800" y="1633250"/>
              <a:ext cx="9450" cy="7625"/>
            </a:xfrm>
            <a:custGeom>
              <a:avLst/>
              <a:gdLst/>
              <a:ahLst/>
              <a:cxnLst/>
              <a:rect l="l" t="t" r="r" b="b"/>
              <a:pathLst>
                <a:path w="378" h="305" extrusionOk="0">
                  <a:moveTo>
                    <a:pt x="378" y="0"/>
                  </a:moveTo>
                  <a:cubicBezTo>
                    <a:pt x="378" y="0"/>
                    <a:pt x="305" y="105"/>
                    <a:pt x="209" y="171"/>
                  </a:cubicBezTo>
                  <a:cubicBezTo>
                    <a:pt x="96" y="250"/>
                    <a:pt x="41" y="263"/>
                    <a:pt x="17" y="263"/>
                  </a:cubicBezTo>
                  <a:cubicBezTo>
                    <a:pt x="5" y="263"/>
                    <a:pt x="1" y="260"/>
                    <a:pt x="1" y="260"/>
                  </a:cubicBezTo>
                  <a:lnTo>
                    <a:pt x="1" y="260"/>
                  </a:lnTo>
                  <a:lnTo>
                    <a:pt x="8" y="304"/>
                  </a:lnTo>
                  <a:cubicBezTo>
                    <a:pt x="8" y="304"/>
                    <a:pt x="8" y="304"/>
                    <a:pt x="9" y="304"/>
                  </a:cubicBezTo>
                  <a:cubicBezTo>
                    <a:pt x="24" y="304"/>
                    <a:pt x="194" y="298"/>
                    <a:pt x="378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8" name="Google Shape;5248;p53">
              <a:extLst>
                <a:ext uri="{FF2B5EF4-FFF2-40B4-BE49-F238E27FC236}">
                  <a16:creationId xmlns:a16="http://schemas.microsoft.com/office/drawing/2014/main" id="{5CAB8C0A-40A1-5AAB-FC75-8DFFAE208565}"/>
                </a:ext>
              </a:extLst>
            </p:cNvPr>
            <p:cNvSpPr/>
            <p:nvPr/>
          </p:nvSpPr>
          <p:spPr>
            <a:xfrm>
              <a:off x="7377200" y="1627850"/>
              <a:ext cx="7625" cy="6175"/>
            </a:xfrm>
            <a:custGeom>
              <a:avLst/>
              <a:gdLst/>
              <a:ahLst/>
              <a:cxnLst/>
              <a:rect l="l" t="t" r="r" b="b"/>
              <a:pathLst>
                <a:path w="305" h="247" extrusionOk="0">
                  <a:moveTo>
                    <a:pt x="1" y="1"/>
                  </a:moveTo>
                  <a:cubicBezTo>
                    <a:pt x="149" y="240"/>
                    <a:pt x="289" y="246"/>
                    <a:pt x="304" y="246"/>
                  </a:cubicBezTo>
                  <a:cubicBezTo>
                    <a:pt x="304" y="246"/>
                    <a:pt x="305" y="246"/>
                    <a:pt x="305" y="246"/>
                  </a:cubicBezTo>
                  <a:lnTo>
                    <a:pt x="305" y="209"/>
                  </a:lnTo>
                  <a:cubicBezTo>
                    <a:pt x="305" y="209"/>
                    <a:pt x="302" y="211"/>
                    <a:pt x="293" y="211"/>
                  </a:cubicBezTo>
                  <a:cubicBezTo>
                    <a:pt x="275" y="211"/>
                    <a:pt x="232" y="201"/>
                    <a:pt x="141" y="134"/>
                  </a:cubicBezTo>
                  <a:cubicBezTo>
                    <a:pt x="60" y="8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9" name="Google Shape;5249;p53">
              <a:extLst>
                <a:ext uri="{FF2B5EF4-FFF2-40B4-BE49-F238E27FC236}">
                  <a16:creationId xmlns:a16="http://schemas.microsoft.com/office/drawing/2014/main" id="{49FC2743-261C-CD56-BEF1-A7A51A4CA4E4}"/>
                </a:ext>
              </a:extLst>
            </p:cNvPr>
            <p:cNvSpPr/>
            <p:nvPr/>
          </p:nvSpPr>
          <p:spPr>
            <a:xfrm>
              <a:off x="7673450" y="1502475"/>
              <a:ext cx="158950" cy="154700"/>
            </a:xfrm>
            <a:custGeom>
              <a:avLst/>
              <a:gdLst/>
              <a:ahLst/>
              <a:cxnLst/>
              <a:rect l="l" t="t" r="r" b="b"/>
              <a:pathLst>
                <a:path w="6358" h="6188" extrusionOk="0">
                  <a:moveTo>
                    <a:pt x="3090" y="1"/>
                  </a:moveTo>
                  <a:cubicBezTo>
                    <a:pt x="2978" y="1"/>
                    <a:pt x="2867" y="30"/>
                    <a:pt x="2771" y="90"/>
                  </a:cubicBezTo>
                  <a:cubicBezTo>
                    <a:pt x="2067" y="534"/>
                    <a:pt x="0" y="6188"/>
                    <a:pt x="3089" y="6188"/>
                  </a:cubicBezTo>
                  <a:cubicBezTo>
                    <a:pt x="6358" y="6188"/>
                    <a:pt x="4112" y="534"/>
                    <a:pt x="3415" y="90"/>
                  </a:cubicBezTo>
                  <a:cubicBezTo>
                    <a:pt x="3315" y="30"/>
                    <a:pt x="3202" y="1"/>
                    <a:pt x="3090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0" name="Google Shape;5250;p53">
              <a:extLst>
                <a:ext uri="{FF2B5EF4-FFF2-40B4-BE49-F238E27FC236}">
                  <a16:creationId xmlns:a16="http://schemas.microsoft.com/office/drawing/2014/main" id="{C6B65549-AC86-E65C-8A12-E134CCB5ADAE}"/>
                </a:ext>
              </a:extLst>
            </p:cNvPr>
            <p:cNvSpPr/>
            <p:nvPr/>
          </p:nvSpPr>
          <p:spPr>
            <a:xfrm>
              <a:off x="7673450" y="1504650"/>
              <a:ext cx="77250" cy="152525"/>
            </a:xfrm>
            <a:custGeom>
              <a:avLst/>
              <a:gdLst/>
              <a:ahLst/>
              <a:cxnLst/>
              <a:rect l="l" t="t" r="r" b="b"/>
              <a:pathLst>
                <a:path w="3090" h="6101" extrusionOk="0">
                  <a:moveTo>
                    <a:pt x="2776" y="1"/>
                  </a:moveTo>
                  <a:cubicBezTo>
                    <a:pt x="2775" y="1"/>
                    <a:pt x="2773" y="2"/>
                    <a:pt x="2771" y="3"/>
                  </a:cubicBezTo>
                  <a:cubicBezTo>
                    <a:pt x="2067" y="447"/>
                    <a:pt x="0" y="6101"/>
                    <a:pt x="3089" y="6101"/>
                  </a:cubicBezTo>
                  <a:cubicBezTo>
                    <a:pt x="3089" y="6101"/>
                    <a:pt x="2312" y="6033"/>
                    <a:pt x="2268" y="3826"/>
                  </a:cubicBezTo>
                  <a:cubicBezTo>
                    <a:pt x="2215" y="1638"/>
                    <a:pt x="2848" y="1"/>
                    <a:pt x="2776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1" name="Google Shape;5251;p53">
              <a:extLst>
                <a:ext uri="{FF2B5EF4-FFF2-40B4-BE49-F238E27FC236}">
                  <a16:creationId xmlns:a16="http://schemas.microsoft.com/office/drawing/2014/main" id="{31646B1E-71A4-4004-F641-E1057639CDA0}"/>
                </a:ext>
              </a:extLst>
            </p:cNvPr>
            <p:cNvSpPr/>
            <p:nvPr/>
          </p:nvSpPr>
          <p:spPr>
            <a:xfrm>
              <a:off x="7748275" y="1572725"/>
              <a:ext cx="11125" cy="107050"/>
            </a:xfrm>
            <a:custGeom>
              <a:avLst/>
              <a:gdLst/>
              <a:ahLst/>
              <a:cxnLst/>
              <a:rect l="l" t="t" r="r" b="b"/>
              <a:pathLst>
                <a:path w="445" h="4282" extrusionOk="0">
                  <a:moveTo>
                    <a:pt x="224" y="1"/>
                  </a:moveTo>
                  <a:cubicBezTo>
                    <a:pt x="223" y="1"/>
                    <a:pt x="222" y="6"/>
                    <a:pt x="222" y="20"/>
                  </a:cubicBezTo>
                  <a:lnTo>
                    <a:pt x="0" y="4281"/>
                  </a:lnTo>
                  <a:lnTo>
                    <a:pt x="445" y="4281"/>
                  </a:lnTo>
                  <a:cubicBezTo>
                    <a:pt x="430" y="2458"/>
                    <a:pt x="267" y="20"/>
                    <a:pt x="229" y="20"/>
                  </a:cubicBezTo>
                  <a:cubicBezTo>
                    <a:pt x="229" y="20"/>
                    <a:pt x="226" y="1"/>
                    <a:pt x="22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2" name="Google Shape;5252;p53">
              <a:extLst>
                <a:ext uri="{FF2B5EF4-FFF2-40B4-BE49-F238E27FC236}">
                  <a16:creationId xmlns:a16="http://schemas.microsoft.com/office/drawing/2014/main" id="{998C7DCE-5C6B-4708-1594-BE6CF4699C5E}"/>
                </a:ext>
              </a:extLst>
            </p:cNvPr>
            <p:cNvSpPr/>
            <p:nvPr/>
          </p:nvSpPr>
          <p:spPr>
            <a:xfrm>
              <a:off x="7723625" y="1610650"/>
              <a:ext cx="30400" cy="24475"/>
            </a:xfrm>
            <a:custGeom>
              <a:avLst/>
              <a:gdLst/>
              <a:ahLst/>
              <a:cxnLst/>
              <a:rect l="l" t="t" r="r" b="b"/>
              <a:pathLst>
                <a:path w="1216" h="979" extrusionOk="0">
                  <a:moveTo>
                    <a:pt x="1" y="1"/>
                  </a:moveTo>
                  <a:cubicBezTo>
                    <a:pt x="595" y="952"/>
                    <a:pt x="1136" y="979"/>
                    <a:pt x="1196" y="979"/>
                  </a:cubicBezTo>
                  <a:cubicBezTo>
                    <a:pt x="1199" y="979"/>
                    <a:pt x="1201" y="979"/>
                    <a:pt x="1201" y="979"/>
                  </a:cubicBezTo>
                  <a:lnTo>
                    <a:pt x="1215" y="838"/>
                  </a:lnTo>
                  <a:lnTo>
                    <a:pt x="1215" y="838"/>
                  </a:lnTo>
                  <a:cubicBezTo>
                    <a:pt x="1215" y="838"/>
                    <a:pt x="1203" y="847"/>
                    <a:pt x="1168" y="847"/>
                  </a:cubicBezTo>
                  <a:cubicBezTo>
                    <a:pt x="1093" y="847"/>
                    <a:pt x="919" y="806"/>
                    <a:pt x="556" y="548"/>
                  </a:cubicBezTo>
                  <a:cubicBezTo>
                    <a:pt x="245" y="33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3" name="Google Shape;5253;p53">
              <a:extLst>
                <a:ext uri="{FF2B5EF4-FFF2-40B4-BE49-F238E27FC236}">
                  <a16:creationId xmlns:a16="http://schemas.microsoft.com/office/drawing/2014/main" id="{4056B0BC-9B87-E408-E227-65B16E5638C9}"/>
                </a:ext>
              </a:extLst>
            </p:cNvPr>
            <p:cNvSpPr/>
            <p:nvPr/>
          </p:nvSpPr>
          <p:spPr>
            <a:xfrm>
              <a:off x="7754000" y="1603800"/>
              <a:ext cx="25600" cy="20750"/>
            </a:xfrm>
            <a:custGeom>
              <a:avLst/>
              <a:gdLst/>
              <a:ahLst/>
              <a:cxnLst/>
              <a:rect l="l" t="t" r="r" b="b"/>
              <a:pathLst>
                <a:path w="1024" h="830" extrusionOk="0">
                  <a:moveTo>
                    <a:pt x="1023" y="1"/>
                  </a:moveTo>
                  <a:lnTo>
                    <a:pt x="1023" y="1"/>
                  </a:lnTo>
                  <a:cubicBezTo>
                    <a:pt x="1023" y="1"/>
                    <a:pt x="824" y="282"/>
                    <a:pt x="557" y="467"/>
                  </a:cubicBezTo>
                  <a:cubicBezTo>
                    <a:pt x="255" y="685"/>
                    <a:pt x="108" y="721"/>
                    <a:pt x="44" y="721"/>
                  </a:cubicBezTo>
                  <a:cubicBezTo>
                    <a:pt x="12" y="721"/>
                    <a:pt x="0" y="712"/>
                    <a:pt x="0" y="712"/>
                  </a:cubicBezTo>
                  <a:lnTo>
                    <a:pt x="0" y="712"/>
                  </a:lnTo>
                  <a:lnTo>
                    <a:pt x="8" y="830"/>
                  </a:lnTo>
                  <a:cubicBezTo>
                    <a:pt x="8" y="830"/>
                    <a:pt x="10" y="830"/>
                    <a:pt x="14" y="830"/>
                  </a:cubicBezTo>
                  <a:cubicBezTo>
                    <a:pt x="72" y="830"/>
                    <a:pt x="531" y="803"/>
                    <a:pt x="1023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4" name="Google Shape;5254;p53">
              <a:extLst>
                <a:ext uri="{FF2B5EF4-FFF2-40B4-BE49-F238E27FC236}">
                  <a16:creationId xmlns:a16="http://schemas.microsoft.com/office/drawing/2014/main" id="{7CF56AF7-D182-5363-561A-2CCE4801D446}"/>
                </a:ext>
              </a:extLst>
            </p:cNvPr>
            <p:cNvSpPr/>
            <p:nvPr/>
          </p:nvSpPr>
          <p:spPr>
            <a:xfrm>
              <a:off x="7733225" y="1588950"/>
              <a:ext cx="20800" cy="16700"/>
            </a:xfrm>
            <a:custGeom>
              <a:avLst/>
              <a:gdLst/>
              <a:ahLst/>
              <a:cxnLst/>
              <a:rect l="l" t="t" r="r" b="b"/>
              <a:pathLst>
                <a:path w="832" h="668" extrusionOk="0">
                  <a:moveTo>
                    <a:pt x="1" y="1"/>
                  </a:moveTo>
                  <a:lnTo>
                    <a:pt x="1" y="1"/>
                  </a:lnTo>
                  <a:cubicBezTo>
                    <a:pt x="398" y="648"/>
                    <a:pt x="774" y="668"/>
                    <a:pt x="820" y="668"/>
                  </a:cubicBezTo>
                  <a:cubicBezTo>
                    <a:pt x="823" y="668"/>
                    <a:pt x="824" y="668"/>
                    <a:pt x="824" y="668"/>
                  </a:cubicBezTo>
                  <a:lnTo>
                    <a:pt x="831" y="572"/>
                  </a:lnTo>
                  <a:lnTo>
                    <a:pt x="831" y="572"/>
                  </a:lnTo>
                  <a:cubicBezTo>
                    <a:pt x="831" y="572"/>
                    <a:pt x="821" y="580"/>
                    <a:pt x="793" y="580"/>
                  </a:cubicBezTo>
                  <a:cubicBezTo>
                    <a:pt x="739" y="580"/>
                    <a:pt x="618" y="550"/>
                    <a:pt x="380" y="380"/>
                  </a:cubicBezTo>
                  <a:cubicBezTo>
                    <a:pt x="165" y="23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5" name="Google Shape;5255;p53">
              <a:extLst>
                <a:ext uri="{FF2B5EF4-FFF2-40B4-BE49-F238E27FC236}">
                  <a16:creationId xmlns:a16="http://schemas.microsoft.com/office/drawing/2014/main" id="{A755A6B0-9BC4-F428-1FF6-C6E3CEF8A261}"/>
                </a:ext>
              </a:extLst>
            </p:cNvPr>
            <p:cNvSpPr/>
            <p:nvPr/>
          </p:nvSpPr>
          <p:spPr>
            <a:xfrm>
              <a:off x="7517600" y="1556875"/>
              <a:ext cx="110650" cy="107700"/>
            </a:xfrm>
            <a:custGeom>
              <a:avLst/>
              <a:gdLst/>
              <a:ahLst/>
              <a:cxnLst/>
              <a:rect l="l" t="t" r="r" b="b"/>
              <a:pathLst>
                <a:path w="4426" h="4308" extrusionOk="0">
                  <a:moveTo>
                    <a:pt x="2151" y="1"/>
                  </a:moveTo>
                  <a:cubicBezTo>
                    <a:pt x="2073" y="1"/>
                    <a:pt x="1995" y="21"/>
                    <a:pt x="1929" y="62"/>
                  </a:cubicBezTo>
                  <a:cubicBezTo>
                    <a:pt x="1440" y="366"/>
                    <a:pt x="1" y="4307"/>
                    <a:pt x="2151" y="4307"/>
                  </a:cubicBezTo>
                  <a:cubicBezTo>
                    <a:pt x="4425" y="4307"/>
                    <a:pt x="2862" y="366"/>
                    <a:pt x="2373" y="62"/>
                  </a:cubicBezTo>
                  <a:cubicBezTo>
                    <a:pt x="2307" y="21"/>
                    <a:pt x="2229" y="1"/>
                    <a:pt x="2151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6" name="Google Shape;5256;p53">
              <a:extLst>
                <a:ext uri="{FF2B5EF4-FFF2-40B4-BE49-F238E27FC236}">
                  <a16:creationId xmlns:a16="http://schemas.microsoft.com/office/drawing/2014/main" id="{42D92711-30CB-BA80-68EC-BEBF028221CB}"/>
                </a:ext>
              </a:extLst>
            </p:cNvPr>
            <p:cNvSpPr/>
            <p:nvPr/>
          </p:nvSpPr>
          <p:spPr>
            <a:xfrm>
              <a:off x="7517600" y="1558375"/>
              <a:ext cx="53775" cy="106200"/>
            </a:xfrm>
            <a:custGeom>
              <a:avLst/>
              <a:gdLst/>
              <a:ahLst/>
              <a:cxnLst/>
              <a:rect l="l" t="t" r="r" b="b"/>
              <a:pathLst>
                <a:path w="2151" h="4248" extrusionOk="0">
                  <a:moveTo>
                    <a:pt x="1932" y="1"/>
                  </a:moveTo>
                  <a:cubicBezTo>
                    <a:pt x="1931" y="1"/>
                    <a:pt x="1930" y="1"/>
                    <a:pt x="1929" y="2"/>
                  </a:cubicBezTo>
                  <a:cubicBezTo>
                    <a:pt x="1440" y="306"/>
                    <a:pt x="1" y="4247"/>
                    <a:pt x="2151" y="4247"/>
                  </a:cubicBezTo>
                  <a:cubicBezTo>
                    <a:pt x="2151" y="4247"/>
                    <a:pt x="1610" y="4203"/>
                    <a:pt x="1580" y="2663"/>
                  </a:cubicBezTo>
                  <a:cubicBezTo>
                    <a:pt x="1543" y="1142"/>
                    <a:pt x="1985" y="1"/>
                    <a:pt x="1932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7" name="Google Shape;5257;p53">
              <a:extLst>
                <a:ext uri="{FF2B5EF4-FFF2-40B4-BE49-F238E27FC236}">
                  <a16:creationId xmlns:a16="http://schemas.microsoft.com/office/drawing/2014/main" id="{704E90BB-3EDC-1DF9-7433-0E3C46C8AEEB}"/>
                </a:ext>
              </a:extLst>
            </p:cNvPr>
            <p:cNvSpPr/>
            <p:nvPr/>
          </p:nvSpPr>
          <p:spPr>
            <a:xfrm>
              <a:off x="7569675" y="1605800"/>
              <a:ext cx="7800" cy="74550"/>
            </a:xfrm>
            <a:custGeom>
              <a:avLst/>
              <a:gdLst/>
              <a:ahLst/>
              <a:cxnLst/>
              <a:rect l="l" t="t" r="r" b="b"/>
              <a:pathLst>
                <a:path w="312" h="2982" extrusionOk="0">
                  <a:moveTo>
                    <a:pt x="159" y="0"/>
                  </a:moveTo>
                  <a:cubicBezTo>
                    <a:pt x="158" y="0"/>
                    <a:pt x="157" y="4"/>
                    <a:pt x="157" y="17"/>
                  </a:cubicBezTo>
                  <a:lnTo>
                    <a:pt x="0" y="2981"/>
                  </a:lnTo>
                  <a:lnTo>
                    <a:pt x="312" y="2981"/>
                  </a:lnTo>
                  <a:cubicBezTo>
                    <a:pt x="304" y="1713"/>
                    <a:pt x="185" y="17"/>
                    <a:pt x="164" y="17"/>
                  </a:cubicBezTo>
                  <a:cubicBezTo>
                    <a:pt x="164" y="17"/>
                    <a:pt x="161" y="0"/>
                    <a:pt x="159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8" name="Google Shape;5258;p53">
              <a:extLst>
                <a:ext uri="{FF2B5EF4-FFF2-40B4-BE49-F238E27FC236}">
                  <a16:creationId xmlns:a16="http://schemas.microsoft.com/office/drawing/2014/main" id="{09C143BA-929A-7F2B-7768-4D7B48A62486}"/>
                </a:ext>
              </a:extLst>
            </p:cNvPr>
            <p:cNvSpPr/>
            <p:nvPr/>
          </p:nvSpPr>
          <p:spPr>
            <a:xfrm>
              <a:off x="7552650" y="1632125"/>
              <a:ext cx="20950" cy="17100"/>
            </a:xfrm>
            <a:custGeom>
              <a:avLst/>
              <a:gdLst/>
              <a:ahLst/>
              <a:cxnLst/>
              <a:rect l="l" t="t" r="r" b="b"/>
              <a:pathLst>
                <a:path w="838" h="684" extrusionOk="0">
                  <a:moveTo>
                    <a:pt x="0" y="1"/>
                  </a:moveTo>
                  <a:lnTo>
                    <a:pt x="0" y="1"/>
                  </a:lnTo>
                  <a:cubicBezTo>
                    <a:pt x="406" y="665"/>
                    <a:pt x="785" y="684"/>
                    <a:pt x="827" y="684"/>
                  </a:cubicBezTo>
                  <a:cubicBezTo>
                    <a:pt x="829" y="684"/>
                    <a:pt x="831" y="684"/>
                    <a:pt x="831" y="684"/>
                  </a:cubicBezTo>
                  <a:lnTo>
                    <a:pt x="838" y="586"/>
                  </a:lnTo>
                  <a:lnTo>
                    <a:pt x="838" y="586"/>
                  </a:lnTo>
                  <a:cubicBezTo>
                    <a:pt x="838" y="586"/>
                    <a:pt x="830" y="592"/>
                    <a:pt x="806" y="592"/>
                  </a:cubicBezTo>
                  <a:cubicBezTo>
                    <a:pt x="757" y="592"/>
                    <a:pt x="639" y="564"/>
                    <a:pt x="386" y="387"/>
                  </a:cubicBezTo>
                  <a:cubicBezTo>
                    <a:pt x="164" y="23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9" name="Google Shape;5259;p53">
              <a:extLst>
                <a:ext uri="{FF2B5EF4-FFF2-40B4-BE49-F238E27FC236}">
                  <a16:creationId xmlns:a16="http://schemas.microsoft.com/office/drawing/2014/main" id="{B37C20DD-FB91-5118-4CB5-8A9416426580}"/>
                </a:ext>
              </a:extLst>
            </p:cNvPr>
            <p:cNvSpPr/>
            <p:nvPr/>
          </p:nvSpPr>
          <p:spPr>
            <a:xfrm>
              <a:off x="7573575" y="1627500"/>
              <a:ext cx="18000" cy="14475"/>
            </a:xfrm>
            <a:custGeom>
              <a:avLst/>
              <a:gdLst/>
              <a:ahLst/>
              <a:cxnLst/>
              <a:rect l="l" t="t" r="r" b="b"/>
              <a:pathLst>
                <a:path w="720" h="579" extrusionOk="0">
                  <a:moveTo>
                    <a:pt x="719" y="1"/>
                  </a:moveTo>
                  <a:cubicBezTo>
                    <a:pt x="719" y="1"/>
                    <a:pt x="579" y="193"/>
                    <a:pt x="394" y="326"/>
                  </a:cubicBezTo>
                  <a:cubicBezTo>
                    <a:pt x="184" y="472"/>
                    <a:pt x="81" y="497"/>
                    <a:pt x="34" y="497"/>
                  </a:cubicBezTo>
                  <a:cubicBezTo>
                    <a:pt x="10" y="497"/>
                    <a:pt x="1" y="490"/>
                    <a:pt x="1" y="490"/>
                  </a:cubicBezTo>
                  <a:lnTo>
                    <a:pt x="1" y="490"/>
                  </a:lnTo>
                  <a:lnTo>
                    <a:pt x="8" y="579"/>
                  </a:lnTo>
                  <a:cubicBezTo>
                    <a:pt x="8" y="579"/>
                    <a:pt x="9" y="579"/>
                    <a:pt x="10" y="579"/>
                  </a:cubicBezTo>
                  <a:cubicBezTo>
                    <a:pt x="39" y="579"/>
                    <a:pt x="366" y="566"/>
                    <a:pt x="71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0" name="Google Shape;5260;p53">
              <a:extLst>
                <a:ext uri="{FF2B5EF4-FFF2-40B4-BE49-F238E27FC236}">
                  <a16:creationId xmlns:a16="http://schemas.microsoft.com/office/drawing/2014/main" id="{8CE480CD-D66C-0C56-CC22-CB612C667D67}"/>
                </a:ext>
              </a:extLst>
            </p:cNvPr>
            <p:cNvSpPr/>
            <p:nvPr/>
          </p:nvSpPr>
          <p:spPr>
            <a:xfrm>
              <a:off x="7559125" y="1617150"/>
              <a:ext cx="14475" cy="11675"/>
            </a:xfrm>
            <a:custGeom>
              <a:avLst/>
              <a:gdLst/>
              <a:ahLst/>
              <a:cxnLst/>
              <a:rect l="l" t="t" r="r" b="b"/>
              <a:pathLst>
                <a:path w="579" h="467" extrusionOk="0">
                  <a:moveTo>
                    <a:pt x="1" y="0"/>
                  </a:moveTo>
                  <a:lnTo>
                    <a:pt x="1" y="0"/>
                  </a:lnTo>
                  <a:cubicBezTo>
                    <a:pt x="296" y="460"/>
                    <a:pt x="563" y="466"/>
                    <a:pt x="578" y="466"/>
                  </a:cubicBezTo>
                  <a:cubicBezTo>
                    <a:pt x="579" y="466"/>
                    <a:pt x="579" y="466"/>
                    <a:pt x="579" y="466"/>
                  </a:cubicBezTo>
                  <a:lnTo>
                    <a:pt x="579" y="393"/>
                  </a:lnTo>
                  <a:cubicBezTo>
                    <a:pt x="579" y="393"/>
                    <a:pt x="571" y="400"/>
                    <a:pt x="550" y="400"/>
                  </a:cubicBezTo>
                  <a:cubicBezTo>
                    <a:pt x="511" y="400"/>
                    <a:pt x="429" y="379"/>
                    <a:pt x="268" y="260"/>
                  </a:cubicBezTo>
                  <a:cubicBezTo>
                    <a:pt x="118" y="15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1" name="Google Shape;5261;p53">
              <a:extLst>
                <a:ext uri="{FF2B5EF4-FFF2-40B4-BE49-F238E27FC236}">
                  <a16:creationId xmlns:a16="http://schemas.microsoft.com/office/drawing/2014/main" id="{6A4AE01D-8B22-F308-35BD-763848844686}"/>
                </a:ext>
              </a:extLst>
            </p:cNvPr>
            <p:cNvSpPr/>
            <p:nvPr/>
          </p:nvSpPr>
          <p:spPr>
            <a:xfrm>
              <a:off x="7639875" y="1540475"/>
              <a:ext cx="120475" cy="117250"/>
            </a:xfrm>
            <a:custGeom>
              <a:avLst/>
              <a:gdLst/>
              <a:ahLst/>
              <a:cxnLst/>
              <a:rect l="l" t="t" r="r" b="b"/>
              <a:pathLst>
                <a:path w="4819" h="4690" extrusionOk="0">
                  <a:moveTo>
                    <a:pt x="2476" y="1"/>
                  </a:moveTo>
                  <a:cubicBezTo>
                    <a:pt x="2391" y="1"/>
                    <a:pt x="2306" y="25"/>
                    <a:pt x="2232" y="73"/>
                  </a:cubicBezTo>
                  <a:cubicBezTo>
                    <a:pt x="1699" y="407"/>
                    <a:pt x="0" y="4689"/>
                    <a:pt x="2476" y="4689"/>
                  </a:cubicBezTo>
                  <a:cubicBezTo>
                    <a:pt x="4818" y="4689"/>
                    <a:pt x="3255" y="407"/>
                    <a:pt x="2721" y="73"/>
                  </a:cubicBezTo>
                  <a:cubicBezTo>
                    <a:pt x="2647" y="25"/>
                    <a:pt x="2561" y="1"/>
                    <a:pt x="2476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2" name="Google Shape;5262;p53">
              <a:extLst>
                <a:ext uri="{FF2B5EF4-FFF2-40B4-BE49-F238E27FC236}">
                  <a16:creationId xmlns:a16="http://schemas.microsoft.com/office/drawing/2014/main" id="{875E03CF-5F95-60B5-1A9F-146DC107BCF4}"/>
                </a:ext>
              </a:extLst>
            </p:cNvPr>
            <p:cNvSpPr/>
            <p:nvPr/>
          </p:nvSpPr>
          <p:spPr>
            <a:xfrm>
              <a:off x="7641750" y="1545575"/>
              <a:ext cx="56350" cy="111425"/>
            </a:xfrm>
            <a:custGeom>
              <a:avLst/>
              <a:gdLst/>
              <a:ahLst/>
              <a:cxnLst/>
              <a:rect l="l" t="t" r="r" b="b"/>
              <a:pathLst>
                <a:path w="2254" h="4457" extrusionOk="0">
                  <a:moveTo>
                    <a:pt x="2028" y="0"/>
                  </a:moveTo>
                  <a:cubicBezTo>
                    <a:pt x="2027" y="0"/>
                    <a:pt x="2025" y="1"/>
                    <a:pt x="2024" y="2"/>
                  </a:cubicBezTo>
                  <a:cubicBezTo>
                    <a:pt x="1505" y="322"/>
                    <a:pt x="0" y="4457"/>
                    <a:pt x="2253" y="4457"/>
                  </a:cubicBezTo>
                  <a:cubicBezTo>
                    <a:pt x="2253" y="4457"/>
                    <a:pt x="1690" y="4412"/>
                    <a:pt x="1652" y="2796"/>
                  </a:cubicBezTo>
                  <a:cubicBezTo>
                    <a:pt x="1616" y="1200"/>
                    <a:pt x="2077" y="0"/>
                    <a:pt x="202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3" name="Google Shape;5263;p53">
              <a:extLst>
                <a:ext uri="{FF2B5EF4-FFF2-40B4-BE49-F238E27FC236}">
                  <a16:creationId xmlns:a16="http://schemas.microsoft.com/office/drawing/2014/main" id="{6C8866C1-9CFC-69FA-FD09-06A96E968132}"/>
                </a:ext>
              </a:extLst>
            </p:cNvPr>
            <p:cNvSpPr/>
            <p:nvPr/>
          </p:nvSpPr>
          <p:spPr>
            <a:xfrm>
              <a:off x="7696200" y="1601350"/>
              <a:ext cx="8175" cy="79525"/>
            </a:xfrm>
            <a:custGeom>
              <a:avLst/>
              <a:gdLst/>
              <a:ahLst/>
              <a:cxnLst/>
              <a:rect l="l" t="t" r="r" b="b"/>
              <a:pathLst>
                <a:path w="327" h="3181" extrusionOk="0">
                  <a:moveTo>
                    <a:pt x="166" y="0"/>
                  </a:moveTo>
                  <a:cubicBezTo>
                    <a:pt x="165" y="0"/>
                    <a:pt x="164" y="5"/>
                    <a:pt x="164" y="17"/>
                  </a:cubicBezTo>
                  <a:lnTo>
                    <a:pt x="1" y="3181"/>
                  </a:lnTo>
                  <a:cubicBezTo>
                    <a:pt x="13" y="3178"/>
                    <a:pt x="49" y="3178"/>
                    <a:pt x="94" y="3178"/>
                  </a:cubicBezTo>
                  <a:cubicBezTo>
                    <a:pt x="182" y="3178"/>
                    <a:pt x="302" y="3181"/>
                    <a:pt x="326" y="3181"/>
                  </a:cubicBezTo>
                  <a:cubicBezTo>
                    <a:pt x="319" y="1826"/>
                    <a:pt x="193" y="17"/>
                    <a:pt x="171" y="17"/>
                  </a:cubicBezTo>
                  <a:cubicBezTo>
                    <a:pt x="171" y="17"/>
                    <a:pt x="168" y="0"/>
                    <a:pt x="166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4" name="Google Shape;5264;p53">
              <a:extLst>
                <a:ext uri="{FF2B5EF4-FFF2-40B4-BE49-F238E27FC236}">
                  <a16:creationId xmlns:a16="http://schemas.microsoft.com/office/drawing/2014/main" id="{D651F153-310F-6018-B5C7-84D6EFB50245}"/>
                </a:ext>
              </a:extLst>
            </p:cNvPr>
            <p:cNvSpPr/>
            <p:nvPr/>
          </p:nvSpPr>
          <p:spPr>
            <a:xfrm>
              <a:off x="7677875" y="1629375"/>
              <a:ext cx="22450" cy="18175"/>
            </a:xfrm>
            <a:custGeom>
              <a:avLst/>
              <a:gdLst/>
              <a:ahLst/>
              <a:cxnLst/>
              <a:rect l="l" t="t" r="r" b="b"/>
              <a:pathLst>
                <a:path w="898" h="727" extrusionOk="0">
                  <a:moveTo>
                    <a:pt x="1" y="0"/>
                  </a:moveTo>
                  <a:lnTo>
                    <a:pt x="1" y="0"/>
                  </a:lnTo>
                  <a:cubicBezTo>
                    <a:pt x="433" y="706"/>
                    <a:pt x="840" y="726"/>
                    <a:pt x="886" y="726"/>
                  </a:cubicBezTo>
                  <a:cubicBezTo>
                    <a:pt x="889" y="726"/>
                    <a:pt x="890" y="726"/>
                    <a:pt x="890" y="726"/>
                  </a:cubicBezTo>
                  <a:lnTo>
                    <a:pt x="897" y="623"/>
                  </a:lnTo>
                  <a:lnTo>
                    <a:pt x="897" y="623"/>
                  </a:lnTo>
                  <a:cubicBezTo>
                    <a:pt x="897" y="623"/>
                    <a:pt x="888" y="630"/>
                    <a:pt x="862" y="630"/>
                  </a:cubicBezTo>
                  <a:cubicBezTo>
                    <a:pt x="807" y="630"/>
                    <a:pt x="678" y="600"/>
                    <a:pt x="408" y="415"/>
                  </a:cubicBezTo>
                  <a:cubicBezTo>
                    <a:pt x="179" y="25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5" name="Google Shape;5265;p53">
              <a:extLst>
                <a:ext uri="{FF2B5EF4-FFF2-40B4-BE49-F238E27FC236}">
                  <a16:creationId xmlns:a16="http://schemas.microsoft.com/office/drawing/2014/main" id="{17FA33E3-9946-BDC1-B172-D1F943EE5D2B}"/>
                </a:ext>
              </a:extLst>
            </p:cNvPr>
            <p:cNvSpPr/>
            <p:nvPr/>
          </p:nvSpPr>
          <p:spPr>
            <a:xfrm>
              <a:off x="7700300" y="162435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1"/>
                    <a:pt x="615" y="209"/>
                    <a:pt x="415" y="349"/>
                  </a:cubicBezTo>
                  <a:cubicBezTo>
                    <a:pt x="192" y="507"/>
                    <a:pt x="82" y="533"/>
                    <a:pt x="33" y="533"/>
                  </a:cubicBezTo>
                  <a:cubicBezTo>
                    <a:pt x="9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9" y="616"/>
                    <a:pt x="12" y="616"/>
                  </a:cubicBezTo>
                  <a:cubicBezTo>
                    <a:pt x="56" y="616"/>
                    <a:pt x="397" y="596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6" name="Google Shape;5266;p53">
              <a:extLst>
                <a:ext uri="{FF2B5EF4-FFF2-40B4-BE49-F238E27FC236}">
                  <a16:creationId xmlns:a16="http://schemas.microsoft.com/office/drawing/2014/main" id="{16692B17-7D2F-0CD3-B5E4-209B83B4CE74}"/>
                </a:ext>
              </a:extLst>
            </p:cNvPr>
            <p:cNvSpPr/>
            <p:nvPr/>
          </p:nvSpPr>
          <p:spPr>
            <a:xfrm>
              <a:off x="7684900" y="1613225"/>
              <a:ext cx="15425" cy="12650"/>
            </a:xfrm>
            <a:custGeom>
              <a:avLst/>
              <a:gdLst/>
              <a:ahLst/>
              <a:cxnLst/>
              <a:rect l="l" t="t" r="r" b="b"/>
              <a:pathLst>
                <a:path w="617" h="506" extrusionOk="0">
                  <a:moveTo>
                    <a:pt x="1" y="1"/>
                  </a:moveTo>
                  <a:lnTo>
                    <a:pt x="1" y="1"/>
                  </a:lnTo>
                  <a:cubicBezTo>
                    <a:pt x="303" y="493"/>
                    <a:pt x="579" y="506"/>
                    <a:pt x="607" y="506"/>
                  </a:cubicBezTo>
                  <a:cubicBezTo>
                    <a:pt x="608" y="506"/>
                    <a:pt x="609" y="506"/>
                    <a:pt x="609" y="506"/>
                  </a:cubicBezTo>
                  <a:lnTo>
                    <a:pt x="616" y="431"/>
                  </a:lnTo>
                  <a:lnTo>
                    <a:pt x="616" y="431"/>
                  </a:lnTo>
                  <a:cubicBezTo>
                    <a:pt x="616" y="431"/>
                    <a:pt x="610" y="436"/>
                    <a:pt x="593" y="436"/>
                  </a:cubicBezTo>
                  <a:cubicBezTo>
                    <a:pt x="557" y="436"/>
                    <a:pt x="469" y="415"/>
                    <a:pt x="282" y="284"/>
                  </a:cubicBezTo>
                  <a:cubicBezTo>
                    <a:pt x="127" y="17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7" name="Google Shape;5267;p53">
              <a:extLst>
                <a:ext uri="{FF2B5EF4-FFF2-40B4-BE49-F238E27FC236}">
                  <a16:creationId xmlns:a16="http://schemas.microsoft.com/office/drawing/2014/main" id="{8C19D45E-E29A-35D5-D93B-CE5C689148DA}"/>
                </a:ext>
              </a:extLst>
            </p:cNvPr>
            <p:cNvSpPr/>
            <p:nvPr/>
          </p:nvSpPr>
          <p:spPr>
            <a:xfrm>
              <a:off x="7421675" y="1540075"/>
              <a:ext cx="120425" cy="117100"/>
            </a:xfrm>
            <a:custGeom>
              <a:avLst/>
              <a:gdLst/>
              <a:ahLst/>
              <a:cxnLst/>
              <a:rect l="l" t="t" r="r" b="b"/>
              <a:pathLst>
                <a:path w="4817" h="4684" extrusionOk="0">
                  <a:moveTo>
                    <a:pt x="2475" y="1"/>
                  </a:moveTo>
                  <a:cubicBezTo>
                    <a:pt x="2390" y="1"/>
                    <a:pt x="2305" y="23"/>
                    <a:pt x="2230" y="67"/>
                  </a:cubicBezTo>
                  <a:cubicBezTo>
                    <a:pt x="1704" y="400"/>
                    <a:pt x="0" y="4684"/>
                    <a:pt x="2476" y="4684"/>
                  </a:cubicBezTo>
                  <a:cubicBezTo>
                    <a:pt x="4816" y="4684"/>
                    <a:pt x="3253" y="400"/>
                    <a:pt x="2719" y="67"/>
                  </a:cubicBezTo>
                  <a:cubicBezTo>
                    <a:pt x="2646" y="23"/>
                    <a:pt x="2561" y="1"/>
                    <a:pt x="2475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8" name="Google Shape;5268;p53">
              <a:extLst>
                <a:ext uri="{FF2B5EF4-FFF2-40B4-BE49-F238E27FC236}">
                  <a16:creationId xmlns:a16="http://schemas.microsoft.com/office/drawing/2014/main" id="{EB6F98EF-5DF7-2B5C-D888-4F88B570AB43}"/>
                </a:ext>
              </a:extLst>
            </p:cNvPr>
            <p:cNvSpPr/>
            <p:nvPr/>
          </p:nvSpPr>
          <p:spPr>
            <a:xfrm>
              <a:off x="7423525" y="1545050"/>
              <a:ext cx="56550" cy="111550"/>
            </a:xfrm>
            <a:custGeom>
              <a:avLst/>
              <a:gdLst/>
              <a:ahLst/>
              <a:cxnLst/>
              <a:rect l="l" t="t" r="r" b="b"/>
              <a:pathLst>
                <a:path w="2262" h="4462" extrusionOk="0">
                  <a:moveTo>
                    <a:pt x="2027" y="0"/>
                  </a:moveTo>
                  <a:cubicBezTo>
                    <a:pt x="2026" y="0"/>
                    <a:pt x="2024" y="1"/>
                    <a:pt x="2023" y="2"/>
                  </a:cubicBezTo>
                  <a:cubicBezTo>
                    <a:pt x="1512" y="327"/>
                    <a:pt x="1" y="4462"/>
                    <a:pt x="2261" y="4462"/>
                  </a:cubicBezTo>
                  <a:cubicBezTo>
                    <a:pt x="2261" y="4462"/>
                    <a:pt x="1690" y="4410"/>
                    <a:pt x="1653" y="2795"/>
                  </a:cubicBezTo>
                  <a:cubicBezTo>
                    <a:pt x="1623" y="1194"/>
                    <a:pt x="2088" y="0"/>
                    <a:pt x="2027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9" name="Google Shape;5269;p53">
              <a:extLst>
                <a:ext uri="{FF2B5EF4-FFF2-40B4-BE49-F238E27FC236}">
                  <a16:creationId xmlns:a16="http://schemas.microsoft.com/office/drawing/2014/main" id="{E9B76C6C-1653-688C-5BAA-3CF141D5750E}"/>
                </a:ext>
              </a:extLst>
            </p:cNvPr>
            <p:cNvSpPr/>
            <p:nvPr/>
          </p:nvSpPr>
          <p:spPr>
            <a:xfrm>
              <a:off x="7478000" y="1600800"/>
              <a:ext cx="8325" cy="79550"/>
            </a:xfrm>
            <a:custGeom>
              <a:avLst/>
              <a:gdLst/>
              <a:ahLst/>
              <a:cxnLst/>
              <a:rect l="l" t="t" r="r" b="b"/>
              <a:pathLst>
                <a:path w="333" h="3182" extrusionOk="0">
                  <a:moveTo>
                    <a:pt x="165" y="0"/>
                  </a:moveTo>
                  <a:cubicBezTo>
                    <a:pt x="163" y="0"/>
                    <a:pt x="162" y="4"/>
                    <a:pt x="162" y="16"/>
                  </a:cubicBezTo>
                  <a:lnTo>
                    <a:pt x="0" y="3181"/>
                  </a:lnTo>
                  <a:lnTo>
                    <a:pt x="333" y="3181"/>
                  </a:lnTo>
                  <a:cubicBezTo>
                    <a:pt x="319" y="1825"/>
                    <a:pt x="200" y="16"/>
                    <a:pt x="171" y="16"/>
                  </a:cubicBezTo>
                  <a:cubicBezTo>
                    <a:pt x="171" y="16"/>
                    <a:pt x="167" y="0"/>
                    <a:pt x="165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0" name="Google Shape;5270;p53">
              <a:extLst>
                <a:ext uri="{FF2B5EF4-FFF2-40B4-BE49-F238E27FC236}">
                  <a16:creationId xmlns:a16="http://schemas.microsoft.com/office/drawing/2014/main" id="{CE8FD904-58C1-E4BF-025E-61E06E7A6138}"/>
                </a:ext>
              </a:extLst>
            </p:cNvPr>
            <p:cNvSpPr/>
            <p:nvPr/>
          </p:nvSpPr>
          <p:spPr>
            <a:xfrm>
              <a:off x="7459625" y="1628975"/>
              <a:ext cx="22675" cy="18200"/>
            </a:xfrm>
            <a:custGeom>
              <a:avLst/>
              <a:gdLst/>
              <a:ahLst/>
              <a:cxnLst/>
              <a:rect l="l" t="t" r="r" b="b"/>
              <a:pathLst>
                <a:path w="907" h="728" extrusionOk="0">
                  <a:moveTo>
                    <a:pt x="1" y="0"/>
                  </a:moveTo>
                  <a:cubicBezTo>
                    <a:pt x="443" y="709"/>
                    <a:pt x="844" y="728"/>
                    <a:pt x="886" y="728"/>
                  </a:cubicBezTo>
                  <a:cubicBezTo>
                    <a:pt x="889" y="728"/>
                    <a:pt x="890" y="728"/>
                    <a:pt x="890" y="728"/>
                  </a:cubicBezTo>
                  <a:lnTo>
                    <a:pt x="906" y="623"/>
                  </a:lnTo>
                  <a:lnTo>
                    <a:pt x="906" y="623"/>
                  </a:lnTo>
                  <a:cubicBezTo>
                    <a:pt x="906" y="623"/>
                    <a:pt x="896" y="630"/>
                    <a:pt x="868" y="630"/>
                  </a:cubicBezTo>
                  <a:cubicBezTo>
                    <a:pt x="812" y="630"/>
                    <a:pt x="681" y="599"/>
                    <a:pt x="417" y="409"/>
                  </a:cubicBezTo>
                  <a:cubicBezTo>
                    <a:pt x="186" y="246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1" name="Google Shape;5271;p53">
              <a:extLst>
                <a:ext uri="{FF2B5EF4-FFF2-40B4-BE49-F238E27FC236}">
                  <a16:creationId xmlns:a16="http://schemas.microsoft.com/office/drawing/2014/main" id="{7B1CFB1E-E657-D331-90CD-24984DAA372E}"/>
                </a:ext>
              </a:extLst>
            </p:cNvPr>
            <p:cNvSpPr/>
            <p:nvPr/>
          </p:nvSpPr>
          <p:spPr>
            <a:xfrm>
              <a:off x="7482275" y="162400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0"/>
                    <a:pt x="606" y="208"/>
                    <a:pt x="414" y="342"/>
                  </a:cubicBezTo>
                  <a:cubicBezTo>
                    <a:pt x="184" y="506"/>
                    <a:pt x="76" y="533"/>
                    <a:pt x="30" y="533"/>
                  </a:cubicBezTo>
                  <a:cubicBezTo>
                    <a:pt x="8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8" y="616"/>
                    <a:pt x="9" y="616"/>
                  </a:cubicBezTo>
                  <a:cubicBezTo>
                    <a:pt x="39" y="616"/>
                    <a:pt x="387" y="603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2" name="Google Shape;5272;p53">
              <a:extLst>
                <a:ext uri="{FF2B5EF4-FFF2-40B4-BE49-F238E27FC236}">
                  <a16:creationId xmlns:a16="http://schemas.microsoft.com/office/drawing/2014/main" id="{5E64135A-1A2F-15E7-D922-BCD1FD1F13A6}"/>
                </a:ext>
              </a:extLst>
            </p:cNvPr>
            <p:cNvSpPr/>
            <p:nvPr/>
          </p:nvSpPr>
          <p:spPr>
            <a:xfrm>
              <a:off x="7466700" y="1612875"/>
              <a:ext cx="15600" cy="12425"/>
            </a:xfrm>
            <a:custGeom>
              <a:avLst/>
              <a:gdLst/>
              <a:ahLst/>
              <a:cxnLst/>
              <a:rect l="l" t="t" r="r" b="b"/>
              <a:pathLst>
                <a:path w="624" h="497" extrusionOk="0">
                  <a:moveTo>
                    <a:pt x="1" y="1"/>
                  </a:moveTo>
                  <a:cubicBezTo>
                    <a:pt x="302" y="484"/>
                    <a:pt x="583" y="497"/>
                    <a:pt x="612" y="497"/>
                  </a:cubicBezTo>
                  <a:cubicBezTo>
                    <a:pt x="613" y="497"/>
                    <a:pt x="614" y="497"/>
                    <a:pt x="614" y="497"/>
                  </a:cubicBezTo>
                  <a:lnTo>
                    <a:pt x="623" y="422"/>
                  </a:lnTo>
                  <a:lnTo>
                    <a:pt x="623" y="422"/>
                  </a:lnTo>
                  <a:cubicBezTo>
                    <a:pt x="623" y="422"/>
                    <a:pt x="615" y="429"/>
                    <a:pt x="591" y="429"/>
                  </a:cubicBezTo>
                  <a:cubicBezTo>
                    <a:pt x="549" y="429"/>
                    <a:pt x="458" y="407"/>
                    <a:pt x="282" y="282"/>
                  </a:cubicBezTo>
                  <a:cubicBezTo>
                    <a:pt x="125" y="17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3" name="Google Shape;5273;p53">
              <a:extLst>
                <a:ext uri="{FF2B5EF4-FFF2-40B4-BE49-F238E27FC236}">
                  <a16:creationId xmlns:a16="http://schemas.microsoft.com/office/drawing/2014/main" id="{C0A9E008-B2E8-6ACF-7E9C-96F3979A9C7F}"/>
                </a:ext>
              </a:extLst>
            </p:cNvPr>
            <p:cNvSpPr/>
            <p:nvPr/>
          </p:nvSpPr>
          <p:spPr>
            <a:xfrm>
              <a:off x="7454475" y="1518300"/>
              <a:ext cx="141725" cy="137775"/>
            </a:xfrm>
            <a:custGeom>
              <a:avLst/>
              <a:gdLst/>
              <a:ahLst/>
              <a:cxnLst/>
              <a:rect l="l" t="t" r="r" b="b"/>
              <a:pathLst>
                <a:path w="5669" h="5511" extrusionOk="0">
                  <a:moveTo>
                    <a:pt x="2909" y="1"/>
                  </a:moveTo>
                  <a:cubicBezTo>
                    <a:pt x="2808" y="1"/>
                    <a:pt x="2708" y="27"/>
                    <a:pt x="2624" y="79"/>
                  </a:cubicBezTo>
                  <a:cubicBezTo>
                    <a:pt x="2001" y="471"/>
                    <a:pt x="1" y="5510"/>
                    <a:pt x="2912" y="5510"/>
                  </a:cubicBezTo>
                  <a:cubicBezTo>
                    <a:pt x="5668" y="5510"/>
                    <a:pt x="3824" y="471"/>
                    <a:pt x="3202" y="79"/>
                  </a:cubicBezTo>
                  <a:cubicBezTo>
                    <a:pt x="3113" y="27"/>
                    <a:pt x="3011" y="1"/>
                    <a:pt x="2909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4" name="Google Shape;5274;p53">
              <a:extLst>
                <a:ext uri="{FF2B5EF4-FFF2-40B4-BE49-F238E27FC236}">
                  <a16:creationId xmlns:a16="http://schemas.microsoft.com/office/drawing/2014/main" id="{7E97F428-AFE5-4E7D-4D8F-43D1D6DA2AAE}"/>
                </a:ext>
              </a:extLst>
            </p:cNvPr>
            <p:cNvSpPr/>
            <p:nvPr/>
          </p:nvSpPr>
          <p:spPr>
            <a:xfrm>
              <a:off x="7457225" y="1524100"/>
              <a:ext cx="67075" cy="132500"/>
            </a:xfrm>
            <a:custGeom>
              <a:avLst/>
              <a:gdLst/>
              <a:ahLst/>
              <a:cxnLst/>
              <a:rect l="l" t="t" r="r" b="b"/>
              <a:pathLst>
                <a:path w="2683" h="5300" extrusionOk="0">
                  <a:moveTo>
                    <a:pt x="2413" y="1"/>
                  </a:moveTo>
                  <a:cubicBezTo>
                    <a:pt x="2412" y="1"/>
                    <a:pt x="2410" y="1"/>
                    <a:pt x="2409" y="2"/>
                  </a:cubicBezTo>
                  <a:cubicBezTo>
                    <a:pt x="1793" y="388"/>
                    <a:pt x="1" y="5300"/>
                    <a:pt x="2683" y="5300"/>
                  </a:cubicBezTo>
                  <a:cubicBezTo>
                    <a:pt x="2683" y="5300"/>
                    <a:pt x="2009" y="5241"/>
                    <a:pt x="1971" y="3322"/>
                  </a:cubicBezTo>
                  <a:cubicBezTo>
                    <a:pt x="1928" y="1421"/>
                    <a:pt x="2478" y="1"/>
                    <a:pt x="2413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5" name="Google Shape;5275;p53">
              <a:extLst>
                <a:ext uri="{FF2B5EF4-FFF2-40B4-BE49-F238E27FC236}">
                  <a16:creationId xmlns:a16="http://schemas.microsoft.com/office/drawing/2014/main" id="{91864193-5816-2297-C342-0C969F42E3D8}"/>
                </a:ext>
              </a:extLst>
            </p:cNvPr>
            <p:cNvSpPr/>
            <p:nvPr/>
          </p:nvSpPr>
          <p:spPr>
            <a:xfrm>
              <a:off x="7521700" y="1591900"/>
              <a:ext cx="9275" cy="88450"/>
            </a:xfrm>
            <a:custGeom>
              <a:avLst/>
              <a:gdLst/>
              <a:ahLst/>
              <a:cxnLst/>
              <a:rect l="l" t="t" r="r" b="b"/>
              <a:pathLst>
                <a:path w="371" h="3538" extrusionOk="0">
                  <a:moveTo>
                    <a:pt x="187" y="0"/>
                  </a:moveTo>
                  <a:cubicBezTo>
                    <a:pt x="186" y="0"/>
                    <a:pt x="185" y="4"/>
                    <a:pt x="185" y="16"/>
                  </a:cubicBezTo>
                  <a:lnTo>
                    <a:pt x="1" y="3537"/>
                  </a:lnTo>
                  <a:lnTo>
                    <a:pt x="370" y="3537"/>
                  </a:lnTo>
                  <a:cubicBezTo>
                    <a:pt x="356" y="2033"/>
                    <a:pt x="223" y="16"/>
                    <a:pt x="193" y="16"/>
                  </a:cubicBezTo>
                  <a:cubicBezTo>
                    <a:pt x="193" y="16"/>
                    <a:pt x="189" y="0"/>
                    <a:pt x="18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6" name="Google Shape;5276;p53">
              <a:extLst>
                <a:ext uri="{FF2B5EF4-FFF2-40B4-BE49-F238E27FC236}">
                  <a16:creationId xmlns:a16="http://schemas.microsoft.com/office/drawing/2014/main" id="{CEA58A18-9F28-F2AC-8CD9-202B6D2DC60C}"/>
                </a:ext>
              </a:extLst>
            </p:cNvPr>
            <p:cNvSpPr/>
            <p:nvPr/>
          </p:nvSpPr>
          <p:spPr>
            <a:xfrm>
              <a:off x="7501525" y="1623250"/>
              <a:ext cx="25000" cy="20200"/>
            </a:xfrm>
            <a:custGeom>
              <a:avLst/>
              <a:gdLst/>
              <a:ahLst/>
              <a:cxnLst/>
              <a:rect l="l" t="t" r="r" b="b"/>
              <a:pathLst>
                <a:path w="1000" h="808" extrusionOk="0">
                  <a:moveTo>
                    <a:pt x="0" y="0"/>
                  </a:moveTo>
                  <a:lnTo>
                    <a:pt x="0" y="0"/>
                  </a:lnTo>
                  <a:cubicBezTo>
                    <a:pt x="484" y="787"/>
                    <a:pt x="935" y="807"/>
                    <a:pt x="981" y="807"/>
                  </a:cubicBezTo>
                  <a:cubicBezTo>
                    <a:pt x="984" y="807"/>
                    <a:pt x="985" y="807"/>
                    <a:pt x="985" y="807"/>
                  </a:cubicBezTo>
                  <a:lnTo>
                    <a:pt x="1000" y="690"/>
                  </a:lnTo>
                  <a:lnTo>
                    <a:pt x="1000" y="690"/>
                  </a:lnTo>
                  <a:cubicBezTo>
                    <a:pt x="1000" y="690"/>
                    <a:pt x="989" y="697"/>
                    <a:pt x="960" y="697"/>
                  </a:cubicBezTo>
                  <a:cubicBezTo>
                    <a:pt x="899" y="697"/>
                    <a:pt x="755" y="664"/>
                    <a:pt x="452" y="452"/>
                  </a:cubicBezTo>
                  <a:cubicBezTo>
                    <a:pt x="199" y="27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7" name="Google Shape;5277;p53">
              <a:extLst>
                <a:ext uri="{FF2B5EF4-FFF2-40B4-BE49-F238E27FC236}">
                  <a16:creationId xmlns:a16="http://schemas.microsoft.com/office/drawing/2014/main" id="{C158DF51-5B50-4AED-A816-0B095CD20969}"/>
                </a:ext>
              </a:extLst>
            </p:cNvPr>
            <p:cNvSpPr/>
            <p:nvPr/>
          </p:nvSpPr>
          <p:spPr>
            <a:xfrm>
              <a:off x="7526500" y="1617675"/>
              <a:ext cx="21150" cy="17100"/>
            </a:xfrm>
            <a:custGeom>
              <a:avLst/>
              <a:gdLst/>
              <a:ahLst/>
              <a:cxnLst/>
              <a:rect l="l" t="t" r="r" b="b"/>
              <a:pathLst>
                <a:path w="846" h="684" extrusionOk="0">
                  <a:moveTo>
                    <a:pt x="845" y="1"/>
                  </a:moveTo>
                  <a:cubicBezTo>
                    <a:pt x="845" y="1"/>
                    <a:pt x="676" y="230"/>
                    <a:pt x="461" y="387"/>
                  </a:cubicBezTo>
                  <a:cubicBezTo>
                    <a:pt x="210" y="564"/>
                    <a:pt x="89" y="593"/>
                    <a:pt x="37" y="593"/>
                  </a:cubicBezTo>
                  <a:cubicBezTo>
                    <a:pt x="10" y="593"/>
                    <a:pt x="1" y="586"/>
                    <a:pt x="1" y="586"/>
                  </a:cubicBezTo>
                  <a:lnTo>
                    <a:pt x="1" y="586"/>
                  </a:lnTo>
                  <a:lnTo>
                    <a:pt x="9" y="684"/>
                  </a:lnTo>
                  <a:cubicBezTo>
                    <a:pt x="9" y="684"/>
                    <a:pt x="11" y="684"/>
                    <a:pt x="13" y="684"/>
                  </a:cubicBezTo>
                  <a:cubicBezTo>
                    <a:pt x="55" y="684"/>
                    <a:pt x="434" y="665"/>
                    <a:pt x="845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8" name="Google Shape;5278;p53">
              <a:extLst>
                <a:ext uri="{FF2B5EF4-FFF2-40B4-BE49-F238E27FC236}">
                  <a16:creationId xmlns:a16="http://schemas.microsoft.com/office/drawing/2014/main" id="{9036CC6B-6EA6-3ADD-F317-D47ADFB86324}"/>
                </a:ext>
              </a:extLst>
            </p:cNvPr>
            <p:cNvSpPr/>
            <p:nvPr/>
          </p:nvSpPr>
          <p:spPr>
            <a:xfrm>
              <a:off x="7509300" y="1605275"/>
              <a:ext cx="17225" cy="13950"/>
            </a:xfrm>
            <a:custGeom>
              <a:avLst/>
              <a:gdLst/>
              <a:ahLst/>
              <a:cxnLst/>
              <a:rect l="l" t="t" r="r" b="b"/>
              <a:pathLst>
                <a:path w="689" h="558" extrusionOk="0">
                  <a:moveTo>
                    <a:pt x="0" y="1"/>
                  </a:moveTo>
                  <a:lnTo>
                    <a:pt x="0" y="1"/>
                  </a:lnTo>
                  <a:cubicBezTo>
                    <a:pt x="339" y="544"/>
                    <a:pt x="650" y="557"/>
                    <a:pt x="679" y="557"/>
                  </a:cubicBezTo>
                  <a:cubicBezTo>
                    <a:pt x="681" y="557"/>
                    <a:pt x="681" y="557"/>
                    <a:pt x="681" y="557"/>
                  </a:cubicBezTo>
                  <a:lnTo>
                    <a:pt x="689" y="475"/>
                  </a:lnTo>
                  <a:lnTo>
                    <a:pt x="689" y="475"/>
                  </a:lnTo>
                  <a:cubicBezTo>
                    <a:pt x="689" y="475"/>
                    <a:pt x="681" y="481"/>
                    <a:pt x="660" y="481"/>
                  </a:cubicBezTo>
                  <a:cubicBezTo>
                    <a:pt x="617" y="481"/>
                    <a:pt x="517" y="457"/>
                    <a:pt x="312" y="312"/>
                  </a:cubicBezTo>
                  <a:cubicBezTo>
                    <a:pt x="141" y="193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9" name="Google Shape;5279;p53">
              <a:extLst>
                <a:ext uri="{FF2B5EF4-FFF2-40B4-BE49-F238E27FC236}">
                  <a16:creationId xmlns:a16="http://schemas.microsoft.com/office/drawing/2014/main" id="{27D2579C-94B6-A16C-B7DF-9D716E39F828}"/>
                </a:ext>
              </a:extLst>
            </p:cNvPr>
            <p:cNvSpPr/>
            <p:nvPr/>
          </p:nvSpPr>
          <p:spPr>
            <a:xfrm>
              <a:off x="7404450" y="1558600"/>
              <a:ext cx="64675" cy="81525"/>
            </a:xfrm>
            <a:custGeom>
              <a:avLst/>
              <a:gdLst/>
              <a:ahLst/>
              <a:cxnLst/>
              <a:rect l="l" t="t" r="r" b="b"/>
              <a:pathLst>
                <a:path w="2587" h="3261" extrusionOk="0">
                  <a:moveTo>
                    <a:pt x="1290" y="0"/>
                  </a:moveTo>
                  <a:cubicBezTo>
                    <a:pt x="734" y="0"/>
                    <a:pt x="275" y="452"/>
                    <a:pt x="275" y="1016"/>
                  </a:cubicBezTo>
                  <a:cubicBezTo>
                    <a:pt x="275" y="1067"/>
                    <a:pt x="282" y="1112"/>
                    <a:pt x="289" y="1156"/>
                  </a:cubicBezTo>
                  <a:cubicBezTo>
                    <a:pt x="111" y="1379"/>
                    <a:pt x="1" y="1659"/>
                    <a:pt x="1" y="1964"/>
                  </a:cubicBezTo>
                  <a:cubicBezTo>
                    <a:pt x="1" y="2682"/>
                    <a:pt x="579" y="3260"/>
                    <a:pt x="1290" y="3260"/>
                  </a:cubicBezTo>
                  <a:cubicBezTo>
                    <a:pt x="2009" y="3260"/>
                    <a:pt x="2587" y="2682"/>
                    <a:pt x="2587" y="1964"/>
                  </a:cubicBezTo>
                  <a:cubicBezTo>
                    <a:pt x="2587" y="1659"/>
                    <a:pt x="2475" y="1379"/>
                    <a:pt x="2297" y="1156"/>
                  </a:cubicBezTo>
                  <a:cubicBezTo>
                    <a:pt x="2304" y="1112"/>
                    <a:pt x="2313" y="1067"/>
                    <a:pt x="2313" y="1016"/>
                  </a:cubicBezTo>
                  <a:cubicBezTo>
                    <a:pt x="2313" y="452"/>
                    <a:pt x="1852" y="0"/>
                    <a:pt x="1290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0" name="Google Shape;5280;p53">
              <a:extLst>
                <a:ext uri="{FF2B5EF4-FFF2-40B4-BE49-F238E27FC236}">
                  <a16:creationId xmlns:a16="http://schemas.microsoft.com/office/drawing/2014/main" id="{501E86F1-65A7-50DB-2982-26FF5E7251CD}"/>
                </a:ext>
              </a:extLst>
            </p:cNvPr>
            <p:cNvSpPr/>
            <p:nvPr/>
          </p:nvSpPr>
          <p:spPr>
            <a:xfrm>
              <a:off x="7436700" y="1583475"/>
              <a:ext cx="2950" cy="96875"/>
            </a:xfrm>
            <a:custGeom>
              <a:avLst/>
              <a:gdLst/>
              <a:ahLst/>
              <a:cxnLst/>
              <a:rect l="l" t="t" r="r" b="b"/>
              <a:pathLst>
                <a:path w="118" h="3875" extrusionOk="0">
                  <a:moveTo>
                    <a:pt x="54" y="0"/>
                  </a:moveTo>
                  <a:cubicBezTo>
                    <a:pt x="53" y="0"/>
                    <a:pt x="52" y="4"/>
                    <a:pt x="52" y="14"/>
                  </a:cubicBezTo>
                  <a:lnTo>
                    <a:pt x="0" y="3821"/>
                  </a:lnTo>
                  <a:cubicBezTo>
                    <a:pt x="0" y="3851"/>
                    <a:pt x="22" y="3874"/>
                    <a:pt x="52" y="3874"/>
                  </a:cubicBezTo>
                  <a:lnTo>
                    <a:pt x="59" y="3874"/>
                  </a:lnTo>
                  <a:cubicBezTo>
                    <a:pt x="96" y="3874"/>
                    <a:pt x="118" y="3851"/>
                    <a:pt x="118" y="3821"/>
                  </a:cubicBezTo>
                  <a:cubicBezTo>
                    <a:pt x="118" y="3821"/>
                    <a:pt x="96" y="14"/>
                    <a:pt x="59" y="14"/>
                  </a:cubicBezTo>
                  <a:cubicBezTo>
                    <a:pt x="59" y="14"/>
                    <a:pt x="56" y="0"/>
                    <a:pt x="54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1" name="Google Shape;5281;p53">
              <a:extLst>
                <a:ext uri="{FF2B5EF4-FFF2-40B4-BE49-F238E27FC236}">
                  <a16:creationId xmlns:a16="http://schemas.microsoft.com/office/drawing/2014/main" id="{22B5489E-6438-DBBD-6331-03EEE0B2D513}"/>
                </a:ext>
              </a:extLst>
            </p:cNvPr>
            <p:cNvSpPr/>
            <p:nvPr/>
          </p:nvSpPr>
          <p:spPr>
            <a:xfrm>
              <a:off x="7419800" y="1606975"/>
              <a:ext cx="18375" cy="15000"/>
            </a:xfrm>
            <a:custGeom>
              <a:avLst/>
              <a:gdLst/>
              <a:ahLst/>
              <a:cxnLst/>
              <a:rect l="l" t="t" r="r" b="b"/>
              <a:pathLst>
                <a:path w="735" h="600" extrusionOk="0">
                  <a:moveTo>
                    <a:pt x="0" y="0"/>
                  </a:moveTo>
                  <a:lnTo>
                    <a:pt x="0" y="0"/>
                  </a:lnTo>
                  <a:cubicBezTo>
                    <a:pt x="353" y="580"/>
                    <a:pt x="679" y="600"/>
                    <a:pt x="723" y="600"/>
                  </a:cubicBezTo>
                  <a:cubicBezTo>
                    <a:pt x="726" y="600"/>
                    <a:pt x="728" y="599"/>
                    <a:pt x="728" y="599"/>
                  </a:cubicBezTo>
                  <a:lnTo>
                    <a:pt x="735" y="511"/>
                  </a:lnTo>
                  <a:lnTo>
                    <a:pt x="735" y="511"/>
                  </a:lnTo>
                  <a:cubicBezTo>
                    <a:pt x="735" y="511"/>
                    <a:pt x="726" y="517"/>
                    <a:pt x="702" y="517"/>
                  </a:cubicBezTo>
                  <a:cubicBezTo>
                    <a:pt x="656" y="517"/>
                    <a:pt x="550" y="492"/>
                    <a:pt x="335" y="340"/>
                  </a:cubicBezTo>
                  <a:cubicBezTo>
                    <a:pt x="150" y="199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2" name="Google Shape;5282;p53">
              <a:extLst>
                <a:ext uri="{FF2B5EF4-FFF2-40B4-BE49-F238E27FC236}">
                  <a16:creationId xmlns:a16="http://schemas.microsoft.com/office/drawing/2014/main" id="{48B601B9-E88A-5052-5BDC-35E846CC263D}"/>
                </a:ext>
              </a:extLst>
            </p:cNvPr>
            <p:cNvSpPr/>
            <p:nvPr/>
          </p:nvSpPr>
          <p:spPr>
            <a:xfrm>
              <a:off x="7438150" y="1602700"/>
              <a:ext cx="15600" cy="12775"/>
            </a:xfrm>
            <a:custGeom>
              <a:avLst/>
              <a:gdLst/>
              <a:ahLst/>
              <a:cxnLst/>
              <a:rect l="l" t="t" r="r" b="b"/>
              <a:pathLst>
                <a:path w="624" h="511" extrusionOk="0">
                  <a:moveTo>
                    <a:pt x="623" y="0"/>
                  </a:moveTo>
                  <a:cubicBezTo>
                    <a:pt x="623" y="0"/>
                    <a:pt x="497" y="178"/>
                    <a:pt x="342" y="289"/>
                  </a:cubicBezTo>
                  <a:cubicBezTo>
                    <a:pt x="156" y="421"/>
                    <a:pt x="67" y="444"/>
                    <a:pt x="28" y="444"/>
                  </a:cubicBezTo>
                  <a:cubicBezTo>
                    <a:pt x="8" y="444"/>
                    <a:pt x="1" y="438"/>
                    <a:pt x="1" y="438"/>
                  </a:cubicBezTo>
                  <a:lnTo>
                    <a:pt x="1" y="438"/>
                  </a:lnTo>
                  <a:lnTo>
                    <a:pt x="8" y="511"/>
                  </a:lnTo>
                  <a:cubicBezTo>
                    <a:pt x="8" y="511"/>
                    <a:pt x="9" y="511"/>
                    <a:pt x="11" y="511"/>
                  </a:cubicBezTo>
                  <a:cubicBezTo>
                    <a:pt x="42" y="511"/>
                    <a:pt x="323" y="497"/>
                    <a:pt x="62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3" name="Google Shape;5283;p53">
              <a:extLst>
                <a:ext uri="{FF2B5EF4-FFF2-40B4-BE49-F238E27FC236}">
                  <a16:creationId xmlns:a16="http://schemas.microsoft.com/office/drawing/2014/main" id="{E3C7B721-2E75-E7C2-428B-343A97D571DD}"/>
                </a:ext>
              </a:extLst>
            </p:cNvPr>
            <p:cNvSpPr/>
            <p:nvPr/>
          </p:nvSpPr>
          <p:spPr>
            <a:xfrm>
              <a:off x="7425575" y="1593625"/>
              <a:ext cx="12600" cy="10200"/>
            </a:xfrm>
            <a:custGeom>
              <a:avLst/>
              <a:gdLst/>
              <a:ahLst/>
              <a:cxnLst/>
              <a:rect l="l" t="t" r="r" b="b"/>
              <a:pathLst>
                <a:path w="504" h="408" extrusionOk="0">
                  <a:moveTo>
                    <a:pt x="1" y="1"/>
                  </a:moveTo>
                  <a:lnTo>
                    <a:pt x="1" y="1"/>
                  </a:lnTo>
                  <a:cubicBezTo>
                    <a:pt x="242" y="395"/>
                    <a:pt x="467" y="408"/>
                    <a:pt x="494" y="408"/>
                  </a:cubicBezTo>
                  <a:cubicBezTo>
                    <a:pt x="496" y="408"/>
                    <a:pt x="497" y="408"/>
                    <a:pt x="497" y="408"/>
                  </a:cubicBezTo>
                  <a:lnTo>
                    <a:pt x="504" y="347"/>
                  </a:lnTo>
                  <a:lnTo>
                    <a:pt x="504" y="347"/>
                  </a:lnTo>
                  <a:cubicBezTo>
                    <a:pt x="504" y="347"/>
                    <a:pt x="497" y="353"/>
                    <a:pt x="479" y="353"/>
                  </a:cubicBezTo>
                  <a:cubicBezTo>
                    <a:pt x="446" y="353"/>
                    <a:pt x="374" y="334"/>
                    <a:pt x="230" y="230"/>
                  </a:cubicBezTo>
                  <a:cubicBezTo>
                    <a:pt x="104" y="14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4" name="Google Shape;5284;p53">
              <a:extLst>
                <a:ext uri="{FF2B5EF4-FFF2-40B4-BE49-F238E27FC236}">
                  <a16:creationId xmlns:a16="http://schemas.microsoft.com/office/drawing/2014/main" id="{511E8C50-6587-5D91-7965-31BEED0AA2A3}"/>
                </a:ext>
              </a:extLst>
            </p:cNvPr>
            <p:cNvSpPr/>
            <p:nvPr/>
          </p:nvSpPr>
          <p:spPr>
            <a:xfrm>
              <a:off x="7286250" y="1591750"/>
              <a:ext cx="46350" cy="58600"/>
            </a:xfrm>
            <a:custGeom>
              <a:avLst/>
              <a:gdLst/>
              <a:ahLst/>
              <a:cxnLst/>
              <a:rect l="l" t="t" r="r" b="b"/>
              <a:pathLst>
                <a:path w="1854" h="2344" extrusionOk="0">
                  <a:moveTo>
                    <a:pt x="927" y="1"/>
                  </a:moveTo>
                  <a:cubicBezTo>
                    <a:pt x="527" y="1"/>
                    <a:pt x="194" y="326"/>
                    <a:pt x="194" y="734"/>
                  </a:cubicBezTo>
                  <a:cubicBezTo>
                    <a:pt x="194" y="764"/>
                    <a:pt x="201" y="801"/>
                    <a:pt x="208" y="831"/>
                  </a:cubicBezTo>
                  <a:cubicBezTo>
                    <a:pt x="75" y="993"/>
                    <a:pt x="0" y="1194"/>
                    <a:pt x="0" y="1417"/>
                  </a:cubicBezTo>
                  <a:cubicBezTo>
                    <a:pt x="0" y="1927"/>
                    <a:pt x="416" y="2343"/>
                    <a:pt x="927" y="2343"/>
                  </a:cubicBezTo>
                  <a:cubicBezTo>
                    <a:pt x="1439" y="2343"/>
                    <a:pt x="1853" y="1927"/>
                    <a:pt x="1853" y="1417"/>
                  </a:cubicBezTo>
                  <a:cubicBezTo>
                    <a:pt x="1853" y="1194"/>
                    <a:pt x="1772" y="993"/>
                    <a:pt x="1645" y="831"/>
                  </a:cubicBezTo>
                  <a:cubicBezTo>
                    <a:pt x="1652" y="801"/>
                    <a:pt x="1652" y="764"/>
                    <a:pt x="1652" y="734"/>
                  </a:cubicBezTo>
                  <a:cubicBezTo>
                    <a:pt x="1652" y="326"/>
                    <a:pt x="1327" y="1"/>
                    <a:pt x="92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5" name="Google Shape;5285;p53">
              <a:extLst>
                <a:ext uri="{FF2B5EF4-FFF2-40B4-BE49-F238E27FC236}">
                  <a16:creationId xmlns:a16="http://schemas.microsoft.com/office/drawing/2014/main" id="{23C1E9EE-B42F-1783-0176-1E0C314E04D7}"/>
                </a:ext>
              </a:extLst>
            </p:cNvPr>
            <p:cNvSpPr/>
            <p:nvPr/>
          </p:nvSpPr>
          <p:spPr>
            <a:xfrm>
              <a:off x="7309225" y="1609675"/>
              <a:ext cx="2250" cy="69550"/>
            </a:xfrm>
            <a:custGeom>
              <a:avLst/>
              <a:gdLst/>
              <a:ahLst/>
              <a:cxnLst/>
              <a:rect l="l" t="t" r="r" b="b"/>
              <a:pathLst>
                <a:path w="90" h="2782" extrusionOk="0">
                  <a:moveTo>
                    <a:pt x="47" y="0"/>
                  </a:moveTo>
                  <a:cubicBezTo>
                    <a:pt x="46" y="0"/>
                    <a:pt x="45" y="2"/>
                    <a:pt x="45" y="10"/>
                  </a:cubicBezTo>
                  <a:lnTo>
                    <a:pt x="1" y="2738"/>
                  </a:lnTo>
                  <a:cubicBezTo>
                    <a:pt x="1" y="2759"/>
                    <a:pt x="22" y="2782"/>
                    <a:pt x="45" y="2782"/>
                  </a:cubicBezTo>
                  <a:lnTo>
                    <a:pt x="52" y="2782"/>
                  </a:lnTo>
                  <a:cubicBezTo>
                    <a:pt x="75" y="2782"/>
                    <a:pt x="90" y="2759"/>
                    <a:pt x="90" y="2738"/>
                  </a:cubicBezTo>
                  <a:cubicBezTo>
                    <a:pt x="90" y="2738"/>
                    <a:pt x="75" y="10"/>
                    <a:pt x="52" y="10"/>
                  </a:cubicBezTo>
                  <a:cubicBezTo>
                    <a:pt x="52" y="10"/>
                    <a:pt x="49" y="0"/>
                    <a:pt x="4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6" name="Google Shape;5286;p53">
              <a:extLst>
                <a:ext uri="{FF2B5EF4-FFF2-40B4-BE49-F238E27FC236}">
                  <a16:creationId xmlns:a16="http://schemas.microsoft.com/office/drawing/2014/main" id="{2BD10186-2751-F011-6D23-845136A0904F}"/>
                </a:ext>
              </a:extLst>
            </p:cNvPr>
            <p:cNvSpPr/>
            <p:nvPr/>
          </p:nvSpPr>
          <p:spPr>
            <a:xfrm>
              <a:off x="7297175" y="1626400"/>
              <a:ext cx="13200" cy="10950"/>
            </a:xfrm>
            <a:custGeom>
              <a:avLst/>
              <a:gdLst/>
              <a:ahLst/>
              <a:cxnLst/>
              <a:rect l="l" t="t" r="r" b="b"/>
              <a:pathLst>
                <a:path w="528" h="438" extrusionOk="0">
                  <a:moveTo>
                    <a:pt x="1" y="0"/>
                  </a:moveTo>
                  <a:cubicBezTo>
                    <a:pt x="266" y="431"/>
                    <a:pt x="505" y="438"/>
                    <a:pt x="519" y="438"/>
                  </a:cubicBezTo>
                  <a:cubicBezTo>
                    <a:pt x="520" y="438"/>
                    <a:pt x="520" y="438"/>
                    <a:pt x="520" y="438"/>
                  </a:cubicBezTo>
                  <a:lnTo>
                    <a:pt x="527" y="370"/>
                  </a:lnTo>
                  <a:lnTo>
                    <a:pt x="527" y="370"/>
                  </a:lnTo>
                  <a:cubicBezTo>
                    <a:pt x="527" y="370"/>
                    <a:pt x="521" y="375"/>
                    <a:pt x="504" y="375"/>
                  </a:cubicBezTo>
                  <a:cubicBezTo>
                    <a:pt x="470" y="375"/>
                    <a:pt x="396" y="356"/>
                    <a:pt x="246" y="246"/>
                  </a:cubicBezTo>
                  <a:cubicBezTo>
                    <a:pt x="104" y="148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7" name="Google Shape;5287;p53">
              <a:extLst>
                <a:ext uri="{FF2B5EF4-FFF2-40B4-BE49-F238E27FC236}">
                  <a16:creationId xmlns:a16="http://schemas.microsoft.com/office/drawing/2014/main" id="{A356071F-D4F6-BE1B-53EF-DC2631496D3A}"/>
                </a:ext>
              </a:extLst>
            </p:cNvPr>
            <p:cNvSpPr/>
            <p:nvPr/>
          </p:nvSpPr>
          <p:spPr>
            <a:xfrm>
              <a:off x="7310350" y="1623425"/>
              <a:ext cx="11300" cy="9300"/>
            </a:xfrm>
            <a:custGeom>
              <a:avLst/>
              <a:gdLst/>
              <a:ahLst/>
              <a:cxnLst/>
              <a:rect l="l" t="t" r="r" b="b"/>
              <a:pathLst>
                <a:path w="452" h="372" extrusionOk="0">
                  <a:moveTo>
                    <a:pt x="452" y="0"/>
                  </a:moveTo>
                  <a:lnTo>
                    <a:pt x="452" y="0"/>
                  </a:lnTo>
                  <a:cubicBezTo>
                    <a:pt x="452" y="0"/>
                    <a:pt x="356" y="126"/>
                    <a:pt x="244" y="208"/>
                  </a:cubicBezTo>
                  <a:cubicBezTo>
                    <a:pt x="102" y="308"/>
                    <a:pt x="39" y="323"/>
                    <a:pt x="14" y="323"/>
                  </a:cubicBezTo>
                  <a:cubicBezTo>
                    <a:pt x="4" y="323"/>
                    <a:pt x="0" y="320"/>
                    <a:pt x="0" y="320"/>
                  </a:cubicBezTo>
                  <a:lnTo>
                    <a:pt x="0" y="320"/>
                  </a:lnTo>
                  <a:lnTo>
                    <a:pt x="7" y="372"/>
                  </a:lnTo>
                  <a:cubicBezTo>
                    <a:pt x="7" y="372"/>
                    <a:pt x="8" y="372"/>
                    <a:pt x="8" y="372"/>
                  </a:cubicBezTo>
                  <a:cubicBezTo>
                    <a:pt x="22" y="372"/>
                    <a:pt x="224" y="365"/>
                    <a:pt x="452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8" name="Google Shape;5288;p53">
              <a:extLst>
                <a:ext uri="{FF2B5EF4-FFF2-40B4-BE49-F238E27FC236}">
                  <a16:creationId xmlns:a16="http://schemas.microsoft.com/office/drawing/2014/main" id="{30A71A9C-8DC2-0308-D935-F17B5FE1ABAA}"/>
                </a:ext>
              </a:extLst>
            </p:cNvPr>
            <p:cNvSpPr/>
            <p:nvPr/>
          </p:nvSpPr>
          <p:spPr>
            <a:xfrm>
              <a:off x="7301275" y="1616975"/>
              <a:ext cx="9100" cy="7400"/>
            </a:xfrm>
            <a:custGeom>
              <a:avLst/>
              <a:gdLst/>
              <a:ahLst/>
              <a:cxnLst/>
              <a:rect l="l" t="t" r="r" b="b"/>
              <a:pathLst>
                <a:path w="364" h="296" extrusionOk="0">
                  <a:moveTo>
                    <a:pt x="0" y="0"/>
                  </a:moveTo>
                  <a:cubicBezTo>
                    <a:pt x="184" y="289"/>
                    <a:pt x="348" y="295"/>
                    <a:pt x="362" y="295"/>
                  </a:cubicBezTo>
                  <a:cubicBezTo>
                    <a:pt x="363" y="295"/>
                    <a:pt x="363" y="295"/>
                    <a:pt x="363" y="295"/>
                  </a:cubicBezTo>
                  <a:lnTo>
                    <a:pt x="363" y="251"/>
                  </a:lnTo>
                  <a:cubicBezTo>
                    <a:pt x="363" y="251"/>
                    <a:pt x="359" y="254"/>
                    <a:pt x="347" y="254"/>
                  </a:cubicBezTo>
                  <a:cubicBezTo>
                    <a:pt x="325" y="254"/>
                    <a:pt x="274" y="241"/>
                    <a:pt x="171" y="162"/>
                  </a:cubicBezTo>
                  <a:cubicBezTo>
                    <a:pt x="73" y="9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9" name="Google Shape;5289;p53">
              <a:extLst>
                <a:ext uri="{FF2B5EF4-FFF2-40B4-BE49-F238E27FC236}">
                  <a16:creationId xmlns:a16="http://schemas.microsoft.com/office/drawing/2014/main" id="{3120ABAD-232B-C60A-8DC2-37AD61539826}"/>
                </a:ext>
              </a:extLst>
            </p:cNvPr>
            <p:cNvSpPr/>
            <p:nvPr/>
          </p:nvSpPr>
          <p:spPr>
            <a:xfrm>
              <a:off x="7200475" y="1642125"/>
              <a:ext cx="91000" cy="37825"/>
            </a:xfrm>
            <a:custGeom>
              <a:avLst/>
              <a:gdLst/>
              <a:ahLst/>
              <a:cxnLst/>
              <a:rect l="l" t="t" r="r" b="b"/>
              <a:pathLst>
                <a:path w="3640" h="1513" extrusionOk="0">
                  <a:moveTo>
                    <a:pt x="1215" y="1"/>
                  </a:moveTo>
                  <a:cubicBezTo>
                    <a:pt x="801" y="1"/>
                    <a:pt x="469" y="335"/>
                    <a:pt x="469" y="750"/>
                  </a:cubicBezTo>
                  <a:lnTo>
                    <a:pt x="469" y="764"/>
                  </a:lnTo>
                  <a:cubicBezTo>
                    <a:pt x="438" y="757"/>
                    <a:pt x="408" y="750"/>
                    <a:pt x="380" y="750"/>
                  </a:cubicBezTo>
                  <a:cubicBezTo>
                    <a:pt x="172" y="750"/>
                    <a:pt x="1" y="920"/>
                    <a:pt x="1" y="1128"/>
                  </a:cubicBezTo>
                  <a:cubicBezTo>
                    <a:pt x="1" y="1335"/>
                    <a:pt x="172" y="1498"/>
                    <a:pt x="380" y="1498"/>
                  </a:cubicBezTo>
                  <a:lnTo>
                    <a:pt x="380" y="1512"/>
                  </a:lnTo>
                  <a:lnTo>
                    <a:pt x="3403" y="1512"/>
                  </a:lnTo>
                  <a:lnTo>
                    <a:pt x="3403" y="1498"/>
                  </a:lnTo>
                  <a:cubicBezTo>
                    <a:pt x="3536" y="1475"/>
                    <a:pt x="3639" y="1365"/>
                    <a:pt x="3639" y="1217"/>
                  </a:cubicBezTo>
                  <a:cubicBezTo>
                    <a:pt x="3639" y="1061"/>
                    <a:pt x="3513" y="934"/>
                    <a:pt x="3358" y="934"/>
                  </a:cubicBezTo>
                  <a:cubicBezTo>
                    <a:pt x="3291" y="934"/>
                    <a:pt x="3232" y="965"/>
                    <a:pt x="3181" y="1002"/>
                  </a:cubicBezTo>
                  <a:lnTo>
                    <a:pt x="3181" y="965"/>
                  </a:lnTo>
                  <a:cubicBezTo>
                    <a:pt x="3181" y="668"/>
                    <a:pt x="2942" y="424"/>
                    <a:pt x="2647" y="424"/>
                  </a:cubicBezTo>
                  <a:cubicBezTo>
                    <a:pt x="2476" y="424"/>
                    <a:pt x="2327" y="497"/>
                    <a:pt x="2224" y="623"/>
                  </a:cubicBezTo>
                  <a:cubicBezTo>
                    <a:pt x="2186" y="609"/>
                    <a:pt x="2149" y="602"/>
                    <a:pt x="2114" y="602"/>
                  </a:cubicBezTo>
                  <a:cubicBezTo>
                    <a:pt x="2053" y="602"/>
                    <a:pt x="2001" y="616"/>
                    <a:pt x="1957" y="639"/>
                  </a:cubicBezTo>
                  <a:cubicBezTo>
                    <a:pt x="1898" y="275"/>
                    <a:pt x="1594" y="1"/>
                    <a:pt x="121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0" name="Google Shape;5290;p53">
              <a:extLst>
                <a:ext uri="{FF2B5EF4-FFF2-40B4-BE49-F238E27FC236}">
                  <a16:creationId xmlns:a16="http://schemas.microsoft.com/office/drawing/2014/main" id="{1B2673AF-1624-D5CC-F2C2-71AA4BBD2BDB}"/>
                </a:ext>
              </a:extLst>
            </p:cNvPr>
            <p:cNvSpPr/>
            <p:nvPr/>
          </p:nvSpPr>
          <p:spPr>
            <a:xfrm>
              <a:off x="7211775" y="1643250"/>
              <a:ext cx="12425" cy="17975"/>
            </a:xfrm>
            <a:custGeom>
              <a:avLst/>
              <a:gdLst/>
              <a:ahLst/>
              <a:cxnLst/>
              <a:rect l="l" t="t" r="r" b="b"/>
              <a:pathLst>
                <a:path w="497" h="719" extrusionOk="0">
                  <a:moveTo>
                    <a:pt x="497" y="0"/>
                  </a:moveTo>
                  <a:lnTo>
                    <a:pt x="497" y="0"/>
                  </a:lnTo>
                  <a:cubicBezTo>
                    <a:pt x="209" y="82"/>
                    <a:pt x="1" y="349"/>
                    <a:pt x="1" y="667"/>
                  </a:cubicBezTo>
                  <a:lnTo>
                    <a:pt x="1" y="712"/>
                  </a:lnTo>
                  <a:cubicBezTo>
                    <a:pt x="8" y="712"/>
                    <a:pt x="8" y="712"/>
                    <a:pt x="17" y="719"/>
                  </a:cubicBezTo>
                  <a:lnTo>
                    <a:pt x="17" y="705"/>
                  </a:lnTo>
                  <a:cubicBezTo>
                    <a:pt x="17" y="386"/>
                    <a:pt x="216" y="112"/>
                    <a:pt x="497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1" name="Google Shape;5291;p53">
              <a:extLst>
                <a:ext uri="{FF2B5EF4-FFF2-40B4-BE49-F238E27FC236}">
                  <a16:creationId xmlns:a16="http://schemas.microsoft.com/office/drawing/2014/main" id="{99AF9E8C-36AC-E4B0-F6DD-F9270563B0CD}"/>
                </a:ext>
              </a:extLst>
            </p:cNvPr>
            <p:cNvSpPr/>
            <p:nvPr/>
          </p:nvSpPr>
          <p:spPr>
            <a:xfrm>
              <a:off x="7211775" y="1642700"/>
              <a:ext cx="17100" cy="34325"/>
            </a:xfrm>
            <a:custGeom>
              <a:avLst/>
              <a:gdLst/>
              <a:ahLst/>
              <a:cxnLst/>
              <a:rect l="l" t="t" r="r" b="b"/>
              <a:pathLst>
                <a:path w="684" h="1373" extrusionOk="0">
                  <a:moveTo>
                    <a:pt x="683" y="1"/>
                  </a:moveTo>
                  <a:cubicBezTo>
                    <a:pt x="623" y="1"/>
                    <a:pt x="557" y="8"/>
                    <a:pt x="497" y="22"/>
                  </a:cubicBezTo>
                  <a:cubicBezTo>
                    <a:pt x="216" y="134"/>
                    <a:pt x="17" y="408"/>
                    <a:pt x="17" y="727"/>
                  </a:cubicBezTo>
                  <a:lnTo>
                    <a:pt x="17" y="741"/>
                  </a:lnTo>
                  <a:cubicBezTo>
                    <a:pt x="8" y="734"/>
                    <a:pt x="8" y="734"/>
                    <a:pt x="1" y="734"/>
                  </a:cubicBezTo>
                  <a:cubicBezTo>
                    <a:pt x="24" y="1089"/>
                    <a:pt x="319" y="1372"/>
                    <a:pt x="683" y="1372"/>
                  </a:cubicBezTo>
                  <a:cubicBezTo>
                    <a:pt x="683" y="1372"/>
                    <a:pt x="290" y="1246"/>
                    <a:pt x="260" y="689"/>
                  </a:cubicBezTo>
                  <a:cubicBezTo>
                    <a:pt x="230" y="179"/>
                    <a:pt x="683" y="1"/>
                    <a:pt x="683" y="1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2" name="Google Shape;5292;p53">
              <a:extLst>
                <a:ext uri="{FF2B5EF4-FFF2-40B4-BE49-F238E27FC236}">
                  <a16:creationId xmlns:a16="http://schemas.microsoft.com/office/drawing/2014/main" id="{17AB8597-5467-8B8A-1D24-B02353BD8FE5}"/>
                </a:ext>
              </a:extLst>
            </p:cNvPr>
            <p:cNvSpPr/>
            <p:nvPr/>
          </p:nvSpPr>
          <p:spPr>
            <a:xfrm>
              <a:off x="7244575" y="1657350"/>
              <a:ext cx="18000" cy="9075"/>
            </a:xfrm>
            <a:custGeom>
              <a:avLst/>
              <a:gdLst/>
              <a:ahLst/>
              <a:cxnLst/>
              <a:rect l="l" t="t" r="r" b="b"/>
              <a:pathLst>
                <a:path w="720" h="363" extrusionOk="0">
                  <a:moveTo>
                    <a:pt x="357" y="0"/>
                  </a:moveTo>
                  <a:cubicBezTo>
                    <a:pt x="163" y="7"/>
                    <a:pt x="1" y="171"/>
                    <a:pt x="8" y="363"/>
                  </a:cubicBezTo>
                  <a:cubicBezTo>
                    <a:pt x="8" y="363"/>
                    <a:pt x="67" y="164"/>
                    <a:pt x="357" y="141"/>
                  </a:cubicBezTo>
                  <a:lnTo>
                    <a:pt x="385" y="141"/>
                  </a:lnTo>
                  <a:cubicBezTo>
                    <a:pt x="630" y="141"/>
                    <a:pt x="719" y="356"/>
                    <a:pt x="719" y="356"/>
                  </a:cubicBezTo>
                  <a:cubicBezTo>
                    <a:pt x="719" y="164"/>
                    <a:pt x="556" y="0"/>
                    <a:pt x="364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3" name="Google Shape;5293;p53">
              <a:extLst>
                <a:ext uri="{FF2B5EF4-FFF2-40B4-BE49-F238E27FC236}">
                  <a16:creationId xmlns:a16="http://schemas.microsoft.com/office/drawing/2014/main" id="{9F801EF1-166A-D75E-BCC7-71F94929326D}"/>
                </a:ext>
              </a:extLst>
            </p:cNvPr>
            <p:cNvSpPr/>
            <p:nvPr/>
          </p:nvSpPr>
          <p:spPr>
            <a:xfrm>
              <a:off x="7488350" y="1497900"/>
              <a:ext cx="29500" cy="12925"/>
            </a:xfrm>
            <a:custGeom>
              <a:avLst/>
              <a:gdLst/>
              <a:ahLst/>
              <a:cxnLst/>
              <a:rect l="l" t="t" r="r" b="b"/>
              <a:pathLst>
                <a:path w="1180" h="517" extrusionOk="0">
                  <a:moveTo>
                    <a:pt x="1026" y="0"/>
                  </a:moveTo>
                  <a:cubicBezTo>
                    <a:pt x="950" y="0"/>
                    <a:pt x="859" y="34"/>
                    <a:pt x="771" y="102"/>
                  </a:cubicBezTo>
                  <a:cubicBezTo>
                    <a:pt x="698" y="154"/>
                    <a:pt x="637" y="228"/>
                    <a:pt x="609" y="294"/>
                  </a:cubicBezTo>
                  <a:cubicBezTo>
                    <a:pt x="548" y="250"/>
                    <a:pt x="468" y="220"/>
                    <a:pt x="380" y="205"/>
                  </a:cubicBezTo>
                  <a:cubicBezTo>
                    <a:pt x="346" y="200"/>
                    <a:pt x="315" y="198"/>
                    <a:pt x="285" y="198"/>
                  </a:cubicBezTo>
                  <a:cubicBezTo>
                    <a:pt x="128" y="198"/>
                    <a:pt x="20" y="263"/>
                    <a:pt x="1" y="369"/>
                  </a:cubicBezTo>
                  <a:cubicBezTo>
                    <a:pt x="1" y="369"/>
                    <a:pt x="44" y="287"/>
                    <a:pt x="248" y="287"/>
                  </a:cubicBezTo>
                  <a:cubicBezTo>
                    <a:pt x="282" y="287"/>
                    <a:pt x="320" y="289"/>
                    <a:pt x="364" y="294"/>
                  </a:cubicBezTo>
                  <a:cubicBezTo>
                    <a:pt x="460" y="301"/>
                    <a:pt x="534" y="332"/>
                    <a:pt x="586" y="362"/>
                  </a:cubicBezTo>
                  <a:lnTo>
                    <a:pt x="579" y="517"/>
                  </a:lnTo>
                  <a:lnTo>
                    <a:pt x="653" y="502"/>
                  </a:lnTo>
                  <a:lnTo>
                    <a:pt x="742" y="479"/>
                  </a:lnTo>
                  <a:lnTo>
                    <a:pt x="661" y="346"/>
                  </a:lnTo>
                  <a:cubicBezTo>
                    <a:pt x="698" y="294"/>
                    <a:pt x="742" y="236"/>
                    <a:pt x="824" y="168"/>
                  </a:cubicBezTo>
                  <a:cubicBezTo>
                    <a:pt x="938" y="77"/>
                    <a:pt x="1032" y="56"/>
                    <a:pt x="1094" y="56"/>
                  </a:cubicBezTo>
                  <a:cubicBezTo>
                    <a:pt x="1149" y="56"/>
                    <a:pt x="1180" y="72"/>
                    <a:pt x="1180" y="72"/>
                  </a:cubicBezTo>
                  <a:cubicBezTo>
                    <a:pt x="1145" y="25"/>
                    <a:pt x="1091" y="0"/>
                    <a:pt x="1026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4" name="Google Shape;5294;p53">
              <a:extLst>
                <a:ext uri="{FF2B5EF4-FFF2-40B4-BE49-F238E27FC236}">
                  <a16:creationId xmlns:a16="http://schemas.microsoft.com/office/drawing/2014/main" id="{624D48B0-C4F5-72E9-36A5-096D57D64E53}"/>
                </a:ext>
              </a:extLst>
            </p:cNvPr>
            <p:cNvSpPr/>
            <p:nvPr/>
          </p:nvSpPr>
          <p:spPr>
            <a:xfrm>
              <a:off x="7313675" y="1413575"/>
              <a:ext cx="24825" cy="12025"/>
            </a:xfrm>
            <a:custGeom>
              <a:avLst/>
              <a:gdLst/>
              <a:ahLst/>
              <a:cxnLst/>
              <a:rect l="l" t="t" r="r" b="b"/>
              <a:pathLst>
                <a:path w="993" h="481" extrusionOk="0">
                  <a:moveTo>
                    <a:pt x="851" y="0"/>
                  </a:moveTo>
                  <a:cubicBezTo>
                    <a:pt x="787" y="0"/>
                    <a:pt x="715" y="30"/>
                    <a:pt x="644" y="89"/>
                  </a:cubicBezTo>
                  <a:cubicBezTo>
                    <a:pt x="578" y="141"/>
                    <a:pt x="534" y="207"/>
                    <a:pt x="511" y="267"/>
                  </a:cubicBezTo>
                  <a:cubicBezTo>
                    <a:pt x="459" y="230"/>
                    <a:pt x="394" y="192"/>
                    <a:pt x="312" y="178"/>
                  </a:cubicBezTo>
                  <a:cubicBezTo>
                    <a:pt x="281" y="173"/>
                    <a:pt x="251" y="170"/>
                    <a:pt x="224" y="170"/>
                  </a:cubicBezTo>
                  <a:cubicBezTo>
                    <a:pt x="93" y="170"/>
                    <a:pt x="6" y="227"/>
                    <a:pt x="1" y="326"/>
                  </a:cubicBezTo>
                  <a:cubicBezTo>
                    <a:pt x="1" y="326"/>
                    <a:pt x="33" y="251"/>
                    <a:pt x="203" y="251"/>
                  </a:cubicBezTo>
                  <a:cubicBezTo>
                    <a:pt x="233" y="251"/>
                    <a:pt x="266" y="253"/>
                    <a:pt x="305" y="258"/>
                  </a:cubicBezTo>
                  <a:cubicBezTo>
                    <a:pt x="386" y="274"/>
                    <a:pt x="445" y="303"/>
                    <a:pt x="490" y="333"/>
                  </a:cubicBezTo>
                  <a:lnTo>
                    <a:pt x="490" y="480"/>
                  </a:lnTo>
                  <a:lnTo>
                    <a:pt x="555" y="466"/>
                  </a:lnTo>
                  <a:lnTo>
                    <a:pt x="630" y="452"/>
                  </a:lnTo>
                  <a:lnTo>
                    <a:pt x="555" y="319"/>
                  </a:lnTo>
                  <a:cubicBezTo>
                    <a:pt x="586" y="274"/>
                    <a:pt x="623" y="214"/>
                    <a:pt x="689" y="162"/>
                  </a:cubicBezTo>
                  <a:cubicBezTo>
                    <a:pt x="782" y="77"/>
                    <a:pt x="862" y="57"/>
                    <a:pt x="916" y="57"/>
                  </a:cubicBezTo>
                  <a:cubicBezTo>
                    <a:pt x="964" y="57"/>
                    <a:pt x="993" y="73"/>
                    <a:pt x="993" y="73"/>
                  </a:cubicBezTo>
                  <a:cubicBezTo>
                    <a:pt x="958" y="24"/>
                    <a:pt x="908" y="0"/>
                    <a:pt x="851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5" name="Google Shape;5295;p53">
              <a:extLst>
                <a:ext uri="{FF2B5EF4-FFF2-40B4-BE49-F238E27FC236}">
                  <a16:creationId xmlns:a16="http://schemas.microsoft.com/office/drawing/2014/main" id="{743579E8-F448-F0F2-5FF4-C43A8CC25679}"/>
                </a:ext>
              </a:extLst>
            </p:cNvPr>
            <p:cNvSpPr/>
            <p:nvPr/>
          </p:nvSpPr>
          <p:spPr>
            <a:xfrm>
              <a:off x="7314425" y="1458625"/>
              <a:ext cx="15025" cy="6450"/>
            </a:xfrm>
            <a:custGeom>
              <a:avLst/>
              <a:gdLst/>
              <a:ahLst/>
              <a:cxnLst/>
              <a:rect l="l" t="t" r="r" b="b"/>
              <a:pathLst>
                <a:path w="601" h="258" extrusionOk="0">
                  <a:moveTo>
                    <a:pt x="520" y="1"/>
                  </a:moveTo>
                  <a:cubicBezTo>
                    <a:pt x="482" y="1"/>
                    <a:pt x="437" y="17"/>
                    <a:pt x="392" y="50"/>
                  </a:cubicBezTo>
                  <a:cubicBezTo>
                    <a:pt x="348" y="80"/>
                    <a:pt x="326" y="110"/>
                    <a:pt x="303" y="146"/>
                  </a:cubicBezTo>
                  <a:cubicBezTo>
                    <a:pt x="275" y="124"/>
                    <a:pt x="237" y="110"/>
                    <a:pt x="193" y="101"/>
                  </a:cubicBezTo>
                  <a:cubicBezTo>
                    <a:pt x="178" y="99"/>
                    <a:pt x="164" y="98"/>
                    <a:pt x="150" y="98"/>
                  </a:cubicBezTo>
                  <a:cubicBezTo>
                    <a:pt x="68" y="98"/>
                    <a:pt x="7" y="133"/>
                    <a:pt x="1" y="183"/>
                  </a:cubicBezTo>
                  <a:cubicBezTo>
                    <a:pt x="1" y="183"/>
                    <a:pt x="23" y="143"/>
                    <a:pt x="134" y="143"/>
                  </a:cubicBezTo>
                  <a:cubicBezTo>
                    <a:pt x="150" y="143"/>
                    <a:pt x="167" y="144"/>
                    <a:pt x="186" y="146"/>
                  </a:cubicBezTo>
                  <a:cubicBezTo>
                    <a:pt x="230" y="146"/>
                    <a:pt x="268" y="162"/>
                    <a:pt x="296" y="176"/>
                  </a:cubicBezTo>
                  <a:lnTo>
                    <a:pt x="289" y="258"/>
                  </a:lnTo>
                  <a:lnTo>
                    <a:pt x="333" y="243"/>
                  </a:lnTo>
                  <a:lnTo>
                    <a:pt x="378" y="234"/>
                  </a:lnTo>
                  <a:lnTo>
                    <a:pt x="333" y="169"/>
                  </a:lnTo>
                  <a:cubicBezTo>
                    <a:pt x="348" y="146"/>
                    <a:pt x="378" y="117"/>
                    <a:pt x="415" y="87"/>
                  </a:cubicBezTo>
                  <a:cubicBezTo>
                    <a:pt x="475" y="39"/>
                    <a:pt x="524" y="28"/>
                    <a:pt x="557" y="28"/>
                  </a:cubicBezTo>
                  <a:cubicBezTo>
                    <a:pt x="585" y="28"/>
                    <a:pt x="600" y="35"/>
                    <a:pt x="600" y="35"/>
                  </a:cubicBezTo>
                  <a:cubicBezTo>
                    <a:pt x="580" y="12"/>
                    <a:pt x="552" y="1"/>
                    <a:pt x="520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6" name="Google Shape;5296;p53">
              <a:extLst>
                <a:ext uri="{FF2B5EF4-FFF2-40B4-BE49-F238E27FC236}">
                  <a16:creationId xmlns:a16="http://schemas.microsoft.com/office/drawing/2014/main" id="{B0F7BAF4-414D-5827-BFB5-9CF71A1B8FB4}"/>
                </a:ext>
              </a:extLst>
            </p:cNvPr>
            <p:cNvSpPr/>
            <p:nvPr/>
          </p:nvSpPr>
          <p:spPr>
            <a:xfrm>
              <a:off x="7228275" y="1437800"/>
              <a:ext cx="20375" cy="8725"/>
            </a:xfrm>
            <a:custGeom>
              <a:avLst/>
              <a:gdLst/>
              <a:ahLst/>
              <a:cxnLst/>
              <a:rect l="l" t="t" r="r" b="b"/>
              <a:pathLst>
                <a:path w="815" h="349" extrusionOk="0">
                  <a:moveTo>
                    <a:pt x="712" y="1"/>
                  </a:moveTo>
                  <a:cubicBezTo>
                    <a:pt x="659" y="1"/>
                    <a:pt x="596" y="23"/>
                    <a:pt x="534" y="68"/>
                  </a:cubicBezTo>
                  <a:cubicBezTo>
                    <a:pt x="482" y="105"/>
                    <a:pt x="445" y="157"/>
                    <a:pt x="424" y="201"/>
                  </a:cubicBezTo>
                  <a:cubicBezTo>
                    <a:pt x="379" y="171"/>
                    <a:pt x="326" y="150"/>
                    <a:pt x="260" y="143"/>
                  </a:cubicBezTo>
                  <a:cubicBezTo>
                    <a:pt x="237" y="139"/>
                    <a:pt x="215" y="137"/>
                    <a:pt x="194" y="137"/>
                  </a:cubicBezTo>
                  <a:cubicBezTo>
                    <a:pt x="88" y="137"/>
                    <a:pt x="12" y="184"/>
                    <a:pt x="0" y="253"/>
                  </a:cubicBezTo>
                  <a:cubicBezTo>
                    <a:pt x="0" y="253"/>
                    <a:pt x="28" y="197"/>
                    <a:pt x="176" y="197"/>
                  </a:cubicBezTo>
                  <a:cubicBezTo>
                    <a:pt x="198" y="197"/>
                    <a:pt x="224" y="198"/>
                    <a:pt x="253" y="201"/>
                  </a:cubicBezTo>
                  <a:cubicBezTo>
                    <a:pt x="319" y="209"/>
                    <a:pt x="370" y="223"/>
                    <a:pt x="400" y="246"/>
                  </a:cubicBezTo>
                  <a:lnTo>
                    <a:pt x="400" y="349"/>
                  </a:lnTo>
                  <a:lnTo>
                    <a:pt x="452" y="342"/>
                  </a:lnTo>
                  <a:lnTo>
                    <a:pt x="512" y="328"/>
                  </a:lnTo>
                  <a:lnTo>
                    <a:pt x="459" y="232"/>
                  </a:lnTo>
                  <a:cubicBezTo>
                    <a:pt x="482" y="201"/>
                    <a:pt x="512" y="157"/>
                    <a:pt x="571" y="120"/>
                  </a:cubicBezTo>
                  <a:cubicBezTo>
                    <a:pt x="656" y="51"/>
                    <a:pt x="723" y="37"/>
                    <a:pt x="766" y="37"/>
                  </a:cubicBezTo>
                  <a:cubicBezTo>
                    <a:pt x="797" y="37"/>
                    <a:pt x="815" y="45"/>
                    <a:pt x="815" y="45"/>
                  </a:cubicBezTo>
                  <a:cubicBezTo>
                    <a:pt x="792" y="15"/>
                    <a:pt x="755" y="1"/>
                    <a:pt x="712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7" name="Google Shape;5297;p53">
              <a:extLst>
                <a:ext uri="{FF2B5EF4-FFF2-40B4-BE49-F238E27FC236}">
                  <a16:creationId xmlns:a16="http://schemas.microsoft.com/office/drawing/2014/main" id="{6712BD23-ABE6-6E55-5DAB-69823D423C7B}"/>
                </a:ext>
              </a:extLst>
            </p:cNvPr>
            <p:cNvSpPr/>
            <p:nvPr/>
          </p:nvSpPr>
          <p:spPr>
            <a:xfrm>
              <a:off x="7503925" y="1476125"/>
              <a:ext cx="10950" cy="4700"/>
            </a:xfrm>
            <a:custGeom>
              <a:avLst/>
              <a:gdLst/>
              <a:ahLst/>
              <a:cxnLst/>
              <a:rect l="l" t="t" r="r" b="b"/>
              <a:pathLst>
                <a:path w="438" h="188" extrusionOk="0">
                  <a:moveTo>
                    <a:pt x="385" y="1"/>
                  </a:moveTo>
                  <a:cubicBezTo>
                    <a:pt x="357" y="1"/>
                    <a:pt x="324" y="14"/>
                    <a:pt x="290" y="40"/>
                  </a:cubicBezTo>
                  <a:cubicBezTo>
                    <a:pt x="260" y="54"/>
                    <a:pt x="237" y="84"/>
                    <a:pt x="230" y="105"/>
                  </a:cubicBezTo>
                  <a:cubicBezTo>
                    <a:pt x="208" y="91"/>
                    <a:pt x="178" y="77"/>
                    <a:pt x="141" y="77"/>
                  </a:cubicBezTo>
                  <a:cubicBezTo>
                    <a:pt x="127" y="74"/>
                    <a:pt x="114" y="73"/>
                    <a:pt x="102" y="73"/>
                  </a:cubicBezTo>
                  <a:cubicBezTo>
                    <a:pt x="47" y="73"/>
                    <a:pt x="6" y="99"/>
                    <a:pt x="0" y="136"/>
                  </a:cubicBezTo>
                  <a:cubicBezTo>
                    <a:pt x="0" y="136"/>
                    <a:pt x="17" y="103"/>
                    <a:pt x="93" y="103"/>
                  </a:cubicBezTo>
                  <a:cubicBezTo>
                    <a:pt x="105" y="103"/>
                    <a:pt x="118" y="103"/>
                    <a:pt x="134" y="105"/>
                  </a:cubicBezTo>
                  <a:cubicBezTo>
                    <a:pt x="171" y="105"/>
                    <a:pt x="201" y="121"/>
                    <a:pt x="215" y="128"/>
                  </a:cubicBezTo>
                  <a:lnTo>
                    <a:pt x="215" y="187"/>
                  </a:lnTo>
                  <a:lnTo>
                    <a:pt x="246" y="180"/>
                  </a:lnTo>
                  <a:lnTo>
                    <a:pt x="274" y="173"/>
                  </a:lnTo>
                  <a:lnTo>
                    <a:pt x="246" y="121"/>
                  </a:lnTo>
                  <a:cubicBezTo>
                    <a:pt x="260" y="105"/>
                    <a:pt x="274" y="84"/>
                    <a:pt x="304" y="61"/>
                  </a:cubicBezTo>
                  <a:cubicBezTo>
                    <a:pt x="348" y="26"/>
                    <a:pt x="383" y="17"/>
                    <a:pt x="406" y="17"/>
                  </a:cubicBezTo>
                  <a:cubicBezTo>
                    <a:pt x="427" y="17"/>
                    <a:pt x="438" y="24"/>
                    <a:pt x="438" y="24"/>
                  </a:cubicBezTo>
                  <a:cubicBezTo>
                    <a:pt x="425" y="8"/>
                    <a:pt x="407" y="1"/>
                    <a:pt x="38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8" name="Google Shape;5298;p53">
              <a:extLst>
                <a:ext uri="{FF2B5EF4-FFF2-40B4-BE49-F238E27FC236}">
                  <a16:creationId xmlns:a16="http://schemas.microsoft.com/office/drawing/2014/main" id="{FAA05F25-4B85-24F6-80B3-E14648FFE51A}"/>
                </a:ext>
              </a:extLst>
            </p:cNvPr>
            <p:cNvSpPr/>
            <p:nvPr/>
          </p:nvSpPr>
          <p:spPr>
            <a:xfrm>
              <a:off x="7717150" y="1657150"/>
              <a:ext cx="58350" cy="24300"/>
            </a:xfrm>
            <a:custGeom>
              <a:avLst/>
              <a:gdLst/>
              <a:ahLst/>
              <a:cxnLst/>
              <a:rect l="l" t="t" r="r" b="b"/>
              <a:pathLst>
                <a:path w="2334" h="972" extrusionOk="0">
                  <a:moveTo>
                    <a:pt x="777" y="1"/>
                  </a:moveTo>
                  <a:cubicBezTo>
                    <a:pt x="511" y="1"/>
                    <a:pt x="297" y="216"/>
                    <a:pt x="297" y="474"/>
                  </a:cubicBezTo>
                  <a:lnTo>
                    <a:pt x="297" y="483"/>
                  </a:lnTo>
                  <a:cubicBezTo>
                    <a:pt x="281" y="483"/>
                    <a:pt x="260" y="474"/>
                    <a:pt x="244" y="474"/>
                  </a:cubicBezTo>
                  <a:cubicBezTo>
                    <a:pt x="110" y="474"/>
                    <a:pt x="0" y="586"/>
                    <a:pt x="0" y="719"/>
                  </a:cubicBezTo>
                  <a:cubicBezTo>
                    <a:pt x="0" y="853"/>
                    <a:pt x="110" y="956"/>
                    <a:pt x="244" y="956"/>
                  </a:cubicBezTo>
                  <a:lnTo>
                    <a:pt x="244" y="972"/>
                  </a:lnTo>
                  <a:lnTo>
                    <a:pt x="2179" y="972"/>
                  </a:lnTo>
                  <a:lnTo>
                    <a:pt x="2179" y="956"/>
                  </a:lnTo>
                  <a:cubicBezTo>
                    <a:pt x="2268" y="949"/>
                    <a:pt x="2333" y="867"/>
                    <a:pt x="2333" y="778"/>
                  </a:cubicBezTo>
                  <a:cubicBezTo>
                    <a:pt x="2333" y="682"/>
                    <a:pt x="2253" y="600"/>
                    <a:pt x="2156" y="600"/>
                  </a:cubicBezTo>
                  <a:cubicBezTo>
                    <a:pt x="2111" y="600"/>
                    <a:pt x="2076" y="616"/>
                    <a:pt x="2038" y="638"/>
                  </a:cubicBezTo>
                  <a:lnTo>
                    <a:pt x="2038" y="616"/>
                  </a:lnTo>
                  <a:cubicBezTo>
                    <a:pt x="2038" y="422"/>
                    <a:pt x="1889" y="268"/>
                    <a:pt x="1697" y="268"/>
                  </a:cubicBezTo>
                  <a:cubicBezTo>
                    <a:pt x="1587" y="268"/>
                    <a:pt x="1489" y="319"/>
                    <a:pt x="1430" y="394"/>
                  </a:cubicBezTo>
                  <a:cubicBezTo>
                    <a:pt x="1409" y="385"/>
                    <a:pt x="1378" y="385"/>
                    <a:pt x="1355" y="385"/>
                  </a:cubicBezTo>
                  <a:cubicBezTo>
                    <a:pt x="1320" y="385"/>
                    <a:pt x="1282" y="394"/>
                    <a:pt x="1252" y="408"/>
                  </a:cubicBezTo>
                  <a:cubicBezTo>
                    <a:pt x="1222" y="172"/>
                    <a:pt x="1023" y="1"/>
                    <a:pt x="77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9" name="Google Shape;5299;p53">
              <a:extLst>
                <a:ext uri="{FF2B5EF4-FFF2-40B4-BE49-F238E27FC236}">
                  <a16:creationId xmlns:a16="http://schemas.microsoft.com/office/drawing/2014/main" id="{DFC7DD0E-031A-3A1E-6D49-26027569C3E4}"/>
                </a:ext>
              </a:extLst>
            </p:cNvPr>
            <p:cNvSpPr/>
            <p:nvPr/>
          </p:nvSpPr>
          <p:spPr>
            <a:xfrm>
              <a:off x="7724350" y="1657350"/>
              <a:ext cx="10950" cy="22075"/>
            </a:xfrm>
            <a:custGeom>
              <a:avLst/>
              <a:gdLst/>
              <a:ahLst/>
              <a:cxnLst/>
              <a:rect l="l" t="t" r="r" b="b"/>
              <a:pathLst>
                <a:path w="438" h="883" extrusionOk="0">
                  <a:moveTo>
                    <a:pt x="438" y="0"/>
                  </a:moveTo>
                  <a:cubicBezTo>
                    <a:pt x="201" y="0"/>
                    <a:pt x="0" y="199"/>
                    <a:pt x="0" y="445"/>
                  </a:cubicBezTo>
                  <a:cubicBezTo>
                    <a:pt x="0" y="688"/>
                    <a:pt x="201" y="882"/>
                    <a:pt x="438" y="882"/>
                  </a:cubicBezTo>
                  <a:cubicBezTo>
                    <a:pt x="438" y="882"/>
                    <a:pt x="187" y="800"/>
                    <a:pt x="171" y="445"/>
                  </a:cubicBezTo>
                  <a:cubicBezTo>
                    <a:pt x="150" y="119"/>
                    <a:pt x="438" y="0"/>
                    <a:pt x="43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0" name="Google Shape;5300;p53">
              <a:extLst>
                <a:ext uri="{FF2B5EF4-FFF2-40B4-BE49-F238E27FC236}">
                  <a16:creationId xmlns:a16="http://schemas.microsoft.com/office/drawing/2014/main" id="{30A1B15B-C193-B8EA-907E-8332E159FCDA}"/>
                </a:ext>
              </a:extLst>
            </p:cNvPr>
            <p:cNvSpPr/>
            <p:nvPr/>
          </p:nvSpPr>
          <p:spPr>
            <a:xfrm>
              <a:off x="7745475" y="1666775"/>
              <a:ext cx="11525" cy="5975"/>
            </a:xfrm>
            <a:custGeom>
              <a:avLst/>
              <a:gdLst/>
              <a:ahLst/>
              <a:cxnLst/>
              <a:rect l="l" t="t" r="r" b="b"/>
              <a:pathLst>
                <a:path w="461" h="239" extrusionOk="0">
                  <a:moveTo>
                    <a:pt x="231" y="0"/>
                  </a:moveTo>
                  <a:cubicBezTo>
                    <a:pt x="105" y="9"/>
                    <a:pt x="0" y="112"/>
                    <a:pt x="0" y="238"/>
                  </a:cubicBezTo>
                  <a:cubicBezTo>
                    <a:pt x="0" y="238"/>
                    <a:pt x="37" y="105"/>
                    <a:pt x="231" y="89"/>
                  </a:cubicBezTo>
                  <a:cubicBezTo>
                    <a:pt x="235" y="89"/>
                    <a:pt x="239" y="89"/>
                    <a:pt x="243" y="89"/>
                  </a:cubicBezTo>
                  <a:cubicBezTo>
                    <a:pt x="403" y="89"/>
                    <a:pt x="461" y="231"/>
                    <a:pt x="461" y="231"/>
                  </a:cubicBezTo>
                  <a:cubicBezTo>
                    <a:pt x="461" y="105"/>
                    <a:pt x="356" y="0"/>
                    <a:pt x="23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1" name="Google Shape;5301;p53">
              <a:extLst>
                <a:ext uri="{FF2B5EF4-FFF2-40B4-BE49-F238E27FC236}">
                  <a16:creationId xmlns:a16="http://schemas.microsoft.com/office/drawing/2014/main" id="{F81E49A3-8BC6-9F7D-7A7F-BD77CE9BEA05}"/>
                </a:ext>
              </a:extLst>
            </p:cNvPr>
            <p:cNvSpPr/>
            <p:nvPr/>
          </p:nvSpPr>
          <p:spPr>
            <a:xfrm>
              <a:off x="7352750" y="1654925"/>
              <a:ext cx="60225" cy="25025"/>
            </a:xfrm>
            <a:custGeom>
              <a:avLst/>
              <a:gdLst/>
              <a:ahLst/>
              <a:cxnLst/>
              <a:rect l="l" t="t" r="r" b="b"/>
              <a:pathLst>
                <a:path w="2409" h="1001" extrusionOk="0">
                  <a:moveTo>
                    <a:pt x="1608" y="1"/>
                  </a:moveTo>
                  <a:cubicBezTo>
                    <a:pt x="1358" y="1"/>
                    <a:pt x="1150" y="186"/>
                    <a:pt x="1119" y="422"/>
                  </a:cubicBezTo>
                  <a:cubicBezTo>
                    <a:pt x="1082" y="408"/>
                    <a:pt x="1054" y="401"/>
                    <a:pt x="1016" y="401"/>
                  </a:cubicBezTo>
                  <a:cubicBezTo>
                    <a:pt x="986" y="401"/>
                    <a:pt x="965" y="401"/>
                    <a:pt x="934" y="408"/>
                  </a:cubicBezTo>
                  <a:cubicBezTo>
                    <a:pt x="876" y="334"/>
                    <a:pt x="771" y="282"/>
                    <a:pt x="660" y="282"/>
                  </a:cubicBezTo>
                  <a:cubicBezTo>
                    <a:pt x="468" y="282"/>
                    <a:pt x="305" y="438"/>
                    <a:pt x="305" y="638"/>
                  </a:cubicBezTo>
                  <a:lnTo>
                    <a:pt x="305" y="661"/>
                  </a:lnTo>
                  <a:cubicBezTo>
                    <a:pt x="275" y="638"/>
                    <a:pt x="230" y="623"/>
                    <a:pt x="186" y="623"/>
                  </a:cubicBezTo>
                  <a:cubicBezTo>
                    <a:pt x="83" y="623"/>
                    <a:pt x="1" y="705"/>
                    <a:pt x="1" y="808"/>
                  </a:cubicBezTo>
                  <a:cubicBezTo>
                    <a:pt x="1" y="904"/>
                    <a:pt x="68" y="979"/>
                    <a:pt x="164" y="993"/>
                  </a:cubicBezTo>
                  <a:lnTo>
                    <a:pt x="164" y="1000"/>
                  </a:lnTo>
                  <a:lnTo>
                    <a:pt x="2165" y="1000"/>
                  </a:lnTo>
                  <a:lnTo>
                    <a:pt x="2165" y="993"/>
                  </a:lnTo>
                  <a:cubicBezTo>
                    <a:pt x="2298" y="993"/>
                    <a:pt x="2409" y="883"/>
                    <a:pt x="2409" y="750"/>
                  </a:cubicBezTo>
                  <a:cubicBezTo>
                    <a:pt x="2409" y="607"/>
                    <a:pt x="2298" y="497"/>
                    <a:pt x="2165" y="497"/>
                  </a:cubicBezTo>
                  <a:cubicBezTo>
                    <a:pt x="2142" y="497"/>
                    <a:pt x="2121" y="497"/>
                    <a:pt x="2105" y="504"/>
                  </a:cubicBezTo>
                  <a:lnTo>
                    <a:pt x="2105" y="497"/>
                  </a:lnTo>
                  <a:cubicBezTo>
                    <a:pt x="2105" y="223"/>
                    <a:pt x="1882" y="1"/>
                    <a:pt x="1608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2" name="Google Shape;5302;p53">
              <a:extLst>
                <a:ext uri="{FF2B5EF4-FFF2-40B4-BE49-F238E27FC236}">
                  <a16:creationId xmlns:a16="http://schemas.microsoft.com/office/drawing/2014/main" id="{F47DF88D-6B7B-6494-66CD-8D854CCEDCB5}"/>
                </a:ext>
              </a:extLst>
            </p:cNvPr>
            <p:cNvSpPr/>
            <p:nvPr/>
          </p:nvSpPr>
          <p:spPr>
            <a:xfrm>
              <a:off x="7397225" y="1655650"/>
              <a:ext cx="8375" cy="11900"/>
            </a:xfrm>
            <a:custGeom>
              <a:avLst/>
              <a:gdLst/>
              <a:ahLst/>
              <a:cxnLst/>
              <a:rect l="l" t="t" r="r" b="b"/>
              <a:pathLst>
                <a:path w="335" h="476" extrusionOk="0">
                  <a:moveTo>
                    <a:pt x="0" y="0"/>
                  </a:moveTo>
                  <a:lnTo>
                    <a:pt x="0" y="0"/>
                  </a:lnTo>
                  <a:cubicBezTo>
                    <a:pt x="192" y="75"/>
                    <a:pt x="326" y="253"/>
                    <a:pt x="326" y="468"/>
                  </a:cubicBezTo>
                  <a:lnTo>
                    <a:pt x="326" y="475"/>
                  </a:lnTo>
                  <a:lnTo>
                    <a:pt x="334" y="475"/>
                  </a:lnTo>
                  <a:lnTo>
                    <a:pt x="334" y="438"/>
                  </a:lnTo>
                  <a:cubicBezTo>
                    <a:pt x="334" y="232"/>
                    <a:pt x="192" y="61"/>
                    <a:pt x="0" y="0"/>
                  </a:cubicBezTo>
                  <a:close/>
                </a:path>
              </a:pathLst>
            </a:custGeom>
            <a:solidFill>
              <a:srgbClr val="EDED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3" name="Google Shape;5303;p53">
              <a:extLst>
                <a:ext uri="{FF2B5EF4-FFF2-40B4-BE49-F238E27FC236}">
                  <a16:creationId xmlns:a16="http://schemas.microsoft.com/office/drawing/2014/main" id="{A7900981-9B1B-3D4B-0378-BDAC210A55DA}"/>
                </a:ext>
              </a:extLst>
            </p:cNvPr>
            <p:cNvSpPr/>
            <p:nvPr/>
          </p:nvSpPr>
          <p:spPr>
            <a:xfrm>
              <a:off x="7394225" y="1655300"/>
              <a:ext cx="11375" cy="22825"/>
            </a:xfrm>
            <a:custGeom>
              <a:avLst/>
              <a:gdLst/>
              <a:ahLst/>
              <a:cxnLst/>
              <a:rect l="l" t="t" r="r" b="b"/>
              <a:pathLst>
                <a:path w="455" h="913" extrusionOk="0">
                  <a:moveTo>
                    <a:pt x="1" y="0"/>
                  </a:moveTo>
                  <a:cubicBezTo>
                    <a:pt x="1" y="0"/>
                    <a:pt x="298" y="119"/>
                    <a:pt x="284" y="452"/>
                  </a:cubicBezTo>
                  <a:cubicBezTo>
                    <a:pt x="261" y="824"/>
                    <a:pt x="1" y="913"/>
                    <a:pt x="1" y="913"/>
                  </a:cubicBezTo>
                  <a:cubicBezTo>
                    <a:pt x="239" y="913"/>
                    <a:pt x="438" y="719"/>
                    <a:pt x="454" y="489"/>
                  </a:cubicBezTo>
                  <a:lnTo>
                    <a:pt x="446" y="489"/>
                  </a:lnTo>
                  <a:lnTo>
                    <a:pt x="446" y="482"/>
                  </a:lnTo>
                  <a:cubicBezTo>
                    <a:pt x="446" y="267"/>
                    <a:pt x="312" y="89"/>
                    <a:pt x="120" y="14"/>
                  </a:cubicBezTo>
                  <a:cubicBezTo>
                    <a:pt x="83" y="7"/>
                    <a:pt x="45" y="0"/>
                    <a:pt x="1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4" name="Google Shape;5304;p53">
              <a:extLst>
                <a:ext uri="{FF2B5EF4-FFF2-40B4-BE49-F238E27FC236}">
                  <a16:creationId xmlns:a16="http://schemas.microsoft.com/office/drawing/2014/main" id="{6D2FA1D0-9169-2E3B-FBD8-DB5C82854C70}"/>
                </a:ext>
              </a:extLst>
            </p:cNvPr>
            <p:cNvSpPr/>
            <p:nvPr/>
          </p:nvSpPr>
          <p:spPr>
            <a:xfrm>
              <a:off x="7371825" y="1665125"/>
              <a:ext cx="11900" cy="5925"/>
            </a:xfrm>
            <a:custGeom>
              <a:avLst/>
              <a:gdLst/>
              <a:ahLst/>
              <a:cxnLst/>
              <a:rect l="l" t="t" r="r" b="b"/>
              <a:pathLst>
                <a:path w="476" h="237" extrusionOk="0">
                  <a:moveTo>
                    <a:pt x="239" y="0"/>
                  </a:moveTo>
                  <a:cubicBezTo>
                    <a:pt x="113" y="0"/>
                    <a:pt x="8" y="103"/>
                    <a:pt x="1" y="230"/>
                  </a:cubicBezTo>
                  <a:cubicBezTo>
                    <a:pt x="1" y="230"/>
                    <a:pt x="61" y="89"/>
                    <a:pt x="223" y="89"/>
                  </a:cubicBezTo>
                  <a:lnTo>
                    <a:pt x="246" y="89"/>
                  </a:lnTo>
                  <a:cubicBezTo>
                    <a:pt x="438" y="103"/>
                    <a:pt x="475" y="237"/>
                    <a:pt x="475" y="237"/>
                  </a:cubicBezTo>
                  <a:cubicBezTo>
                    <a:pt x="475" y="103"/>
                    <a:pt x="372" y="0"/>
                    <a:pt x="246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5" name="Google Shape;5305;p53">
              <a:extLst>
                <a:ext uri="{FF2B5EF4-FFF2-40B4-BE49-F238E27FC236}">
                  <a16:creationId xmlns:a16="http://schemas.microsoft.com/office/drawing/2014/main" id="{1198059B-CD58-77BA-A3EA-E50CA1313AD8}"/>
                </a:ext>
              </a:extLst>
            </p:cNvPr>
            <p:cNvSpPr/>
            <p:nvPr/>
          </p:nvSpPr>
          <p:spPr>
            <a:xfrm>
              <a:off x="7309975" y="1567125"/>
              <a:ext cx="59475" cy="74850"/>
            </a:xfrm>
            <a:custGeom>
              <a:avLst/>
              <a:gdLst/>
              <a:ahLst/>
              <a:cxnLst/>
              <a:rect l="l" t="t" r="r" b="b"/>
              <a:pathLst>
                <a:path w="2379" h="2994" extrusionOk="0">
                  <a:moveTo>
                    <a:pt x="1185" y="1"/>
                  </a:moveTo>
                  <a:cubicBezTo>
                    <a:pt x="675" y="1"/>
                    <a:pt x="252" y="415"/>
                    <a:pt x="252" y="934"/>
                  </a:cubicBezTo>
                  <a:cubicBezTo>
                    <a:pt x="252" y="979"/>
                    <a:pt x="259" y="1023"/>
                    <a:pt x="268" y="1068"/>
                  </a:cubicBezTo>
                  <a:cubicBezTo>
                    <a:pt x="104" y="1267"/>
                    <a:pt x="1" y="1527"/>
                    <a:pt x="1" y="1808"/>
                  </a:cubicBezTo>
                  <a:cubicBezTo>
                    <a:pt x="1" y="2467"/>
                    <a:pt x="534" y="2994"/>
                    <a:pt x="1185" y="2994"/>
                  </a:cubicBezTo>
                  <a:cubicBezTo>
                    <a:pt x="1845" y="2994"/>
                    <a:pt x="2379" y="2467"/>
                    <a:pt x="2379" y="1808"/>
                  </a:cubicBezTo>
                  <a:cubicBezTo>
                    <a:pt x="2379" y="1527"/>
                    <a:pt x="2275" y="1267"/>
                    <a:pt x="2112" y="1068"/>
                  </a:cubicBezTo>
                  <a:cubicBezTo>
                    <a:pt x="2119" y="1023"/>
                    <a:pt x="2126" y="979"/>
                    <a:pt x="2126" y="934"/>
                  </a:cubicBezTo>
                  <a:cubicBezTo>
                    <a:pt x="2126" y="415"/>
                    <a:pt x="1705" y="1"/>
                    <a:pt x="118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6" name="Google Shape;5306;p53">
              <a:extLst>
                <a:ext uri="{FF2B5EF4-FFF2-40B4-BE49-F238E27FC236}">
                  <a16:creationId xmlns:a16="http://schemas.microsoft.com/office/drawing/2014/main" id="{EE194267-76A8-DFE2-28E2-C17CFF17FCCF}"/>
                </a:ext>
              </a:extLst>
            </p:cNvPr>
            <p:cNvSpPr/>
            <p:nvPr/>
          </p:nvSpPr>
          <p:spPr>
            <a:xfrm>
              <a:off x="7339600" y="1590125"/>
              <a:ext cx="2825" cy="89100"/>
            </a:xfrm>
            <a:custGeom>
              <a:avLst/>
              <a:gdLst/>
              <a:ahLst/>
              <a:cxnLst/>
              <a:rect l="l" t="t" r="r" b="b"/>
              <a:pathLst>
                <a:path w="113" h="3564" extrusionOk="0">
                  <a:moveTo>
                    <a:pt x="54" y="1"/>
                  </a:moveTo>
                  <a:cubicBezTo>
                    <a:pt x="53" y="1"/>
                    <a:pt x="52" y="4"/>
                    <a:pt x="52" y="14"/>
                  </a:cubicBezTo>
                  <a:lnTo>
                    <a:pt x="0" y="3511"/>
                  </a:lnTo>
                  <a:cubicBezTo>
                    <a:pt x="0" y="3534"/>
                    <a:pt x="23" y="3564"/>
                    <a:pt x="52" y="3564"/>
                  </a:cubicBezTo>
                  <a:lnTo>
                    <a:pt x="61" y="3564"/>
                  </a:lnTo>
                  <a:cubicBezTo>
                    <a:pt x="89" y="3564"/>
                    <a:pt x="112" y="3534"/>
                    <a:pt x="112" y="3511"/>
                  </a:cubicBezTo>
                  <a:cubicBezTo>
                    <a:pt x="112" y="3511"/>
                    <a:pt x="89" y="14"/>
                    <a:pt x="61" y="14"/>
                  </a:cubicBezTo>
                  <a:cubicBezTo>
                    <a:pt x="61" y="14"/>
                    <a:pt x="57" y="1"/>
                    <a:pt x="5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7" name="Google Shape;5307;p53">
              <a:extLst>
                <a:ext uri="{FF2B5EF4-FFF2-40B4-BE49-F238E27FC236}">
                  <a16:creationId xmlns:a16="http://schemas.microsoft.com/office/drawing/2014/main" id="{97490F4A-8D3C-44B9-0306-CA54644DA0A3}"/>
                </a:ext>
              </a:extLst>
            </p:cNvPr>
            <p:cNvSpPr/>
            <p:nvPr/>
          </p:nvSpPr>
          <p:spPr>
            <a:xfrm>
              <a:off x="7324025" y="1611600"/>
              <a:ext cx="16875" cy="13875"/>
            </a:xfrm>
            <a:custGeom>
              <a:avLst/>
              <a:gdLst/>
              <a:ahLst/>
              <a:cxnLst/>
              <a:rect l="l" t="t" r="r" b="b"/>
              <a:pathLst>
                <a:path w="675" h="555" extrusionOk="0">
                  <a:moveTo>
                    <a:pt x="1" y="0"/>
                  </a:moveTo>
                  <a:lnTo>
                    <a:pt x="1" y="0"/>
                  </a:lnTo>
                  <a:cubicBezTo>
                    <a:pt x="331" y="541"/>
                    <a:pt x="634" y="555"/>
                    <a:pt x="665" y="555"/>
                  </a:cubicBezTo>
                  <a:cubicBezTo>
                    <a:pt x="667" y="555"/>
                    <a:pt x="668" y="555"/>
                    <a:pt x="668" y="555"/>
                  </a:cubicBezTo>
                  <a:lnTo>
                    <a:pt x="675" y="473"/>
                  </a:lnTo>
                  <a:lnTo>
                    <a:pt x="675" y="473"/>
                  </a:lnTo>
                  <a:cubicBezTo>
                    <a:pt x="675" y="473"/>
                    <a:pt x="668" y="479"/>
                    <a:pt x="647" y="479"/>
                  </a:cubicBezTo>
                  <a:cubicBezTo>
                    <a:pt x="606" y="479"/>
                    <a:pt x="511" y="455"/>
                    <a:pt x="312" y="311"/>
                  </a:cubicBezTo>
                  <a:cubicBezTo>
                    <a:pt x="134" y="18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8" name="Google Shape;5308;p53">
              <a:extLst>
                <a:ext uri="{FF2B5EF4-FFF2-40B4-BE49-F238E27FC236}">
                  <a16:creationId xmlns:a16="http://schemas.microsoft.com/office/drawing/2014/main" id="{4168DCEA-976E-929E-4D27-76EA01ECC3B8}"/>
                </a:ext>
              </a:extLst>
            </p:cNvPr>
            <p:cNvSpPr/>
            <p:nvPr/>
          </p:nvSpPr>
          <p:spPr>
            <a:xfrm>
              <a:off x="7340875" y="1607675"/>
              <a:ext cx="14475" cy="11900"/>
            </a:xfrm>
            <a:custGeom>
              <a:avLst/>
              <a:gdLst/>
              <a:ahLst/>
              <a:cxnLst/>
              <a:rect l="l" t="t" r="r" b="b"/>
              <a:pathLst>
                <a:path w="579" h="476" extrusionOk="0">
                  <a:moveTo>
                    <a:pt x="579" y="1"/>
                  </a:moveTo>
                  <a:cubicBezTo>
                    <a:pt x="579" y="1"/>
                    <a:pt x="461" y="164"/>
                    <a:pt x="312" y="267"/>
                  </a:cubicBezTo>
                  <a:cubicBezTo>
                    <a:pt x="143" y="392"/>
                    <a:pt x="60" y="413"/>
                    <a:pt x="24" y="413"/>
                  </a:cubicBezTo>
                  <a:cubicBezTo>
                    <a:pt x="7" y="413"/>
                    <a:pt x="1" y="408"/>
                    <a:pt x="1" y="408"/>
                  </a:cubicBezTo>
                  <a:lnTo>
                    <a:pt x="1" y="408"/>
                  </a:lnTo>
                  <a:lnTo>
                    <a:pt x="10" y="475"/>
                  </a:lnTo>
                  <a:cubicBezTo>
                    <a:pt x="10" y="475"/>
                    <a:pt x="11" y="475"/>
                    <a:pt x="12" y="475"/>
                  </a:cubicBezTo>
                  <a:cubicBezTo>
                    <a:pt x="40" y="475"/>
                    <a:pt x="300" y="463"/>
                    <a:pt x="57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9" name="Google Shape;5309;p53">
              <a:extLst>
                <a:ext uri="{FF2B5EF4-FFF2-40B4-BE49-F238E27FC236}">
                  <a16:creationId xmlns:a16="http://schemas.microsoft.com/office/drawing/2014/main" id="{09F7820C-DEC0-C6BB-20C7-6E748CDF480D}"/>
                </a:ext>
              </a:extLst>
            </p:cNvPr>
            <p:cNvSpPr/>
            <p:nvPr/>
          </p:nvSpPr>
          <p:spPr>
            <a:xfrm>
              <a:off x="7329425" y="1599375"/>
              <a:ext cx="11475" cy="9450"/>
            </a:xfrm>
            <a:custGeom>
              <a:avLst/>
              <a:gdLst/>
              <a:ahLst/>
              <a:cxnLst/>
              <a:rect l="l" t="t" r="r" b="b"/>
              <a:pathLst>
                <a:path w="459" h="378" extrusionOk="0">
                  <a:moveTo>
                    <a:pt x="0" y="0"/>
                  </a:moveTo>
                  <a:cubicBezTo>
                    <a:pt x="228" y="370"/>
                    <a:pt x="443" y="377"/>
                    <a:pt x="458" y="377"/>
                  </a:cubicBezTo>
                  <a:cubicBezTo>
                    <a:pt x="459" y="377"/>
                    <a:pt x="459" y="377"/>
                    <a:pt x="459" y="377"/>
                  </a:cubicBezTo>
                  <a:lnTo>
                    <a:pt x="459" y="325"/>
                  </a:lnTo>
                  <a:cubicBezTo>
                    <a:pt x="459" y="325"/>
                    <a:pt x="455" y="328"/>
                    <a:pt x="444" y="328"/>
                  </a:cubicBezTo>
                  <a:cubicBezTo>
                    <a:pt x="417" y="328"/>
                    <a:pt x="352" y="313"/>
                    <a:pt x="208" y="215"/>
                  </a:cubicBezTo>
                  <a:cubicBezTo>
                    <a:pt x="89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0" name="Google Shape;5310;p53">
              <a:extLst>
                <a:ext uri="{FF2B5EF4-FFF2-40B4-BE49-F238E27FC236}">
                  <a16:creationId xmlns:a16="http://schemas.microsoft.com/office/drawing/2014/main" id="{1000C2F3-184E-EF10-6BD2-B8B609FFCBA1}"/>
                </a:ext>
              </a:extLst>
            </p:cNvPr>
            <p:cNvSpPr/>
            <p:nvPr/>
          </p:nvSpPr>
          <p:spPr>
            <a:xfrm>
              <a:off x="7378150" y="1188300"/>
              <a:ext cx="26700" cy="26700"/>
            </a:xfrm>
            <a:custGeom>
              <a:avLst/>
              <a:gdLst/>
              <a:ahLst/>
              <a:cxnLst/>
              <a:rect l="l" t="t" r="r" b="b"/>
              <a:pathLst>
                <a:path w="1068" h="1068" extrusionOk="0">
                  <a:moveTo>
                    <a:pt x="534" y="0"/>
                  </a:moveTo>
                  <a:cubicBezTo>
                    <a:pt x="237" y="0"/>
                    <a:pt x="0" y="237"/>
                    <a:pt x="0" y="534"/>
                  </a:cubicBezTo>
                  <a:cubicBezTo>
                    <a:pt x="0" y="831"/>
                    <a:pt x="237" y="1067"/>
                    <a:pt x="534" y="1067"/>
                  </a:cubicBezTo>
                  <a:cubicBezTo>
                    <a:pt x="831" y="1067"/>
                    <a:pt x="1067" y="831"/>
                    <a:pt x="1067" y="534"/>
                  </a:cubicBezTo>
                  <a:cubicBezTo>
                    <a:pt x="1067" y="237"/>
                    <a:pt x="831" y="0"/>
                    <a:pt x="534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1" name="Google Shape;5311;p53">
              <a:extLst>
                <a:ext uri="{FF2B5EF4-FFF2-40B4-BE49-F238E27FC236}">
                  <a16:creationId xmlns:a16="http://schemas.microsoft.com/office/drawing/2014/main" id="{DEAB3E0A-2C24-565F-D943-36AD572C2378}"/>
                </a:ext>
              </a:extLst>
            </p:cNvPr>
            <p:cNvSpPr/>
            <p:nvPr/>
          </p:nvSpPr>
          <p:spPr>
            <a:xfrm>
              <a:off x="7314200" y="1224800"/>
              <a:ext cx="9850" cy="9850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2" y="0"/>
                  </a:moveTo>
                  <a:cubicBezTo>
                    <a:pt x="90" y="0"/>
                    <a:pt x="1" y="89"/>
                    <a:pt x="1" y="192"/>
                  </a:cubicBezTo>
                  <a:cubicBezTo>
                    <a:pt x="1" y="304"/>
                    <a:pt x="90" y="393"/>
                    <a:pt x="202" y="393"/>
                  </a:cubicBezTo>
                  <a:cubicBezTo>
                    <a:pt x="312" y="393"/>
                    <a:pt x="394" y="304"/>
                    <a:pt x="394" y="192"/>
                  </a:cubicBezTo>
                  <a:cubicBezTo>
                    <a:pt x="394" y="89"/>
                    <a:pt x="312" y="0"/>
                    <a:pt x="202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2" name="Google Shape;5312;p53">
              <a:extLst>
                <a:ext uri="{FF2B5EF4-FFF2-40B4-BE49-F238E27FC236}">
                  <a16:creationId xmlns:a16="http://schemas.microsoft.com/office/drawing/2014/main" id="{4C88ABFE-E3BC-8675-2558-434F8F39DE79}"/>
                </a:ext>
              </a:extLst>
            </p:cNvPr>
            <p:cNvSpPr/>
            <p:nvPr/>
          </p:nvSpPr>
          <p:spPr>
            <a:xfrm>
              <a:off x="7569850" y="1372975"/>
              <a:ext cx="12650" cy="12600"/>
            </a:xfrm>
            <a:custGeom>
              <a:avLst/>
              <a:gdLst/>
              <a:ahLst/>
              <a:cxnLst/>
              <a:rect l="l" t="t" r="r" b="b"/>
              <a:pathLst>
                <a:path w="506" h="504" extrusionOk="0">
                  <a:moveTo>
                    <a:pt x="253" y="1"/>
                  </a:moveTo>
                  <a:cubicBezTo>
                    <a:pt x="113" y="1"/>
                    <a:pt x="0" y="113"/>
                    <a:pt x="0" y="253"/>
                  </a:cubicBezTo>
                  <a:cubicBezTo>
                    <a:pt x="0" y="394"/>
                    <a:pt x="113" y="504"/>
                    <a:pt x="253" y="504"/>
                  </a:cubicBezTo>
                  <a:cubicBezTo>
                    <a:pt x="394" y="504"/>
                    <a:pt x="506" y="394"/>
                    <a:pt x="506" y="253"/>
                  </a:cubicBezTo>
                  <a:cubicBezTo>
                    <a:pt x="506" y="113"/>
                    <a:pt x="394" y="1"/>
                    <a:pt x="253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3" name="Google Shape;5313;p53">
              <a:extLst>
                <a:ext uri="{FF2B5EF4-FFF2-40B4-BE49-F238E27FC236}">
                  <a16:creationId xmlns:a16="http://schemas.microsoft.com/office/drawing/2014/main" id="{6BC2E66B-5F85-1D40-AA74-7268F5EC5DDA}"/>
                </a:ext>
              </a:extLst>
            </p:cNvPr>
            <p:cNvSpPr/>
            <p:nvPr/>
          </p:nvSpPr>
          <p:spPr>
            <a:xfrm>
              <a:off x="7452975" y="1412050"/>
              <a:ext cx="63550" cy="63775"/>
            </a:xfrm>
            <a:custGeom>
              <a:avLst/>
              <a:gdLst/>
              <a:ahLst/>
              <a:cxnLst/>
              <a:rect l="l" t="t" r="r" b="b"/>
              <a:pathLst>
                <a:path w="2542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1972" y="2551"/>
                    <a:pt x="2541" y="1980"/>
                    <a:pt x="2541" y="1276"/>
                  </a:cubicBezTo>
                  <a:cubicBezTo>
                    <a:pt x="2541" y="572"/>
                    <a:pt x="1972" y="1"/>
                    <a:pt x="1275" y="1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4" name="Google Shape;5314;p53">
              <a:extLst>
                <a:ext uri="{FF2B5EF4-FFF2-40B4-BE49-F238E27FC236}">
                  <a16:creationId xmlns:a16="http://schemas.microsoft.com/office/drawing/2014/main" id="{E25EE8A4-E26A-539E-199A-5F67C77A2D35}"/>
                </a:ext>
              </a:extLst>
            </p:cNvPr>
            <p:cNvSpPr/>
            <p:nvPr/>
          </p:nvSpPr>
          <p:spPr>
            <a:xfrm>
              <a:off x="7452800" y="1412050"/>
              <a:ext cx="31900" cy="63775"/>
            </a:xfrm>
            <a:custGeom>
              <a:avLst/>
              <a:gdLst/>
              <a:ahLst/>
              <a:cxnLst/>
              <a:rect l="l" t="t" r="r" b="b"/>
              <a:pathLst>
                <a:path w="1276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571" y="2542"/>
                    <a:pt x="7" y="1980"/>
                    <a:pt x="7" y="1276"/>
                  </a:cubicBezTo>
                  <a:cubicBezTo>
                    <a:pt x="7" y="572"/>
                    <a:pt x="571" y="8"/>
                    <a:pt x="1275" y="1"/>
                  </a:cubicBezTo>
                  <a:close/>
                </a:path>
              </a:pathLst>
            </a:custGeom>
            <a:solidFill>
              <a:srgbClr val="99A0A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5" name="Google Shape;5315;p53">
              <a:extLst>
                <a:ext uri="{FF2B5EF4-FFF2-40B4-BE49-F238E27FC236}">
                  <a16:creationId xmlns:a16="http://schemas.microsoft.com/office/drawing/2014/main" id="{4C0D9BC6-A9CC-9B8D-363C-819F7B822FCC}"/>
                </a:ext>
              </a:extLst>
            </p:cNvPr>
            <p:cNvSpPr/>
            <p:nvPr/>
          </p:nvSpPr>
          <p:spPr>
            <a:xfrm>
              <a:off x="7452975" y="1412050"/>
              <a:ext cx="31725" cy="63775"/>
            </a:xfrm>
            <a:custGeom>
              <a:avLst/>
              <a:gdLst/>
              <a:ahLst/>
              <a:cxnLst/>
              <a:rect l="l" t="t" r="r" b="b"/>
              <a:pathLst>
                <a:path w="1269" h="2551" extrusionOk="0">
                  <a:moveTo>
                    <a:pt x="1268" y="1"/>
                  </a:moveTo>
                  <a:cubicBezTo>
                    <a:pt x="564" y="8"/>
                    <a:pt x="0" y="572"/>
                    <a:pt x="0" y="1276"/>
                  </a:cubicBezTo>
                  <a:cubicBezTo>
                    <a:pt x="0" y="1980"/>
                    <a:pt x="564" y="2542"/>
                    <a:pt x="1268" y="2551"/>
                  </a:cubicBezTo>
                  <a:cubicBezTo>
                    <a:pt x="1268" y="2542"/>
                    <a:pt x="578" y="1913"/>
                    <a:pt x="578" y="1276"/>
                  </a:cubicBezTo>
                  <a:cubicBezTo>
                    <a:pt x="578" y="639"/>
                    <a:pt x="1268" y="8"/>
                    <a:pt x="1268" y="1"/>
                  </a:cubicBezTo>
                  <a:close/>
                </a:path>
              </a:pathLst>
            </a:custGeom>
            <a:solidFill>
              <a:srgbClr val="FFE9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6" name="Google Shape;5316;p53">
              <a:extLst>
                <a:ext uri="{FF2B5EF4-FFF2-40B4-BE49-F238E27FC236}">
                  <a16:creationId xmlns:a16="http://schemas.microsoft.com/office/drawing/2014/main" id="{C65DBC16-E65D-16C7-A780-36541AB7D152}"/>
                </a:ext>
              </a:extLst>
            </p:cNvPr>
            <p:cNvSpPr/>
            <p:nvPr/>
          </p:nvSpPr>
          <p:spPr>
            <a:xfrm>
              <a:off x="7148250" y="1678625"/>
              <a:ext cx="644150" cy="39875"/>
            </a:xfrm>
            <a:custGeom>
              <a:avLst/>
              <a:gdLst/>
              <a:ahLst/>
              <a:cxnLst/>
              <a:rect l="l" t="t" r="r" b="b"/>
              <a:pathLst>
                <a:path w="25766" h="1595" extrusionOk="0">
                  <a:moveTo>
                    <a:pt x="1615" y="1"/>
                  </a:moveTo>
                  <a:cubicBezTo>
                    <a:pt x="0" y="1"/>
                    <a:pt x="141" y="1594"/>
                    <a:pt x="1615" y="1594"/>
                  </a:cubicBezTo>
                  <a:lnTo>
                    <a:pt x="25765" y="1594"/>
                  </a:lnTo>
                  <a:lnTo>
                    <a:pt x="25765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7" name="Google Shape;5317;p53">
              <a:extLst>
                <a:ext uri="{FF2B5EF4-FFF2-40B4-BE49-F238E27FC236}">
                  <a16:creationId xmlns:a16="http://schemas.microsoft.com/office/drawing/2014/main" id="{58CC49A2-F887-15ED-DA80-969E96121770}"/>
                </a:ext>
              </a:extLst>
            </p:cNvPr>
            <p:cNvSpPr/>
            <p:nvPr/>
          </p:nvSpPr>
          <p:spPr>
            <a:xfrm>
              <a:off x="7095475" y="1718475"/>
              <a:ext cx="696925" cy="39850"/>
            </a:xfrm>
            <a:custGeom>
              <a:avLst/>
              <a:gdLst/>
              <a:ahLst/>
              <a:cxnLst/>
              <a:rect l="l" t="t" r="r" b="b"/>
              <a:pathLst>
                <a:path w="27877" h="1594" extrusionOk="0">
                  <a:moveTo>
                    <a:pt x="1615" y="0"/>
                  </a:moveTo>
                  <a:cubicBezTo>
                    <a:pt x="45" y="0"/>
                    <a:pt x="0" y="1594"/>
                    <a:pt x="1615" y="1594"/>
                  </a:cubicBezTo>
                  <a:lnTo>
                    <a:pt x="27876" y="1594"/>
                  </a:lnTo>
                  <a:lnTo>
                    <a:pt x="2787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" name="Google Shape;5134;p53">
            <a:extLst>
              <a:ext uri="{FF2B5EF4-FFF2-40B4-BE49-F238E27FC236}">
                <a16:creationId xmlns:a16="http://schemas.microsoft.com/office/drawing/2014/main" id="{DBA0D494-030A-A94F-2E8F-7276E06161F2}"/>
              </a:ext>
            </a:extLst>
          </p:cNvPr>
          <p:cNvSpPr txBox="1">
            <a:spLocks/>
          </p:cNvSpPr>
          <p:nvPr/>
        </p:nvSpPr>
        <p:spPr>
          <a:xfrm>
            <a:off x="1" y="-8733"/>
            <a:ext cx="9055382" cy="899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Paytone One"/>
              <a:buNone/>
              <a:defRPr sz="4800" b="0" i="0" u="none" strike="noStrike" cap="none">
                <a:solidFill>
                  <a:schemeClr val="dk2"/>
                </a:solidFill>
                <a:latin typeface="Paytone One"/>
                <a:ea typeface="Paytone One"/>
                <a:cs typeface="Paytone One"/>
                <a:sym typeface="Paytone One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9pPr>
          </a:lstStyle>
          <a:p>
            <a:r>
              <a:rPr lang="en-US" sz="3600" b="1" dirty="0">
                <a:solidFill>
                  <a:srgbClr val="A1E1FD"/>
                </a:solidFill>
              </a:rPr>
              <a:t>2009–2016: The Obama Administration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8980762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A0C11C9-83B0-AA9A-A049-7D0ADA28B7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784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0C11C9-83B0-AA9A-A049-7D0ADA28B7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221" name="Google Shape;5221;p53"/>
          <p:cNvGrpSpPr/>
          <p:nvPr/>
        </p:nvGrpSpPr>
        <p:grpSpPr>
          <a:xfrm>
            <a:off x="8408369" y="2745918"/>
            <a:ext cx="2520565" cy="1945481"/>
            <a:chOff x="7095475" y="1127208"/>
            <a:chExt cx="817675" cy="631117"/>
          </a:xfrm>
        </p:grpSpPr>
        <p:sp>
          <p:nvSpPr>
            <p:cNvPr id="5222" name="Google Shape;5222;p53"/>
            <p:cNvSpPr/>
            <p:nvPr/>
          </p:nvSpPr>
          <p:spPr>
            <a:xfrm>
              <a:off x="7137300" y="1488925"/>
              <a:ext cx="169725" cy="73950"/>
            </a:xfrm>
            <a:custGeom>
              <a:avLst/>
              <a:gdLst/>
              <a:ahLst/>
              <a:cxnLst/>
              <a:rect l="l" t="t" r="r" b="b"/>
              <a:pathLst>
                <a:path w="6789" h="2958" extrusionOk="0">
                  <a:moveTo>
                    <a:pt x="3232" y="0"/>
                  </a:moveTo>
                  <a:cubicBezTo>
                    <a:pt x="2690" y="0"/>
                    <a:pt x="2239" y="391"/>
                    <a:pt x="2135" y="906"/>
                  </a:cubicBezTo>
                  <a:cubicBezTo>
                    <a:pt x="2097" y="899"/>
                    <a:pt x="2062" y="899"/>
                    <a:pt x="2017" y="890"/>
                  </a:cubicBezTo>
                  <a:cubicBezTo>
                    <a:pt x="1550" y="890"/>
                    <a:pt x="1157" y="1261"/>
                    <a:pt x="1135" y="1727"/>
                  </a:cubicBezTo>
                  <a:cubicBezTo>
                    <a:pt x="586" y="1868"/>
                    <a:pt x="150" y="2305"/>
                    <a:pt x="1" y="2855"/>
                  </a:cubicBezTo>
                  <a:lnTo>
                    <a:pt x="6789" y="2958"/>
                  </a:lnTo>
                  <a:cubicBezTo>
                    <a:pt x="6625" y="2268"/>
                    <a:pt x="6241" y="1743"/>
                    <a:pt x="5499" y="1734"/>
                  </a:cubicBezTo>
                  <a:lnTo>
                    <a:pt x="5432" y="1734"/>
                  </a:lnTo>
                  <a:cubicBezTo>
                    <a:pt x="5441" y="1210"/>
                    <a:pt x="5025" y="772"/>
                    <a:pt x="4498" y="765"/>
                  </a:cubicBezTo>
                  <a:cubicBezTo>
                    <a:pt x="4425" y="765"/>
                    <a:pt x="4358" y="772"/>
                    <a:pt x="4292" y="787"/>
                  </a:cubicBezTo>
                  <a:cubicBezTo>
                    <a:pt x="4159" y="335"/>
                    <a:pt x="3742" y="9"/>
                    <a:pt x="3246" y="1"/>
                  </a:cubicBezTo>
                  <a:cubicBezTo>
                    <a:pt x="3241" y="1"/>
                    <a:pt x="3237" y="0"/>
                    <a:pt x="3232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3" name="Google Shape;5223;p53"/>
            <p:cNvSpPr/>
            <p:nvPr/>
          </p:nvSpPr>
          <p:spPr>
            <a:xfrm>
              <a:off x="7191050" y="1511725"/>
              <a:ext cx="18700" cy="37475"/>
            </a:xfrm>
            <a:custGeom>
              <a:avLst/>
              <a:gdLst/>
              <a:ahLst/>
              <a:cxnLst/>
              <a:rect l="l" t="t" r="r" b="b"/>
              <a:pathLst>
                <a:path w="748" h="1499" extrusionOk="0">
                  <a:moveTo>
                    <a:pt x="1" y="1"/>
                  </a:moveTo>
                  <a:cubicBezTo>
                    <a:pt x="1" y="1"/>
                    <a:pt x="593" y="193"/>
                    <a:pt x="563" y="750"/>
                  </a:cubicBezTo>
                  <a:cubicBezTo>
                    <a:pt x="534" y="1365"/>
                    <a:pt x="1" y="1498"/>
                    <a:pt x="1" y="1498"/>
                  </a:cubicBezTo>
                  <a:cubicBezTo>
                    <a:pt x="415" y="1498"/>
                    <a:pt x="748" y="1164"/>
                    <a:pt x="748" y="750"/>
                  </a:cubicBezTo>
                  <a:cubicBezTo>
                    <a:pt x="748" y="333"/>
                    <a:pt x="415" y="1"/>
                    <a:pt x="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4" name="Google Shape;5224;p53"/>
            <p:cNvSpPr/>
            <p:nvPr/>
          </p:nvSpPr>
          <p:spPr>
            <a:xfrm>
              <a:off x="7286250" y="1534500"/>
              <a:ext cx="11300" cy="7100"/>
            </a:xfrm>
            <a:custGeom>
              <a:avLst/>
              <a:gdLst/>
              <a:ahLst/>
              <a:cxnLst/>
              <a:rect l="l" t="t" r="r" b="b"/>
              <a:pathLst>
                <a:path w="452" h="284" extrusionOk="0">
                  <a:moveTo>
                    <a:pt x="0" y="0"/>
                  </a:moveTo>
                  <a:lnTo>
                    <a:pt x="0" y="0"/>
                  </a:lnTo>
                  <a:cubicBezTo>
                    <a:pt x="164" y="61"/>
                    <a:pt x="297" y="157"/>
                    <a:pt x="416" y="283"/>
                  </a:cubicBezTo>
                  <a:lnTo>
                    <a:pt x="452" y="232"/>
                  </a:lnTo>
                  <a:cubicBezTo>
                    <a:pt x="319" y="120"/>
                    <a:pt x="171" y="38"/>
                    <a:pt x="0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5" name="Google Shape;5225;p53"/>
            <p:cNvSpPr/>
            <p:nvPr/>
          </p:nvSpPr>
          <p:spPr>
            <a:xfrm>
              <a:off x="7251975" y="1533600"/>
              <a:ext cx="44700" cy="27250"/>
            </a:xfrm>
            <a:custGeom>
              <a:avLst/>
              <a:gdLst/>
              <a:ahLst/>
              <a:cxnLst/>
              <a:rect l="l" t="t" r="r" b="b"/>
              <a:pathLst>
                <a:path w="1788" h="1090" extrusionOk="0">
                  <a:moveTo>
                    <a:pt x="1105" y="1"/>
                  </a:moveTo>
                  <a:cubicBezTo>
                    <a:pt x="505" y="1"/>
                    <a:pt x="16" y="481"/>
                    <a:pt x="0" y="1089"/>
                  </a:cubicBezTo>
                  <a:cubicBezTo>
                    <a:pt x="0" y="1089"/>
                    <a:pt x="283" y="214"/>
                    <a:pt x="1046" y="214"/>
                  </a:cubicBezTo>
                  <a:lnTo>
                    <a:pt x="1121" y="214"/>
                  </a:lnTo>
                  <a:cubicBezTo>
                    <a:pt x="1364" y="237"/>
                    <a:pt x="1565" y="312"/>
                    <a:pt x="1713" y="415"/>
                  </a:cubicBezTo>
                  <a:lnTo>
                    <a:pt x="1787" y="319"/>
                  </a:lnTo>
                  <a:cubicBezTo>
                    <a:pt x="1668" y="193"/>
                    <a:pt x="1535" y="97"/>
                    <a:pt x="1371" y="36"/>
                  </a:cubicBezTo>
                  <a:cubicBezTo>
                    <a:pt x="1298" y="15"/>
                    <a:pt x="1209" y="1"/>
                    <a:pt x="112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6" name="Google Shape;5226;p53"/>
            <p:cNvSpPr/>
            <p:nvPr/>
          </p:nvSpPr>
          <p:spPr>
            <a:xfrm>
              <a:off x="7457400" y="1303300"/>
              <a:ext cx="214200" cy="93225"/>
            </a:xfrm>
            <a:custGeom>
              <a:avLst/>
              <a:gdLst/>
              <a:ahLst/>
              <a:cxnLst/>
              <a:rect l="l" t="t" r="r" b="b"/>
              <a:pathLst>
                <a:path w="8568" h="3729" extrusionOk="0">
                  <a:moveTo>
                    <a:pt x="4485" y="1"/>
                  </a:moveTo>
                  <a:cubicBezTo>
                    <a:pt x="4480" y="1"/>
                    <a:pt x="4475" y="1"/>
                    <a:pt x="4470" y="1"/>
                  </a:cubicBezTo>
                  <a:cubicBezTo>
                    <a:pt x="3848" y="17"/>
                    <a:pt x="3328" y="424"/>
                    <a:pt x="3150" y="995"/>
                  </a:cubicBezTo>
                  <a:cubicBezTo>
                    <a:pt x="3069" y="972"/>
                    <a:pt x="2987" y="965"/>
                    <a:pt x="2898" y="965"/>
                  </a:cubicBezTo>
                  <a:cubicBezTo>
                    <a:pt x="2231" y="979"/>
                    <a:pt x="1706" y="1521"/>
                    <a:pt x="1714" y="2188"/>
                  </a:cubicBezTo>
                  <a:lnTo>
                    <a:pt x="1632" y="2188"/>
                  </a:lnTo>
                  <a:cubicBezTo>
                    <a:pt x="698" y="2202"/>
                    <a:pt x="209" y="2862"/>
                    <a:pt x="1" y="3728"/>
                  </a:cubicBezTo>
                  <a:lnTo>
                    <a:pt x="8567" y="3602"/>
                  </a:lnTo>
                  <a:cubicBezTo>
                    <a:pt x="8382" y="2907"/>
                    <a:pt x="7826" y="2357"/>
                    <a:pt x="7130" y="2179"/>
                  </a:cubicBezTo>
                  <a:cubicBezTo>
                    <a:pt x="7108" y="1592"/>
                    <a:pt x="6626" y="1128"/>
                    <a:pt x="6033" y="1128"/>
                  </a:cubicBezTo>
                  <a:cubicBezTo>
                    <a:pt x="6028" y="1128"/>
                    <a:pt x="6024" y="1128"/>
                    <a:pt x="6019" y="1128"/>
                  </a:cubicBezTo>
                  <a:cubicBezTo>
                    <a:pt x="5975" y="1128"/>
                    <a:pt x="5921" y="1135"/>
                    <a:pt x="5877" y="1143"/>
                  </a:cubicBezTo>
                  <a:cubicBezTo>
                    <a:pt x="5744" y="488"/>
                    <a:pt x="5174" y="1"/>
                    <a:pt x="4485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7" name="Google Shape;5227;p53"/>
            <p:cNvSpPr/>
            <p:nvPr/>
          </p:nvSpPr>
          <p:spPr>
            <a:xfrm>
              <a:off x="7580250" y="1332200"/>
              <a:ext cx="23550" cy="47125"/>
            </a:xfrm>
            <a:custGeom>
              <a:avLst/>
              <a:gdLst/>
              <a:ahLst/>
              <a:cxnLst/>
              <a:rect l="l" t="t" r="r" b="b"/>
              <a:pathLst>
                <a:path w="942" h="1885" extrusionOk="0">
                  <a:moveTo>
                    <a:pt x="941" y="1"/>
                  </a:moveTo>
                  <a:cubicBezTo>
                    <a:pt x="422" y="1"/>
                    <a:pt x="1" y="424"/>
                    <a:pt x="1" y="943"/>
                  </a:cubicBezTo>
                  <a:cubicBezTo>
                    <a:pt x="1" y="1461"/>
                    <a:pt x="422" y="1884"/>
                    <a:pt x="941" y="1884"/>
                  </a:cubicBezTo>
                  <a:cubicBezTo>
                    <a:pt x="941" y="1884"/>
                    <a:pt x="274" y="1713"/>
                    <a:pt x="230" y="943"/>
                  </a:cubicBezTo>
                  <a:cubicBezTo>
                    <a:pt x="193" y="246"/>
                    <a:pt x="941" y="1"/>
                    <a:pt x="94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8" name="Google Shape;5228;p53"/>
            <p:cNvSpPr/>
            <p:nvPr/>
          </p:nvSpPr>
          <p:spPr>
            <a:xfrm>
              <a:off x="7457050" y="1360750"/>
              <a:ext cx="26525" cy="34300"/>
            </a:xfrm>
            <a:custGeom>
              <a:avLst/>
              <a:gdLst/>
              <a:ahLst/>
              <a:cxnLst/>
              <a:rect l="l" t="t" r="r" b="b"/>
              <a:pathLst>
                <a:path w="1061" h="1372" extrusionOk="0">
                  <a:moveTo>
                    <a:pt x="1061" y="1"/>
                  </a:moveTo>
                  <a:cubicBezTo>
                    <a:pt x="452" y="157"/>
                    <a:pt x="1" y="712"/>
                    <a:pt x="8" y="1372"/>
                  </a:cubicBezTo>
                  <a:cubicBezTo>
                    <a:pt x="8" y="1372"/>
                    <a:pt x="38" y="1245"/>
                    <a:pt x="120" y="1082"/>
                  </a:cubicBezTo>
                  <a:cubicBezTo>
                    <a:pt x="305" y="579"/>
                    <a:pt x="600" y="185"/>
                    <a:pt x="1061" y="1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9" name="Google Shape;5229;p53"/>
            <p:cNvSpPr/>
            <p:nvPr/>
          </p:nvSpPr>
          <p:spPr>
            <a:xfrm>
              <a:off x="7460025" y="1359825"/>
              <a:ext cx="66900" cy="34125"/>
            </a:xfrm>
            <a:custGeom>
              <a:avLst/>
              <a:gdLst/>
              <a:ahLst/>
              <a:cxnLst/>
              <a:rect l="l" t="t" r="r" b="b"/>
              <a:pathLst>
                <a:path w="2676" h="1365" extrusionOk="0">
                  <a:moveTo>
                    <a:pt x="1260" y="0"/>
                  </a:moveTo>
                  <a:cubicBezTo>
                    <a:pt x="1148" y="0"/>
                    <a:pt x="1045" y="16"/>
                    <a:pt x="942" y="38"/>
                  </a:cubicBezTo>
                  <a:cubicBezTo>
                    <a:pt x="481" y="222"/>
                    <a:pt x="186" y="616"/>
                    <a:pt x="1" y="1119"/>
                  </a:cubicBezTo>
                  <a:cubicBezTo>
                    <a:pt x="163" y="800"/>
                    <a:pt x="518" y="319"/>
                    <a:pt x="1267" y="267"/>
                  </a:cubicBezTo>
                  <a:lnTo>
                    <a:pt x="1356" y="267"/>
                  </a:lnTo>
                  <a:cubicBezTo>
                    <a:pt x="2320" y="267"/>
                    <a:pt x="2676" y="1364"/>
                    <a:pt x="2676" y="1364"/>
                  </a:cubicBezTo>
                  <a:cubicBezTo>
                    <a:pt x="2660" y="608"/>
                    <a:pt x="2037" y="0"/>
                    <a:pt x="1281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0" name="Google Shape;5230;p53"/>
            <p:cNvSpPr/>
            <p:nvPr/>
          </p:nvSpPr>
          <p:spPr>
            <a:xfrm>
              <a:off x="7364800" y="1192375"/>
              <a:ext cx="181725" cy="65975"/>
            </a:xfrm>
            <a:custGeom>
              <a:avLst/>
              <a:gdLst/>
              <a:ahLst/>
              <a:cxnLst/>
              <a:rect l="l" t="t" r="r" b="b"/>
              <a:pathLst>
                <a:path w="7269" h="2639" extrusionOk="0">
                  <a:moveTo>
                    <a:pt x="3113" y="1"/>
                  </a:moveTo>
                  <a:cubicBezTo>
                    <a:pt x="2305" y="1"/>
                    <a:pt x="1615" y="497"/>
                    <a:pt x="1334" y="1192"/>
                  </a:cubicBezTo>
                  <a:cubicBezTo>
                    <a:pt x="1283" y="1185"/>
                    <a:pt x="1238" y="1185"/>
                    <a:pt x="1187" y="1185"/>
                  </a:cubicBezTo>
                  <a:cubicBezTo>
                    <a:pt x="534" y="1185"/>
                    <a:pt x="1" y="1712"/>
                    <a:pt x="1" y="2371"/>
                  </a:cubicBezTo>
                  <a:cubicBezTo>
                    <a:pt x="1" y="2460"/>
                    <a:pt x="15" y="2549"/>
                    <a:pt x="38" y="2638"/>
                  </a:cubicBezTo>
                  <a:lnTo>
                    <a:pt x="5876" y="2638"/>
                  </a:lnTo>
                  <a:cubicBezTo>
                    <a:pt x="5891" y="2624"/>
                    <a:pt x="5907" y="2615"/>
                    <a:pt x="5921" y="2601"/>
                  </a:cubicBezTo>
                  <a:cubicBezTo>
                    <a:pt x="5921" y="2615"/>
                    <a:pt x="5928" y="2624"/>
                    <a:pt x="5935" y="2638"/>
                  </a:cubicBezTo>
                  <a:lnTo>
                    <a:pt x="7217" y="2638"/>
                  </a:lnTo>
                  <a:cubicBezTo>
                    <a:pt x="7248" y="2556"/>
                    <a:pt x="7269" y="2467"/>
                    <a:pt x="7269" y="2371"/>
                  </a:cubicBezTo>
                  <a:cubicBezTo>
                    <a:pt x="7269" y="1986"/>
                    <a:pt x="6958" y="1674"/>
                    <a:pt x="6573" y="1674"/>
                  </a:cubicBezTo>
                  <a:cubicBezTo>
                    <a:pt x="6440" y="1674"/>
                    <a:pt x="6314" y="1712"/>
                    <a:pt x="6202" y="1779"/>
                  </a:cubicBezTo>
                  <a:cubicBezTo>
                    <a:pt x="6136" y="1335"/>
                    <a:pt x="5750" y="993"/>
                    <a:pt x="5291" y="993"/>
                  </a:cubicBezTo>
                  <a:cubicBezTo>
                    <a:pt x="5128" y="993"/>
                    <a:pt x="4980" y="1038"/>
                    <a:pt x="4854" y="1103"/>
                  </a:cubicBezTo>
                  <a:cubicBezTo>
                    <a:pt x="4543" y="453"/>
                    <a:pt x="3883" y="1"/>
                    <a:pt x="3113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1" name="Google Shape;5231;p53"/>
            <p:cNvSpPr/>
            <p:nvPr/>
          </p:nvSpPr>
          <p:spPr>
            <a:xfrm>
              <a:off x="7506267" y="1127208"/>
              <a:ext cx="100825" cy="36700"/>
            </a:xfrm>
            <a:custGeom>
              <a:avLst/>
              <a:gdLst/>
              <a:ahLst/>
              <a:cxnLst/>
              <a:rect l="l" t="t" r="r" b="b"/>
              <a:pathLst>
                <a:path w="4033" h="1468" extrusionOk="0">
                  <a:moveTo>
                    <a:pt x="2306" y="0"/>
                  </a:moveTo>
                  <a:cubicBezTo>
                    <a:pt x="1875" y="0"/>
                    <a:pt x="1512" y="253"/>
                    <a:pt x="1342" y="616"/>
                  </a:cubicBezTo>
                  <a:cubicBezTo>
                    <a:pt x="1267" y="578"/>
                    <a:pt x="1187" y="557"/>
                    <a:pt x="1098" y="557"/>
                  </a:cubicBezTo>
                  <a:cubicBezTo>
                    <a:pt x="838" y="557"/>
                    <a:pt x="623" y="742"/>
                    <a:pt x="586" y="986"/>
                  </a:cubicBezTo>
                  <a:cubicBezTo>
                    <a:pt x="527" y="950"/>
                    <a:pt x="460" y="927"/>
                    <a:pt x="387" y="927"/>
                  </a:cubicBezTo>
                  <a:cubicBezTo>
                    <a:pt x="171" y="927"/>
                    <a:pt x="1" y="1105"/>
                    <a:pt x="1" y="1320"/>
                  </a:cubicBezTo>
                  <a:cubicBezTo>
                    <a:pt x="1" y="1372"/>
                    <a:pt x="8" y="1416"/>
                    <a:pt x="31" y="1468"/>
                  </a:cubicBezTo>
                  <a:lnTo>
                    <a:pt x="742" y="1468"/>
                  </a:lnTo>
                  <a:cubicBezTo>
                    <a:pt x="742" y="1460"/>
                    <a:pt x="742" y="1453"/>
                    <a:pt x="749" y="1446"/>
                  </a:cubicBezTo>
                  <a:cubicBezTo>
                    <a:pt x="757" y="1453"/>
                    <a:pt x="764" y="1460"/>
                    <a:pt x="771" y="1468"/>
                  </a:cubicBezTo>
                  <a:lnTo>
                    <a:pt x="4009" y="1468"/>
                  </a:lnTo>
                  <a:cubicBezTo>
                    <a:pt x="4023" y="1416"/>
                    <a:pt x="4032" y="1364"/>
                    <a:pt x="4032" y="1320"/>
                  </a:cubicBezTo>
                  <a:cubicBezTo>
                    <a:pt x="4032" y="957"/>
                    <a:pt x="3735" y="660"/>
                    <a:pt x="3373" y="660"/>
                  </a:cubicBezTo>
                  <a:cubicBezTo>
                    <a:pt x="3342" y="660"/>
                    <a:pt x="3321" y="660"/>
                    <a:pt x="3291" y="667"/>
                  </a:cubicBezTo>
                  <a:cubicBezTo>
                    <a:pt x="3134" y="274"/>
                    <a:pt x="2750" y="0"/>
                    <a:pt x="230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2" name="Google Shape;5232;p53"/>
            <p:cNvSpPr/>
            <p:nvPr/>
          </p:nvSpPr>
          <p:spPr>
            <a:xfrm>
              <a:off x="7210300" y="1305925"/>
              <a:ext cx="123225" cy="60400"/>
            </a:xfrm>
            <a:custGeom>
              <a:avLst/>
              <a:gdLst/>
              <a:ahLst/>
              <a:cxnLst/>
              <a:rect l="l" t="t" r="r" b="b"/>
              <a:pathLst>
                <a:path w="4929" h="2416" extrusionOk="0">
                  <a:moveTo>
                    <a:pt x="2165" y="1"/>
                  </a:moveTo>
                  <a:cubicBezTo>
                    <a:pt x="1290" y="1"/>
                    <a:pt x="579" y="682"/>
                    <a:pt x="527" y="1541"/>
                  </a:cubicBezTo>
                  <a:cubicBezTo>
                    <a:pt x="223" y="1601"/>
                    <a:pt x="1" y="1868"/>
                    <a:pt x="1" y="2186"/>
                  </a:cubicBezTo>
                  <a:cubicBezTo>
                    <a:pt x="1" y="2261"/>
                    <a:pt x="15" y="2341"/>
                    <a:pt x="45" y="2416"/>
                  </a:cubicBezTo>
                  <a:lnTo>
                    <a:pt x="4922" y="2416"/>
                  </a:lnTo>
                  <a:cubicBezTo>
                    <a:pt x="4922" y="2394"/>
                    <a:pt x="4929" y="2371"/>
                    <a:pt x="4929" y="2357"/>
                  </a:cubicBezTo>
                  <a:cubicBezTo>
                    <a:pt x="4929" y="1889"/>
                    <a:pt x="4550" y="1512"/>
                    <a:pt x="4084" y="1512"/>
                  </a:cubicBezTo>
                  <a:cubicBezTo>
                    <a:pt x="3988" y="1512"/>
                    <a:pt x="3890" y="1534"/>
                    <a:pt x="3810" y="1564"/>
                  </a:cubicBezTo>
                  <a:cubicBezTo>
                    <a:pt x="3766" y="696"/>
                    <a:pt x="3045" y="1"/>
                    <a:pt x="216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3" name="Google Shape;5233;p53"/>
            <p:cNvSpPr/>
            <p:nvPr/>
          </p:nvSpPr>
          <p:spPr>
            <a:xfrm>
              <a:off x="7267000" y="1159750"/>
              <a:ext cx="166575" cy="81575"/>
            </a:xfrm>
            <a:custGeom>
              <a:avLst/>
              <a:gdLst/>
              <a:ahLst/>
              <a:cxnLst/>
              <a:rect l="l" t="t" r="r" b="b"/>
              <a:pathLst>
                <a:path w="6663" h="3263" extrusionOk="0">
                  <a:moveTo>
                    <a:pt x="3742" y="1"/>
                  </a:moveTo>
                  <a:cubicBezTo>
                    <a:pt x="2549" y="1"/>
                    <a:pt x="1578" y="934"/>
                    <a:pt x="1519" y="2113"/>
                  </a:cubicBezTo>
                  <a:cubicBezTo>
                    <a:pt x="1400" y="2069"/>
                    <a:pt x="1275" y="2046"/>
                    <a:pt x="1142" y="2046"/>
                  </a:cubicBezTo>
                  <a:cubicBezTo>
                    <a:pt x="511" y="2046"/>
                    <a:pt x="0" y="2551"/>
                    <a:pt x="0" y="3180"/>
                  </a:cubicBezTo>
                  <a:cubicBezTo>
                    <a:pt x="0" y="3209"/>
                    <a:pt x="0" y="3232"/>
                    <a:pt x="7" y="3262"/>
                  </a:cubicBezTo>
                  <a:lnTo>
                    <a:pt x="6610" y="3262"/>
                  </a:lnTo>
                  <a:cubicBezTo>
                    <a:pt x="6646" y="3164"/>
                    <a:pt x="6662" y="3061"/>
                    <a:pt x="6662" y="2951"/>
                  </a:cubicBezTo>
                  <a:cubicBezTo>
                    <a:pt x="6662" y="2520"/>
                    <a:pt x="6365" y="2165"/>
                    <a:pt x="5958" y="2076"/>
                  </a:cubicBezTo>
                  <a:cubicBezTo>
                    <a:pt x="5883" y="920"/>
                    <a:pt x="4921" y="1"/>
                    <a:pt x="3742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4" name="Google Shape;5234;p53"/>
            <p:cNvSpPr/>
            <p:nvPr/>
          </p:nvSpPr>
          <p:spPr>
            <a:xfrm>
              <a:off x="7225125" y="1603800"/>
              <a:ext cx="228450" cy="75025"/>
            </a:xfrm>
            <a:custGeom>
              <a:avLst/>
              <a:gdLst/>
              <a:ahLst/>
              <a:cxnLst/>
              <a:rect l="l" t="t" r="r" b="b"/>
              <a:pathLst>
                <a:path w="9138" h="3001" extrusionOk="0">
                  <a:moveTo>
                    <a:pt x="1104" y="1"/>
                  </a:moveTo>
                  <a:lnTo>
                    <a:pt x="0" y="1571"/>
                  </a:lnTo>
                  <a:cubicBezTo>
                    <a:pt x="75" y="1550"/>
                    <a:pt x="149" y="1534"/>
                    <a:pt x="229" y="1534"/>
                  </a:cubicBezTo>
                  <a:cubicBezTo>
                    <a:pt x="608" y="1534"/>
                    <a:pt x="912" y="1808"/>
                    <a:pt x="971" y="2172"/>
                  </a:cubicBezTo>
                  <a:cubicBezTo>
                    <a:pt x="1015" y="2149"/>
                    <a:pt x="1067" y="2135"/>
                    <a:pt x="1128" y="2135"/>
                  </a:cubicBezTo>
                  <a:cubicBezTo>
                    <a:pt x="1163" y="2135"/>
                    <a:pt x="1200" y="2142"/>
                    <a:pt x="1238" y="2156"/>
                  </a:cubicBezTo>
                  <a:cubicBezTo>
                    <a:pt x="1341" y="2030"/>
                    <a:pt x="1490" y="1957"/>
                    <a:pt x="1661" y="1957"/>
                  </a:cubicBezTo>
                  <a:cubicBezTo>
                    <a:pt x="1956" y="1957"/>
                    <a:pt x="2195" y="2201"/>
                    <a:pt x="2195" y="2498"/>
                  </a:cubicBezTo>
                  <a:lnTo>
                    <a:pt x="2195" y="2535"/>
                  </a:lnTo>
                  <a:cubicBezTo>
                    <a:pt x="2246" y="2498"/>
                    <a:pt x="2305" y="2467"/>
                    <a:pt x="2372" y="2467"/>
                  </a:cubicBezTo>
                  <a:cubicBezTo>
                    <a:pt x="2527" y="2467"/>
                    <a:pt x="2653" y="2594"/>
                    <a:pt x="2653" y="2750"/>
                  </a:cubicBezTo>
                  <a:cubicBezTo>
                    <a:pt x="2653" y="2860"/>
                    <a:pt x="2595" y="2957"/>
                    <a:pt x="2497" y="3001"/>
                  </a:cubicBezTo>
                  <a:lnTo>
                    <a:pt x="5188" y="3001"/>
                  </a:lnTo>
                  <a:cubicBezTo>
                    <a:pt x="5136" y="2973"/>
                    <a:pt x="5106" y="2912"/>
                    <a:pt x="5106" y="2853"/>
                  </a:cubicBezTo>
                  <a:cubicBezTo>
                    <a:pt x="5106" y="2750"/>
                    <a:pt x="5188" y="2668"/>
                    <a:pt x="5291" y="2668"/>
                  </a:cubicBezTo>
                  <a:cubicBezTo>
                    <a:pt x="5335" y="2668"/>
                    <a:pt x="5380" y="2683"/>
                    <a:pt x="5410" y="2706"/>
                  </a:cubicBezTo>
                  <a:lnTo>
                    <a:pt x="5410" y="2683"/>
                  </a:lnTo>
                  <a:cubicBezTo>
                    <a:pt x="5410" y="2483"/>
                    <a:pt x="5573" y="2327"/>
                    <a:pt x="5765" y="2327"/>
                  </a:cubicBezTo>
                  <a:cubicBezTo>
                    <a:pt x="5876" y="2327"/>
                    <a:pt x="5981" y="2379"/>
                    <a:pt x="6039" y="2453"/>
                  </a:cubicBezTo>
                  <a:cubicBezTo>
                    <a:pt x="6070" y="2446"/>
                    <a:pt x="6091" y="2446"/>
                    <a:pt x="6121" y="2446"/>
                  </a:cubicBezTo>
                  <a:cubicBezTo>
                    <a:pt x="6159" y="2446"/>
                    <a:pt x="6187" y="2453"/>
                    <a:pt x="6224" y="2467"/>
                  </a:cubicBezTo>
                  <a:cubicBezTo>
                    <a:pt x="6240" y="2357"/>
                    <a:pt x="6292" y="2261"/>
                    <a:pt x="6365" y="2186"/>
                  </a:cubicBezTo>
                  <a:lnTo>
                    <a:pt x="6388" y="734"/>
                  </a:lnTo>
                  <a:cubicBezTo>
                    <a:pt x="6402" y="734"/>
                    <a:pt x="6409" y="1505"/>
                    <a:pt x="6418" y="2142"/>
                  </a:cubicBezTo>
                  <a:cubicBezTo>
                    <a:pt x="6498" y="2083"/>
                    <a:pt x="6603" y="2046"/>
                    <a:pt x="6713" y="2046"/>
                  </a:cubicBezTo>
                  <a:cubicBezTo>
                    <a:pt x="6774" y="2046"/>
                    <a:pt x="6833" y="2060"/>
                    <a:pt x="6884" y="2074"/>
                  </a:cubicBezTo>
                  <a:cubicBezTo>
                    <a:pt x="7076" y="2135"/>
                    <a:pt x="7218" y="2306"/>
                    <a:pt x="7218" y="2512"/>
                  </a:cubicBezTo>
                  <a:lnTo>
                    <a:pt x="7218" y="2549"/>
                  </a:lnTo>
                  <a:cubicBezTo>
                    <a:pt x="7233" y="2542"/>
                    <a:pt x="7247" y="2542"/>
                    <a:pt x="7270" y="2542"/>
                  </a:cubicBezTo>
                  <a:lnTo>
                    <a:pt x="7284" y="2542"/>
                  </a:lnTo>
                  <a:cubicBezTo>
                    <a:pt x="7441" y="2386"/>
                    <a:pt x="7626" y="2245"/>
                    <a:pt x="7832" y="2112"/>
                  </a:cubicBezTo>
                  <a:cubicBezTo>
                    <a:pt x="7841" y="1934"/>
                    <a:pt x="7900" y="1756"/>
                    <a:pt x="8010" y="1601"/>
                  </a:cubicBezTo>
                  <a:lnTo>
                    <a:pt x="9137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5" name="Google Shape;5235;p53"/>
            <p:cNvSpPr/>
            <p:nvPr/>
          </p:nvSpPr>
          <p:spPr>
            <a:xfrm>
              <a:off x="7415350" y="1386900"/>
              <a:ext cx="497800" cy="293450"/>
            </a:xfrm>
            <a:custGeom>
              <a:avLst/>
              <a:gdLst/>
              <a:ahLst/>
              <a:cxnLst/>
              <a:rect l="l" t="t" r="r" b="b"/>
              <a:pathLst>
                <a:path w="19912" h="11738" extrusionOk="0">
                  <a:moveTo>
                    <a:pt x="8752" y="0"/>
                  </a:moveTo>
                  <a:cubicBezTo>
                    <a:pt x="8604" y="0"/>
                    <a:pt x="8471" y="59"/>
                    <a:pt x="8368" y="155"/>
                  </a:cubicBezTo>
                  <a:cubicBezTo>
                    <a:pt x="8270" y="251"/>
                    <a:pt x="8211" y="391"/>
                    <a:pt x="8211" y="541"/>
                  </a:cubicBezTo>
                  <a:lnTo>
                    <a:pt x="8211" y="770"/>
                  </a:lnTo>
                  <a:lnTo>
                    <a:pt x="8211" y="3512"/>
                  </a:lnTo>
                  <a:lnTo>
                    <a:pt x="8211" y="3742"/>
                  </a:lnTo>
                  <a:cubicBezTo>
                    <a:pt x="8211" y="3890"/>
                    <a:pt x="8153" y="4023"/>
                    <a:pt x="8048" y="4126"/>
                  </a:cubicBezTo>
                  <a:cubicBezTo>
                    <a:pt x="7952" y="4224"/>
                    <a:pt x="7818" y="4283"/>
                    <a:pt x="7664" y="4283"/>
                  </a:cubicBezTo>
                  <a:cubicBezTo>
                    <a:pt x="7367" y="4283"/>
                    <a:pt x="7123" y="4037"/>
                    <a:pt x="7123" y="3742"/>
                  </a:cubicBezTo>
                  <a:lnTo>
                    <a:pt x="7123" y="770"/>
                  </a:lnTo>
                  <a:lnTo>
                    <a:pt x="7123" y="756"/>
                  </a:lnTo>
                  <a:lnTo>
                    <a:pt x="401" y="10277"/>
                  </a:lnTo>
                  <a:cubicBezTo>
                    <a:pt x="1" y="10848"/>
                    <a:pt x="328" y="11693"/>
                    <a:pt x="979" y="11737"/>
                  </a:cubicBezTo>
                  <a:lnTo>
                    <a:pt x="18933" y="11737"/>
                  </a:lnTo>
                  <a:cubicBezTo>
                    <a:pt x="19586" y="11693"/>
                    <a:pt x="19911" y="10839"/>
                    <a:pt x="19511" y="10277"/>
                  </a:cubicBezTo>
                  <a:lnTo>
                    <a:pt x="12561" y="496"/>
                  </a:lnTo>
                  <a:lnTo>
                    <a:pt x="12561" y="3393"/>
                  </a:lnTo>
                  <a:cubicBezTo>
                    <a:pt x="12561" y="3541"/>
                    <a:pt x="12494" y="3674"/>
                    <a:pt x="12398" y="3770"/>
                  </a:cubicBezTo>
                  <a:cubicBezTo>
                    <a:pt x="12302" y="3875"/>
                    <a:pt x="12161" y="3934"/>
                    <a:pt x="12014" y="3934"/>
                  </a:cubicBezTo>
                  <a:cubicBezTo>
                    <a:pt x="11717" y="3934"/>
                    <a:pt x="11471" y="3690"/>
                    <a:pt x="11471" y="3393"/>
                  </a:cubicBezTo>
                  <a:lnTo>
                    <a:pt x="11471" y="1592"/>
                  </a:lnTo>
                  <a:cubicBezTo>
                    <a:pt x="11471" y="1290"/>
                    <a:pt x="11227" y="1044"/>
                    <a:pt x="10923" y="1044"/>
                  </a:cubicBezTo>
                  <a:cubicBezTo>
                    <a:pt x="10776" y="1044"/>
                    <a:pt x="10642" y="1112"/>
                    <a:pt x="10537" y="1208"/>
                  </a:cubicBezTo>
                  <a:cubicBezTo>
                    <a:pt x="10441" y="1304"/>
                    <a:pt x="10383" y="1444"/>
                    <a:pt x="10383" y="1592"/>
                  </a:cubicBezTo>
                  <a:lnTo>
                    <a:pt x="10383" y="2734"/>
                  </a:lnTo>
                  <a:cubicBezTo>
                    <a:pt x="10383" y="2890"/>
                    <a:pt x="10324" y="3023"/>
                    <a:pt x="10219" y="3119"/>
                  </a:cubicBezTo>
                  <a:cubicBezTo>
                    <a:pt x="10123" y="3223"/>
                    <a:pt x="9990" y="3281"/>
                    <a:pt x="9835" y="3281"/>
                  </a:cubicBezTo>
                  <a:cubicBezTo>
                    <a:pt x="9538" y="3281"/>
                    <a:pt x="9293" y="3038"/>
                    <a:pt x="9293" y="2734"/>
                  </a:cubicBezTo>
                  <a:lnTo>
                    <a:pt x="9302" y="2734"/>
                  </a:lnTo>
                  <a:lnTo>
                    <a:pt x="9302" y="541"/>
                  </a:lnTo>
                  <a:cubicBezTo>
                    <a:pt x="9302" y="244"/>
                    <a:pt x="9056" y="0"/>
                    <a:pt x="875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6" name="Google Shape;5236;p53"/>
            <p:cNvSpPr/>
            <p:nvPr/>
          </p:nvSpPr>
          <p:spPr>
            <a:xfrm>
              <a:off x="7593425" y="1342600"/>
              <a:ext cx="135975" cy="151375"/>
            </a:xfrm>
            <a:custGeom>
              <a:avLst/>
              <a:gdLst/>
              <a:ahLst/>
              <a:cxnLst/>
              <a:rect l="l" t="t" r="r" b="b"/>
              <a:pathLst>
                <a:path w="5439" h="6055" extrusionOk="0">
                  <a:moveTo>
                    <a:pt x="2815" y="1"/>
                  </a:moveTo>
                  <a:cubicBezTo>
                    <a:pt x="2163" y="1"/>
                    <a:pt x="1547" y="334"/>
                    <a:pt x="1147" y="897"/>
                  </a:cubicBezTo>
                  <a:lnTo>
                    <a:pt x="0" y="2528"/>
                  </a:lnTo>
                  <a:lnTo>
                    <a:pt x="0" y="2542"/>
                  </a:lnTo>
                  <a:lnTo>
                    <a:pt x="0" y="5514"/>
                  </a:lnTo>
                  <a:cubicBezTo>
                    <a:pt x="0" y="5809"/>
                    <a:pt x="244" y="6055"/>
                    <a:pt x="541" y="6055"/>
                  </a:cubicBezTo>
                  <a:cubicBezTo>
                    <a:pt x="695" y="6055"/>
                    <a:pt x="829" y="5996"/>
                    <a:pt x="925" y="5898"/>
                  </a:cubicBezTo>
                  <a:cubicBezTo>
                    <a:pt x="1030" y="5795"/>
                    <a:pt x="1088" y="5662"/>
                    <a:pt x="1088" y="5514"/>
                  </a:cubicBezTo>
                  <a:lnTo>
                    <a:pt x="1088" y="5284"/>
                  </a:lnTo>
                  <a:lnTo>
                    <a:pt x="1088" y="2542"/>
                  </a:lnTo>
                  <a:lnTo>
                    <a:pt x="1088" y="2313"/>
                  </a:lnTo>
                  <a:cubicBezTo>
                    <a:pt x="1088" y="2163"/>
                    <a:pt x="1147" y="2023"/>
                    <a:pt x="1245" y="1927"/>
                  </a:cubicBezTo>
                  <a:cubicBezTo>
                    <a:pt x="1348" y="1831"/>
                    <a:pt x="1481" y="1772"/>
                    <a:pt x="1629" y="1772"/>
                  </a:cubicBezTo>
                  <a:cubicBezTo>
                    <a:pt x="1933" y="1772"/>
                    <a:pt x="2179" y="2016"/>
                    <a:pt x="2179" y="2313"/>
                  </a:cubicBezTo>
                  <a:lnTo>
                    <a:pt x="2179" y="4506"/>
                  </a:lnTo>
                  <a:lnTo>
                    <a:pt x="2170" y="4506"/>
                  </a:lnTo>
                  <a:cubicBezTo>
                    <a:pt x="2170" y="4810"/>
                    <a:pt x="2415" y="5053"/>
                    <a:pt x="2712" y="5053"/>
                  </a:cubicBezTo>
                  <a:cubicBezTo>
                    <a:pt x="2867" y="5053"/>
                    <a:pt x="3000" y="4995"/>
                    <a:pt x="3096" y="4891"/>
                  </a:cubicBezTo>
                  <a:cubicBezTo>
                    <a:pt x="3201" y="4795"/>
                    <a:pt x="3260" y="4662"/>
                    <a:pt x="3260" y="4506"/>
                  </a:cubicBezTo>
                  <a:lnTo>
                    <a:pt x="3260" y="3364"/>
                  </a:lnTo>
                  <a:cubicBezTo>
                    <a:pt x="3260" y="3216"/>
                    <a:pt x="3318" y="3076"/>
                    <a:pt x="3414" y="2980"/>
                  </a:cubicBezTo>
                  <a:cubicBezTo>
                    <a:pt x="3519" y="2884"/>
                    <a:pt x="3653" y="2816"/>
                    <a:pt x="3800" y="2816"/>
                  </a:cubicBezTo>
                  <a:cubicBezTo>
                    <a:pt x="4104" y="2816"/>
                    <a:pt x="4348" y="3062"/>
                    <a:pt x="4348" y="3364"/>
                  </a:cubicBezTo>
                  <a:lnTo>
                    <a:pt x="4348" y="5165"/>
                  </a:lnTo>
                  <a:cubicBezTo>
                    <a:pt x="4348" y="5462"/>
                    <a:pt x="4594" y="5706"/>
                    <a:pt x="4891" y="5706"/>
                  </a:cubicBezTo>
                  <a:cubicBezTo>
                    <a:pt x="5038" y="5706"/>
                    <a:pt x="5179" y="5647"/>
                    <a:pt x="5275" y="5542"/>
                  </a:cubicBezTo>
                  <a:cubicBezTo>
                    <a:pt x="5371" y="5446"/>
                    <a:pt x="5438" y="5313"/>
                    <a:pt x="5438" y="5165"/>
                  </a:cubicBezTo>
                  <a:lnTo>
                    <a:pt x="5438" y="2268"/>
                  </a:lnTo>
                  <a:lnTo>
                    <a:pt x="4437" y="867"/>
                  </a:lnTo>
                  <a:cubicBezTo>
                    <a:pt x="4053" y="326"/>
                    <a:pt x="3452" y="1"/>
                    <a:pt x="281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7" name="Google Shape;5237;p53"/>
            <p:cNvSpPr/>
            <p:nvPr/>
          </p:nvSpPr>
          <p:spPr>
            <a:xfrm>
              <a:off x="7437400" y="1679925"/>
              <a:ext cx="3375" cy="425"/>
            </a:xfrm>
            <a:custGeom>
              <a:avLst/>
              <a:gdLst/>
              <a:ahLst/>
              <a:cxnLst/>
              <a:rect l="l" t="t" r="r" b="b"/>
              <a:pathLst>
                <a:path w="135" h="17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8"/>
                    <a:pt x="61" y="16"/>
                    <a:pt x="97" y="16"/>
                  </a:cubicBezTo>
                  <a:lnTo>
                    <a:pt x="134" y="16"/>
                  </a:lnTo>
                  <a:lnTo>
                    <a:pt x="97" y="16"/>
                  </a:lnTo>
                  <a:cubicBezTo>
                    <a:pt x="61" y="16"/>
                    <a:pt x="31" y="8"/>
                    <a:pt x="1" y="0"/>
                  </a:cubicBezTo>
                  <a:close/>
                </a:path>
              </a:pathLst>
            </a:custGeom>
            <a:solidFill>
              <a:srgbClr val="67717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8" name="Google Shape;5238;p53"/>
            <p:cNvSpPr/>
            <p:nvPr/>
          </p:nvSpPr>
          <p:spPr>
            <a:xfrm>
              <a:off x="7420900" y="1576550"/>
              <a:ext cx="371275" cy="103800"/>
            </a:xfrm>
            <a:custGeom>
              <a:avLst/>
              <a:gdLst/>
              <a:ahLst/>
              <a:cxnLst/>
              <a:rect l="l" t="t" r="r" b="b"/>
              <a:pathLst>
                <a:path w="14851" h="4152" extrusionOk="0">
                  <a:moveTo>
                    <a:pt x="661" y="4135"/>
                  </a:moveTo>
                  <a:cubicBezTo>
                    <a:pt x="691" y="4143"/>
                    <a:pt x="721" y="4151"/>
                    <a:pt x="757" y="4151"/>
                  </a:cubicBezTo>
                  <a:lnTo>
                    <a:pt x="6101" y="4151"/>
                  </a:lnTo>
                  <a:cubicBezTo>
                    <a:pt x="6101" y="4151"/>
                    <a:pt x="6101" y="4143"/>
                    <a:pt x="6108" y="4135"/>
                  </a:cubicBezTo>
                  <a:close/>
                  <a:moveTo>
                    <a:pt x="2076" y="1"/>
                  </a:moveTo>
                  <a:lnTo>
                    <a:pt x="179" y="2691"/>
                  </a:lnTo>
                  <a:cubicBezTo>
                    <a:pt x="69" y="2846"/>
                    <a:pt x="10" y="3024"/>
                    <a:pt x="1" y="3202"/>
                  </a:cubicBezTo>
                  <a:cubicBezTo>
                    <a:pt x="862" y="2661"/>
                    <a:pt x="2121" y="2313"/>
                    <a:pt x="3522" y="2313"/>
                  </a:cubicBezTo>
                  <a:cubicBezTo>
                    <a:pt x="4811" y="2313"/>
                    <a:pt x="5982" y="2602"/>
                    <a:pt x="6826" y="3068"/>
                  </a:cubicBezTo>
                  <a:cubicBezTo>
                    <a:pt x="7664" y="2231"/>
                    <a:pt x="8982" y="1683"/>
                    <a:pt x="10472" y="1683"/>
                  </a:cubicBezTo>
                  <a:cubicBezTo>
                    <a:pt x="12524" y="1683"/>
                    <a:pt x="14265" y="2720"/>
                    <a:pt x="14843" y="4151"/>
                  </a:cubicBezTo>
                  <a:lnTo>
                    <a:pt x="14850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9" name="Google Shape;5239;p53"/>
            <p:cNvSpPr/>
            <p:nvPr/>
          </p:nvSpPr>
          <p:spPr>
            <a:xfrm>
              <a:off x="7697125" y="1146225"/>
              <a:ext cx="96725" cy="77300"/>
            </a:xfrm>
            <a:custGeom>
              <a:avLst/>
              <a:gdLst/>
              <a:ahLst/>
              <a:cxnLst/>
              <a:rect l="l" t="t" r="r" b="b"/>
              <a:pathLst>
                <a:path w="3869" h="3092" extrusionOk="0">
                  <a:moveTo>
                    <a:pt x="3647" y="1"/>
                  </a:moveTo>
                  <a:cubicBezTo>
                    <a:pt x="2706" y="1"/>
                    <a:pt x="1898" y="579"/>
                    <a:pt x="1557" y="1393"/>
                  </a:cubicBezTo>
                  <a:cubicBezTo>
                    <a:pt x="1505" y="1386"/>
                    <a:pt x="1445" y="1386"/>
                    <a:pt x="1393" y="1386"/>
                  </a:cubicBezTo>
                  <a:cubicBezTo>
                    <a:pt x="623" y="1386"/>
                    <a:pt x="1" y="2009"/>
                    <a:pt x="1" y="2772"/>
                  </a:cubicBezTo>
                  <a:cubicBezTo>
                    <a:pt x="1" y="2884"/>
                    <a:pt x="15" y="2987"/>
                    <a:pt x="38" y="3092"/>
                  </a:cubicBezTo>
                  <a:lnTo>
                    <a:pt x="3869" y="3092"/>
                  </a:lnTo>
                  <a:lnTo>
                    <a:pt x="3869" y="2217"/>
                  </a:lnTo>
                  <a:lnTo>
                    <a:pt x="3869" y="8"/>
                  </a:lnTo>
                  <a:cubicBezTo>
                    <a:pt x="3794" y="1"/>
                    <a:pt x="3721" y="1"/>
                    <a:pt x="3647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0" name="Google Shape;5240;p53"/>
            <p:cNvSpPr/>
            <p:nvPr/>
          </p:nvSpPr>
          <p:spPr>
            <a:xfrm>
              <a:off x="7397400" y="1634350"/>
              <a:ext cx="223250" cy="45600"/>
            </a:xfrm>
            <a:custGeom>
              <a:avLst/>
              <a:gdLst/>
              <a:ahLst/>
              <a:cxnLst/>
              <a:rect l="l" t="t" r="r" b="b"/>
              <a:pathLst>
                <a:path w="8930" h="1824" extrusionOk="0">
                  <a:moveTo>
                    <a:pt x="4462" y="1"/>
                  </a:moveTo>
                  <a:cubicBezTo>
                    <a:pt x="2364" y="1"/>
                    <a:pt x="585" y="772"/>
                    <a:pt x="0" y="1823"/>
                  </a:cubicBezTo>
                  <a:lnTo>
                    <a:pt x="8929" y="1823"/>
                  </a:lnTo>
                  <a:cubicBezTo>
                    <a:pt x="8344" y="772"/>
                    <a:pt x="6566" y="1"/>
                    <a:pt x="4462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1" name="Google Shape;5241;p53"/>
            <p:cNvSpPr/>
            <p:nvPr/>
          </p:nvSpPr>
          <p:spPr>
            <a:xfrm>
              <a:off x="7573175" y="1618625"/>
              <a:ext cx="218825" cy="62075"/>
            </a:xfrm>
            <a:custGeom>
              <a:avLst/>
              <a:gdLst/>
              <a:ahLst/>
              <a:cxnLst/>
              <a:rect l="l" t="t" r="r" b="b"/>
              <a:pathLst>
                <a:path w="8753" h="2483" extrusionOk="0">
                  <a:moveTo>
                    <a:pt x="4381" y="0"/>
                  </a:moveTo>
                  <a:cubicBezTo>
                    <a:pt x="2322" y="0"/>
                    <a:pt x="572" y="1046"/>
                    <a:pt x="1" y="2483"/>
                  </a:cubicBezTo>
                  <a:lnTo>
                    <a:pt x="8752" y="2483"/>
                  </a:lnTo>
                  <a:cubicBezTo>
                    <a:pt x="8181" y="1046"/>
                    <a:pt x="6440" y="0"/>
                    <a:pt x="438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2" name="Google Shape;5242;p53"/>
            <p:cNvSpPr/>
            <p:nvPr/>
          </p:nvSpPr>
          <p:spPr>
            <a:xfrm>
              <a:off x="7615425" y="1633075"/>
              <a:ext cx="37450" cy="20775"/>
            </a:xfrm>
            <a:custGeom>
              <a:avLst/>
              <a:gdLst/>
              <a:ahLst/>
              <a:cxnLst/>
              <a:rect l="l" t="t" r="r" b="b"/>
              <a:pathLst>
                <a:path w="1498" h="831" extrusionOk="0">
                  <a:moveTo>
                    <a:pt x="978" y="0"/>
                  </a:moveTo>
                  <a:cubicBezTo>
                    <a:pt x="882" y="0"/>
                    <a:pt x="772" y="14"/>
                    <a:pt x="660" y="52"/>
                  </a:cubicBezTo>
                  <a:cubicBezTo>
                    <a:pt x="246" y="171"/>
                    <a:pt x="0" y="475"/>
                    <a:pt x="89" y="660"/>
                  </a:cubicBezTo>
                  <a:cubicBezTo>
                    <a:pt x="143" y="779"/>
                    <a:pt x="290" y="831"/>
                    <a:pt x="475" y="831"/>
                  </a:cubicBezTo>
                  <a:cubicBezTo>
                    <a:pt x="594" y="831"/>
                    <a:pt x="735" y="807"/>
                    <a:pt x="868" y="770"/>
                  </a:cubicBezTo>
                  <a:cubicBezTo>
                    <a:pt x="1224" y="667"/>
                    <a:pt x="1498" y="459"/>
                    <a:pt x="1467" y="260"/>
                  </a:cubicBezTo>
                  <a:cubicBezTo>
                    <a:pt x="1446" y="112"/>
                    <a:pt x="1245" y="0"/>
                    <a:pt x="978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3" name="Google Shape;5243;p53"/>
            <p:cNvSpPr/>
            <p:nvPr/>
          </p:nvSpPr>
          <p:spPr>
            <a:xfrm>
              <a:off x="7658600" y="1636225"/>
              <a:ext cx="19500" cy="10025"/>
            </a:xfrm>
            <a:custGeom>
              <a:avLst/>
              <a:gdLst/>
              <a:ahLst/>
              <a:cxnLst/>
              <a:rect l="l" t="t" r="r" b="b"/>
              <a:pathLst>
                <a:path w="780" h="401" extrusionOk="0">
                  <a:moveTo>
                    <a:pt x="393" y="0"/>
                  </a:moveTo>
                  <a:cubicBezTo>
                    <a:pt x="171" y="0"/>
                    <a:pt x="0" y="103"/>
                    <a:pt x="16" y="215"/>
                  </a:cubicBezTo>
                  <a:cubicBezTo>
                    <a:pt x="23" y="326"/>
                    <a:pt x="185" y="400"/>
                    <a:pt x="386" y="400"/>
                  </a:cubicBezTo>
                  <a:lnTo>
                    <a:pt x="393" y="400"/>
                  </a:lnTo>
                  <a:cubicBezTo>
                    <a:pt x="594" y="400"/>
                    <a:pt x="763" y="319"/>
                    <a:pt x="772" y="215"/>
                  </a:cubicBezTo>
                  <a:cubicBezTo>
                    <a:pt x="779" y="103"/>
                    <a:pt x="608" y="0"/>
                    <a:pt x="393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4" name="Google Shape;5244;p53"/>
            <p:cNvSpPr/>
            <p:nvPr/>
          </p:nvSpPr>
          <p:spPr>
            <a:xfrm>
              <a:off x="7362400" y="1596950"/>
              <a:ext cx="43375" cy="54675"/>
            </a:xfrm>
            <a:custGeom>
              <a:avLst/>
              <a:gdLst/>
              <a:ahLst/>
              <a:cxnLst/>
              <a:rect l="l" t="t" r="r" b="b"/>
              <a:pathLst>
                <a:path w="1735" h="2187" extrusionOk="0">
                  <a:moveTo>
                    <a:pt x="867" y="1"/>
                  </a:moveTo>
                  <a:cubicBezTo>
                    <a:pt x="490" y="1"/>
                    <a:pt x="178" y="303"/>
                    <a:pt x="178" y="682"/>
                  </a:cubicBezTo>
                  <a:cubicBezTo>
                    <a:pt x="178" y="712"/>
                    <a:pt x="186" y="741"/>
                    <a:pt x="193" y="778"/>
                  </a:cubicBezTo>
                  <a:cubicBezTo>
                    <a:pt x="66" y="926"/>
                    <a:pt x="1" y="1112"/>
                    <a:pt x="1" y="1319"/>
                  </a:cubicBezTo>
                  <a:cubicBezTo>
                    <a:pt x="1" y="1801"/>
                    <a:pt x="385" y="2187"/>
                    <a:pt x="867" y="2187"/>
                  </a:cubicBezTo>
                  <a:cubicBezTo>
                    <a:pt x="1342" y="2187"/>
                    <a:pt x="1735" y="1801"/>
                    <a:pt x="1735" y="1319"/>
                  </a:cubicBezTo>
                  <a:cubicBezTo>
                    <a:pt x="1735" y="1112"/>
                    <a:pt x="1660" y="926"/>
                    <a:pt x="1541" y="778"/>
                  </a:cubicBezTo>
                  <a:cubicBezTo>
                    <a:pt x="1541" y="741"/>
                    <a:pt x="1550" y="712"/>
                    <a:pt x="1550" y="682"/>
                  </a:cubicBezTo>
                  <a:cubicBezTo>
                    <a:pt x="1550" y="303"/>
                    <a:pt x="1245" y="1"/>
                    <a:pt x="86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5" name="Google Shape;5245;p53"/>
            <p:cNvSpPr/>
            <p:nvPr/>
          </p:nvSpPr>
          <p:spPr>
            <a:xfrm>
              <a:off x="7383875" y="1622125"/>
              <a:ext cx="1900" cy="57100"/>
            </a:xfrm>
            <a:custGeom>
              <a:avLst/>
              <a:gdLst/>
              <a:ahLst/>
              <a:cxnLst/>
              <a:rect l="l" t="t" r="r" b="b"/>
              <a:pathLst>
                <a:path w="76" h="2284" extrusionOk="0">
                  <a:moveTo>
                    <a:pt x="38" y="1"/>
                  </a:moveTo>
                  <a:lnTo>
                    <a:pt x="1" y="2247"/>
                  </a:lnTo>
                  <a:cubicBezTo>
                    <a:pt x="1" y="2268"/>
                    <a:pt x="15" y="2284"/>
                    <a:pt x="38" y="2284"/>
                  </a:cubicBezTo>
                  <a:cubicBezTo>
                    <a:pt x="59" y="2284"/>
                    <a:pt x="75" y="2268"/>
                    <a:pt x="75" y="2247"/>
                  </a:cubicBezTo>
                  <a:cubicBezTo>
                    <a:pt x="75" y="2247"/>
                    <a:pt x="59" y="1"/>
                    <a:pt x="38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6" name="Google Shape;5246;p53"/>
            <p:cNvSpPr/>
            <p:nvPr/>
          </p:nvSpPr>
          <p:spPr>
            <a:xfrm>
              <a:off x="7373875" y="1635650"/>
              <a:ext cx="10950" cy="8900"/>
            </a:xfrm>
            <a:custGeom>
              <a:avLst/>
              <a:gdLst/>
              <a:ahLst/>
              <a:cxnLst/>
              <a:rect l="l" t="t" r="r" b="b"/>
              <a:pathLst>
                <a:path w="438" h="356" extrusionOk="0">
                  <a:moveTo>
                    <a:pt x="0" y="0"/>
                  </a:moveTo>
                  <a:cubicBezTo>
                    <a:pt x="205" y="342"/>
                    <a:pt x="404" y="356"/>
                    <a:pt x="434" y="356"/>
                  </a:cubicBezTo>
                  <a:cubicBezTo>
                    <a:pt x="437" y="356"/>
                    <a:pt x="438" y="356"/>
                    <a:pt x="438" y="356"/>
                  </a:cubicBezTo>
                  <a:lnTo>
                    <a:pt x="438" y="311"/>
                  </a:lnTo>
                  <a:cubicBezTo>
                    <a:pt x="438" y="311"/>
                    <a:pt x="434" y="314"/>
                    <a:pt x="422" y="314"/>
                  </a:cubicBezTo>
                  <a:cubicBezTo>
                    <a:pt x="396" y="314"/>
                    <a:pt x="334" y="300"/>
                    <a:pt x="201" y="208"/>
                  </a:cubicBezTo>
                  <a:cubicBezTo>
                    <a:pt x="82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7" name="Google Shape;5247;p53"/>
            <p:cNvSpPr/>
            <p:nvPr/>
          </p:nvSpPr>
          <p:spPr>
            <a:xfrm>
              <a:off x="7384800" y="1633250"/>
              <a:ext cx="9450" cy="7625"/>
            </a:xfrm>
            <a:custGeom>
              <a:avLst/>
              <a:gdLst/>
              <a:ahLst/>
              <a:cxnLst/>
              <a:rect l="l" t="t" r="r" b="b"/>
              <a:pathLst>
                <a:path w="378" h="305" extrusionOk="0">
                  <a:moveTo>
                    <a:pt x="378" y="0"/>
                  </a:moveTo>
                  <a:cubicBezTo>
                    <a:pt x="378" y="0"/>
                    <a:pt x="305" y="105"/>
                    <a:pt x="209" y="171"/>
                  </a:cubicBezTo>
                  <a:cubicBezTo>
                    <a:pt x="96" y="250"/>
                    <a:pt x="41" y="263"/>
                    <a:pt x="17" y="263"/>
                  </a:cubicBezTo>
                  <a:cubicBezTo>
                    <a:pt x="5" y="263"/>
                    <a:pt x="1" y="260"/>
                    <a:pt x="1" y="260"/>
                  </a:cubicBezTo>
                  <a:lnTo>
                    <a:pt x="1" y="260"/>
                  </a:lnTo>
                  <a:lnTo>
                    <a:pt x="8" y="304"/>
                  </a:lnTo>
                  <a:cubicBezTo>
                    <a:pt x="8" y="304"/>
                    <a:pt x="8" y="304"/>
                    <a:pt x="9" y="304"/>
                  </a:cubicBezTo>
                  <a:cubicBezTo>
                    <a:pt x="24" y="304"/>
                    <a:pt x="194" y="298"/>
                    <a:pt x="378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8" name="Google Shape;5248;p53"/>
            <p:cNvSpPr/>
            <p:nvPr/>
          </p:nvSpPr>
          <p:spPr>
            <a:xfrm>
              <a:off x="7377200" y="1627850"/>
              <a:ext cx="7625" cy="6175"/>
            </a:xfrm>
            <a:custGeom>
              <a:avLst/>
              <a:gdLst/>
              <a:ahLst/>
              <a:cxnLst/>
              <a:rect l="l" t="t" r="r" b="b"/>
              <a:pathLst>
                <a:path w="305" h="247" extrusionOk="0">
                  <a:moveTo>
                    <a:pt x="1" y="1"/>
                  </a:moveTo>
                  <a:cubicBezTo>
                    <a:pt x="149" y="240"/>
                    <a:pt x="289" y="246"/>
                    <a:pt x="304" y="246"/>
                  </a:cubicBezTo>
                  <a:cubicBezTo>
                    <a:pt x="304" y="246"/>
                    <a:pt x="305" y="246"/>
                    <a:pt x="305" y="246"/>
                  </a:cubicBezTo>
                  <a:lnTo>
                    <a:pt x="305" y="209"/>
                  </a:lnTo>
                  <a:cubicBezTo>
                    <a:pt x="305" y="209"/>
                    <a:pt x="302" y="211"/>
                    <a:pt x="293" y="211"/>
                  </a:cubicBezTo>
                  <a:cubicBezTo>
                    <a:pt x="275" y="211"/>
                    <a:pt x="232" y="201"/>
                    <a:pt x="141" y="134"/>
                  </a:cubicBezTo>
                  <a:cubicBezTo>
                    <a:pt x="60" y="8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9" name="Google Shape;5249;p53"/>
            <p:cNvSpPr/>
            <p:nvPr/>
          </p:nvSpPr>
          <p:spPr>
            <a:xfrm>
              <a:off x="7673450" y="1502475"/>
              <a:ext cx="158950" cy="154700"/>
            </a:xfrm>
            <a:custGeom>
              <a:avLst/>
              <a:gdLst/>
              <a:ahLst/>
              <a:cxnLst/>
              <a:rect l="l" t="t" r="r" b="b"/>
              <a:pathLst>
                <a:path w="6358" h="6188" extrusionOk="0">
                  <a:moveTo>
                    <a:pt x="3090" y="1"/>
                  </a:moveTo>
                  <a:cubicBezTo>
                    <a:pt x="2978" y="1"/>
                    <a:pt x="2867" y="30"/>
                    <a:pt x="2771" y="90"/>
                  </a:cubicBezTo>
                  <a:cubicBezTo>
                    <a:pt x="2067" y="534"/>
                    <a:pt x="0" y="6188"/>
                    <a:pt x="3089" y="6188"/>
                  </a:cubicBezTo>
                  <a:cubicBezTo>
                    <a:pt x="6358" y="6188"/>
                    <a:pt x="4112" y="534"/>
                    <a:pt x="3415" y="90"/>
                  </a:cubicBezTo>
                  <a:cubicBezTo>
                    <a:pt x="3315" y="30"/>
                    <a:pt x="3202" y="1"/>
                    <a:pt x="3090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0" name="Google Shape;5250;p53"/>
            <p:cNvSpPr/>
            <p:nvPr/>
          </p:nvSpPr>
          <p:spPr>
            <a:xfrm>
              <a:off x="7673450" y="1504650"/>
              <a:ext cx="77250" cy="152525"/>
            </a:xfrm>
            <a:custGeom>
              <a:avLst/>
              <a:gdLst/>
              <a:ahLst/>
              <a:cxnLst/>
              <a:rect l="l" t="t" r="r" b="b"/>
              <a:pathLst>
                <a:path w="3090" h="6101" extrusionOk="0">
                  <a:moveTo>
                    <a:pt x="2776" y="1"/>
                  </a:moveTo>
                  <a:cubicBezTo>
                    <a:pt x="2775" y="1"/>
                    <a:pt x="2773" y="2"/>
                    <a:pt x="2771" y="3"/>
                  </a:cubicBezTo>
                  <a:cubicBezTo>
                    <a:pt x="2067" y="447"/>
                    <a:pt x="0" y="6101"/>
                    <a:pt x="3089" y="6101"/>
                  </a:cubicBezTo>
                  <a:cubicBezTo>
                    <a:pt x="3089" y="6101"/>
                    <a:pt x="2312" y="6033"/>
                    <a:pt x="2268" y="3826"/>
                  </a:cubicBezTo>
                  <a:cubicBezTo>
                    <a:pt x="2215" y="1638"/>
                    <a:pt x="2848" y="1"/>
                    <a:pt x="2776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1" name="Google Shape;5251;p53"/>
            <p:cNvSpPr/>
            <p:nvPr/>
          </p:nvSpPr>
          <p:spPr>
            <a:xfrm>
              <a:off x="7748275" y="1572725"/>
              <a:ext cx="11125" cy="107050"/>
            </a:xfrm>
            <a:custGeom>
              <a:avLst/>
              <a:gdLst/>
              <a:ahLst/>
              <a:cxnLst/>
              <a:rect l="l" t="t" r="r" b="b"/>
              <a:pathLst>
                <a:path w="445" h="4282" extrusionOk="0">
                  <a:moveTo>
                    <a:pt x="224" y="1"/>
                  </a:moveTo>
                  <a:cubicBezTo>
                    <a:pt x="223" y="1"/>
                    <a:pt x="222" y="6"/>
                    <a:pt x="222" y="20"/>
                  </a:cubicBezTo>
                  <a:lnTo>
                    <a:pt x="0" y="4281"/>
                  </a:lnTo>
                  <a:lnTo>
                    <a:pt x="445" y="4281"/>
                  </a:lnTo>
                  <a:cubicBezTo>
                    <a:pt x="430" y="2458"/>
                    <a:pt x="267" y="20"/>
                    <a:pt x="229" y="20"/>
                  </a:cubicBezTo>
                  <a:cubicBezTo>
                    <a:pt x="229" y="20"/>
                    <a:pt x="226" y="1"/>
                    <a:pt x="22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2" name="Google Shape;5252;p53"/>
            <p:cNvSpPr/>
            <p:nvPr/>
          </p:nvSpPr>
          <p:spPr>
            <a:xfrm>
              <a:off x="7723625" y="1610650"/>
              <a:ext cx="30400" cy="24475"/>
            </a:xfrm>
            <a:custGeom>
              <a:avLst/>
              <a:gdLst/>
              <a:ahLst/>
              <a:cxnLst/>
              <a:rect l="l" t="t" r="r" b="b"/>
              <a:pathLst>
                <a:path w="1216" h="979" extrusionOk="0">
                  <a:moveTo>
                    <a:pt x="1" y="1"/>
                  </a:moveTo>
                  <a:cubicBezTo>
                    <a:pt x="595" y="952"/>
                    <a:pt x="1136" y="979"/>
                    <a:pt x="1196" y="979"/>
                  </a:cubicBezTo>
                  <a:cubicBezTo>
                    <a:pt x="1199" y="979"/>
                    <a:pt x="1201" y="979"/>
                    <a:pt x="1201" y="979"/>
                  </a:cubicBezTo>
                  <a:lnTo>
                    <a:pt x="1215" y="838"/>
                  </a:lnTo>
                  <a:lnTo>
                    <a:pt x="1215" y="838"/>
                  </a:lnTo>
                  <a:cubicBezTo>
                    <a:pt x="1215" y="838"/>
                    <a:pt x="1203" y="847"/>
                    <a:pt x="1168" y="847"/>
                  </a:cubicBezTo>
                  <a:cubicBezTo>
                    <a:pt x="1093" y="847"/>
                    <a:pt x="919" y="806"/>
                    <a:pt x="556" y="548"/>
                  </a:cubicBezTo>
                  <a:cubicBezTo>
                    <a:pt x="245" y="33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3" name="Google Shape;5253;p53"/>
            <p:cNvSpPr/>
            <p:nvPr/>
          </p:nvSpPr>
          <p:spPr>
            <a:xfrm>
              <a:off x="7754000" y="1603800"/>
              <a:ext cx="25600" cy="20750"/>
            </a:xfrm>
            <a:custGeom>
              <a:avLst/>
              <a:gdLst/>
              <a:ahLst/>
              <a:cxnLst/>
              <a:rect l="l" t="t" r="r" b="b"/>
              <a:pathLst>
                <a:path w="1024" h="830" extrusionOk="0">
                  <a:moveTo>
                    <a:pt x="1023" y="1"/>
                  </a:moveTo>
                  <a:lnTo>
                    <a:pt x="1023" y="1"/>
                  </a:lnTo>
                  <a:cubicBezTo>
                    <a:pt x="1023" y="1"/>
                    <a:pt x="824" y="282"/>
                    <a:pt x="557" y="467"/>
                  </a:cubicBezTo>
                  <a:cubicBezTo>
                    <a:pt x="255" y="685"/>
                    <a:pt x="108" y="721"/>
                    <a:pt x="44" y="721"/>
                  </a:cubicBezTo>
                  <a:cubicBezTo>
                    <a:pt x="12" y="721"/>
                    <a:pt x="0" y="712"/>
                    <a:pt x="0" y="712"/>
                  </a:cubicBezTo>
                  <a:lnTo>
                    <a:pt x="0" y="712"/>
                  </a:lnTo>
                  <a:lnTo>
                    <a:pt x="8" y="830"/>
                  </a:lnTo>
                  <a:cubicBezTo>
                    <a:pt x="8" y="830"/>
                    <a:pt x="10" y="830"/>
                    <a:pt x="14" y="830"/>
                  </a:cubicBezTo>
                  <a:cubicBezTo>
                    <a:pt x="72" y="830"/>
                    <a:pt x="531" y="803"/>
                    <a:pt x="1023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4" name="Google Shape;5254;p53"/>
            <p:cNvSpPr/>
            <p:nvPr/>
          </p:nvSpPr>
          <p:spPr>
            <a:xfrm>
              <a:off x="7733225" y="1588950"/>
              <a:ext cx="20800" cy="16700"/>
            </a:xfrm>
            <a:custGeom>
              <a:avLst/>
              <a:gdLst/>
              <a:ahLst/>
              <a:cxnLst/>
              <a:rect l="l" t="t" r="r" b="b"/>
              <a:pathLst>
                <a:path w="832" h="668" extrusionOk="0">
                  <a:moveTo>
                    <a:pt x="1" y="1"/>
                  </a:moveTo>
                  <a:lnTo>
                    <a:pt x="1" y="1"/>
                  </a:lnTo>
                  <a:cubicBezTo>
                    <a:pt x="398" y="648"/>
                    <a:pt x="774" y="668"/>
                    <a:pt x="820" y="668"/>
                  </a:cubicBezTo>
                  <a:cubicBezTo>
                    <a:pt x="823" y="668"/>
                    <a:pt x="824" y="668"/>
                    <a:pt x="824" y="668"/>
                  </a:cubicBezTo>
                  <a:lnTo>
                    <a:pt x="831" y="572"/>
                  </a:lnTo>
                  <a:lnTo>
                    <a:pt x="831" y="572"/>
                  </a:lnTo>
                  <a:cubicBezTo>
                    <a:pt x="831" y="572"/>
                    <a:pt x="821" y="580"/>
                    <a:pt x="793" y="580"/>
                  </a:cubicBezTo>
                  <a:cubicBezTo>
                    <a:pt x="739" y="580"/>
                    <a:pt x="618" y="550"/>
                    <a:pt x="380" y="380"/>
                  </a:cubicBezTo>
                  <a:cubicBezTo>
                    <a:pt x="165" y="23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5" name="Google Shape;5255;p53"/>
            <p:cNvSpPr/>
            <p:nvPr/>
          </p:nvSpPr>
          <p:spPr>
            <a:xfrm>
              <a:off x="7517600" y="1556875"/>
              <a:ext cx="110650" cy="107700"/>
            </a:xfrm>
            <a:custGeom>
              <a:avLst/>
              <a:gdLst/>
              <a:ahLst/>
              <a:cxnLst/>
              <a:rect l="l" t="t" r="r" b="b"/>
              <a:pathLst>
                <a:path w="4426" h="4308" extrusionOk="0">
                  <a:moveTo>
                    <a:pt x="2151" y="1"/>
                  </a:moveTo>
                  <a:cubicBezTo>
                    <a:pt x="2073" y="1"/>
                    <a:pt x="1995" y="21"/>
                    <a:pt x="1929" y="62"/>
                  </a:cubicBezTo>
                  <a:cubicBezTo>
                    <a:pt x="1440" y="366"/>
                    <a:pt x="1" y="4307"/>
                    <a:pt x="2151" y="4307"/>
                  </a:cubicBezTo>
                  <a:cubicBezTo>
                    <a:pt x="4425" y="4307"/>
                    <a:pt x="2862" y="366"/>
                    <a:pt x="2373" y="62"/>
                  </a:cubicBezTo>
                  <a:cubicBezTo>
                    <a:pt x="2307" y="21"/>
                    <a:pt x="2229" y="1"/>
                    <a:pt x="2151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6" name="Google Shape;5256;p53"/>
            <p:cNvSpPr/>
            <p:nvPr/>
          </p:nvSpPr>
          <p:spPr>
            <a:xfrm>
              <a:off x="7517600" y="1558375"/>
              <a:ext cx="53775" cy="106200"/>
            </a:xfrm>
            <a:custGeom>
              <a:avLst/>
              <a:gdLst/>
              <a:ahLst/>
              <a:cxnLst/>
              <a:rect l="l" t="t" r="r" b="b"/>
              <a:pathLst>
                <a:path w="2151" h="4248" extrusionOk="0">
                  <a:moveTo>
                    <a:pt x="1932" y="1"/>
                  </a:moveTo>
                  <a:cubicBezTo>
                    <a:pt x="1931" y="1"/>
                    <a:pt x="1930" y="1"/>
                    <a:pt x="1929" y="2"/>
                  </a:cubicBezTo>
                  <a:cubicBezTo>
                    <a:pt x="1440" y="306"/>
                    <a:pt x="1" y="4247"/>
                    <a:pt x="2151" y="4247"/>
                  </a:cubicBezTo>
                  <a:cubicBezTo>
                    <a:pt x="2151" y="4247"/>
                    <a:pt x="1610" y="4203"/>
                    <a:pt x="1580" y="2663"/>
                  </a:cubicBezTo>
                  <a:cubicBezTo>
                    <a:pt x="1543" y="1142"/>
                    <a:pt x="1985" y="1"/>
                    <a:pt x="1932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7" name="Google Shape;5257;p53"/>
            <p:cNvSpPr/>
            <p:nvPr/>
          </p:nvSpPr>
          <p:spPr>
            <a:xfrm>
              <a:off x="7569675" y="1605800"/>
              <a:ext cx="7800" cy="74550"/>
            </a:xfrm>
            <a:custGeom>
              <a:avLst/>
              <a:gdLst/>
              <a:ahLst/>
              <a:cxnLst/>
              <a:rect l="l" t="t" r="r" b="b"/>
              <a:pathLst>
                <a:path w="312" h="2982" extrusionOk="0">
                  <a:moveTo>
                    <a:pt x="159" y="0"/>
                  </a:moveTo>
                  <a:cubicBezTo>
                    <a:pt x="158" y="0"/>
                    <a:pt x="157" y="4"/>
                    <a:pt x="157" y="17"/>
                  </a:cubicBezTo>
                  <a:lnTo>
                    <a:pt x="0" y="2981"/>
                  </a:lnTo>
                  <a:lnTo>
                    <a:pt x="312" y="2981"/>
                  </a:lnTo>
                  <a:cubicBezTo>
                    <a:pt x="304" y="1713"/>
                    <a:pt x="185" y="17"/>
                    <a:pt x="164" y="17"/>
                  </a:cubicBezTo>
                  <a:cubicBezTo>
                    <a:pt x="164" y="17"/>
                    <a:pt x="161" y="0"/>
                    <a:pt x="159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8" name="Google Shape;5258;p53"/>
            <p:cNvSpPr/>
            <p:nvPr/>
          </p:nvSpPr>
          <p:spPr>
            <a:xfrm>
              <a:off x="7552650" y="1632125"/>
              <a:ext cx="20950" cy="17100"/>
            </a:xfrm>
            <a:custGeom>
              <a:avLst/>
              <a:gdLst/>
              <a:ahLst/>
              <a:cxnLst/>
              <a:rect l="l" t="t" r="r" b="b"/>
              <a:pathLst>
                <a:path w="838" h="684" extrusionOk="0">
                  <a:moveTo>
                    <a:pt x="0" y="1"/>
                  </a:moveTo>
                  <a:lnTo>
                    <a:pt x="0" y="1"/>
                  </a:lnTo>
                  <a:cubicBezTo>
                    <a:pt x="406" y="665"/>
                    <a:pt x="785" y="684"/>
                    <a:pt x="827" y="684"/>
                  </a:cubicBezTo>
                  <a:cubicBezTo>
                    <a:pt x="829" y="684"/>
                    <a:pt x="831" y="684"/>
                    <a:pt x="831" y="684"/>
                  </a:cubicBezTo>
                  <a:lnTo>
                    <a:pt x="838" y="586"/>
                  </a:lnTo>
                  <a:lnTo>
                    <a:pt x="838" y="586"/>
                  </a:lnTo>
                  <a:cubicBezTo>
                    <a:pt x="838" y="586"/>
                    <a:pt x="830" y="592"/>
                    <a:pt x="806" y="592"/>
                  </a:cubicBezTo>
                  <a:cubicBezTo>
                    <a:pt x="757" y="592"/>
                    <a:pt x="639" y="564"/>
                    <a:pt x="386" y="387"/>
                  </a:cubicBezTo>
                  <a:cubicBezTo>
                    <a:pt x="164" y="23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9" name="Google Shape;5259;p53"/>
            <p:cNvSpPr/>
            <p:nvPr/>
          </p:nvSpPr>
          <p:spPr>
            <a:xfrm>
              <a:off x="7573575" y="1627500"/>
              <a:ext cx="18000" cy="14475"/>
            </a:xfrm>
            <a:custGeom>
              <a:avLst/>
              <a:gdLst/>
              <a:ahLst/>
              <a:cxnLst/>
              <a:rect l="l" t="t" r="r" b="b"/>
              <a:pathLst>
                <a:path w="720" h="579" extrusionOk="0">
                  <a:moveTo>
                    <a:pt x="719" y="1"/>
                  </a:moveTo>
                  <a:cubicBezTo>
                    <a:pt x="719" y="1"/>
                    <a:pt x="579" y="193"/>
                    <a:pt x="394" y="326"/>
                  </a:cubicBezTo>
                  <a:cubicBezTo>
                    <a:pt x="184" y="472"/>
                    <a:pt x="81" y="497"/>
                    <a:pt x="34" y="497"/>
                  </a:cubicBezTo>
                  <a:cubicBezTo>
                    <a:pt x="10" y="497"/>
                    <a:pt x="1" y="490"/>
                    <a:pt x="1" y="490"/>
                  </a:cubicBezTo>
                  <a:lnTo>
                    <a:pt x="1" y="490"/>
                  </a:lnTo>
                  <a:lnTo>
                    <a:pt x="8" y="579"/>
                  </a:lnTo>
                  <a:cubicBezTo>
                    <a:pt x="8" y="579"/>
                    <a:pt x="9" y="579"/>
                    <a:pt x="10" y="579"/>
                  </a:cubicBezTo>
                  <a:cubicBezTo>
                    <a:pt x="39" y="579"/>
                    <a:pt x="366" y="566"/>
                    <a:pt x="71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0" name="Google Shape;5260;p53"/>
            <p:cNvSpPr/>
            <p:nvPr/>
          </p:nvSpPr>
          <p:spPr>
            <a:xfrm>
              <a:off x="7559125" y="1617150"/>
              <a:ext cx="14475" cy="11675"/>
            </a:xfrm>
            <a:custGeom>
              <a:avLst/>
              <a:gdLst/>
              <a:ahLst/>
              <a:cxnLst/>
              <a:rect l="l" t="t" r="r" b="b"/>
              <a:pathLst>
                <a:path w="579" h="467" extrusionOk="0">
                  <a:moveTo>
                    <a:pt x="1" y="0"/>
                  </a:moveTo>
                  <a:lnTo>
                    <a:pt x="1" y="0"/>
                  </a:lnTo>
                  <a:cubicBezTo>
                    <a:pt x="296" y="460"/>
                    <a:pt x="563" y="466"/>
                    <a:pt x="578" y="466"/>
                  </a:cubicBezTo>
                  <a:cubicBezTo>
                    <a:pt x="579" y="466"/>
                    <a:pt x="579" y="466"/>
                    <a:pt x="579" y="466"/>
                  </a:cubicBezTo>
                  <a:lnTo>
                    <a:pt x="579" y="393"/>
                  </a:lnTo>
                  <a:cubicBezTo>
                    <a:pt x="579" y="393"/>
                    <a:pt x="571" y="400"/>
                    <a:pt x="550" y="400"/>
                  </a:cubicBezTo>
                  <a:cubicBezTo>
                    <a:pt x="511" y="400"/>
                    <a:pt x="429" y="379"/>
                    <a:pt x="268" y="260"/>
                  </a:cubicBezTo>
                  <a:cubicBezTo>
                    <a:pt x="118" y="15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1" name="Google Shape;5261;p53"/>
            <p:cNvSpPr/>
            <p:nvPr/>
          </p:nvSpPr>
          <p:spPr>
            <a:xfrm>
              <a:off x="7639875" y="1540475"/>
              <a:ext cx="120475" cy="117250"/>
            </a:xfrm>
            <a:custGeom>
              <a:avLst/>
              <a:gdLst/>
              <a:ahLst/>
              <a:cxnLst/>
              <a:rect l="l" t="t" r="r" b="b"/>
              <a:pathLst>
                <a:path w="4819" h="4690" extrusionOk="0">
                  <a:moveTo>
                    <a:pt x="2476" y="1"/>
                  </a:moveTo>
                  <a:cubicBezTo>
                    <a:pt x="2391" y="1"/>
                    <a:pt x="2306" y="25"/>
                    <a:pt x="2232" y="73"/>
                  </a:cubicBezTo>
                  <a:cubicBezTo>
                    <a:pt x="1699" y="407"/>
                    <a:pt x="0" y="4689"/>
                    <a:pt x="2476" y="4689"/>
                  </a:cubicBezTo>
                  <a:cubicBezTo>
                    <a:pt x="4818" y="4689"/>
                    <a:pt x="3255" y="407"/>
                    <a:pt x="2721" y="73"/>
                  </a:cubicBezTo>
                  <a:cubicBezTo>
                    <a:pt x="2647" y="25"/>
                    <a:pt x="2561" y="1"/>
                    <a:pt x="2476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2" name="Google Shape;5262;p53"/>
            <p:cNvSpPr/>
            <p:nvPr/>
          </p:nvSpPr>
          <p:spPr>
            <a:xfrm>
              <a:off x="7641750" y="1545575"/>
              <a:ext cx="56350" cy="111425"/>
            </a:xfrm>
            <a:custGeom>
              <a:avLst/>
              <a:gdLst/>
              <a:ahLst/>
              <a:cxnLst/>
              <a:rect l="l" t="t" r="r" b="b"/>
              <a:pathLst>
                <a:path w="2254" h="4457" extrusionOk="0">
                  <a:moveTo>
                    <a:pt x="2028" y="0"/>
                  </a:moveTo>
                  <a:cubicBezTo>
                    <a:pt x="2027" y="0"/>
                    <a:pt x="2025" y="1"/>
                    <a:pt x="2024" y="2"/>
                  </a:cubicBezTo>
                  <a:cubicBezTo>
                    <a:pt x="1505" y="322"/>
                    <a:pt x="0" y="4457"/>
                    <a:pt x="2253" y="4457"/>
                  </a:cubicBezTo>
                  <a:cubicBezTo>
                    <a:pt x="2253" y="4457"/>
                    <a:pt x="1690" y="4412"/>
                    <a:pt x="1652" y="2796"/>
                  </a:cubicBezTo>
                  <a:cubicBezTo>
                    <a:pt x="1616" y="1200"/>
                    <a:pt x="2077" y="0"/>
                    <a:pt x="202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3" name="Google Shape;5263;p53"/>
            <p:cNvSpPr/>
            <p:nvPr/>
          </p:nvSpPr>
          <p:spPr>
            <a:xfrm>
              <a:off x="7696200" y="1601350"/>
              <a:ext cx="8175" cy="79525"/>
            </a:xfrm>
            <a:custGeom>
              <a:avLst/>
              <a:gdLst/>
              <a:ahLst/>
              <a:cxnLst/>
              <a:rect l="l" t="t" r="r" b="b"/>
              <a:pathLst>
                <a:path w="327" h="3181" extrusionOk="0">
                  <a:moveTo>
                    <a:pt x="166" y="0"/>
                  </a:moveTo>
                  <a:cubicBezTo>
                    <a:pt x="165" y="0"/>
                    <a:pt x="164" y="5"/>
                    <a:pt x="164" y="17"/>
                  </a:cubicBezTo>
                  <a:lnTo>
                    <a:pt x="1" y="3181"/>
                  </a:lnTo>
                  <a:cubicBezTo>
                    <a:pt x="13" y="3178"/>
                    <a:pt x="49" y="3178"/>
                    <a:pt x="94" y="3178"/>
                  </a:cubicBezTo>
                  <a:cubicBezTo>
                    <a:pt x="182" y="3178"/>
                    <a:pt x="302" y="3181"/>
                    <a:pt x="326" y="3181"/>
                  </a:cubicBezTo>
                  <a:cubicBezTo>
                    <a:pt x="319" y="1826"/>
                    <a:pt x="193" y="17"/>
                    <a:pt x="171" y="17"/>
                  </a:cubicBezTo>
                  <a:cubicBezTo>
                    <a:pt x="171" y="17"/>
                    <a:pt x="168" y="0"/>
                    <a:pt x="166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4" name="Google Shape;5264;p53"/>
            <p:cNvSpPr/>
            <p:nvPr/>
          </p:nvSpPr>
          <p:spPr>
            <a:xfrm>
              <a:off x="7677875" y="1629375"/>
              <a:ext cx="22450" cy="18175"/>
            </a:xfrm>
            <a:custGeom>
              <a:avLst/>
              <a:gdLst/>
              <a:ahLst/>
              <a:cxnLst/>
              <a:rect l="l" t="t" r="r" b="b"/>
              <a:pathLst>
                <a:path w="898" h="727" extrusionOk="0">
                  <a:moveTo>
                    <a:pt x="1" y="0"/>
                  </a:moveTo>
                  <a:lnTo>
                    <a:pt x="1" y="0"/>
                  </a:lnTo>
                  <a:cubicBezTo>
                    <a:pt x="433" y="706"/>
                    <a:pt x="840" y="726"/>
                    <a:pt x="886" y="726"/>
                  </a:cubicBezTo>
                  <a:cubicBezTo>
                    <a:pt x="889" y="726"/>
                    <a:pt x="890" y="726"/>
                    <a:pt x="890" y="726"/>
                  </a:cubicBezTo>
                  <a:lnTo>
                    <a:pt x="897" y="623"/>
                  </a:lnTo>
                  <a:lnTo>
                    <a:pt x="897" y="623"/>
                  </a:lnTo>
                  <a:cubicBezTo>
                    <a:pt x="897" y="623"/>
                    <a:pt x="888" y="630"/>
                    <a:pt x="862" y="630"/>
                  </a:cubicBezTo>
                  <a:cubicBezTo>
                    <a:pt x="807" y="630"/>
                    <a:pt x="678" y="600"/>
                    <a:pt x="408" y="415"/>
                  </a:cubicBezTo>
                  <a:cubicBezTo>
                    <a:pt x="179" y="25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5" name="Google Shape;5265;p53"/>
            <p:cNvSpPr/>
            <p:nvPr/>
          </p:nvSpPr>
          <p:spPr>
            <a:xfrm>
              <a:off x="7700300" y="162435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1"/>
                    <a:pt x="615" y="209"/>
                    <a:pt x="415" y="349"/>
                  </a:cubicBezTo>
                  <a:cubicBezTo>
                    <a:pt x="192" y="507"/>
                    <a:pt x="82" y="533"/>
                    <a:pt x="33" y="533"/>
                  </a:cubicBezTo>
                  <a:cubicBezTo>
                    <a:pt x="9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9" y="616"/>
                    <a:pt x="12" y="616"/>
                  </a:cubicBezTo>
                  <a:cubicBezTo>
                    <a:pt x="56" y="616"/>
                    <a:pt x="397" y="596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6" name="Google Shape;5266;p53"/>
            <p:cNvSpPr/>
            <p:nvPr/>
          </p:nvSpPr>
          <p:spPr>
            <a:xfrm>
              <a:off x="7684900" y="1613225"/>
              <a:ext cx="15425" cy="12650"/>
            </a:xfrm>
            <a:custGeom>
              <a:avLst/>
              <a:gdLst/>
              <a:ahLst/>
              <a:cxnLst/>
              <a:rect l="l" t="t" r="r" b="b"/>
              <a:pathLst>
                <a:path w="617" h="506" extrusionOk="0">
                  <a:moveTo>
                    <a:pt x="1" y="1"/>
                  </a:moveTo>
                  <a:lnTo>
                    <a:pt x="1" y="1"/>
                  </a:lnTo>
                  <a:cubicBezTo>
                    <a:pt x="303" y="493"/>
                    <a:pt x="579" y="506"/>
                    <a:pt x="607" y="506"/>
                  </a:cubicBezTo>
                  <a:cubicBezTo>
                    <a:pt x="608" y="506"/>
                    <a:pt x="609" y="506"/>
                    <a:pt x="609" y="506"/>
                  </a:cubicBezTo>
                  <a:lnTo>
                    <a:pt x="616" y="431"/>
                  </a:lnTo>
                  <a:lnTo>
                    <a:pt x="616" y="431"/>
                  </a:lnTo>
                  <a:cubicBezTo>
                    <a:pt x="616" y="431"/>
                    <a:pt x="610" y="436"/>
                    <a:pt x="593" y="436"/>
                  </a:cubicBezTo>
                  <a:cubicBezTo>
                    <a:pt x="557" y="436"/>
                    <a:pt x="469" y="415"/>
                    <a:pt x="282" y="284"/>
                  </a:cubicBezTo>
                  <a:cubicBezTo>
                    <a:pt x="127" y="17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7" name="Google Shape;5267;p53"/>
            <p:cNvSpPr/>
            <p:nvPr/>
          </p:nvSpPr>
          <p:spPr>
            <a:xfrm>
              <a:off x="7421675" y="1540075"/>
              <a:ext cx="120425" cy="117100"/>
            </a:xfrm>
            <a:custGeom>
              <a:avLst/>
              <a:gdLst/>
              <a:ahLst/>
              <a:cxnLst/>
              <a:rect l="l" t="t" r="r" b="b"/>
              <a:pathLst>
                <a:path w="4817" h="4684" extrusionOk="0">
                  <a:moveTo>
                    <a:pt x="2475" y="1"/>
                  </a:moveTo>
                  <a:cubicBezTo>
                    <a:pt x="2390" y="1"/>
                    <a:pt x="2305" y="23"/>
                    <a:pt x="2230" y="67"/>
                  </a:cubicBezTo>
                  <a:cubicBezTo>
                    <a:pt x="1704" y="400"/>
                    <a:pt x="0" y="4684"/>
                    <a:pt x="2476" y="4684"/>
                  </a:cubicBezTo>
                  <a:cubicBezTo>
                    <a:pt x="4816" y="4684"/>
                    <a:pt x="3253" y="400"/>
                    <a:pt x="2719" y="67"/>
                  </a:cubicBezTo>
                  <a:cubicBezTo>
                    <a:pt x="2646" y="23"/>
                    <a:pt x="2561" y="1"/>
                    <a:pt x="2475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8" name="Google Shape;5268;p53"/>
            <p:cNvSpPr/>
            <p:nvPr/>
          </p:nvSpPr>
          <p:spPr>
            <a:xfrm>
              <a:off x="7423525" y="1545050"/>
              <a:ext cx="56550" cy="111550"/>
            </a:xfrm>
            <a:custGeom>
              <a:avLst/>
              <a:gdLst/>
              <a:ahLst/>
              <a:cxnLst/>
              <a:rect l="l" t="t" r="r" b="b"/>
              <a:pathLst>
                <a:path w="2262" h="4462" extrusionOk="0">
                  <a:moveTo>
                    <a:pt x="2027" y="0"/>
                  </a:moveTo>
                  <a:cubicBezTo>
                    <a:pt x="2026" y="0"/>
                    <a:pt x="2024" y="1"/>
                    <a:pt x="2023" y="2"/>
                  </a:cubicBezTo>
                  <a:cubicBezTo>
                    <a:pt x="1512" y="327"/>
                    <a:pt x="1" y="4462"/>
                    <a:pt x="2261" y="4462"/>
                  </a:cubicBezTo>
                  <a:cubicBezTo>
                    <a:pt x="2261" y="4462"/>
                    <a:pt x="1690" y="4410"/>
                    <a:pt x="1653" y="2795"/>
                  </a:cubicBezTo>
                  <a:cubicBezTo>
                    <a:pt x="1623" y="1194"/>
                    <a:pt x="2088" y="0"/>
                    <a:pt x="2027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9" name="Google Shape;5269;p53"/>
            <p:cNvSpPr/>
            <p:nvPr/>
          </p:nvSpPr>
          <p:spPr>
            <a:xfrm>
              <a:off x="7478000" y="1600800"/>
              <a:ext cx="8325" cy="79550"/>
            </a:xfrm>
            <a:custGeom>
              <a:avLst/>
              <a:gdLst/>
              <a:ahLst/>
              <a:cxnLst/>
              <a:rect l="l" t="t" r="r" b="b"/>
              <a:pathLst>
                <a:path w="333" h="3182" extrusionOk="0">
                  <a:moveTo>
                    <a:pt x="165" y="0"/>
                  </a:moveTo>
                  <a:cubicBezTo>
                    <a:pt x="163" y="0"/>
                    <a:pt x="162" y="4"/>
                    <a:pt x="162" y="16"/>
                  </a:cubicBezTo>
                  <a:lnTo>
                    <a:pt x="0" y="3181"/>
                  </a:lnTo>
                  <a:lnTo>
                    <a:pt x="333" y="3181"/>
                  </a:lnTo>
                  <a:cubicBezTo>
                    <a:pt x="319" y="1825"/>
                    <a:pt x="200" y="16"/>
                    <a:pt x="171" y="16"/>
                  </a:cubicBezTo>
                  <a:cubicBezTo>
                    <a:pt x="171" y="16"/>
                    <a:pt x="167" y="0"/>
                    <a:pt x="165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0" name="Google Shape;5270;p53"/>
            <p:cNvSpPr/>
            <p:nvPr/>
          </p:nvSpPr>
          <p:spPr>
            <a:xfrm>
              <a:off x="7459625" y="1628975"/>
              <a:ext cx="22675" cy="18200"/>
            </a:xfrm>
            <a:custGeom>
              <a:avLst/>
              <a:gdLst/>
              <a:ahLst/>
              <a:cxnLst/>
              <a:rect l="l" t="t" r="r" b="b"/>
              <a:pathLst>
                <a:path w="907" h="728" extrusionOk="0">
                  <a:moveTo>
                    <a:pt x="1" y="0"/>
                  </a:moveTo>
                  <a:cubicBezTo>
                    <a:pt x="443" y="709"/>
                    <a:pt x="844" y="728"/>
                    <a:pt x="886" y="728"/>
                  </a:cubicBezTo>
                  <a:cubicBezTo>
                    <a:pt x="889" y="728"/>
                    <a:pt x="890" y="728"/>
                    <a:pt x="890" y="728"/>
                  </a:cubicBezTo>
                  <a:lnTo>
                    <a:pt x="906" y="623"/>
                  </a:lnTo>
                  <a:lnTo>
                    <a:pt x="906" y="623"/>
                  </a:lnTo>
                  <a:cubicBezTo>
                    <a:pt x="906" y="623"/>
                    <a:pt x="896" y="630"/>
                    <a:pt x="868" y="630"/>
                  </a:cubicBezTo>
                  <a:cubicBezTo>
                    <a:pt x="812" y="630"/>
                    <a:pt x="681" y="599"/>
                    <a:pt x="417" y="409"/>
                  </a:cubicBezTo>
                  <a:cubicBezTo>
                    <a:pt x="186" y="246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1" name="Google Shape;5271;p53"/>
            <p:cNvSpPr/>
            <p:nvPr/>
          </p:nvSpPr>
          <p:spPr>
            <a:xfrm>
              <a:off x="7482275" y="162400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0"/>
                    <a:pt x="606" y="208"/>
                    <a:pt x="414" y="342"/>
                  </a:cubicBezTo>
                  <a:cubicBezTo>
                    <a:pt x="184" y="506"/>
                    <a:pt x="76" y="533"/>
                    <a:pt x="30" y="533"/>
                  </a:cubicBezTo>
                  <a:cubicBezTo>
                    <a:pt x="8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8" y="616"/>
                    <a:pt x="9" y="616"/>
                  </a:cubicBezTo>
                  <a:cubicBezTo>
                    <a:pt x="39" y="616"/>
                    <a:pt x="387" y="603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2" name="Google Shape;5272;p53"/>
            <p:cNvSpPr/>
            <p:nvPr/>
          </p:nvSpPr>
          <p:spPr>
            <a:xfrm>
              <a:off x="7466700" y="1612875"/>
              <a:ext cx="15600" cy="12425"/>
            </a:xfrm>
            <a:custGeom>
              <a:avLst/>
              <a:gdLst/>
              <a:ahLst/>
              <a:cxnLst/>
              <a:rect l="l" t="t" r="r" b="b"/>
              <a:pathLst>
                <a:path w="624" h="497" extrusionOk="0">
                  <a:moveTo>
                    <a:pt x="1" y="1"/>
                  </a:moveTo>
                  <a:cubicBezTo>
                    <a:pt x="302" y="484"/>
                    <a:pt x="583" y="497"/>
                    <a:pt x="612" y="497"/>
                  </a:cubicBezTo>
                  <a:cubicBezTo>
                    <a:pt x="613" y="497"/>
                    <a:pt x="614" y="497"/>
                    <a:pt x="614" y="497"/>
                  </a:cubicBezTo>
                  <a:lnTo>
                    <a:pt x="623" y="422"/>
                  </a:lnTo>
                  <a:lnTo>
                    <a:pt x="623" y="422"/>
                  </a:lnTo>
                  <a:cubicBezTo>
                    <a:pt x="623" y="422"/>
                    <a:pt x="615" y="429"/>
                    <a:pt x="591" y="429"/>
                  </a:cubicBezTo>
                  <a:cubicBezTo>
                    <a:pt x="549" y="429"/>
                    <a:pt x="458" y="407"/>
                    <a:pt x="282" y="282"/>
                  </a:cubicBezTo>
                  <a:cubicBezTo>
                    <a:pt x="125" y="17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3" name="Google Shape;5273;p53"/>
            <p:cNvSpPr/>
            <p:nvPr/>
          </p:nvSpPr>
          <p:spPr>
            <a:xfrm>
              <a:off x="7454475" y="1518300"/>
              <a:ext cx="141725" cy="137775"/>
            </a:xfrm>
            <a:custGeom>
              <a:avLst/>
              <a:gdLst/>
              <a:ahLst/>
              <a:cxnLst/>
              <a:rect l="l" t="t" r="r" b="b"/>
              <a:pathLst>
                <a:path w="5669" h="5511" extrusionOk="0">
                  <a:moveTo>
                    <a:pt x="2909" y="1"/>
                  </a:moveTo>
                  <a:cubicBezTo>
                    <a:pt x="2808" y="1"/>
                    <a:pt x="2708" y="27"/>
                    <a:pt x="2624" y="79"/>
                  </a:cubicBezTo>
                  <a:cubicBezTo>
                    <a:pt x="2001" y="471"/>
                    <a:pt x="1" y="5510"/>
                    <a:pt x="2912" y="5510"/>
                  </a:cubicBezTo>
                  <a:cubicBezTo>
                    <a:pt x="5668" y="5510"/>
                    <a:pt x="3824" y="471"/>
                    <a:pt x="3202" y="79"/>
                  </a:cubicBezTo>
                  <a:cubicBezTo>
                    <a:pt x="3113" y="27"/>
                    <a:pt x="3011" y="1"/>
                    <a:pt x="2909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4" name="Google Shape;5274;p53"/>
            <p:cNvSpPr/>
            <p:nvPr/>
          </p:nvSpPr>
          <p:spPr>
            <a:xfrm>
              <a:off x="7457225" y="1524100"/>
              <a:ext cx="67075" cy="132500"/>
            </a:xfrm>
            <a:custGeom>
              <a:avLst/>
              <a:gdLst/>
              <a:ahLst/>
              <a:cxnLst/>
              <a:rect l="l" t="t" r="r" b="b"/>
              <a:pathLst>
                <a:path w="2683" h="5300" extrusionOk="0">
                  <a:moveTo>
                    <a:pt x="2413" y="1"/>
                  </a:moveTo>
                  <a:cubicBezTo>
                    <a:pt x="2412" y="1"/>
                    <a:pt x="2410" y="1"/>
                    <a:pt x="2409" y="2"/>
                  </a:cubicBezTo>
                  <a:cubicBezTo>
                    <a:pt x="1793" y="388"/>
                    <a:pt x="1" y="5300"/>
                    <a:pt x="2683" y="5300"/>
                  </a:cubicBezTo>
                  <a:cubicBezTo>
                    <a:pt x="2683" y="5300"/>
                    <a:pt x="2009" y="5241"/>
                    <a:pt x="1971" y="3322"/>
                  </a:cubicBezTo>
                  <a:cubicBezTo>
                    <a:pt x="1928" y="1421"/>
                    <a:pt x="2478" y="1"/>
                    <a:pt x="2413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5" name="Google Shape;5275;p53"/>
            <p:cNvSpPr/>
            <p:nvPr/>
          </p:nvSpPr>
          <p:spPr>
            <a:xfrm>
              <a:off x="7521700" y="1591900"/>
              <a:ext cx="9275" cy="88450"/>
            </a:xfrm>
            <a:custGeom>
              <a:avLst/>
              <a:gdLst/>
              <a:ahLst/>
              <a:cxnLst/>
              <a:rect l="l" t="t" r="r" b="b"/>
              <a:pathLst>
                <a:path w="371" h="3538" extrusionOk="0">
                  <a:moveTo>
                    <a:pt x="187" y="0"/>
                  </a:moveTo>
                  <a:cubicBezTo>
                    <a:pt x="186" y="0"/>
                    <a:pt x="185" y="4"/>
                    <a:pt x="185" y="16"/>
                  </a:cubicBezTo>
                  <a:lnTo>
                    <a:pt x="1" y="3537"/>
                  </a:lnTo>
                  <a:lnTo>
                    <a:pt x="370" y="3537"/>
                  </a:lnTo>
                  <a:cubicBezTo>
                    <a:pt x="356" y="2033"/>
                    <a:pt x="223" y="16"/>
                    <a:pt x="193" y="16"/>
                  </a:cubicBezTo>
                  <a:cubicBezTo>
                    <a:pt x="193" y="16"/>
                    <a:pt x="189" y="0"/>
                    <a:pt x="18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6" name="Google Shape;5276;p53"/>
            <p:cNvSpPr/>
            <p:nvPr/>
          </p:nvSpPr>
          <p:spPr>
            <a:xfrm>
              <a:off x="7501525" y="1623250"/>
              <a:ext cx="25000" cy="20200"/>
            </a:xfrm>
            <a:custGeom>
              <a:avLst/>
              <a:gdLst/>
              <a:ahLst/>
              <a:cxnLst/>
              <a:rect l="l" t="t" r="r" b="b"/>
              <a:pathLst>
                <a:path w="1000" h="808" extrusionOk="0">
                  <a:moveTo>
                    <a:pt x="0" y="0"/>
                  </a:moveTo>
                  <a:lnTo>
                    <a:pt x="0" y="0"/>
                  </a:lnTo>
                  <a:cubicBezTo>
                    <a:pt x="484" y="787"/>
                    <a:pt x="935" y="807"/>
                    <a:pt x="981" y="807"/>
                  </a:cubicBezTo>
                  <a:cubicBezTo>
                    <a:pt x="984" y="807"/>
                    <a:pt x="985" y="807"/>
                    <a:pt x="985" y="807"/>
                  </a:cubicBezTo>
                  <a:lnTo>
                    <a:pt x="1000" y="690"/>
                  </a:lnTo>
                  <a:lnTo>
                    <a:pt x="1000" y="690"/>
                  </a:lnTo>
                  <a:cubicBezTo>
                    <a:pt x="1000" y="690"/>
                    <a:pt x="989" y="697"/>
                    <a:pt x="960" y="697"/>
                  </a:cubicBezTo>
                  <a:cubicBezTo>
                    <a:pt x="899" y="697"/>
                    <a:pt x="755" y="664"/>
                    <a:pt x="452" y="452"/>
                  </a:cubicBezTo>
                  <a:cubicBezTo>
                    <a:pt x="199" y="27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7" name="Google Shape;5277;p53"/>
            <p:cNvSpPr/>
            <p:nvPr/>
          </p:nvSpPr>
          <p:spPr>
            <a:xfrm>
              <a:off x="7526500" y="1617675"/>
              <a:ext cx="21150" cy="17100"/>
            </a:xfrm>
            <a:custGeom>
              <a:avLst/>
              <a:gdLst/>
              <a:ahLst/>
              <a:cxnLst/>
              <a:rect l="l" t="t" r="r" b="b"/>
              <a:pathLst>
                <a:path w="846" h="684" extrusionOk="0">
                  <a:moveTo>
                    <a:pt x="845" y="1"/>
                  </a:moveTo>
                  <a:cubicBezTo>
                    <a:pt x="845" y="1"/>
                    <a:pt x="676" y="230"/>
                    <a:pt x="461" y="387"/>
                  </a:cubicBezTo>
                  <a:cubicBezTo>
                    <a:pt x="210" y="564"/>
                    <a:pt x="89" y="593"/>
                    <a:pt x="37" y="593"/>
                  </a:cubicBezTo>
                  <a:cubicBezTo>
                    <a:pt x="10" y="593"/>
                    <a:pt x="1" y="586"/>
                    <a:pt x="1" y="586"/>
                  </a:cubicBezTo>
                  <a:lnTo>
                    <a:pt x="1" y="586"/>
                  </a:lnTo>
                  <a:lnTo>
                    <a:pt x="9" y="684"/>
                  </a:lnTo>
                  <a:cubicBezTo>
                    <a:pt x="9" y="684"/>
                    <a:pt x="11" y="684"/>
                    <a:pt x="13" y="684"/>
                  </a:cubicBezTo>
                  <a:cubicBezTo>
                    <a:pt x="55" y="684"/>
                    <a:pt x="434" y="665"/>
                    <a:pt x="845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8" name="Google Shape;5278;p53"/>
            <p:cNvSpPr/>
            <p:nvPr/>
          </p:nvSpPr>
          <p:spPr>
            <a:xfrm>
              <a:off x="7509300" y="1605275"/>
              <a:ext cx="17225" cy="13950"/>
            </a:xfrm>
            <a:custGeom>
              <a:avLst/>
              <a:gdLst/>
              <a:ahLst/>
              <a:cxnLst/>
              <a:rect l="l" t="t" r="r" b="b"/>
              <a:pathLst>
                <a:path w="689" h="558" extrusionOk="0">
                  <a:moveTo>
                    <a:pt x="0" y="1"/>
                  </a:moveTo>
                  <a:lnTo>
                    <a:pt x="0" y="1"/>
                  </a:lnTo>
                  <a:cubicBezTo>
                    <a:pt x="339" y="544"/>
                    <a:pt x="650" y="557"/>
                    <a:pt x="679" y="557"/>
                  </a:cubicBezTo>
                  <a:cubicBezTo>
                    <a:pt x="681" y="557"/>
                    <a:pt x="681" y="557"/>
                    <a:pt x="681" y="557"/>
                  </a:cubicBezTo>
                  <a:lnTo>
                    <a:pt x="689" y="475"/>
                  </a:lnTo>
                  <a:lnTo>
                    <a:pt x="689" y="475"/>
                  </a:lnTo>
                  <a:cubicBezTo>
                    <a:pt x="689" y="475"/>
                    <a:pt x="681" y="481"/>
                    <a:pt x="660" y="481"/>
                  </a:cubicBezTo>
                  <a:cubicBezTo>
                    <a:pt x="617" y="481"/>
                    <a:pt x="517" y="457"/>
                    <a:pt x="312" y="312"/>
                  </a:cubicBezTo>
                  <a:cubicBezTo>
                    <a:pt x="141" y="193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9" name="Google Shape;5279;p53"/>
            <p:cNvSpPr/>
            <p:nvPr/>
          </p:nvSpPr>
          <p:spPr>
            <a:xfrm>
              <a:off x="7404450" y="1558600"/>
              <a:ext cx="64675" cy="81525"/>
            </a:xfrm>
            <a:custGeom>
              <a:avLst/>
              <a:gdLst/>
              <a:ahLst/>
              <a:cxnLst/>
              <a:rect l="l" t="t" r="r" b="b"/>
              <a:pathLst>
                <a:path w="2587" h="3261" extrusionOk="0">
                  <a:moveTo>
                    <a:pt x="1290" y="0"/>
                  </a:moveTo>
                  <a:cubicBezTo>
                    <a:pt x="734" y="0"/>
                    <a:pt x="275" y="452"/>
                    <a:pt x="275" y="1016"/>
                  </a:cubicBezTo>
                  <a:cubicBezTo>
                    <a:pt x="275" y="1067"/>
                    <a:pt x="282" y="1112"/>
                    <a:pt x="289" y="1156"/>
                  </a:cubicBezTo>
                  <a:cubicBezTo>
                    <a:pt x="111" y="1379"/>
                    <a:pt x="1" y="1659"/>
                    <a:pt x="1" y="1964"/>
                  </a:cubicBezTo>
                  <a:cubicBezTo>
                    <a:pt x="1" y="2682"/>
                    <a:pt x="579" y="3260"/>
                    <a:pt x="1290" y="3260"/>
                  </a:cubicBezTo>
                  <a:cubicBezTo>
                    <a:pt x="2009" y="3260"/>
                    <a:pt x="2587" y="2682"/>
                    <a:pt x="2587" y="1964"/>
                  </a:cubicBezTo>
                  <a:cubicBezTo>
                    <a:pt x="2587" y="1659"/>
                    <a:pt x="2475" y="1379"/>
                    <a:pt x="2297" y="1156"/>
                  </a:cubicBezTo>
                  <a:cubicBezTo>
                    <a:pt x="2304" y="1112"/>
                    <a:pt x="2313" y="1067"/>
                    <a:pt x="2313" y="1016"/>
                  </a:cubicBezTo>
                  <a:cubicBezTo>
                    <a:pt x="2313" y="452"/>
                    <a:pt x="1852" y="0"/>
                    <a:pt x="1290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0" name="Google Shape;5280;p53"/>
            <p:cNvSpPr/>
            <p:nvPr/>
          </p:nvSpPr>
          <p:spPr>
            <a:xfrm>
              <a:off x="7436700" y="1583475"/>
              <a:ext cx="2950" cy="96875"/>
            </a:xfrm>
            <a:custGeom>
              <a:avLst/>
              <a:gdLst/>
              <a:ahLst/>
              <a:cxnLst/>
              <a:rect l="l" t="t" r="r" b="b"/>
              <a:pathLst>
                <a:path w="118" h="3875" extrusionOk="0">
                  <a:moveTo>
                    <a:pt x="54" y="0"/>
                  </a:moveTo>
                  <a:cubicBezTo>
                    <a:pt x="53" y="0"/>
                    <a:pt x="52" y="4"/>
                    <a:pt x="52" y="14"/>
                  </a:cubicBezTo>
                  <a:lnTo>
                    <a:pt x="0" y="3821"/>
                  </a:lnTo>
                  <a:cubicBezTo>
                    <a:pt x="0" y="3851"/>
                    <a:pt x="22" y="3874"/>
                    <a:pt x="52" y="3874"/>
                  </a:cubicBezTo>
                  <a:lnTo>
                    <a:pt x="59" y="3874"/>
                  </a:lnTo>
                  <a:cubicBezTo>
                    <a:pt x="96" y="3874"/>
                    <a:pt x="118" y="3851"/>
                    <a:pt x="118" y="3821"/>
                  </a:cubicBezTo>
                  <a:cubicBezTo>
                    <a:pt x="118" y="3821"/>
                    <a:pt x="96" y="14"/>
                    <a:pt x="59" y="14"/>
                  </a:cubicBezTo>
                  <a:cubicBezTo>
                    <a:pt x="59" y="14"/>
                    <a:pt x="56" y="0"/>
                    <a:pt x="54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1" name="Google Shape;5281;p53"/>
            <p:cNvSpPr/>
            <p:nvPr/>
          </p:nvSpPr>
          <p:spPr>
            <a:xfrm>
              <a:off x="7419800" y="1606975"/>
              <a:ext cx="18375" cy="15000"/>
            </a:xfrm>
            <a:custGeom>
              <a:avLst/>
              <a:gdLst/>
              <a:ahLst/>
              <a:cxnLst/>
              <a:rect l="l" t="t" r="r" b="b"/>
              <a:pathLst>
                <a:path w="735" h="600" extrusionOk="0">
                  <a:moveTo>
                    <a:pt x="0" y="0"/>
                  </a:moveTo>
                  <a:lnTo>
                    <a:pt x="0" y="0"/>
                  </a:lnTo>
                  <a:cubicBezTo>
                    <a:pt x="353" y="580"/>
                    <a:pt x="679" y="600"/>
                    <a:pt x="723" y="600"/>
                  </a:cubicBezTo>
                  <a:cubicBezTo>
                    <a:pt x="726" y="600"/>
                    <a:pt x="728" y="599"/>
                    <a:pt x="728" y="599"/>
                  </a:cubicBezTo>
                  <a:lnTo>
                    <a:pt x="735" y="511"/>
                  </a:lnTo>
                  <a:lnTo>
                    <a:pt x="735" y="511"/>
                  </a:lnTo>
                  <a:cubicBezTo>
                    <a:pt x="735" y="511"/>
                    <a:pt x="726" y="517"/>
                    <a:pt x="702" y="517"/>
                  </a:cubicBezTo>
                  <a:cubicBezTo>
                    <a:pt x="656" y="517"/>
                    <a:pt x="550" y="492"/>
                    <a:pt x="335" y="340"/>
                  </a:cubicBezTo>
                  <a:cubicBezTo>
                    <a:pt x="150" y="199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2" name="Google Shape;5282;p53"/>
            <p:cNvSpPr/>
            <p:nvPr/>
          </p:nvSpPr>
          <p:spPr>
            <a:xfrm>
              <a:off x="7438150" y="1602700"/>
              <a:ext cx="15600" cy="12775"/>
            </a:xfrm>
            <a:custGeom>
              <a:avLst/>
              <a:gdLst/>
              <a:ahLst/>
              <a:cxnLst/>
              <a:rect l="l" t="t" r="r" b="b"/>
              <a:pathLst>
                <a:path w="624" h="511" extrusionOk="0">
                  <a:moveTo>
                    <a:pt x="623" y="0"/>
                  </a:moveTo>
                  <a:cubicBezTo>
                    <a:pt x="623" y="0"/>
                    <a:pt x="497" y="178"/>
                    <a:pt x="342" y="289"/>
                  </a:cubicBezTo>
                  <a:cubicBezTo>
                    <a:pt x="156" y="421"/>
                    <a:pt x="67" y="444"/>
                    <a:pt x="28" y="444"/>
                  </a:cubicBezTo>
                  <a:cubicBezTo>
                    <a:pt x="8" y="444"/>
                    <a:pt x="1" y="438"/>
                    <a:pt x="1" y="438"/>
                  </a:cubicBezTo>
                  <a:lnTo>
                    <a:pt x="1" y="438"/>
                  </a:lnTo>
                  <a:lnTo>
                    <a:pt x="8" y="511"/>
                  </a:lnTo>
                  <a:cubicBezTo>
                    <a:pt x="8" y="511"/>
                    <a:pt x="9" y="511"/>
                    <a:pt x="11" y="511"/>
                  </a:cubicBezTo>
                  <a:cubicBezTo>
                    <a:pt x="42" y="511"/>
                    <a:pt x="323" y="497"/>
                    <a:pt x="62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3" name="Google Shape;5283;p53"/>
            <p:cNvSpPr/>
            <p:nvPr/>
          </p:nvSpPr>
          <p:spPr>
            <a:xfrm>
              <a:off x="7425575" y="1593625"/>
              <a:ext cx="12600" cy="10200"/>
            </a:xfrm>
            <a:custGeom>
              <a:avLst/>
              <a:gdLst/>
              <a:ahLst/>
              <a:cxnLst/>
              <a:rect l="l" t="t" r="r" b="b"/>
              <a:pathLst>
                <a:path w="504" h="408" extrusionOk="0">
                  <a:moveTo>
                    <a:pt x="1" y="1"/>
                  </a:moveTo>
                  <a:lnTo>
                    <a:pt x="1" y="1"/>
                  </a:lnTo>
                  <a:cubicBezTo>
                    <a:pt x="242" y="395"/>
                    <a:pt x="467" y="408"/>
                    <a:pt x="494" y="408"/>
                  </a:cubicBezTo>
                  <a:cubicBezTo>
                    <a:pt x="496" y="408"/>
                    <a:pt x="497" y="408"/>
                    <a:pt x="497" y="408"/>
                  </a:cubicBezTo>
                  <a:lnTo>
                    <a:pt x="504" y="347"/>
                  </a:lnTo>
                  <a:lnTo>
                    <a:pt x="504" y="347"/>
                  </a:lnTo>
                  <a:cubicBezTo>
                    <a:pt x="504" y="347"/>
                    <a:pt x="497" y="353"/>
                    <a:pt x="479" y="353"/>
                  </a:cubicBezTo>
                  <a:cubicBezTo>
                    <a:pt x="446" y="353"/>
                    <a:pt x="374" y="334"/>
                    <a:pt x="230" y="230"/>
                  </a:cubicBezTo>
                  <a:cubicBezTo>
                    <a:pt x="104" y="14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4" name="Google Shape;5284;p53"/>
            <p:cNvSpPr/>
            <p:nvPr/>
          </p:nvSpPr>
          <p:spPr>
            <a:xfrm>
              <a:off x="7286250" y="1591750"/>
              <a:ext cx="46350" cy="58600"/>
            </a:xfrm>
            <a:custGeom>
              <a:avLst/>
              <a:gdLst/>
              <a:ahLst/>
              <a:cxnLst/>
              <a:rect l="l" t="t" r="r" b="b"/>
              <a:pathLst>
                <a:path w="1854" h="2344" extrusionOk="0">
                  <a:moveTo>
                    <a:pt x="927" y="1"/>
                  </a:moveTo>
                  <a:cubicBezTo>
                    <a:pt x="527" y="1"/>
                    <a:pt x="194" y="326"/>
                    <a:pt x="194" y="734"/>
                  </a:cubicBezTo>
                  <a:cubicBezTo>
                    <a:pt x="194" y="764"/>
                    <a:pt x="201" y="801"/>
                    <a:pt x="208" y="831"/>
                  </a:cubicBezTo>
                  <a:cubicBezTo>
                    <a:pt x="75" y="993"/>
                    <a:pt x="0" y="1194"/>
                    <a:pt x="0" y="1417"/>
                  </a:cubicBezTo>
                  <a:cubicBezTo>
                    <a:pt x="0" y="1927"/>
                    <a:pt x="416" y="2343"/>
                    <a:pt x="927" y="2343"/>
                  </a:cubicBezTo>
                  <a:cubicBezTo>
                    <a:pt x="1439" y="2343"/>
                    <a:pt x="1853" y="1927"/>
                    <a:pt x="1853" y="1417"/>
                  </a:cubicBezTo>
                  <a:cubicBezTo>
                    <a:pt x="1853" y="1194"/>
                    <a:pt x="1772" y="993"/>
                    <a:pt x="1645" y="831"/>
                  </a:cubicBezTo>
                  <a:cubicBezTo>
                    <a:pt x="1652" y="801"/>
                    <a:pt x="1652" y="764"/>
                    <a:pt x="1652" y="734"/>
                  </a:cubicBezTo>
                  <a:cubicBezTo>
                    <a:pt x="1652" y="326"/>
                    <a:pt x="1327" y="1"/>
                    <a:pt x="92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5" name="Google Shape;5285;p53"/>
            <p:cNvSpPr/>
            <p:nvPr/>
          </p:nvSpPr>
          <p:spPr>
            <a:xfrm>
              <a:off x="7309225" y="1609675"/>
              <a:ext cx="2250" cy="69550"/>
            </a:xfrm>
            <a:custGeom>
              <a:avLst/>
              <a:gdLst/>
              <a:ahLst/>
              <a:cxnLst/>
              <a:rect l="l" t="t" r="r" b="b"/>
              <a:pathLst>
                <a:path w="90" h="2782" extrusionOk="0">
                  <a:moveTo>
                    <a:pt x="47" y="0"/>
                  </a:moveTo>
                  <a:cubicBezTo>
                    <a:pt x="46" y="0"/>
                    <a:pt x="45" y="2"/>
                    <a:pt x="45" y="10"/>
                  </a:cubicBezTo>
                  <a:lnTo>
                    <a:pt x="1" y="2738"/>
                  </a:lnTo>
                  <a:cubicBezTo>
                    <a:pt x="1" y="2759"/>
                    <a:pt x="22" y="2782"/>
                    <a:pt x="45" y="2782"/>
                  </a:cubicBezTo>
                  <a:lnTo>
                    <a:pt x="52" y="2782"/>
                  </a:lnTo>
                  <a:cubicBezTo>
                    <a:pt x="75" y="2782"/>
                    <a:pt x="90" y="2759"/>
                    <a:pt x="90" y="2738"/>
                  </a:cubicBezTo>
                  <a:cubicBezTo>
                    <a:pt x="90" y="2738"/>
                    <a:pt x="75" y="10"/>
                    <a:pt x="52" y="10"/>
                  </a:cubicBezTo>
                  <a:cubicBezTo>
                    <a:pt x="52" y="10"/>
                    <a:pt x="49" y="0"/>
                    <a:pt x="4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6" name="Google Shape;5286;p53"/>
            <p:cNvSpPr/>
            <p:nvPr/>
          </p:nvSpPr>
          <p:spPr>
            <a:xfrm>
              <a:off x="7297175" y="1626400"/>
              <a:ext cx="13200" cy="10950"/>
            </a:xfrm>
            <a:custGeom>
              <a:avLst/>
              <a:gdLst/>
              <a:ahLst/>
              <a:cxnLst/>
              <a:rect l="l" t="t" r="r" b="b"/>
              <a:pathLst>
                <a:path w="528" h="438" extrusionOk="0">
                  <a:moveTo>
                    <a:pt x="1" y="0"/>
                  </a:moveTo>
                  <a:cubicBezTo>
                    <a:pt x="266" y="431"/>
                    <a:pt x="505" y="438"/>
                    <a:pt x="519" y="438"/>
                  </a:cubicBezTo>
                  <a:cubicBezTo>
                    <a:pt x="520" y="438"/>
                    <a:pt x="520" y="438"/>
                    <a:pt x="520" y="438"/>
                  </a:cubicBezTo>
                  <a:lnTo>
                    <a:pt x="527" y="370"/>
                  </a:lnTo>
                  <a:lnTo>
                    <a:pt x="527" y="370"/>
                  </a:lnTo>
                  <a:cubicBezTo>
                    <a:pt x="527" y="370"/>
                    <a:pt x="521" y="375"/>
                    <a:pt x="504" y="375"/>
                  </a:cubicBezTo>
                  <a:cubicBezTo>
                    <a:pt x="470" y="375"/>
                    <a:pt x="396" y="356"/>
                    <a:pt x="246" y="246"/>
                  </a:cubicBezTo>
                  <a:cubicBezTo>
                    <a:pt x="104" y="148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7" name="Google Shape;5287;p53"/>
            <p:cNvSpPr/>
            <p:nvPr/>
          </p:nvSpPr>
          <p:spPr>
            <a:xfrm>
              <a:off x="7310350" y="1623425"/>
              <a:ext cx="11300" cy="9300"/>
            </a:xfrm>
            <a:custGeom>
              <a:avLst/>
              <a:gdLst/>
              <a:ahLst/>
              <a:cxnLst/>
              <a:rect l="l" t="t" r="r" b="b"/>
              <a:pathLst>
                <a:path w="452" h="372" extrusionOk="0">
                  <a:moveTo>
                    <a:pt x="452" y="0"/>
                  </a:moveTo>
                  <a:lnTo>
                    <a:pt x="452" y="0"/>
                  </a:lnTo>
                  <a:cubicBezTo>
                    <a:pt x="452" y="0"/>
                    <a:pt x="356" y="126"/>
                    <a:pt x="244" y="208"/>
                  </a:cubicBezTo>
                  <a:cubicBezTo>
                    <a:pt x="102" y="308"/>
                    <a:pt x="39" y="323"/>
                    <a:pt x="14" y="323"/>
                  </a:cubicBezTo>
                  <a:cubicBezTo>
                    <a:pt x="4" y="323"/>
                    <a:pt x="0" y="320"/>
                    <a:pt x="0" y="320"/>
                  </a:cubicBezTo>
                  <a:lnTo>
                    <a:pt x="0" y="320"/>
                  </a:lnTo>
                  <a:lnTo>
                    <a:pt x="7" y="372"/>
                  </a:lnTo>
                  <a:cubicBezTo>
                    <a:pt x="7" y="372"/>
                    <a:pt x="8" y="372"/>
                    <a:pt x="8" y="372"/>
                  </a:cubicBezTo>
                  <a:cubicBezTo>
                    <a:pt x="22" y="372"/>
                    <a:pt x="224" y="365"/>
                    <a:pt x="452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8" name="Google Shape;5288;p53"/>
            <p:cNvSpPr/>
            <p:nvPr/>
          </p:nvSpPr>
          <p:spPr>
            <a:xfrm>
              <a:off x="7301275" y="1616975"/>
              <a:ext cx="9100" cy="7400"/>
            </a:xfrm>
            <a:custGeom>
              <a:avLst/>
              <a:gdLst/>
              <a:ahLst/>
              <a:cxnLst/>
              <a:rect l="l" t="t" r="r" b="b"/>
              <a:pathLst>
                <a:path w="364" h="296" extrusionOk="0">
                  <a:moveTo>
                    <a:pt x="0" y="0"/>
                  </a:moveTo>
                  <a:cubicBezTo>
                    <a:pt x="184" y="289"/>
                    <a:pt x="348" y="295"/>
                    <a:pt x="362" y="295"/>
                  </a:cubicBezTo>
                  <a:cubicBezTo>
                    <a:pt x="363" y="295"/>
                    <a:pt x="363" y="295"/>
                    <a:pt x="363" y="295"/>
                  </a:cubicBezTo>
                  <a:lnTo>
                    <a:pt x="363" y="251"/>
                  </a:lnTo>
                  <a:cubicBezTo>
                    <a:pt x="363" y="251"/>
                    <a:pt x="359" y="254"/>
                    <a:pt x="347" y="254"/>
                  </a:cubicBezTo>
                  <a:cubicBezTo>
                    <a:pt x="325" y="254"/>
                    <a:pt x="274" y="241"/>
                    <a:pt x="171" y="162"/>
                  </a:cubicBezTo>
                  <a:cubicBezTo>
                    <a:pt x="73" y="9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9" name="Google Shape;5289;p53"/>
            <p:cNvSpPr/>
            <p:nvPr/>
          </p:nvSpPr>
          <p:spPr>
            <a:xfrm>
              <a:off x="7200475" y="1642125"/>
              <a:ext cx="91000" cy="37825"/>
            </a:xfrm>
            <a:custGeom>
              <a:avLst/>
              <a:gdLst/>
              <a:ahLst/>
              <a:cxnLst/>
              <a:rect l="l" t="t" r="r" b="b"/>
              <a:pathLst>
                <a:path w="3640" h="1513" extrusionOk="0">
                  <a:moveTo>
                    <a:pt x="1215" y="1"/>
                  </a:moveTo>
                  <a:cubicBezTo>
                    <a:pt x="801" y="1"/>
                    <a:pt x="469" y="335"/>
                    <a:pt x="469" y="750"/>
                  </a:cubicBezTo>
                  <a:lnTo>
                    <a:pt x="469" y="764"/>
                  </a:lnTo>
                  <a:cubicBezTo>
                    <a:pt x="438" y="757"/>
                    <a:pt x="408" y="750"/>
                    <a:pt x="380" y="750"/>
                  </a:cubicBezTo>
                  <a:cubicBezTo>
                    <a:pt x="172" y="750"/>
                    <a:pt x="1" y="920"/>
                    <a:pt x="1" y="1128"/>
                  </a:cubicBezTo>
                  <a:cubicBezTo>
                    <a:pt x="1" y="1335"/>
                    <a:pt x="172" y="1498"/>
                    <a:pt x="380" y="1498"/>
                  </a:cubicBezTo>
                  <a:lnTo>
                    <a:pt x="380" y="1512"/>
                  </a:lnTo>
                  <a:lnTo>
                    <a:pt x="3403" y="1512"/>
                  </a:lnTo>
                  <a:lnTo>
                    <a:pt x="3403" y="1498"/>
                  </a:lnTo>
                  <a:cubicBezTo>
                    <a:pt x="3536" y="1475"/>
                    <a:pt x="3639" y="1365"/>
                    <a:pt x="3639" y="1217"/>
                  </a:cubicBezTo>
                  <a:cubicBezTo>
                    <a:pt x="3639" y="1061"/>
                    <a:pt x="3513" y="934"/>
                    <a:pt x="3358" y="934"/>
                  </a:cubicBezTo>
                  <a:cubicBezTo>
                    <a:pt x="3291" y="934"/>
                    <a:pt x="3232" y="965"/>
                    <a:pt x="3181" y="1002"/>
                  </a:cubicBezTo>
                  <a:lnTo>
                    <a:pt x="3181" y="965"/>
                  </a:lnTo>
                  <a:cubicBezTo>
                    <a:pt x="3181" y="668"/>
                    <a:pt x="2942" y="424"/>
                    <a:pt x="2647" y="424"/>
                  </a:cubicBezTo>
                  <a:cubicBezTo>
                    <a:pt x="2476" y="424"/>
                    <a:pt x="2327" y="497"/>
                    <a:pt x="2224" y="623"/>
                  </a:cubicBezTo>
                  <a:cubicBezTo>
                    <a:pt x="2186" y="609"/>
                    <a:pt x="2149" y="602"/>
                    <a:pt x="2114" y="602"/>
                  </a:cubicBezTo>
                  <a:cubicBezTo>
                    <a:pt x="2053" y="602"/>
                    <a:pt x="2001" y="616"/>
                    <a:pt x="1957" y="639"/>
                  </a:cubicBezTo>
                  <a:cubicBezTo>
                    <a:pt x="1898" y="275"/>
                    <a:pt x="1594" y="1"/>
                    <a:pt x="121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0" name="Google Shape;5290;p53"/>
            <p:cNvSpPr/>
            <p:nvPr/>
          </p:nvSpPr>
          <p:spPr>
            <a:xfrm>
              <a:off x="7211775" y="1643250"/>
              <a:ext cx="12425" cy="17975"/>
            </a:xfrm>
            <a:custGeom>
              <a:avLst/>
              <a:gdLst/>
              <a:ahLst/>
              <a:cxnLst/>
              <a:rect l="l" t="t" r="r" b="b"/>
              <a:pathLst>
                <a:path w="497" h="719" extrusionOk="0">
                  <a:moveTo>
                    <a:pt x="497" y="0"/>
                  </a:moveTo>
                  <a:lnTo>
                    <a:pt x="497" y="0"/>
                  </a:lnTo>
                  <a:cubicBezTo>
                    <a:pt x="209" y="82"/>
                    <a:pt x="1" y="349"/>
                    <a:pt x="1" y="667"/>
                  </a:cubicBezTo>
                  <a:lnTo>
                    <a:pt x="1" y="712"/>
                  </a:lnTo>
                  <a:cubicBezTo>
                    <a:pt x="8" y="712"/>
                    <a:pt x="8" y="712"/>
                    <a:pt x="17" y="719"/>
                  </a:cubicBezTo>
                  <a:lnTo>
                    <a:pt x="17" y="705"/>
                  </a:lnTo>
                  <a:cubicBezTo>
                    <a:pt x="17" y="386"/>
                    <a:pt x="216" y="112"/>
                    <a:pt x="497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1" name="Google Shape;5291;p53"/>
            <p:cNvSpPr/>
            <p:nvPr/>
          </p:nvSpPr>
          <p:spPr>
            <a:xfrm>
              <a:off x="7211775" y="1642700"/>
              <a:ext cx="17100" cy="34325"/>
            </a:xfrm>
            <a:custGeom>
              <a:avLst/>
              <a:gdLst/>
              <a:ahLst/>
              <a:cxnLst/>
              <a:rect l="l" t="t" r="r" b="b"/>
              <a:pathLst>
                <a:path w="684" h="1373" extrusionOk="0">
                  <a:moveTo>
                    <a:pt x="683" y="1"/>
                  </a:moveTo>
                  <a:cubicBezTo>
                    <a:pt x="623" y="1"/>
                    <a:pt x="557" y="8"/>
                    <a:pt x="497" y="22"/>
                  </a:cubicBezTo>
                  <a:cubicBezTo>
                    <a:pt x="216" y="134"/>
                    <a:pt x="17" y="408"/>
                    <a:pt x="17" y="727"/>
                  </a:cubicBezTo>
                  <a:lnTo>
                    <a:pt x="17" y="741"/>
                  </a:lnTo>
                  <a:cubicBezTo>
                    <a:pt x="8" y="734"/>
                    <a:pt x="8" y="734"/>
                    <a:pt x="1" y="734"/>
                  </a:cubicBezTo>
                  <a:cubicBezTo>
                    <a:pt x="24" y="1089"/>
                    <a:pt x="319" y="1372"/>
                    <a:pt x="683" y="1372"/>
                  </a:cubicBezTo>
                  <a:cubicBezTo>
                    <a:pt x="683" y="1372"/>
                    <a:pt x="290" y="1246"/>
                    <a:pt x="260" y="689"/>
                  </a:cubicBezTo>
                  <a:cubicBezTo>
                    <a:pt x="230" y="179"/>
                    <a:pt x="683" y="1"/>
                    <a:pt x="683" y="1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2" name="Google Shape;5292;p53"/>
            <p:cNvSpPr/>
            <p:nvPr/>
          </p:nvSpPr>
          <p:spPr>
            <a:xfrm>
              <a:off x="7244575" y="1657350"/>
              <a:ext cx="18000" cy="9075"/>
            </a:xfrm>
            <a:custGeom>
              <a:avLst/>
              <a:gdLst/>
              <a:ahLst/>
              <a:cxnLst/>
              <a:rect l="l" t="t" r="r" b="b"/>
              <a:pathLst>
                <a:path w="720" h="363" extrusionOk="0">
                  <a:moveTo>
                    <a:pt x="357" y="0"/>
                  </a:moveTo>
                  <a:cubicBezTo>
                    <a:pt x="163" y="7"/>
                    <a:pt x="1" y="171"/>
                    <a:pt x="8" y="363"/>
                  </a:cubicBezTo>
                  <a:cubicBezTo>
                    <a:pt x="8" y="363"/>
                    <a:pt x="67" y="164"/>
                    <a:pt x="357" y="141"/>
                  </a:cubicBezTo>
                  <a:lnTo>
                    <a:pt x="385" y="141"/>
                  </a:lnTo>
                  <a:cubicBezTo>
                    <a:pt x="630" y="141"/>
                    <a:pt x="719" y="356"/>
                    <a:pt x="719" y="356"/>
                  </a:cubicBezTo>
                  <a:cubicBezTo>
                    <a:pt x="719" y="164"/>
                    <a:pt x="556" y="0"/>
                    <a:pt x="364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3" name="Google Shape;5293;p53"/>
            <p:cNvSpPr/>
            <p:nvPr/>
          </p:nvSpPr>
          <p:spPr>
            <a:xfrm>
              <a:off x="7488350" y="1497900"/>
              <a:ext cx="29500" cy="12925"/>
            </a:xfrm>
            <a:custGeom>
              <a:avLst/>
              <a:gdLst/>
              <a:ahLst/>
              <a:cxnLst/>
              <a:rect l="l" t="t" r="r" b="b"/>
              <a:pathLst>
                <a:path w="1180" h="517" extrusionOk="0">
                  <a:moveTo>
                    <a:pt x="1026" y="0"/>
                  </a:moveTo>
                  <a:cubicBezTo>
                    <a:pt x="950" y="0"/>
                    <a:pt x="859" y="34"/>
                    <a:pt x="771" y="102"/>
                  </a:cubicBezTo>
                  <a:cubicBezTo>
                    <a:pt x="698" y="154"/>
                    <a:pt x="637" y="228"/>
                    <a:pt x="609" y="294"/>
                  </a:cubicBezTo>
                  <a:cubicBezTo>
                    <a:pt x="548" y="250"/>
                    <a:pt x="468" y="220"/>
                    <a:pt x="380" y="205"/>
                  </a:cubicBezTo>
                  <a:cubicBezTo>
                    <a:pt x="346" y="200"/>
                    <a:pt x="315" y="198"/>
                    <a:pt x="285" y="198"/>
                  </a:cubicBezTo>
                  <a:cubicBezTo>
                    <a:pt x="128" y="198"/>
                    <a:pt x="20" y="263"/>
                    <a:pt x="1" y="369"/>
                  </a:cubicBezTo>
                  <a:cubicBezTo>
                    <a:pt x="1" y="369"/>
                    <a:pt x="44" y="287"/>
                    <a:pt x="248" y="287"/>
                  </a:cubicBezTo>
                  <a:cubicBezTo>
                    <a:pt x="282" y="287"/>
                    <a:pt x="320" y="289"/>
                    <a:pt x="364" y="294"/>
                  </a:cubicBezTo>
                  <a:cubicBezTo>
                    <a:pt x="460" y="301"/>
                    <a:pt x="534" y="332"/>
                    <a:pt x="586" y="362"/>
                  </a:cubicBezTo>
                  <a:lnTo>
                    <a:pt x="579" y="517"/>
                  </a:lnTo>
                  <a:lnTo>
                    <a:pt x="653" y="502"/>
                  </a:lnTo>
                  <a:lnTo>
                    <a:pt x="742" y="479"/>
                  </a:lnTo>
                  <a:lnTo>
                    <a:pt x="661" y="346"/>
                  </a:lnTo>
                  <a:cubicBezTo>
                    <a:pt x="698" y="294"/>
                    <a:pt x="742" y="236"/>
                    <a:pt x="824" y="168"/>
                  </a:cubicBezTo>
                  <a:cubicBezTo>
                    <a:pt x="938" y="77"/>
                    <a:pt x="1032" y="56"/>
                    <a:pt x="1094" y="56"/>
                  </a:cubicBezTo>
                  <a:cubicBezTo>
                    <a:pt x="1149" y="56"/>
                    <a:pt x="1180" y="72"/>
                    <a:pt x="1180" y="72"/>
                  </a:cubicBezTo>
                  <a:cubicBezTo>
                    <a:pt x="1145" y="25"/>
                    <a:pt x="1091" y="0"/>
                    <a:pt x="1026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4" name="Google Shape;5294;p53"/>
            <p:cNvSpPr/>
            <p:nvPr/>
          </p:nvSpPr>
          <p:spPr>
            <a:xfrm>
              <a:off x="7313675" y="1413575"/>
              <a:ext cx="24825" cy="12025"/>
            </a:xfrm>
            <a:custGeom>
              <a:avLst/>
              <a:gdLst/>
              <a:ahLst/>
              <a:cxnLst/>
              <a:rect l="l" t="t" r="r" b="b"/>
              <a:pathLst>
                <a:path w="993" h="481" extrusionOk="0">
                  <a:moveTo>
                    <a:pt x="851" y="0"/>
                  </a:moveTo>
                  <a:cubicBezTo>
                    <a:pt x="787" y="0"/>
                    <a:pt x="715" y="30"/>
                    <a:pt x="644" y="89"/>
                  </a:cubicBezTo>
                  <a:cubicBezTo>
                    <a:pt x="578" y="141"/>
                    <a:pt x="534" y="207"/>
                    <a:pt x="511" y="267"/>
                  </a:cubicBezTo>
                  <a:cubicBezTo>
                    <a:pt x="459" y="230"/>
                    <a:pt x="394" y="192"/>
                    <a:pt x="312" y="178"/>
                  </a:cubicBezTo>
                  <a:cubicBezTo>
                    <a:pt x="281" y="173"/>
                    <a:pt x="251" y="170"/>
                    <a:pt x="224" y="170"/>
                  </a:cubicBezTo>
                  <a:cubicBezTo>
                    <a:pt x="93" y="170"/>
                    <a:pt x="6" y="227"/>
                    <a:pt x="1" y="326"/>
                  </a:cubicBezTo>
                  <a:cubicBezTo>
                    <a:pt x="1" y="326"/>
                    <a:pt x="33" y="251"/>
                    <a:pt x="203" y="251"/>
                  </a:cubicBezTo>
                  <a:cubicBezTo>
                    <a:pt x="233" y="251"/>
                    <a:pt x="266" y="253"/>
                    <a:pt x="305" y="258"/>
                  </a:cubicBezTo>
                  <a:cubicBezTo>
                    <a:pt x="386" y="274"/>
                    <a:pt x="445" y="303"/>
                    <a:pt x="490" y="333"/>
                  </a:cubicBezTo>
                  <a:lnTo>
                    <a:pt x="490" y="480"/>
                  </a:lnTo>
                  <a:lnTo>
                    <a:pt x="555" y="466"/>
                  </a:lnTo>
                  <a:lnTo>
                    <a:pt x="630" y="452"/>
                  </a:lnTo>
                  <a:lnTo>
                    <a:pt x="555" y="319"/>
                  </a:lnTo>
                  <a:cubicBezTo>
                    <a:pt x="586" y="274"/>
                    <a:pt x="623" y="214"/>
                    <a:pt x="689" y="162"/>
                  </a:cubicBezTo>
                  <a:cubicBezTo>
                    <a:pt x="782" y="77"/>
                    <a:pt x="862" y="57"/>
                    <a:pt x="916" y="57"/>
                  </a:cubicBezTo>
                  <a:cubicBezTo>
                    <a:pt x="964" y="57"/>
                    <a:pt x="993" y="73"/>
                    <a:pt x="993" y="73"/>
                  </a:cubicBezTo>
                  <a:cubicBezTo>
                    <a:pt x="958" y="24"/>
                    <a:pt x="908" y="0"/>
                    <a:pt x="851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5" name="Google Shape;5295;p53"/>
            <p:cNvSpPr/>
            <p:nvPr/>
          </p:nvSpPr>
          <p:spPr>
            <a:xfrm>
              <a:off x="7314425" y="1458625"/>
              <a:ext cx="15025" cy="6450"/>
            </a:xfrm>
            <a:custGeom>
              <a:avLst/>
              <a:gdLst/>
              <a:ahLst/>
              <a:cxnLst/>
              <a:rect l="l" t="t" r="r" b="b"/>
              <a:pathLst>
                <a:path w="601" h="258" extrusionOk="0">
                  <a:moveTo>
                    <a:pt x="520" y="1"/>
                  </a:moveTo>
                  <a:cubicBezTo>
                    <a:pt x="482" y="1"/>
                    <a:pt x="437" y="17"/>
                    <a:pt x="392" y="50"/>
                  </a:cubicBezTo>
                  <a:cubicBezTo>
                    <a:pt x="348" y="80"/>
                    <a:pt x="326" y="110"/>
                    <a:pt x="303" y="146"/>
                  </a:cubicBezTo>
                  <a:cubicBezTo>
                    <a:pt x="275" y="124"/>
                    <a:pt x="237" y="110"/>
                    <a:pt x="193" y="101"/>
                  </a:cubicBezTo>
                  <a:cubicBezTo>
                    <a:pt x="178" y="99"/>
                    <a:pt x="164" y="98"/>
                    <a:pt x="150" y="98"/>
                  </a:cubicBezTo>
                  <a:cubicBezTo>
                    <a:pt x="68" y="98"/>
                    <a:pt x="7" y="133"/>
                    <a:pt x="1" y="183"/>
                  </a:cubicBezTo>
                  <a:cubicBezTo>
                    <a:pt x="1" y="183"/>
                    <a:pt x="23" y="143"/>
                    <a:pt x="134" y="143"/>
                  </a:cubicBezTo>
                  <a:cubicBezTo>
                    <a:pt x="150" y="143"/>
                    <a:pt x="167" y="144"/>
                    <a:pt x="186" y="146"/>
                  </a:cubicBezTo>
                  <a:cubicBezTo>
                    <a:pt x="230" y="146"/>
                    <a:pt x="268" y="162"/>
                    <a:pt x="296" y="176"/>
                  </a:cubicBezTo>
                  <a:lnTo>
                    <a:pt x="289" y="258"/>
                  </a:lnTo>
                  <a:lnTo>
                    <a:pt x="333" y="243"/>
                  </a:lnTo>
                  <a:lnTo>
                    <a:pt x="378" y="234"/>
                  </a:lnTo>
                  <a:lnTo>
                    <a:pt x="333" y="169"/>
                  </a:lnTo>
                  <a:cubicBezTo>
                    <a:pt x="348" y="146"/>
                    <a:pt x="378" y="117"/>
                    <a:pt x="415" y="87"/>
                  </a:cubicBezTo>
                  <a:cubicBezTo>
                    <a:pt x="475" y="39"/>
                    <a:pt x="524" y="28"/>
                    <a:pt x="557" y="28"/>
                  </a:cubicBezTo>
                  <a:cubicBezTo>
                    <a:pt x="585" y="28"/>
                    <a:pt x="600" y="35"/>
                    <a:pt x="600" y="35"/>
                  </a:cubicBezTo>
                  <a:cubicBezTo>
                    <a:pt x="580" y="12"/>
                    <a:pt x="552" y="1"/>
                    <a:pt x="520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6" name="Google Shape;5296;p53"/>
            <p:cNvSpPr/>
            <p:nvPr/>
          </p:nvSpPr>
          <p:spPr>
            <a:xfrm>
              <a:off x="7228275" y="1437800"/>
              <a:ext cx="20375" cy="8725"/>
            </a:xfrm>
            <a:custGeom>
              <a:avLst/>
              <a:gdLst/>
              <a:ahLst/>
              <a:cxnLst/>
              <a:rect l="l" t="t" r="r" b="b"/>
              <a:pathLst>
                <a:path w="815" h="349" extrusionOk="0">
                  <a:moveTo>
                    <a:pt x="712" y="1"/>
                  </a:moveTo>
                  <a:cubicBezTo>
                    <a:pt x="659" y="1"/>
                    <a:pt x="596" y="23"/>
                    <a:pt x="534" y="68"/>
                  </a:cubicBezTo>
                  <a:cubicBezTo>
                    <a:pt x="482" y="105"/>
                    <a:pt x="445" y="157"/>
                    <a:pt x="424" y="201"/>
                  </a:cubicBezTo>
                  <a:cubicBezTo>
                    <a:pt x="379" y="171"/>
                    <a:pt x="326" y="150"/>
                    <a:pt x="260" y="143"/>
                  </a:cubicBezTo>
                  <a:cubicBezTo>
                    <a:pt x="237" y="139"/>
                    <a:pt x="215" y="137"/>
                    <a:pt x="194" y="137"/>
                  </a:cubicBezTo>
                  <a:cubicBezTo>
                    <a:pt x="88" y="137"/>
                    <a:pt x="12" y="184"/>
                    <a:pt x="0" y="253"/>
                  </a:cubicBezTo>
                  <a:cubicBezTo>
                    <a:pt x="0" y="253"/>
                    <a:pt x="28" y="197"/>
                    <a:pt x="176" y="197"/>
                  </a:cubicBezTo>
                  <a:cubicBezTo>
                    <a:pt x="198" y="197"/>
                    <a:pt x="224" y="198"/>
                    <a:pt x="253" y="201"/>
                  </a:cubicBezTo>
                  <a:cubicBezTo>
                    <a:pt x="319" y="209"/>
                    <a:pt x="370" y="223"/>
                    <a:pt x="400" y="246"/>
                  </a:cubicBezTo>
                  <a:lnTo>
                    <a:pt x="400" y="349"/>
                  </a:lnTo>
                  <a:lnTo>
                    <a:pt x="452" y="342"/>
                  </a:lnTo>
                  <a:lnTo>
                    <a:pt x="512" y="328"/>
                  </a:lnTo>
                  <a:lnTo>
                    <a:pt x="459" y="232"/>
                  </a:lnTo>
                  <a:cubicBezTo>
                    <a:pt x="482" y="201"/>
                    <a:pt x="512" y="157"/>
                    <a:pt x="571" y="120"/>
                  </a:cubicBezTo>
                  <a:cubicBezTo>
                    <a:pt x="656" y="51"/>
                    <a:pt x="723" y="37"/>
                    <a:pt x="766" y="37"/>
                  </a:cubicBezTo>
                  <a:cubicBezTo>
                    <a:pt x="797" y="37"/>
                    <a:pt x="815" y="45"/>
                    <a:pt x="815" y="45"/>
                  </a:cubicBezTo>
                  <a:cubicBezTo>
                    <a:pt x="792" y="15"/>
                    <a:pt x="755" y="1"/>
                    <a:pt x="712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7" name="Google Shape;5297;p53"/>
            <p:cNvSpPr/>
            <p:nvPr/>
          </p:nvSpPr>
          <p:spPr>
            <a:xfrm>
              <a:off x="7503925" y="1476125"/>
              <a:ext cx="10950" cy="4700"/>
            </a:xfrm>
            <a:custGeom>
              <a:avLst/>
              <a:gdLst/>
              <a:ahLst/>
              <a:cxnLst/>
              <a:rect l="l" t="t" r="r" b="b"/>
              <a:pathLst>
                <a:path w="438" h="188" extrusionOk="0">
                  <a:moveTo>
                    <a:pt x="385" y="1"/>
                  </a:moveTo>
                  <a:cubicBezTo>
                    <a:pt x="357" y="1"/>
                    <a:pt x="324" y="14"/>
                    <a:pt x="290" y="40"/>
                  </a:cubicBezTo>
                  <a:cubicBezTo>
                    <a:pt x="260" y="54"/>
                    <a:pt x="237" y="84"/>
                    <a:pt x="230" y="105"/>
                  </a:cubicBezTo>
                  <a:cubicBezTo>
                    <a:pt x="208" y="91"/>
                    <a:pt x="178" y="77"/>
                    <a:pt x="141" y="77"/>
                  </a:cubicBezTo>
                  <a:cubicBezTo>
                    <a:pt x="127" y="74"/>
                    <a:pt x="114" y="73"/>
                    <a:pt x="102" y="73"/>
                  </a:cubicBezTo>
                  <a:cubicBezTo>
                    <a:pt x="47" y="73"/>
                    <a:pt x="6" y="99"/>
                    <a:pt x="0" y="136"/>
                  </a:cubicBezTo>
                  <a:cubicBezTo>
                    <a:pt x="0" y="136"/>
                    <a:pt x="17" y="103"/>
                    <a:pt x="93" y="103"/>
                  </a:cubicBezTo>
                  <a:cubicBezTo>
                    <a:pt x="105" y="103"/>
                    <a:pt x="118" y="103"/>
                    <a:pt x="134" y="105"/>
                  </a:cubicBezTo>
                  <a:cubicBezTo>
                    <a:pt x="171" y="105"/>
                    <a:pt x="201" y="121"/>
                    <a:pt x="215" y="128"/>
                  </a:cubicBezTo>
                  <a:lnTo>
                    <a:pt x="215" y="187"/>
                  </a:lnTo>
                  <a:lnTo>
                    <a:pt x="246" y="180"/>
                  </a:lnTo>
                  <a:lnTo>
                    <a:pt x="274" y="173"/>
                  </a:lnTo>
                  <a:lnTo>
                    <a:pt x="246" y="121"/>
                  </a:lnTo>
                  <a:cubicBezTo>
                    <a:pt x="260" y="105"/>
                    <a:pt x="274" y="84"/>
                    <a:pt x="304" y="61"/>
                  </a:cubicBezTo>
                  <a:cubicBezTo>
                    <a:pt x="348" y="26"/>
                    <a:pt x="383" y="17"/>
                    <a:pt x="406" y="17"/>
                  </a:cubicBezTo>
                  <a:cubicBezTo>
                    <a:pt x="427" y="17"/>
                    <a:pt x="438" y="24"/>
                    <a:pt x="438" y="24"/>
                  </a:cubicBezTo>
                  <a:cubicBezTo>
                    <a:pt x="425" y="8"/>
                    <a:pt x="407" y="1"/>
                    <a:pt x="38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8" name="Google Shape;5298;p53"/>
            <p:cNvSpPr/>
            <p:nvPr/>
          </p:nvSpPr>
          <p:spPr>
            <a:xfrm>
              <a:off x="7717150" y="1657150"/>
              <a:ext cx="58350" cy="24300"/>
            </a:xfrm>
            <a:custGeom>
              <a:avLst/>
              <a:gdLst/>
              <a:ahLst/>
              <a:cxnLst/>
              <a:rect l="l" t="t" r="r" b="b"/>
              <a:pathLst>
                <a:path w="2334" h="972" extrusionOk="0">
                  <a:moveTo>
                    <a:pt x="777" y="1"/>
                  </a:moveTo>
                  <a:cubicBezTo>
                    <a:pt x="511" y="1"/>
                    <a:pt x="297" y="216"/>
                    <a:pt x="297" y="474"/>
                  </a:cubicBezTo>
                  <a:lnTo>
                    <a:pt x="297" y="483"/>
                  </a:lnTo>
                  <a:cubicBezTo>
                    <a:pt x="281" y="483"/>
                    <a:pt x="260" y="474"/>
                    <a:pt x="244" y="474"/>
                  </a:cubicBezTo>
                  <a:cubicBezTo>
                    <a:pt x="110" y="474"/>
                    <a:pt x="0" y="586"/>
                    <a:pt x="0" y="719"/>
                  </a:cubicBezTo>
                  <a:cubicBezTo>
                    <a:pt x="0" y="853"/>
                    <a:pt x="110" y="956"/>
                    <a:pt x="244" y="956"/>
                  </a:cubicBezTo>
                  <a:lnTo>
                    <a:pt x="244" y="972"/>
                  </a:lnTo>
                  <a:lnTo>
                    <a:pt x="2179" y="972"/>
                  </a:lnTo>
                  <a:lnTo>
                    <a:pt x="2179" y="956"/>
                  </a:lnTo>
                  <a:cubicBezTo>
                    <a:pt x="2268" y="949"/>
                    <a:pt x="2333" y="867"/>
                    <a:pt x="2333" y="778"/>
                  </a:cubicBezTo>
                  <a:cubicBezTo>
                    <a:pt x="2333" y="682"/>
                    <a:pt x="2253" y="600"/>
                    <a:pt x="2156" y="600"/>
                  </a:cubicBezTo>
                  <a:cubicBezTo>
                    <a:pt x="2111" y="600"/>
                    <a:pt x="2076" y="616"/>
                    <a:pt x="2038" y="638"/>
                  </a:cubicBezTo>
                  <a:lnTo>
                    <a:pt x="2038" y="616"/>
                  </a:lnTo>
                  <a:cubicBezTo>
                    <a:pt x="2038" y="422"/>
                    <a:pt x="1889" y="268"/>
                    <a:pt x="1697" y="268"/>
                  </a:cubicBezTo>
                  <a:cubicBezTo>
                    <a:pt x="1587" y="268"/>
                    <a:pt x="1489" y="319"/>
                    <a:pt x="1430" y="394"/>
                  </a:cubicBezTo>
                  <a:cubicBezTo>
                    <a:pt x="1409" y="385"/>
                    <a:pt x="1378" y="385"/>
                    <a:pt x="1355" y="385"/>
                  </a:cubicBezTo>
                  <a:cubicBezTo>
                    <a:pt x="1320" y="385"/>
                    <a:pt x="1282" y="394"/>
                    <a:pt x="1252" y="408"/>
                  </a:cubicBezTo>
                  <a:cubicBezTo>
                    <a:pt x="1222" y="172"/>
                    <a:pt x="1023" y="1"/>
                    <a:pt x="77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9" name="Google Shape;5299;p53"/>
            <p:cNvSpPr/>
            <p:nvPr/>
          </p:nvSpPr>
          <p:spPr>
            <a:xfrm>
              <a:off x="7724350" y="1657350"/>
              <a:ext cx="10950" cy="22075"/>
            </a:xfrm>
            <a:custGeom>
              <a:avLst/>
              <a:gdLst/>
              <a:ahLst/>
              <a:cxnLst/>
              <a:rect l="l" t="t" r="r" b="b"/>
              <a:pathLst>
                <a:path w="438" h="883" extrusionOk="0">
                  <a:moveTo>
                    <a:pt x="438" y="0"/>
                  </a:moveTo>
                  <a:cubicBezTo>
                    <a:pt x="201" y="0"/>
                    <a:pt x="0" y="199"/>
                    <a:pt x="0" y="445"/>
                  </a:cubicBezTo>
                  <a:cubicBezTo>
                    <a:pt x="0" y="688"/>
                    <a:pt x="201" y="882"/>
                    <a:pt x="438" y="882"/>
                  </a:cubicBezTo>
                  <a:cubicBezTo>
                    <a:pt x="438" y="882"/>
                    <a:pt x="187" y="800"/>
                    <a:pt x="171" y="445"/>
                  </a:cubicBezTo>
                  <a:cubicBezTo>
                    <a:pt x="150" y="119"/>
                    <a:pt x="438" y="0"/>
                    <a:pt x="43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0" name="Google Shape;5300;p53"/>
            <p:cNvSpPr/>
            <p:nvPr/>
          </p:nvSpPr>
          <p:spPr>
            <a:xfrm>
              <a:off x="7745475" y="1666775"/>
              <a:ext cx="11525" cy="5975"/>
            </a:xfrm>
            <a:custGeom>
              <a:avLst/>
              <a:gdLst/>
              <a:ahLst/>
              <a:cxnLst/>
              <a:rect l="l" t="t" r="r" b="b"/>
              <a:pathLst>
                <a:path w="461" h="239" extrusionOk="0">
                  <a:moveTo>
                    <a:pt x="231" y="0"/>
                  </a:moveTo>
                  <a:cubicBezTo>
                    <a:pt x="105" y="9"/>
                    <a:pt x="0" y="112"/>
                    <a:pt x="0" y="238"/>
                  </a:cubicBezTo>
                  <a:cubicBezTo>
                    <a:pt x="0" y="238"/>
                    <a:pt x="37" y="105"/>
                    <a:pt x="231" y="89"/>
                  </a:cubicBezTo>
                  <a:cubicBezTo>
                    <a:pt x="235" y="89"/>
                    <a:pt x="239" y="89"/>
                    <a:pt x="243" y="89"/>
                  </a:cubicBezTo>
                  <a:cubicBezTo>
                    <a:pt x="403" y="89"/>
                    <a:pt x="461" y="231"/>
                    <a:pt x="461" y="231"/>
                  </a:cubicBezTo>
                  <a:cubicBezTo>
                    <a:pt x="461" y="105"/>
                    <a:pt x="356" y="0"/>
                    <a:pt x="23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1" name="Google Shape;5301;p53"/>
            <p:cNvSpPr/>
            <p:nvPr/>
          </p:nvSpPr>
          <p:spPr>
            <a:xfrm>
              <a:off x="7352750" y="1654925"/>
              <a:ext cx="60225" cy="25025"/>
            </a:xfrm>
            <a:custGeom>
              <a:avLst/>
              <a:gdLst/>
              <a:ahLst/>
              <a:cxnLst/>
              <a:rect l="l" t="t" r="r" b="b"/>
              <a:pathLst>
                <a:path w="2409" h="1001" extrusionOk="0">
                  <a:moveTo>
                    <a:pt x="1608" y="1"/>
                  </a:moveTo>
                  <a:cubicBezTo>
                    <a:pt x="1358" y="1"/>
                    <a:pt x="1150" y="186"/>
                    <a:pt x="1119" y="422"/>
                  </a:cubicBezTo>
                  <a:cubicBezTo>
                    <a:pt x="1082" y="408"/>
                    <a:pt x="1054" y="401"/>
                    <a:pt x="1016" y="401"/>
                  </a:cubicBezTo>
                  <a:cubicBezTo>
                    <a:pt x="986" y="401"/>
                    <a:pt x="965" y="401"/>
                    <a:pt x="934" y="408"/>
                  </a:cubicBezTo>
                  <a:cubicBezTo>
                    <a:pt x="876" y="334"/>
                    <a:pt x="771" y="282"/>
                    <a:pt x="660" y="282"/>
                  </a:cubicBezTo>
                  <a:cubicBezTo>
                    <a:pt x="468" y="282"/>
                    <a:pt x="305" y="438"/>
                    <a:pt x="305" y="638"/>
                  </a:cubicBezTo>
                  <a:lnTo>
                    <a:pt x="305" y="661"/>
                  </a:lnTo>
                  <a:cubicBezTo>
                    <a:pt x="275" y="638"/>
                    <a:pt x="230" y="623"/>
                    <a:pt x="186" y="623"/>
                  </a:cubicBezTo>
                  <a:cubicBezTo>
                    <a:pt x="83" y="623"/>
                    <a:pt x="1" y="705"/>
                    <a:pt x="1" y="808"/>
                  </a:cubicBezTo>
                  <a:cubicBezTo>
                    <a:pt x="1" y="904"/>
                    <a:pt x="68" y="979"/>
                    <a:pt x="164" y="993"/>
                  </a:cubicBezTo>
                  <a:lnTo>
                    <a:pt x="164" y="1000"/>
                  </a:lnTo>
                  <a:lnTo>
                    <a:pt x="2165" y="1000"/>
                  </a:lnTo>
                  <a:lnTo>
                    <a:pt x="2165" y="993"/>
                  </a:lnTo>
                  <a:cubicBezTo>
                    <a:pt x="2298" y="993"/>
                    <a:pt x="2409" y="883"/>
                    <a:pt x="2409" y="750"/>
                  </a:cubicBezTo>
                  <a:cubicBezTo>
                    <a:pt x="2409" y="607"/>
                    <a:pt x="2298" y="497"/>
                    <a:pt x="2165" y="497"/>
                  </a:cubicBezTo>
                  <a:cubicBezTo>
                    <a:pt x="2142" y="497"/>
                    <a:pt x="2121" y="497"/>
                    <a:pt x="2105" y="504"/>
                  </a:cubicBezTo>
                  <a:lnTo>
                    <a:pt x="2105" y="497"/>
                  </a:lnTo>
                  <a:cubicBezTo>
                    <a:pt x="2105" y="223"/>
                    <a:pt x="1882" y="1"/>
                    <a:pt x="1608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2" name="Google Shape;5302;p53"/>
            <p:cNvSpPr/>
            <p:nvPr/>
          </p:nvSpPr>
          <p:spPr>
            <a:xfrm>
              <a:off x="7397225" y="1655650"/>
              <a:ext cx="8375" cy="11900"/>
            </a:xfrm>
            <a:custGeom>
              <a:avLst/>
              <a:gdLst/>
              <a:ahLst/>
              <a:cxnLst/>
              <a:rect l="l" t="t" r="r" b="b"/>
              <a:pathLst>
                <a:path w="335" h="476" extrusionOk="0">
                  <a:moveTo>
                    <a:pt x="0" y="0"/>
                  </a:moveTo>
                  <a:lnTo>
                    <a:pt x="0" y="0"/>
                  </a:lnTo>
                  <a:cubicBezTo>
                    <a:pt x="192" y="75"/>
                    <a:pt x="326" y="253"/>
                    <a:pt x="326" y="468"/>
                  </a:cubicBezTo>
                  <a:lnTo>
                    <a:pt x="326" y="475"/>
                  </a:lnTo>
                  <a:lnTo>
                    <a:pt x="334" y="475"/>
                  </a:lnTo>
                  <a:lnTo>
                    <a:pt x="334" y="438"/>
                  </a:lnTo>
                  <a:cubicBezTo>
                    <a:pt x="334" y="232"/>
                    <a:pt x="192" y="61"/>
                    <a:pt x="0" y="0"/>
                  </a:cubicBezTo>
                  <a:close/>
                </a:path>
              </a:pathLst>
            </a:custGeom>
            <a:solidFill>
              <a:srgbClr val="EDED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3" name="Google Shape;5303;p53"/>
            <p:cNvSpPr/>
            <p:nvPr/>
          </p:nvSpPr>
          <p:spPr>
            <a:xfrm>
              <a:off x="7394225" y="1655300"/>
              <a:ext cx="11375" cy="22825"/>
            </a:xfrm>
            <a:custGeom>
              <a:avLst/>
              <a:gdLst/>
              <a:ahLst/>
              <a:cxnLst/>
              <a:rect l="l" t="t" r="r" b="b"/>
              <a:pathLst>
                <a:path w="455" h="913" extrusionOk="0">
                  <a:moveTo>
                    <a:pt x="1" y="0"/>
                  </a:moveTo>
                  <a:cubicBezTo>
                    <a:pt x="1" y="0"/>
                    <a:pt x="298" y="119"/>
                    <a:pt x="284" y="452"/>
                  </a:cubicBezTo>
                  <a:cubicBezTo>
                    <a:pt x="261" y="824"/>
                    <a:pt x="1" y="913"/>
                    <a:pt x="1" y="913"/>
                  </a:cubicBezTo>
                  <a:cubicBezTo>
                    <a:pt x="239" y="913"/>
                    <a:pt x="438" y="719"/>
                    <a:pt x="454" y="489"/>
                  </a:cubicBezTo>
                  <a:lnTo>
                    <a:pt x="446" y="489"/>
                  </a:lnTo>
                  <a:lnTo>
                    <a:pt x="446" y="482"/>
                  </a:lnTo>
                  <a:cubicBezTo>
                    <a:pt x="446" y="267"/>
                    <a:pt x="312" y="89"/>
                    <a:pt x="120" y="14"/>
                  </a:cubicBezTo>
                  <a:cubicBezTo>
                    <a:pt x="83" y="7"/>
                    <a:pt x="45" y="0"/>
                    <a:pt x="1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4" name="Google Shape;5304;p53"/>
            <p:cNvSpPr/>
            <p:nvPr/>
          </p:nvSpPr>
          <p:spPr>
            <a:xfrm>
              <a:off x="7371825" y="1665125"/>
              <a:ext cx="11900" cy="5925"/>
            </a:xfrm>
            <a:custGeom>
              <a:avLst/>
              <a:gdLst/>
              <a:ahLst/>
              <a:cxnLst/>
              <a:rect l="l" t="t" r="r" b="b"/>
              <a:pathLst>
                <a:path w="476" h="237" extrusionOk="0">
                  <a:moveTo>
                    <a:pt x="239" y="0"/>
                  </a:moveTo>
                  <a:cubicBezTo>
                    <a:pt x="113" y="0"/>
                    <a:pt x="8" y="103"/>
                    <a:pt x="1" y="230"/>
                  </a:cubicBezTo>
                  <a:cubicBezTo>
                    <a:pt x="1" y="230"/>
                    <a:pt x="61" y="89"/>
                    <a:pt x="223" y="89"/>
                  </a:cubicBezTo>
                  <a:lnTo>
                    <a:pt x="246" y="89"/>
                  </a:lnTo>
                  <a:cubicBezTo>
                    <a:pt x="438" y="103"/>
                    <a:pt x="475" y="237"/>
                    <a:pt x="475" y="237"/>
                  </a:cubicBezTo>
                  <a:cubicBezTo>
                    <a:pt x="475" y="103"/>
                    <a:pt x="372" y="0"/>
                    <a:pt x="246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5" name="Google Shape;5305;p53"/>
            <p:cNvSpPr/>
            <p:nvPr/>
          </p:nvSpPr>
          <p:spPr>
            <a:xfrm>
              <a:off x="7309975" y="1567125"/>
              <a:ext cx="59475" cy="74850"/>
            </a:xfrm>
            <a:custGeom>
              <a:avLst/>
              <a:gdLst/>
              <a:ahLst/>
              <a:cxnLst/>
              <a:rect l="l" t="t" r="r" b="b"/>
              <a:pathLst>
                <a:path w="2379" h="2994" extrusionOk="0">
                  <a:moveTo>
                    <a:pt x="1185" y="1"/>
                  </a:moveTo>
                  <a:cubicBezTo>
                    <a:pt x="675" y="1"/>
                    <a:pt x="252" y="415"/>
                    <a:pt x="252" y="934"/>
                  </a:cubicBezTo>
                  <a:cubicBezTo>
                    <a:pt x="252" y="979"/>
                    <a:pt x="259" y="1023"/>
                    <a:pt x="268" y="1068"/>
                  </a:cubicBezTo>
                  <a:cubicBezTo>
                    <a:pt x="104" y="1267"/>
                    <a:pt x="1" y="1527"/>
                    <a:pt x="1" y="1808"/>
                  </a:cubicBezTo>
                  <a:cubicBezTo>
                    <a:pt x="1" y="2467"/>
                    <a:pt x="534" y="2994"/>
                    <a:pt x="1185" y="2994"/>
                  </a:cubicBezTo>
                  <a:cubicBezTo>
                    <a:pt x="1845" y="2994"/>
                    <a:pt x="2379" y="2467"/>
                    <a:pt x="2379" y="1808"/>
                  </a:cubicBezTo>
                  <a:cubicBezTo>
                    <a:pt x="2379" y="1527"/>
                    <a:pt x="2275" y="1267"/>
                    <a:pt x="2112" y="1068"/>
                  </a:cubicBezTo>
                  <a:cubicBezTo>
                    <a:pt x="2119" y="1023"/>
                    <a:pt x="2126" y="979"/>
                    <a:pt x="2126" y="934"/>
                  </a:cubicBezTo>
                  <a:cubicBezTo>
                    <a:pt x="2126" y="415"/>
                    <a:pt x="1705" y="1"/>
                    <a:pt x="118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6" name="Google Shape;5306;p53"/>
            <p:cNvSpPr/>
            <p:nvPr/>
          </p:nvSpPr>
          <p:spPr>
            <a:xfrm>
              <a:off x="7339600" y="1590125"/>
              <a:ext cx="2825" cy="89100"/>
            </a:xfrm>
            <a:custGeom>
              <a:avLst/>
              <a:gdLst/>
              <a:ahLst/>
              <a:cxnLst/>
              <a:rect l="l" t="t" r="r" b="b"/>
              <a:pathLst>
                <a:path w="113" h="3564" extrusionOk="0">
                  <a:moveTo>
                    <a:pt x="54" y="1"/>
                  </a:moveTo>
                  <a:cubicBezTo>
                    <a:pt x="53" y="1"/>
                    <a:pt x="52" y="4"/>
                    <a:pt x="52" y="14"/>
                  </a:cubicBezTo>
                  <a:lnTo>
                    <a:pt x="0" y="3511"/>
                  </a:lnTo>
                  <a:cubicBezTo>
                    <a:pt x="0" y="3534"/>
                    <a:pt x="23" y="3564"/>
                    <a:pt x="52" y="3564"/>
                  </a:cubicBezTo>
                  <a:lnTo>
                    <a:pt x="61" y="3564"/>
                  </a:lnTo>
                  <a:cubicBezTo>
                    <a:pt x="89" y="3564"/>
                    <a:pt x="112" y="3534"/>
                    <a:pt x="112" y="3511"/>
                  </a:cubicBezTo>
                  <a:cubicBezTo>
                    <a:pt x="112" y="3511"/>
                    <a:pt x="89" y="14"/>
                    <a:pt x="61" y="14"/>
                  </a:cubicBezTo>
                  <a:cubicBezTo>
                    <a:pt x="61" y="14"/>
                    <a:pt x="57" y="1"/>
                    <a:pt x="5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7" name="Google Shape;5307;p53"/>
            <p:cNvSpPr/>
            <p:nvPr/>
          </p:nvSpPr>
          <p:spPr>
            <a:xfrm>
              <a:off x="7324025" y="1611600"/>
              <a:ext cx="16875" cy="13875"/>
            </a:xfrm>
            <a:custGeom>
              <a:avLst/>
              <a:gdLst/>
              <a:ahLst/>
              <a:cxnLst/>
              <a:rect l="l" t="t" r="r" b="b"/>
              <a:pathLst>
                <a:path w="675" h="555" extrusionOk="0">
                  <a:moveTo>
                    <a:pt x="1" y="0"/>
                  </a:moveTo>
                  <a:lnTo>
                    <a:pt x="1" y="0"/>
                  </a:lnTo>
                  <a:cubicBezTo>
                    <a:pt x="331" y="541"/>
                    <a:pt x="634" y="555"/>
                    <a:pt x="665" y="555"/>
                  </a:cubicBezTo>
                  <a:cubicBezTo>
                    <a:pt x="667" y="555"/>
                    <a:pt x="668" y="555"/>
                    <a:pt x="668" y="555"/>
                  </a:cubicBezTo>
                  <a:lnTo>
                    <a:pt x="675" y="473"/>
                  </a:lnTo>
                  <a:lnTo>
                    <a:pt x="675" y="473"/>
                  </a:lnTo>
                  <a:cubicBezTo>
                    <a:pt x="675" y="473"/>
                    <a:pt x="668" y="479"/>
                    <a:pt x="647" y="479"/>
                  </a:cubicBezTo>
                  <a:cubicBezTo>
                    <a:pt x="606" y="479"/>
                    <a:pt x="511" y="455"/>
                    <a:pt x="312" y="311"/>
                  </a:cubicBezTo>
                  <a:cubicBezTo>
                    <a:pt x="134" y="18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8" name="Google Shape;5308;p53"/>
            <p:cNvSpPr/>
            <p:nvPr/>
          </p:nvSpPr>
          <p:spPr>
            <a:xfrm>
              <a:off x="7340875" y="1607675"/>
              <a:ext cx="14475" cy="11900"/>
            </a:xfrm>
            <a:custGeom>
              <a:avLst/>
              <a:gdLst/>
              <a:ahLst/>
              <a:cxnLst/>
              <a:rect l="l" t="t" r="r" b="b"/>
              <a:pathLst>
                <a:path w="579" h="476" extrusionOk="0">
                  <a:moveTo>
                    <a:pt x="579" y="1"/>
                  </a:moveTo>
                  <a:cubicBezTo>
                    <a:pt x="579" y="1"/>
                    <a:pt x="461" y="164"/>
                    <a:pt x="312" y="267"/>
                  </a:cubicBezTo>
                  <a:cubicBezTo>
                    <a:pt x="143" y="392"/>
                    <a:pt x="60" y="413"/>
                    <a:pt x="24" y="413"/>
                  </a:cubicBezTo>
                  <a:cubicBezTo>
                    <a:pt x="7" y="413"/>
                    <a:pt x="1" y="408"/>
                    <a:pt x="1" y="408"/>
                  </a:cubicBezTo>
                  <a:lnTo>
                    <a:pt x="1" y="408"/>
                  </a:lnTo>
                  <a:lnTo>
                    <a:pt x="10" y="475"/>
                  </a:lnTo>
                  <a:cubicBezTo>
                    <a:pt x="10" y="475"/>
                    <a:pt x="11" y="475"/>
                    <a:pt x="12" y="475"/>
                  </a:cubicBezTo>
                  <a:cubicBezTo>
                    <a:pt x="40" y="475"/>
                    <a:pt x="300" y="463"/>
                    <a:pt x="57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9" name="Google Shape;5309;p53"/>
            <p:cNvSpPr/>
            <p:nvPr/>
          </p:nvSpPr>
          <p:spPr>
            <a:xfrm>
              <a:off x="7329425" y="1599375"/>
              <a:ext cx="11475" cy="9450"/>
            </a:xfrm>
            <a:custGeom>
              <a:avLst/>
              <a:gdLst/>
              <a:ahLst/>
              <a:cxnLst/>
              <a:rect l="l" t="t" r="r" b="b"/>
              <a:pathLst>
                <a:path w="459" h="378" extrusionOk="0">
                  <a:moveTo>
                    <a:pt x="0" y="0"/>
                  </a:moveTo>
                  <a:cubicBezTo>
                    <a:pt x="228" y="370"/>
                    <a:pt x="443" y="377"/>
                    <a:pt x="458" y="377"/>
                  </a:cubicBezTo>
                  <a:cubicBezTo>
                    <a:pt x="459" y="377"/>
                    <a:pt x="459" y="377"/>
                    <a:pt x="459" y="377"/>
                  </a:cubicBezTo>
                  <a:lnTo>
                    <a:pt x="459" y="325"/>
                  </a:lnTo>
                  <a:cubicBezTo>
                    <a:pt x="459" y="325"/>
                    <a:pt x="455" y="328"/>
                    <a:pt x="444" y="328"/>
                  </a:cubicBezTo>
                  <a:cubicBezTo>
                    <a:pt x="417" y="328"/>
                    <a:pt x="352" y="313"/>
                    <a:pt x="208" y="215"/>
                  </a:cubicBezTo>
                  <a:cubicBezTo>
                    <a:pt x="89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0" name="Google Shape;5310;p53"/>
            <p:cNvSpPr/>
            <p:nvPr/>
          </p:nvSpPr>
          <p:spPr>
            <a:xfrm>
              <a:off x="7378150" y="1188300"/>
              <a:ext cx="26700" cy="26700"/>
            </a:xfrm>
            <a:custGeom>
              <a:avLst/>
              <a:gdLst/>
              <a:ahLst/>
              <a:cxnLst/>
              <a:rect l="l" t="t" r="r" b="b"/>
              <a:pathLst>
                <a:path w="1068" h="1068" extrusionOk="0">
                  <a:moveTo>
                    <a:pt x="534" y="0"/>
                  </a:moveTo>
                  <a:cubicBezTo>
                    <a:pt x="237" y="0"/>
                    <a:pt x="0" y="237"/>
                    <a:pt x="0" y="534"/>
                  </a:cubicBezTo>
                  <a:cubicBezTo>
                    <a:pt x="0" y="831"/>
                    <a:pt x="237" y="1067"/>
                    <a:pt x="534" y="1067"/>
                  </a:cubicBezTo>
                  <a:cubicBezTo>
                    <a:pt x="831" y="1067"/>
                    <a:pt x="1067" y="831"/>
                    <a:pt x="1067" y="534"/>
                  </a:cubicBezTo>
                  <a:cubicBezTo>
                    <a:pt x="1067" y="237"/>
                    <a:pt x="831" y="0"/>
                    <a:pt x="534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1" name="Google Shape;5311;p53"/>
            <p:cNvSpPr/>
            <p:nvPr/>
          </p:nvSpPr>
          <p:spPr>
            <a:xfrm>
              <a:off x="7314200" y="1224800"/>
              <a:ext cx="9850" cy="9850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2" y="0"/>
                  </a:moveTo>
                  <a:cubicBezTo>
                    <a:pt x="90" y="0"/>
                    <a:pt x="1" y="89"/>
                    <a:pt x="1" y="192"/>
                  </a:cubicBezTo>
                  <a:cubicBezTo>
                    <a:pt x="1" y="304"/>
                    <a:pt x="90" y="393"/>
                    <a:pt x="202" y="393"/>
                  </a:cubicBezTo>
                  <a:cubicBezTo>
                    <a:pt x="312" y="393"/>
                    <a:pt x="394" y="304"/>
                    <a:pt x="394" y="192"/>
                  </a:cubicBezTo>
                  <a:cubicBezTo>
                    <a:pt x="394" y="89"/>
                    <a:pt x="312" y="0"/>
                    <a:pt x="202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2" name="Google Shape;5312;p53"/>
            <p:cNvSpPr/>
            <p:nvPr/>
          </p:nvSpPr>
          <p:spPr>
            <a:xfrm>
              <a:off x="7569850" y="1372975"/>
              <a:ext cx="12650" cy="12600"/>
            </a:xfrm>
            <a:custGeom>
              <a:avLst/>
              <a:gdLst/>
              <a:ahLst/>
              <a:cxnLst/>
              <a:rect l="l" t="t" r="r" b="b"/>
              <a:pathLst>
                <a:path w="506" h="504" extrusionOk="0">
                  <a:moveTo>
                    <a:pt x="253" y="1"/>
                  </a:moveTo>
                  <a:cubicBezTo>
                    <a:pt x="113" y="1"/>
                    <a:pt x="0" y="113"/>
                    <a:pt x="0" y="253"/>
                  </a:cubicBezTo>
                  <a:cubicBezTo>
                    <a:pt x="0" y="394"/>
                    <a:pt x="113" y="504"/>
                    <a:pt x="253" y="504"/>
                  </a:cubicBezTo>
                  <a:cubicBezTo>
                    <a:pt x="394" y="504"/>
                    <a:pt x="506" y="394"/>
                    <a:pt x="506" y="253"/>
                  </a:cubicBezTo>
                  <a:cubicBezTo>
                    <a:pt x="506" y="113"/>
                    <a:pt x="394" y="1"/>
                    <a:pt x="253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3" name="Google Shape;5313;p53"/>
            <p:cNvSpPr/>
            <p:nvPr/>
          </p:nvSpPr>
          <p:spPr>
            <a:xfrm>
              <a:off x="7452975" y="1412050"/>
              <a:ext cx="63550" cy="63775"/>
            </a:xfrm>
            <a:custGeom>
              <a:avLst/>
              <a:gdLst/>
              <a:ahLst/>
              <a:cxnLst/>
              <a:rect l="l" t="t" r="r" b="b"/>
              <a:pathLst>
                <a:path w="2542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1972" y="2551"/>
                    <a:pt x="2541" y="1980"/>
                    <a:pt x="2541" y="1276"/>
                  </a:cubicBezTo>
                  <a:cubicBezTo>
                    <a:pt x="2541" y="572"/>
                    <a:pt x="1972" y="1"/>
                    <a:pt x="1275" y="1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4" name="Google Shape;5314;p53"/>
            <p:cNvSpPr/>
            <p:nvPr/>
          </p:nvSpPr>
          <p:spPr>
            <a:xfrm>
              <a:off x="7452800" y="1412050"/>
              <a:ext cx="31900" cy="63775"/>
            </a:xfrm>
            <a:custGeom>
              <a:avLst/>
              <a:gdLst/>
              <a:ahLst/>
              <a:cxnLst/>
              <a:rect l="l" t="t" r="r" b="b"/>
              <a:pathLst>
                <a:path w="1276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571" y="2542"/>
                    <a:pt x="7" y="1980"/>
                    <a:pt x="7" y="1276"/>
                  </a:cubicBezTo>
                  <a:cubicBezTo>
                    <a:pt x="7" y="572"/>
                    <a:pt x="571" y="8"/>
                    <a:pt x="1275" y="1"/>
                  </a:cubicBezTo>
                  <a:close/>
                </a:path>
              </a:pathLst>
            </a:custGeom>
            <a:solidFill>
              <a:srgbClr val="99A0A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5" name="Google Shape;5315;p53"/>
            <p:cNvSpPr/>
            <p:nvPr/>
          </p:nvSpPr>
          <p:spPr>
            <a:xfrm>
              <a:off x="7452975" y="1412050"/>
              <a:ext cx="31725" cy="63775"/>
            </a:xfrm>
            <a:custGeom>
              <a:avLst/>
              <a:gdLst/>
              <a:ahLst/>
              <a:cxnLst/>
              <a:rect l="l" t="t" r="r" b="b"/>
              <a:pathLst>
                <a:path w="1269" h="2551" extrusionOk="0">
                  <a:moveTo>
                    <a:pt x="1268" y="1"/>
                  </a:moveTo>
                  <a:cubicBezTo>
                    <a:pt x="564" y="8"/>
                    <a:pt x="0" y="572"/>
                    <a:pt x="0" y="1276"/>
                  </a:cubicBezTo>
                  <a:cubicBezTo>
                    <a:pt x="0" y="1980"/>
                    <a:pt x="564" y="2542"/>
                    <a:pt x="1268" y="2551"/>
                  </a:cubicBezTo>
                  <a:cubicBezTo>
                    <a:pt x="1268" y="2542"/>
                    <a:pt x="578" y="1913"/>
                    <a:pt x="578" y="1276"/>
                  </a:cubicBezTo>
                  <a:cubicBezTo>
                    <a:pt x="578" y="639"/>
                    <a:pt x="1268" y="8"/>
                    <a:pt x="1268" y="1"/>
                  </a:cubicBezTo>
                  <a:close/>
                </a:path>
              </a:pathLst>
            </a:custGeom>
            <a:solidFill>
              <a:srgbClr val="FFE9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6" name="Google Shape;5316;p53"/>
            <p:cNvSpPr/>
            <p:nvPr/>
          </p:nvSpPr>
          <p:spPr>
            <a:xfrm>
              <a:off x="7148250" y="1678625"/>
              <a:ext cx="644150" cy="39875"/>
            </a:xfrm>
            <a:custGeom>
              <a:avLst/>
              <a:gdLst/>
              <a:ahLst/>
              <a:cxnLst/>
              <a:rect l="l" t="t" r="r" b="b"/>
              <a:pathLst>
                <a:path w="25766" h="1595" extrusionOk="0">
                  <a:moveTo>
                    <a:pt x="1615" y="1"/>
                  </a:moveTo>
                  <a:cubicBezTo>
                    <a:pt x="0" y="1"/>
                    <a:pt x="141" y="1594"/>
                    <a:pt x="1615" y="1594"/>
                  </a:cubicBezTo>
                  <a:lnTo>
                    <a:pt x="25765" y="1594"/>
                  </a:lnTo>
                  <a:lnTo>
                    <a:pt x="25765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7" name="Google Shape;5317;p53"/>
            <p:cNvSpPr/>
            <p:nvPr/>
          </p:nvSpPr>
          <p:spPr>
            <a:xfrm>
              <a:off x="7095475" y="1718475"/>
              <a:ext cx="696925" cy="39850"/>
            </a:xfrm>
            <a:custGeom>
              <a:avLst/>
              <a:gdLst/>
              <a:ahLst/>
              <a:cxnLst/>
              <a:rect l="l" t="t" r="r" b="b"/>
              <a:pathLst>
                <a:path w="27877" h="1594" extrusionOk="0">
                  <a:moveTo>
                    <a:pt x="1615" y="0"/>
                  </a:moveTo>
                  <a:cubicBezTo>
                    <a:pt x="45" y="0"/>
                    <a:pt x="0" y="1594"/>
                    <a:pt x="1615" y="1594"/>
                  </a:cubicBezTo>
                  <a:lnTo>
                    <a:pt x="27876" y="1594"/>
                  </a:lnTo>
                  <a:lnTo>
                    <a:pt x="2787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" name="Google Shape;5221;p53">
            <a:extLst>
              <a:ext uri="{FF2B5EF4-FFF2-40B4-BE49-F238E27FC236}">
                <a16:creationId xmlns:a16="http://schemas.microsoft.com/office/drawing/2014/main" id="{84E5C435-7538-5C8B-D897-903C2BC6F85F}"/>
              </a:ext>
            </a:extLst>
          </p:cNvPr>
          <p:cNvGrpSpPr/>
          <p:nvPr/>
        </p:nvGrpSpPr>
        <p:grpSpPr>
          <a:xfrm>
            <a:off x="-1883222" y="3019504"/>
            <a:ext cx="2520565" cy="1945481"/>
            <a:chOff x="7095475" y="1127208"/>
            <a:chExt cx="817675" cy="631117"/>
          </a:xfrm>
        </p:grpSpPr>
        <p:sp>
          <p:nvSpPr>
            <p:cNvPr id="12" name="Google Shape;5222;p53">
              <a:extLst>
                <a:ext uri="{FF2B5EF4-FFF2-40B4-BE49-F238E27FC236}">
                  <a16:creationId xmlns:a16="http://schemas.microsoft.com/office/drawing/2014/main" id="{4E014B15-9F17-A47E-2B54-9D3FEFE61856}"/>
                </a:ext>
              </a:extLst>
            </p:cNvPr>
            <p:cNvSpPr/>
            <p:nvPr/>
          </p:nvSpPr>
          <p:spPr>
            <a:xfrm>
              <a:off x="7137300" y="1488925"/>
              <a:ext cx="169725" cy="73950"/>
            </a:xfrm>
            <a:custGeom>
              <a:avLst/>
              <a:gdLst/>
              <a:ahLst/>
              <a:cxnLst/>
              <a:rect l="l" t="t" r="r" b="b"/>
              <a:pathLst>
                <a:path w="6789" h="2958" extrusionOk="0">
                  <a:moveTo>
                    <a:pt x="3232" y="0"/>
                  </a:moveTo>
                  <a:cubicBezTo>
                    <a:pt x="2690" y="0"/>
                    <a:pt x="2239" y="391"/>
                    <a:pt x="2135" y="906"/>
                  </a:cubicBezTo>
                  <a:cubicBezTo>
                    <a:pt x="2097" y="899"/>
                    <a:pt x="2062" y="899"/>
                    <a:pt x="2017" y="890"/>
                  </a:cubicBezTo>
                  <a:cubicBezTo>
                    <a:pt x="1550" y="890"/>
                    <a:pt x="1157" y="1261"/>
                    <a:pt x="1135" y="1727"/>
                  </a:cubicBezTo>
                  <a:cubicBezTo>
                    <a:pt x="586" y="1868"/>
                    <a:pt x="150" y="2305"/>
                    <a:pt x="1" y="2855"/>
                  </a:cubicBezTo>
                  <a:lnTo>
                    <a:pt x="6789" y="2958"/>
                  </a:lnTo>
                  <a:cubicBezTo>
                    <a:pt x="6625" y="2268"/>
                    <a:pt x="6241" y="1743"/>
                    <a:pt x="5499" y="1734"/>
                  </a:cubicBezTo>
                  <a:lnTo>
                    <a:pt x="5432" y="1734"/>
                  </a:lnTo>
                  <a:cubicBezTo>
                    <a:pt x="5441" y="1210"/>
                    <a:pt x="5025" y="772"/>
                    <a:pt x="4498" y="765"/>
                  </a:cubicBezTo>
                  <a:cubicBezTo>
                    <a:pt x="4425" y="765"/>
                    <a:pt x="4358" y="772"/>
                    <a:pt x="4292" y="787"/>
                  </a:cubicBezTo>
                  <a:cubicBezTo>
                    <a:pt x="4159" y="335"/>
                    <a:pt x="3742" y="9"/>
                    <a:pt x="3246" y="1"/>
                  </a:cubicBezTo>
                  <a:cubicBezTo>
                    <a:pt x="3241" y="1"/>
                    <a:pt x="3237" y="0"/>
                    <a:pt x="3232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5223;p53">
              <a:extLst>
                <a:ext uri="{FF2B5EF4-FFF2-40B4-BE49-F238E27FC236}">
                  <a16:creationId xmlns:a16="http://schemas.microsoft.com/office/drawing/2014/main" id="{B7648CAA-D9A8-C83A-9322-433A5C4E84BA}"/>
                </a:ext>
              </a:extLst>
            </p:cNvPr>
            <p:cNvSpPr/>
            <p:nvPr/>
          </p:nvSpPr>
          <p:spPr>
            <a:xfrm>
              <a:off x="7191050" y="1511725"/>
              <a:ext cx="18700" cy="37475"/>
            </a:xfrm>
            <a:custGeom>
              <a:avLst/>
              <a:gdLst/>
              <a:ahLst/>
              <a:cxnLst/>
              <a:rect l="l" t="t" r="r" b="b"/>
              <a:pathLst>
                <a:path w="748" h="1499" extrusionOk="0">
                  <a:moveTo>
                    <a:pt x="1" y="1"/>
                  </a:moveTo>
                  <a:cubicBezTo>
                    <a:pt x="1" y="1"/>
                    <a:pt x="593" y="193"/>
                    <a:pt x="563" y="750"/>
                  </a:cubicBezTo>
                  <a:cubicBezTo>
                    <a:pt x="534" y="1365"/>
                    <a:pt x="1" y="1498"/>
                    <a:pt x="1" y="1498"/>
                  </a:cubicBezTo>
                  <a:cubicBezTo>
                    <a:pt x="415" y="1498"/>
                    <a:pt x="748" y="1164"/>
                    <a:pt x="748" y="750"/>
                  </a:cubicBezTo>
                  <a:cubicBezTo>
                    <a:pt x="748" y="333"/>
                    <a:pt x="415" y="1"/>
                    <a:pt x="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5224;p53">
              <a:extLst>
                <a:ext uri="{FF2B5EF4-FFF2-40B4-BE49-F238E27FC236}">
                  <a16:creationId xmlns:a16="http://schemas.microsoft.com/office/drawing/2014/main" id="{701FAB12-2499-26EE-6E5A-CEB858456DED}"/>
                </a:ext>
              </a:extLst>
            </p:cNvPr>
            <p:cNvSpPr/>
            <p:nvPr/>
          </p:nvSpPr>
          <p:spPr>
            <a:xfrm>
              <a:off x="7286250" y="1534500"/>
              <a:ext cx="11300" cy="7100"/>
            </a:xfrm>
            <a:custGeom>
              <a:avLst/>
              <a:gdLst/>
              <a:ahLst/>
              <a:cxnLst/>
              <a:rect l="l" t="t" r="r" b="b"/>
              <a:pathLst>
                <a:path w="452" h="284" extrusionOk="0">
                  <a:moveTo>
                    <a:pt x="0" y="0"/>
                  </a:moveTo>
                  <a:lnTo>
                    <a:pt x="0" y="0"/>
                  </a:lnTo>
                  <a:cubicBezTo>
                    <a:pt x="164" y="61"/>
                    <a:pt x="297" y="157"/>
                    <a:pt x="416" y="283"/>
                  </a:cubicBezTo>
                  <a:lnTo>
                    <a:pt x="452" y="232"/>
                  </a:lnTo>
                  <a:cubicBezTo>
                    <a:pt x="319" y="120"/>
                    <a:pt x="171" y="38"/>
                    <a:pt x="0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5225;p53">
              <a:extLst>
                <a:ext uri="{FF2B5EF4-FFF2-40B4-BE49-F238E27FC236}">
                  <a16:creationId xmlns:a16="http://schemas.microsoft.com/office/drawing/2014/main" id="{A254E294-BD0C-99E0-A8BB-7CEEB395C029}"/>
                </a:ext>
              </a:extLst>
            </p:cNvPr>
            <p:cNvSpPr/>
            <p:nvPr/>
          </p:nvSpPr>
          <p:spPr>
            <a:xfrm>
              <a:off x="7251975" y="1533600"/>
              <a:ext cx="44700" cy="27250"/>
            </a:xfrm>
            <a:custGeom>
              <a:avLst/>
              <a:gdLst/>
              <a:ahLst/>
              <a:cxnLst/>
              <a:rect l="l" t="t" r="r" b="b"/>
              <a:pathLst>
                <a:path w="1788" h="1090" extrusionOk="0">
                  <a:moveTo>
                    <a:pt x="1105" y="1"/>
                  </a:moveTo>
                  <a:cubicBezTo>
                    <a:pt x="505" y="1"/>
                    <a:pt x="16" y="481"/>
                    <a:pt x="0" y="1089"/>
                  </a:cubicBezTo>
                  <a:cubicBezTo>
                    <a:pt x="0" y="1089"/>
                    <a:pt x="283" y="214"/>
                    <a:pt x="1046" y="214"/>
                  </a:cubicBezTo>
                  <a:lnTo>
                    <a:pt x="1121" y="214"/>
                  </a:lnTo>
                  <a:cubicBezTo>
                    <a:pt x="1364" y="237"/>
                    <a:pt x="1565" y="312"/>
                    <a:pt x="1713" y="415"/>
                  </a:cubicBezTo>
                  <a:lnTo>
                    <a:pt x="1787" y="319"/>
                  </a:lnTo>
                  <a:cubicBezTo>
                    <a:pt x="1668" y="193"/>
                    <a:pt x="1535" y="97"/>
                    <a:pt x="1371" y="36"/>
                  </a:cubicBezTo>
                  <a:cubicBezTo>
                    <a:pt x="1298" y="15"/>
                    <a:pt x="1209" y="1"/>
                    <a:pt x="112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5226;p53">
              <a:extLst>
                <a:ext uri="{FF2B5EF4-FFF2-40B4-BE49-F238E27FC236}">
                  <a16:creationId xmlns:a16="http://schemas.microsoft.com/office/drawing/2014/main" id="{9BF79678-1526-33EA-B129-58F5157BEF3A}"/>
                </a:ext>
              </a:extLst>
            </p:cNvPr>
            <p:cNvSpPr/>
            <p:nvPr/>
          </p:nvSpPr>
          <p:spPr>
            <a:xfrm>
              <a:off x="7457400" y="1303300"/>
              <a:ext cx="214200" cy="93225"/>
            </a:xfrm>
            <a:custGeom>
              <a:avLst/>
              <a:gdLst/>
              <a:ahLst/>
              <a:cxnLst/>
              <a:rect l="l" t="t" r="r" b="b"/>
              <a:pathLst>
                <a:path w="8568" h="3729" extrusionOk="0">
                  <a:moveTo>
                    <a:pt x="4485" y="1"/>
                  </a:moveTo>
                  <a:cubicBezTo>
                    <a:pt x="4480" y="1"/>
                    <a:pt x="4475" y="1"/>
                    <a:pt x="4470" y="1"/>
                  </a:cubicBezTo>
                  <a:cubicBezTo>
                    <a:pt x="3848" y="17"/>
                    <a:pt x="3328" y="424"/>
                    <a:pt x="3150" y="995"/>
                  </a:cubicBezTo>
                  <a:cubicBezTo>
                    <a:pt x="3069" y="972"/>
                    <a:pt x="2987" y="965"/>
                    <a:pt x="2898" y="965"/>
                  </a:cubicBezTo>
                  <a:cubicBezTo>
                    <a:pt x="2231" y="979"/>
                    <a:pt x="1706" y="1521"/>
                    <a:pt x="1714" y="2188"/>
                  </a:cubicBezTo>
                  <a:lnTo>
                    <a:pt x="1632" y="2188"/>
                  </a:lnTo>
                  <a:cubicBezTo>
                    <a:pt x="698" y="2202"/>
                    <a:pt x="209" y="2862"/>
                    <a:pt x="1" y="3728"/>
                  </a:cubicBezTo>
                  <a:lnTo>
                    <a:pt x="8567" y="3602"/>
                  </a:lnTo>
                  <a:cubicBezTo>
                    <a:pt x="8382" y="2907"/>
                    <a:pt x="7826" y="2357"/>
                    <a:pt x="7130" y="2179"/>
                  </a:cubicBezTo>
                  <a:cubicBezTo>
                    <a:pt x="7108" y="1592"/>
                    <a:pt x="6626" y="1128"/>
                    <a:pt x="6033" y="1128"/>
                  </a:cubicBezTo>
                  <a:cubicBezTo>
                    <a:pt x="6028" y="1128"/>
                    <a:pt x="6024" y="1128"/>
                    <a:pt x="6019" y="1128"/>
                  </a:cubicBezTo>
                  <a:cubicBezTo>
                    <a:pt x="5975" y="1128"/>
                    <a:pt x="5921" y="1135"/>
                    <a:pt x="5877" y="1143"/>
                  </a:cubicBezTo>
                  <a:cubicBezTo>
                    <a:pt x="5744" y="488"/>
                    <a:pt x="5174" y="1"/>
                    <a:pt x="4485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5227;p53">
              <a:extLst>
                <a:ext uri="{FF2B5EF4-FFF2-40B4-BE49-F238E27FC236}">
                  <a16:creationId xmlns:a16="http://schemas.microsoft.com/office/drawing/2014/main" id="{D4F1B91B-38C8-DD72-F4C4-FB21F491950E}"/>
                </a:ext>
              </a:extLst>
            </p:cNvPr>
            <p:cNvSpPr/>
            <p:nvPr/>
          </p:nvSpPr>
          <p:spPr>
            <a:xfrm>
              <a:off x="7580250" y="1332200"/>
              <a:ext cx="23550" cy="47125"/>
            </a:xfrm>
            <a:custGeom>
              <a:avLst/>
              <a:gdLst/>
              <a:ahLst/>
              <a:cxnLst/>
              <a:rect l="l" t="t" r="r" b="b"/>
              <a:pathLst>
                <a:path w="942" h="1885" extrusionOk="0">
                  <a:moveTo>
                    <a:pt x="941" y="1"/>
                  </a:moveTo>
                  <a:cubicBezTo>
                    <a:pt x="422" y="1"/>
                    <a:pt x="1" y="424"/>
                    <a:pt x="1" y="943"/>
                  </a:cubicBezTo>
                  <a:cubicBezTo>
                    <a:pt x="1" y="1461"/>
                    <a:pt x="422" y="1884"/>
                    <a:pt x="941" y="1884"/>
                  </a:cubicBezTo>
                  <a:cubicBezTo>
                    <a:pt x="941" y="1884"/>
                    <a:pt x="274" y="1713"/>
                    <a:pt x="230" y="943"/>
                  </a:cubicBezTo>
                  <a:cubicBezTo>
                    <a:pt x="193" y="246"/>
                    <a:pt x="941" y="1"/>
                    <a:pt x="94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5228;p53">
              <a:extLst>
                <a:ext uri="{FF2B5EF4-FFF2-40B4-BE49-F238E27FC236}">
                  <a16:creationId xmlns:a16="http://schemas.microsoft.com/office/drawing/2014/main" id="{ABC3C4E1-EB5D-5527-85B9-9610516694F6}"/>
                </a:ext>
              </a:extLst>
            </p:cNvPr>
            <p:cNvSpPr/>
            <p:nvPr/>
          </p:nvSpPr>
          <p:spPr>
            <a:xfrm>
              <a:off x="7457050" y="1360750"/>
              <a:ext cx="26525" cy="34300"/>
            </a:xfrm>
            <a:custGeom>
              <a:avLst/>
              <a:gdLst/>
              <a:ahLst/>
              <a:cxnLst/>
              <a:rect l="l" t="t" r="r" b="b"/>
              <a:pathLst>
                <a:path w="1061" h="1372" extrusionOk="0">
                  <a:moveTo>
                    <a:pt x="1061" y="1"/>
                  </a:moveTo>
                  <a:cubicBezTo>
                    <a:pt x="452" y="157"/>
                    <a:pt x="1" y="712"/>
                    <a:pt x="8" y="1372"/>
                  </a:cubicBezTo>
                  <a:cubicBezTo>
                    <a:pt x="8" y="1372"/>
                    <a:pt x="38" y="1245"/>
                    <a:pt x="120" y="1082"/>
                  </a:cubicBezTo>
                  <a:cubicBezTo>
                    <a:pt x="305" y="579"/>
                    <a:pt x="600" y="185"/>
                    <a:pt x="1061" y="1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5229;p53">
              <a:extLst>
                <a:ext uri="{FF2B5EF4-FFF2-40B4-BE49-F238E27FC236}">
                  <a16:creationId xmlns:a16="http://schemas.microsoft.com/office/drawing/2014/main" id="{550B3E40-FB84-2326-77E0-BED227FB1C2E}"/>
                </a:ext>
              </a:extLst>
            </p:cNvPr>
            <p:cNvSpPr/>
            <p:nvPr/>
          </p:nvSpPr>
          <p:spPr>
            <a:xfrm>
              <a:off x="7460025" y="1359825"/>
              <a:ext cx="66900" cy="34125"/>
            </a:xfrm>
            <a:custGeom>
              <a:avLst/>
              <a:gdLst/>
              <a:ahLst/>
              <a:cxnLst/>
              <a:rect l="l" t="t" r="r" b="b"/>
              <a:pathLst>
                <a:path w="2676" h="1365" extrusionOk="0">
                  <a:moveTo>
                    <a:pt x="1260" y="0"/>
                  </a:moveTo>
                  <a:cubicBezTo>
                    <a:pt x="1148" y="0"/>
                    <a:pt x="1045" y="16"/>
                    <a:pt x="942" y="38"/>
                  </a:cubicBezTo>
                  <a:cubicBezTo>
                    <a:pt x="481" y="222"/>
                    <a:pt x="186" y="616"/>
                    <a:pt x="1" y="1119"/>
                  </a:cubicBezTo>
                  <a:cubicBezTo>
                    <a:pt x="163" y="800"/>
                    <a:pt x="518" y="319"/>
                    <a:pt x="1267" y="267"/>
                  </a:cubicBezTo>
                  <a:lnTo>
                    <a:pt x="1356" y="267"/>
                  </a:lnTo>
                  <a:cubicBezTo>
                    <a:pt x="2320" y="267"/>
                    <a:pt x="2676" y="1364"/>
                    <a:pt x="2676" y="1364"/>
                  </a:cubicBezTo>
                  <a:cubicBezTo>
                    <a:pt x="2660" y="608"/>
                    <a:pt x="2037" y="0"/>
                    <a:pt x="1281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5230;p53">
              <a:extLst>
                <a:ext uri="{FF2B5EF4-FFF2-40B4-BE49-F238E27FC236}">
                  <a16:creationId xmlns:a16="http://schemas.microsoft.com/office/drawing/2014/main" id="{FDEF7B8E-1FF2-FDD7-92EB-EFEDD7CB9470}"/>
                </a:ext>
              </a:extLst>
            </p:cNvPr>
            <p:cNvSpPr/>
            <p:nvPr/>
          </p:nvSpPr>
          <p:spPr>
            <a:xfrm>
              <a:off x="7364800" y="1192375"/>
              <a:ext cx="181725" cy="65975"/>
            </a:xfrm>
            <a:custGeom>
              <a:avLst/>
              <a:gdLst/>
              <a:ahLst/>
              <a:cxnLst/>
              <a:rect l="l" t="t" r="r" b="b"/>
              <a:pathLst>
                <a:path w="7269" h="2639" extrusionOk="0">
                  <a:moveTo>
                    <a:pt x="3113" y="1"/>
                  </a:moveTo>
                  <a:cubicBezTo>
                    <a:pt x="2305" y="1"/>
                    <a:pt x="1615" y="497"/>
                    <a:pt x="1334" y="1192"/>
                  </a:cubicBezTo>
                  <a:cubicBezTo>
                    <a:pt x="1283" y="1185"/>
                    <a:pt x="1238" y="1185"/>
                    <a:pt x="1187" y="1185"/>
                  </a:cubicBezTo>
                  <a:cubicBezTo>
                    <a:pt x="534" y="1185"/>
                    <a:pt x="1" y="1712"/>
                    <a:pt x="1" y="2371"/>
                  </a:cubicBezTo>
                  <a:cubicBezTo>
                    <a:pt x="1" y="2460"/>
                    <a:pt x="15" y="2549"/>
                    <a:pt x="38" y="2638"/>
                  </a:cubicBezTo>
                  <a:lnTo>
                    <a:pt x="5876" y="2638"/>
                  </a:lnTo>
                  <a:cubicBezTo>
                    <a:pt x="5891" y="2624"/>
                    <a:pt x="5907" y="2615"/>
                    <a:pt x="5921" y="2601"/>
                  </a:cubicBezTo>
                  <a:cubicBezTo>
                    <a:pt x="5921" y="2615"/>
                    <a:pt x="5928" y="2624"/>
                    <a:pt x="5935" y="2638"/>
                  </a:cubicBezTo>
                  <a:lnTo>
                    <a:pt x="7217" y="2638"/>
                  </a:lnTo>
                  <a:cubicBezTo>
                    <a:pt x="7248" y="2556"/>
                    <a:pt x="7269" y="2467"/>
                    <a:pt x="7269" y="2371"/>
                  </a:cubicBezTo>
                  <a:cubicBezTo>
                    <a:pt x="7269" y="1986"/>
                    <a:pt x="6958" y="1674"/>
                    <a:pt x="6573" y="1674"/>
                  </a:cubicBezTo>
                  <a:cubicBezTo>
                    <a:pt x="6440" y="1674"/>
                    <a:pt x="6314" y="1712"/>
                    <a:pt x="6202" y="1779"/>
                  </a:cubicBezTo>
                  <a:cubicBezTo>
                    <a:pt x="6136" y="1335"/>
                    <a:pt x="5750" y="993"/>
                    <a:pt x="5291" y="993"/>
                  </a:cubicBezTo>
                  <a:cubicBezTo>
                    <a:pt x="5128" y="993"/>
                    <a:pt x="4980" y="1038"/>
                    <a:pt x="4854" y="1103"/>
                  </a:cubicBezTo>
                  <a:cubicBezTo>
                    <a:pt x="4543" y="453"/>
                    <a:pt x="3883" y="1"/>
                    <a:pt x="3113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5231;p53">
              <a:extLst>
                <a:ext uri="{FF2B5EF4-FFF2-40B4-BE49-F238E27FC236}">
                  <a16:creationId xmlns:a16="http://schemas.microsoft.com/office/drawing/2014/main" id="{38E8F934-8831-376B-C423-61D0456ED8FF}"/>
                </a:ext>
              </a:extLst>
            </p:cNvPr>
            <p:cNvSpPr/>
            <p:nvPr/>
          </p:nvSpPr>
          <p:spPr>
            <a:xfrm>
              <a:off x="7506267" y="1127208"/>
              <a:ext cx="100825" cy="36700"/>
            </a:xfrm>
            <a:custGeom>
              <a:avLst/>
              <a:gdLst/>
              <a:ahLst/>
              <a:cxnLst/>
              <a:rect l="l" t="t" r="r" b="b"/>
              <a:pathLst>
                <a:path w="4033" h="1468" extrusionOk="0">
                  <a:moveTo>
                    <a:pt x="2306" y="0"/>
                  </a:moveTo>
                  <a:cubicBezTo>
                    <a:pt x="1875" y="0"/>
                    <a:pt x="1512" y="253"/>
                    <a:pt x="1342" y="616"/>
                  </a:cubicBezTo>
                  <a:cubicBezTo>
                    <a:pt x="1267" y="578"/>
                    <a:pt x="1187" y="557"/>
                    <a:pt x="1098" y="557"/>
                  </a:cubicBezTo>
                  <a:cubicBezTo>
                    <a:pt x="838" y="557"/>
                    <a:pt x="623" y="742"/>
                    <a:pt x="586" y="986"/>
                  </a:cubicBezTo>
                  <a:cubicBezTo>
                    <a:pt x="527" y="950"/>
                    <a:pt x="460" y="927"/>
                    <a:pt x="387" y="927"/>
                  </a:cubicBezTo>
                  <a:cubicBezTo>
                    <a:pt x="171" y="927"/>
                    <a:pt x="1" y="1105"/>
                    <a:pt x="1" y="1320"/>
                  </a:cubicBezTo>
                  <a:cubicBezTo>
                    <a:pt x="1" y="1372"/>
                    <a:pt x="8" y="1416"/>
                    <a:pt x="31" y="1468"/>
                  </a:cubicBezTo>
                  <a:lnTo>
                    <a:pt x="742" y="1468"/>
                  </a:lnTo>
                  <a:cubicBezTo>
                    <a:pt x="742" y="1460"/>
                    <a:pt x="742" y="1453"/>
                    <a:pt x="749" y="1446"/>
                  </a:cubicBezTo>
                  <a:cubicBezTo>
                    <a:pt x="757" y="1453"/>
                    <a:pt x="764" y="1460"/>
                    <a:pt x="771" y="1468"/>
                  </a:cubicBezTo>
                  <a:lnTo>
                    <a:pt x="4009" y="1468"/>
                  </a:lnTo>
                  <a:cubicBezTo>
                    <a:pt x="4023" y="1416"/>
                    <a:pt x="4032" y="1364"/>
                    <a:pt x="4032" y="1320"/>
                  </a:cubicBezTo>
                  <a:cubicBezTo>
                    <a:pt x="4032" y="957"/>
                    <a:pt x="3735" y="660"/>
                    <a:pt x="3373" y="660"/>
                  </a:cubicBezTo>
                  <a:cubicBezTo>
                    <a:pt x="3342" y="660"/>
                    <a:pt x="3321" y="660"/>
                    <a:pt x="3291" y="667"/>
                  </a:cubicBezTo>
                  <a:cubicBezTo>
                    <a:pt x="3134" y="274"/>
                    <a:pt x="2750" y="0"/>
                    <a:pt x="230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5232;p53">
              <a:extLst>
                <a:ext uri="{FF2B5EF4-FFF2-40B4-BE49-F238E27FC236}">
                  <a16:creationId xmlns:a16="http://schemas.microsoft.com/office/drawing/2014/main" id="{134E48C2-B3CD-C82E-535B-A1E4CC38B990}"/>
                </a:ext>
              </a:extLst>
            </p:cNvPr>
            <p:cNvSpPr/>
            <p:nvPr/>
          </p:nvSpPr>
          <p:spPr>
            <a:xfrm>
              <a:off x="7210300" y="1305925"/>
              <a:ext cx="123225" cy="60400"/>
            </a:xfrm>
            <a:custGeom>
              <a:avLst/>
              <a:gdLst/>
              <a:ahLst/>
              <a:cxnLst/>
              <a:rect l="l" t="t" r="r" b="b"/>
              <a:pathLst>
                <a:path w="4929" h="2416" extrusionOk="0">
                  <a:moveTo>
                    <a:pt x="2165" y="1"/>
                  </a:moveTo>
                  <a:cubicBezTo>
                    <a:pt x="1290" y="1"/>
                    <a:pt x="579" y="682"/>
                    <a:pt x="527" y="1541"/>
                  </a:cubicBezTo>
                  <a:cubicBezTo>
                    <a:pt x="223" y="1601"/>
                    <a:pt x="1" y="1868"/>
                    <a:pt x="1" y="2186"/>
                  </a:cubicBezTo>
                  <a:cubicBezTo>
                    <a:pt x="1" y="2261"/>
                    <a:pt x="15" y="2341"/>
                    <a:pt x="45" y="2416"/>
                  </a:cubicBezTo>
                  <a:lnTo>
                    <a:pt x="4922" y="2416"/>
                  </a:lnTo>
                  <a:cubicBezTo>
                    <a:pt x="4922" y="2394"/>
                    <a:pt x="4929" y="2371"/>
                    <a:pt x="4929" y="2357"/>
                  </a:cubicBezTo>
                  <a:cubicBezTo>
                    <a:pt x="4929" y="1889"/>
                    <a:pt x="4550" y="1512"/>
                    <a:pt x="4084" y="1512"/>
                  </a:cubicBezTo>
                  <a:cubicBezTo>
                    <a:pt x="3988" y="1512"/>
                    <a:pt x="3890" y="1534"/>
                    <a:pt x="3810" y="1564"/>
                  </a:cubicBezTo>
                  <a:cubicBezTo>
                    <a:pt x="3766" y="696"/>
                    <a:pt x="3045" y="1"/>
                    <a:pt x="216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5233;p53">
              <a:extLst>
                <a:ext uri="{FF2B5EF4-FFF2-40B4-BE49-F238E27FC236}">
                  <a16:creationId xmlns:a16="http://schemas.microsoft.com/office/drawing/2014/main" id="{E626ABEE-6561-9F55-B617-393FD2F8BC1B}"/>
                </a:ext>
              </a:extLst>
            </p:cNvPr>
            <p:cNvSpPr/>
            <p:nvPr/>
          </p:nvSpPr>
          <p:spPr>
            <a:xfrm>
              <a:off x="7267000" y="1159750"/>
              <a:ext cx="166575" cy="81575"/>
            </a:xfrm>
            <a:custGeom>
              <a:avLst/>
              <a:gdLst/>
              <a:ahLst/>
              <a:cxnLst/>
              <a:rect l="l" t="t" r="r" b="b"/>
              <a:pathLst>
                <a:path w="6663" h="3263" extrusionOk="0">
                  <a:moveTo>
                    <a:pt x="3742" y="1"/>
                  </a:moveTo>
                  <a:cubicBezTo>
                    <a:pt x="2549" y="1"/>
                    <a:pt x="1578" y="934"/>
                    <a:pt x="1519" y="2113"/>
                  </a:cubicBezTo>
                  <a:cubicBezTo>
                    <a:pt x="1400" y="2069"/>
                    <a:pt x="1275" y="2046"/>
                    <a:pt x="1142" y="2046"/>
                  </a:cubicBezTo>
                  <a:cubicBezTo>
                    <a:pt x="511" y="2046"/>
                    <a:pt x="0" y="2551"/>
                    <a:pt x="0" y="3180"/>
                  </a:cubicBezTo>
                  <a:cubicBezTo>
                    <a:pt x="0" y="3209"/>
                    <a:pt x="0" y="3232"/>
                    <a:pt x="7" y="3262"/>
                  </a:cubicBezTo>
                  <a:lnTo>
                    <a:pt x="6610" y="3262"/>
                  </a:lnTo>
                  <a:cubicBezTo>
                    <a:pt x="6646" y="3164"/>
                    <a:pt x="6662" y="3061"/>
                    <a:pt x="6662" y="2951"/>
                  </a:cubicBezTo>
                  <a:cubicBezTo>
                    <a:pt x="6662" y="2520"/>
                    <a:pt x="6365" y="2165"/>
                    <a:pt x="5958" y="2076"/>
                  </a:cubicBezTo>
                  <a:cubicBezTo>
                    <a:pt x="5883" y="920"/>
                    <a:pt x="4921" y="1"/>
                    <a:pt x="3742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5234;p53">
              <a:extLst>
                <a:ext uri="{FF2B5EF4-FFF2-40B4-BE49-F238E27FC236}">
                  <a16:creationId xmlns:a16="http://schemas.microsoft.com/office/drawing/2014/main" id="{57B2918F-08E0-83DF-212E-152298A11376}"/>
                </a:ext>
              </a:extLst>
            </p:cNvPr>
            <p:cNvSpPr/>
            <p:nvPr/>
          </p:nvSpPr>
          <p:spPr>
            <a:xfrm>
              <a:off x="7225125" y="1603800"/>
              <a:ext cx="228450" cy="75025"/>
            </a:xfrm>
            <a:custGeom>
              <a:avLst/>
              <a:gdLst/>
              <a:ahLst/>
              <a:cxnLst/>
              <a:rect l="l" t="t" r="r" b="b"/>
              <a:pathLst>
                <a:path w="9138" h="3001" extrusionOk="0">
                  <a:moveTo>
                    <a:pt x="1104" y="1"/>
                  </a:moveTo>
                  <a:lnTo>
                    <a:pt x="0" y="1571"/>
                  </a:lnTo>
                  <a:cubicBezTo>
                    <a:pt x="75" y="1550"/>
                    <a:pt x="149" y="1534"/>
                    <a:pt x="229" y="1534"/>
                  </a:cubicBezTo>
                  <a:cubicBezTo>
                    <a:pt x="608" y="1534"/>
                    <a:pt x="912" y="1808"/>
                    <a:pt x="971" y="2172"/>
                  </a:cubicBezTo>
                  <a:cubicBezTo>
                    <a:pt x="1015" y="2149"/>
                    <a:pt x="1067" y="2135"/>
                    <a:pt x="1128" y="2135"/>
                  </a:cubicBezTo>
                  <a:cubicBezTo>
                    <a:pt x="1163" y="2135"/>
                    <a:pt x="1200" y="2142"/>
                    <a:pt x="1238" y="2156"/>
                  </a:cubicBezTo>
                  <a:cubicBezTo>
                    <a:pt x="1341" y="2030"/>
                    <a:pt x="1490" y="1957"/>
                    <a:pt x="1661" y="1957"/>
                  </a:cubicBezTo>
                  <a:cubicBezTo>
                    <a:pt x="1956" y="1957"/>
                    <a:pt x="2195" y="2201"/>
                    <a:pt x="2195" y="2498"/>
                  </a:cubicBezTo>
                  <a:lnTo>
                    <a:pt x="2195" y="2535"/>
                  </a:lnTo>
                  <a:cubicBezTo>
                    <a:pt x="2246" y="2498"/>
                    <a:pt x="2305" y="2467"/>
                    <a:pt x="2372" y="2467"/>
                  </a:cubicBezTo>
                  <a:cubicBezTo>
                    <a:pt x="2527" y="2467"/>
                    <a:pt x="2653" y="2594"/>
                    <a:pt x="2653" y="2750"/>
                  </a:cubicBezTo>
                  <a:cubicBezTo>
                    <a:pt x="2653" y="2860"/>
                    <a:pt x="2595" y="2957"/>
                    <a:pt x="2497" y="3001"/>
                  </a:cubicBezTo>
                  <a:lnTo>
                    <a:pt x="5188" y="3001"/>
                  </a:lnTo>
                  <a:cubicBezTo>
                    <a:pt x="5136" y="2973"/>
                    <a:pt x="5106" y="2912"/>
                    <a:pt x="5106" y="2853"/>
                  </a:cubicBezTo>
                  <a:cubicBezTo>
                    <a:pt x="5106" y="2750"/>
                    <a:pt x="5188" y="2668"/>
                    <a:pt x="5291" y="2668"/>
                  </a:cubicBezTo>
                  <a:cubicBezTo>
                    <a:pt x="5335" y="2668"/>
                    <a:pt x="5380" y="2683"/>
                    <a:pt x="5410" y="2706"/>
                  </a:cubicBezTo>
                  <a:lnTo>
                    <a:pt x="5410" y="2683"/>
                  </a:lnTo>
                  <a:cubicBezTo>
                    <a:pt x="5410" y="2483"/>
                    <a:pt x="5573" y="2327"/>
                    <a:pt x="5765" y="2327"/>
                  </a:cubicBezTo>
                  <a:cubicBezTo>
                    <a:pt x="5876" y="2327"/>
                    <a:pt x="5981" y="2379"/>
                    <a:pt x="6039" y="2453"/>
                  </a:cubicBezTo>
                  <a:cubicBezTo>
                    <a:pt x="6070" y="2446"/>
                    <a:pt x="6091" y="2446"/>
                    <a:pt x="6121" y="2446"/>
                  </a:cubicBezTo>
                  <a:cubicBezTo>
                    <a:pt x="6159" y="2446"/>
                    <a:pt x="6187" y="2453"/>
                    <a:pt x="6224" y="2467"/>
                  </a:cubicBezTo>
                  <a:cubicBezTo>
                    <a:pt x="6240" y="2357"/>
                    <a:pt x="6292" y="2261"/>
                    <a:pt x="6365" y="2186"/>
                  </a:cubicBezTo>
                  <a:lnTo>
                    <a:pt x="6388" y="734"/>
                  </a:lnTo>
                  <a:cubicBezTo>
                    <a:pt x="6402" y="734"/>
                    <a:pt x="6409" y="1505"/>
                    <a:pt x="6418" y="2142"/>
                  </a:cubicBezTo>
                  <a:cubicBezTo>
                    <a:pt x="6498" y="2083"/>
                    <a:pt x="6603" y="2046"/>
                    <a:pt x="6713" y="2046"/>
                  </a:cubicBezTo>
                  <a:cubicBezTo>
                    <a:pt x="6774" y="2046"/>
                    <a:pt x="6833" y="2060"/>
                    <a:pt x="6884" y="2074"/>
                  </a:cubicBezTo>
                  <a:cubicBezTo>
                    <a:pt x="7076" y="2135"/>
                    <a:pt x="7218" y="2306"/>
                    <a:pt x="7218" y="2512"/>
                  </a:cubicBezTo>
                  <a:lnTo>
                    <a:pt x="7218" y="2549"/>
                  </a:lnTo>
                  <a:cubicBezTo>
                    <a:pt x="7233" y="2542"/>
                    <a:pt x="7247" y="2542"/>
                    <a:pt x="7270" y="2542"/>
                  </a:cubicBezTo>
                  <a:lnTo>
                    <a:pt x="7284" y="2542"/>
                  </a:lnTo>
                  <a:cubicBezTo>
                    <a:pt x="7441" y="2386"/>
                    <a:pt x="7626" y="2245"/>
                    <a:pt x="7832" y="2112"/>
                  </a:cubicBezTo>
                  <a:cubicBezTo>
                    <a:pt x="7841" y="1934"/>
                    <a:pt x="7900" y="1756"/>
                    <a:pt x="8010" y="1601"/>
                  </a:cubicBezTo>
                  <a:lnTo>
                    <a:pt x="9137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5235;p53">
              <a:extLst>
                <a:ext uri="{FF2B5EF4-FFF2-40B4-BE49-F238E27FC236}">
                  <a16:creationId xmlns:a16="http://schemas.microsoft.com/office/drawing/2014/main" id="{924EE238-8657-270F-E13C-D7F93F68C137}"/>
                </a:ext>
              </a:extLst>
            </p:cNvPr>
            <p:cNvSpPr/>
            <p:nvPr/>
          </p:nvSpPr>
          <p:spPr>
            <a:xfrm>
              <a:off x="7415350" y="1386900"/>
              <a:ext cx="497800" cy="293450"/>
            </a:xfrm>
            <a:custGeom>
              <a:avLst/>
              <a:gdLst/>
              <a:ahLst/>
              <a:cxnLst/>
              <a:rect l="l" t="t" r="r" b="b"/>
              <a:pathLst>
                <a:path w="19912" h="11738" extrusionOk="0">
                  <a:moveTo>
                    <a:pt x="8752" y="0"/>
                  </a:moveTo>
                  <a:cubicBezTo>
                    <a:pt x="8604" y="0"/>
                    <a:pt x="8471" y="59"/>
                    <a:pt x="8368" y="155"/>
                  </a:cubicBezTo>
                  <a:cubicBezTo>
                    <a:pt x="8270" y="251"/>
                    <a:pt x="8211" y="391"/>
                    <a:pt x="8211" y="541"/>
                  </a:cubicBezTo>
                  <a:lnTo>
                    <a:pt x="8211" y="770"/>
                  </a:lnTo>
                  <a:lnTo>
                    <a:pt x="8211" y="3512"/>
                  </a:lnTo>
                  <a:lnTo>
                    <a:pt x="8211" y="3742"/>
                  </a:lnTo>
                  <a:cubicBezTo>
                    <a:pt x="8211" y="3890"/>
                    <a:pt x="8153" y="4023"/>
                    <a:pt x="8048" y="4126"/>
                  </a:cubicBezTo>
                  <a:cubicBezTo>
                    <a:pt x="7952" y="4224"/>
                    <a:pt x="7818" y="4283"/>
                    <a:pt x="7664" y="4283"/>
                  </a:cubicBezTo>
                  <a:cubicBezTo>
                    <a:pt x="7367" y="4283"/>
                    <a:pt x="7123" y="4037"/>
                    <a:pt x="7123" y="3742"/>
                  </a:cubicBezTo>
                  <a:lnTo>
                    <a:pt x="7123" y="770"/>
                  </a:lnTo>
                  <a:lnTo>
                    <a:pt x="7123" y="756"/>
                  </a:lnTo>
                  <a:lnTo>
                    <a:pt x="401" y="10277"/>
                  </a:lnTo>
                  <a:cubicBezTo>
                    <a:pt x="1" y="10848"/>
                    <a:pt x="328" y="11693"/>
                    <a:pt x="979" y="11737"/>
                  </a:cubicBezTo>
                  <a:lnTo>
                    <a:pt x="18933" y="11737"/>
                  </a:lnTo>
                  <a:cubicBezTo>
                    <a:pt x="19586" y="11693"/>
                    <a:pt x="19911" y="10839"/>
                    <a:pt x="19511" y="10277"/>
                  </a:cubicBezTo>
                  <a:lnTo>
                    <a:pt x="12561" y="496"/>
                  </a:lnTo>
                  <a:lnTo>
                    <a:pt x="12561" y="3393"/>
                  </a:lnTo>
                  <a:cubicBezTo>
                    <a:pt x="12561" y="3541"/>
                    <a:pt x="12494" y="3674"/>
                    <a:pt x="12398" y="3770"/>
                  </a:cubicBezTo>
                  <a:cubicBezTo>
                    <a:pt x="12302" y="3875"/>
                    <a:pt x="12161" y="3934"/>
                    <a:pt x="12014" y="3934"/>
                  </a:cubicBezTo>
                  <a:cubicBezTo>
                    <a:pt x="11717" y="3934"/>
                    <a:pt x="11471" y="3690"/>
                    <a:pt x="11471" y="3393"/>
                  </a:cubicBezTo>
                  <a:lnTo>
                    <a:pt x="11471" y="1592"/>
                  </a:lnTo>
                  <a:cubicBezTo>
                    <a:pt x="11471" y="1290"/>
                    <a:pt x="11227" y="1044"/>
                    <a:pt x="10923" y="1044"/>
                  </a:cubicBezTo>
                  <a:cubicBezTo>
                    <a:pt x="10776" y="1044"/>
                    <a:pt x="10642" y="1112"/>
                    <a:pt x="10537" y="1208"/>
                  </a:cubicBezTo>
                  <a:cubicBezTo>
                    <a:pt x="10441" y="1304"/>
                    <a:pt x="10383" y="1444"/>
                    <a:pt x="10383" y="1592"/>
                  </a:cubicBezTo>
                  <a:lnTo>
                    <a:pt x="10383" y="2734"/>
                  </a:lnTo>
                  <a:cubicBezTo>
                    <a:pt x="10383" y="2890"/>
                    <a:pt x="10324" y="3023"/>
                    <a:pt x="10219" y="3119"/>
                  </a:cubicBezTo>
                  <a:cubicBezTo>
                    <a:pt x="10123" y="3223"/>
                    <a:pt x="9990" y="3281"/>
                    <a:pt x="9835" y="3281"/>
                  </a:cubicBezTo>
                  <a:cubicBezTo>
                    <a:pt x="9538" y="3281"/>
                    <a:pt x="9293" y="3038"/>
                    <a:pt x="9293" y="2734"/>
                  </a:cubicBezTo>
                  <a:lnTo>
                    <a:pt x="9302" y="2734"/>
                  </a:lnTo>
                  <a:lnTo>
                    <a:pt x="9302" y="541"/>
                  </a:lnTo>
                  <a:cubicBezTo>
                    <a:pt x="9302" y="244"/>
                    <a:pt x="9056" y="0"/>
                    <a:pt x="875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5236;p53">
              <a:extLst>
                <a:ext uri="{FF2B5EF4-FFF2-40B4-BE49-F238E27FC236}">
                  <a16:creationId xmlns:a16="http://schemas.microsoft.com/office/drawing/2014/main" id="{5A02BECE-75E6-DD9B-A2A9-851B01E5123B}"/>
                </a:ext>
              </a:extLst>
            </p:cNvPr>
            <p:cNvSpPr/>
            <p:nvPr/>
          </p:nvSpPr>
          <p:spPr>
            <a:xfrm>
              <a:off x="7593425" y="1342600"/>
              <a:ext cx="135975" cy="151375"/>
            </a:xfrm>
            <a:custGeom>
              <a:avLst/>
              <a:gdLst/>
              <a:ahLst/>
              <a:cxnLst/>
              <a:rect l="l" t="t" r="r" b="b"/>
              <a:pathLst>
                <a:path w="5439" h="6055" extrusionOk="0">
                  <a:moveTo>
                    <a:pt x="2815" y="1"/>
                  </a:moveTo>
                  <a:cubicBezTo>
                    <a:pt x="2163" y="1"/>
                    <a:pt x="1547" y="334"/>
                    <a:pt x="1147" y="897"/>
                  </a:cubicBezTo>
                  <a:lnTo>
                    <a:pt x="0" y="2528"/>
                  </a:lnTo>
                  <a:lnTo>
                    <a:pt x="0" y="2542"/>
                  </a:lnTo>
                  <a:lnTo>
                    <a:pt x="0" y="5514"/>
                  </a:lnTo>
                  <a:cubicBezTo>
                    <a:pt x="0" y="5809"/>
                    <a:pt x="244" y="6055"/>
                    <a:pt x="541" y="6055"/>
                  </a:cubicBezTo>
                  <a:cubicBezTo>
                    <a:pt x="695" y="6055"/>
                    <a:pt x="829" y="5996"/>
                    <a:pt x="925" y="5898"/>
                  </a:cubicBezTo>
                  <a:cubicBezTo>
                    <a:pt x="1030" y="5795"/>
                    <a:pt x="1088" y="5662"/>
                    <a:pt x="1088" y="5514"/>
                  </a:cubicBezTo>
                  <a:lnTo>
                    <a:pt x="1088" y="5284"/>
                  </a:lnTo>
                  <a:lnTo>
                    <a:pt x="1088" y="2542"/>
                  </a:lnTo>
                  <a:lnTo>
                    <a:pt x="1088" y="2313"/>
                  </a:lnTo>
                  <a:cubicBezTo>
                    <a:pt x="1088" y="2163"/>
                    <a:pt x="1147" y="2023"/>
                    <a:pt x="1245" y="1927"/>
                  </a:cubicBezTo>
                  <a:cubicBezTo>
                    <a:pt x="1348" y="1831"/>
                    <a:pt x="1481" y="1772"/>
                    <a:pt x="1629" y="1772"/>
                  </a:cubicBezTo>
                  <a:cubicBezTo>
                    <a:pt x="1933" y="1772"/>
                    <a:pt x="2179" y="2016"/>
                    <a:pt x="2179" y="2313"/>
                  </a:cubicBezTo>
                  <a:lnTo>
                    <a:pt x="2179" y="4506"/>
                  </a:lnTo>
                  <a:lnTo>
                    <a:pt x="2170" y="4506"/>
                  </a:lnTo>
                  <a:cubicBezTo>
                    <a:pt x="2170" y="4810"/>
                    <a:pt x="2415" y="5053"/>
                    <a:pt x="2712" y="5053"/>
                  </a:cubicBezTo>
                  <a:cubicBezTo>
                    <a:pt x="2867" y="5053"/>
                    <a:pt x="3000" y="4995"/>
                    <a:pt x="3096" y="4891"/>
                  </a:cubicBezTo>
                  <a:cubicBezTo>
                    <a:pt x="3201" y="4795"/>
                    <a:pt x="3260" y="4662"/>
                    <a:pt x="3260" y="4506"/>
                  </a:cubicBezTo>
                  <a:lnTo>
                    <a:pt x="3260" y="3364"/>
                  </a:lnTo>
                  <a:cubicBezTo>
                    <a:pt x="3260" y="3216"/>
                    <a:pt x="3318" y="3076"/>
                    <a:pt x="3414" y="2980"/>
                  </a:cubicBezTo>
                  <a:cubicBezTo>
                    <a:pt x="3519" y="2884"/>
                    <a:pt x="3653" y="2816"/>
                    <a:pt x="3800" y="2816"/>
                  </a:cubicBezTo>
                  <a:cubicBezTo>
                    <a:pt x="4104" y="2816"/>
                    <a:pt x="4348" y="3062"/>
                    <a:pt x="4348" y="3364"/>
                  </a:cubicBezTo>
                  <a:lnTo>
                    <a:pt x="4348" y="5165"/>
                  </a:lnTo>
                  <a:cubicBezTo>
                    <a:pt x="4348" y="5462"/>
                    <a:pt x="4594" y="5706"/>
                    <a:pt x="4891" y="5706"/>
                  </a:cubicBezTo>
                  <a:cubicBezTo>
                    <a:pt x="5038" y="5706"/>
                    <a:pt x="5179" y="5647"/>
                    <a:pt x="5275" y="5542"/>
                  </a:cubicBezTo>
                  <a:cubicBezTo>
                    <a:pt x="5371" y="5446"/>
                    <a:pt x="5438" y="5313"/>
                    <a:pt x="5438" y="5165"/>
                  </a:cubicBezTo>
                  <a:lnTo>
                    <a:pt x="5438" y="2268"/>
                  </a:lnTo>
                  <a:lnTo>
                    <a:pt x="4437" y="867"/>
                  </a:lnTo>
                  <a:cubicBezTo>
                    <a:pt x="4053" y="326"/>
                    <a:pt x="3452" y="1"/>
                    <a:pt x="281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5237;p53">
              <a:extLst>
                <a:ext uri="{FF2B5EF4-FFF2-40B4-BE49-F238E27FC236}">
                  <a16:creationId xmlns:a16="http://schemas.microsoft.com/office/drawing/2014/main" id="{7A6CFCCB-1322-300C-02B5-61B1E08DB38C}"/>
                </a:ext>
              </a:extLst>
            </p:cNvPr>
            <p:cNvSpPr/>
            <p:nvPr/>
          </p:nvSpPr>
          <p:spPr>
            <a:xfrm>
              <a:off x="7437400" y="1679925"/>
              <a:ext cx="3375" cy="425"/>
            </a:xfrm>
            <a:custGeom>
              <a:avLst/>
              <a:gdLst/>
              <a:ahLst/>
              <a:cxnLst/>
              <a:rect l="l" t="t" r="r" b="b"/>
              <a:pathLst>
                <a:path w="135" h="17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8"/>
                    <a:pt x="61" y="16"/>
                    <a:pt x="97" y="16"/>
                  </a:cubicBezTo>
                  <a:lnTo>
                    <a:pt x="134" y="16"/>
                  </a:lnTo>
                  <a:lnTo>
                    <a:pt x="97" y="16"/>
                  </a:lnTo>
                  <a:cubicBezTo>
                    <a:pt x="61" y="16"/>
                    <a:pt x="31" y="8"/>
                    <a:pt x="1" y="0"/>
                  </a:cubicBezTo>
                  <a:close/>
                </a:path>
              </a:pathLst>
            </a:custGeom>
            <a:solidFill>
              <a:srgbClr val="67717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5238;p53">
              <a:extLst>
                <a:ext uri="{FF2B5EF4-FFF2-40B4-BE49-F238E27FC236}">
                  <a16:creationId xmlns:a16="http://schemas.microsoft.com/office/drawing/2014/main" id="{4A5365DE-F869-EBDC-02AC-8D0892CA2203}"/>
                </a:ext>
              </a:extLst>
            </p:cNvPr>
            <p:cNvSpPr/>
            <p:nvPr/>
          </p:nvSpPr>
          <p:spPr>
            <a:xfrm>
              <a:off x="7420900" y="1576550"/>
              <a:ext cx="371275" cy="103800"/>
            </a:xfrm>
            <a:custGeom>
              <a:avLst/>
              <a:gdLst/>
              <a:ahLst/>
              <a:cxnLst/>
              <a:rect l="l" t="t" r="r" b="b"/>
              <a:pathLst>
                <a:path w="14851" h="4152" extrusionOk="0">
                  <a:moveTo>
                    <a:pt x="661" y="4135"/>
                  </a:moveTo>
                  <a:cubicBezTo>
                    <a:pt x="691" y="4143"/>
                    <a:pt x="721" y="4151"/>
                    <a:pt x="757" y="4151"/>
                  </a:cubicBezTo>
                  <a:lnTo>
                    <a:pt x="6101" y="4151"/>
                  </a:lnTo>
                  <a:cubicBezTo>
                    <a:pt x="6101" y="4151"/>
                    <a:pt x="6101" y="4143"/>
                    <a:pt x="6108" y="4135"/>
                  </a:cubicBezTo>
                  <a:close/>
                  <a:moveTo>
                    <a:pt x="2076" y="1"/>
                  </a:moveTo>
                  <a:lnTo>
                    <a:pt x="179" y="2691"/>
                  </a:lnTo>
                  <a:cubicBezTo>
                    <a:pt x="69" y="2846"/>
                    <a:pt x="10" y="3024"/>
                    <a:pt x="1" y="3202"/>
                  </a:cubicBezTo>
                  <a:cubicBezTo>
                    <a:pt x="862" y="2661"/>
                    <a:pt x="2121" y="2313"/>
                    <a:pt x="3522" y="2313"/>
                  </a:cubicBezTo>
                  <a:cubicBezTo>
                    <a:pt x="4811" y="2313"/>
                    <a:pt x="5982" y="2602"/>
                    <a:pt x="6826" y="3068"/>
                  </a:cubicBezTo>
                  <a:cubicBezTo>
                    <a:pt x="7664" y="2231"/>
                    <a:pt x="8982" y="1683"/>
                    <a:pt x="10472" y="1683"/>
                  </a:cubicBezTo>
                  <a:cubicBezTo>
                    <a:pt x="12524" y="1683"/>
                    <a:pt x="14265" y="2720"/>
                    <a:pt x="14843" y="4151"/>
                  </a:cubicBezTo>
                  <a:lnTo>
                    <a:pt x="14850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5239;p53">
              <a:extLst>
                <a:ext uri="{FF2B5EF4-FFF2-40B4-BE49-F238E27FC236}">
                  <a16:creationId xmlns:a16="http://schemas.microsoft.com/office/drawing/2014/main" id="{F5BAF1A9-54BD-B251-8589-5CF753B496E6}"/>
                </a:ext>
              </a:extLst>
            </p:cNvPr>
            <p:cNvSpPr/>
            <p:nvPr/>
          </p:nvSpPr>
          <p:spPr>
            <a:xfrm>
              <a:off x="7697125" y="1146225"/>
              <a:ext cx="96725" cy="77300"/>
            </a:xfrm>
            <a:custGeom>
              <a:avLst/>
              <a:gdLst/>
              <a:ahLst/>
              <a:cxnLst/>
              <a:rect l="l" t="t" r="r" b="b"/>
              <a:pathLst>
                <a:path w="3869" h="3092" extrusionOk="0">
                  <a:moveTo>
                    <a:pt x="3647" y="1"/>
                  </a:moveTo>
                  <a:cubicBezTo>
                    <a:pt x="2706" y="1"/>
                    <a:pt x="1898" y="579"/>
                    <a:pt x="1557" y="1393"/>
                  </a:cubicBezTo>
                  <a:cubicBezTo>
                    <a:pt x="1505" y="1386"/>
                    <a:pt x="1445" y="1386"/>
                    <a:pt x="1393" y="1386"/>
                  </a:cubicBezTo>
                  <a:cubicBezTo>
                    <a:pt x="623" y="1386"/>
                    <a:pt x="1" y="2009"/>
                    <a:pt x="1" y="2772"/>
                  </a:cubicBezTo>
                  <a:cubicBezTo>
                    <a:pt x="1" y="2884"/>
                    <a:pt x="15" y="2987"/>
                    <a:pt x="38" y="3092"/>
                  </a:cubicBezTo>
                  <a:lnTo>
                    <a:pt x="3869" y="3092"/>
                  </a:lnTo>
                  <a:lnTo>
                    <a:pt x="3869" y="2217"/>
                  </a:lnTo>
                  <a:lnTo>
                    <a:pt x="3869" y="8"/>
                  </a:lnTo>
                  <a:cubicBezTo>
                    <a:pt x="3794" y="1"/>
                    <a:pt x="3721" y="1"/>
                    <a:pt x="3647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5240;p53">
              <a:extLst>
                <a:ext uri="{FF2B5EF4-FFF2-40B4-BE49-F238E27FC236}">
                  <a16:creationId xmlns:a16="http://schemas.microsoft.com/office/drawing/2014/main" id="{98933808-A043-0A9D-C0D6-DF292C7526FE}"/>
                </a:ext>
              </a:extLst>
            </p:cNvPr>
            <p:cNvSpPr/>
            <p:nvPr/>
          </p:nvSpPr>
          <p:spPr>
            <a:xfrm>
              <a:off x="7397400" y="1634350"/>
              <a:ext cx="223250" cy="45600"/>
            </a:xfrm>
            <a:custGeom>
              <a:avLst/>
              <a:gdLst/>
              <a:ahLst/>
              <a:cxnLst/>
              <a:rect l="l" t="t" r="r" b="b"/>
              <a:pathLst>
                <a:path w="8930" h="1824" extrusionOk="0">
                  <a:moveTo>
                    <a:pt x="4462" y="1"/>
                  </a:moveTo>
                  <a:cubicBezTo>
                    <a:pt x="2364" y="1"/>
                    <a:pt x="585" y="772"/>
                    <a:pt x="0" y="1823"/>
                  </a:cubicBezTo>
                  <a:lnTo>
                    <a:pt x="8929" y="1823"/>
                  </a:lnTo>
                  <a:cubicBezTo>
                    <a:pt x="8344" y="772"/>
                    <a:pt x="6566" y="1"/>
                    <a:pt x="4462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5241;p53">
              <a:extLst>
                <a:ext uri="{FF2B5EF4-FFF2-40B4-BE49-F238E27FC236}">
                  <a16:creationId xmlns:a16="http://schemas.microsoft.com/office/drawing/2014/main" id="{83F3825B-B3E4-E739-CFC7-E6F6C7D6C7C6}"/>
                </a:ext>
              </a:extLst>
            </p:cNvPr>
            <p:cNvSpPr/>
            <p:nvPr/>
          </p:nvSpPr>
          <p:spPr>
            <a:xfrm>
              <a:off x="7573175" y="1618625"/>
              <a:ext cx="218825" cy="62075"/>
            </a:xfrm>
            <a:custGeom>
              <a:avLst/>
              <a:gdLst/>
              <a:ahLst/>
              <a:cxnLst/>
              <a:rect l="l" t="t" r="r" b="b"/>
              <a:pathLst>
                <a:path w="8753" h="2483" extrusionOk="0">
                  <a:moveTo>
                    <a:pt x="4381" y="0"/>
                  </a:moveTo>
                  <a:cubicBezTo>
                    <a:pt x="2322" y="0"/>
                    <a:pt x="572" y="1046"/>
                    <a:pt x="1" y="2483"/>
                  </a:cubicBezTo>
                  <a:lnTo>
                    <a:pt x="8752" y="2483"/>
                  </a:lnTo>
                  <a:cubicBezTo>
                    <a:pt x="8181" y="1046"/>
                    <a:pt x="6440" y="0"/>
                    <a:pt x="438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5242;p53">
              <a:extLst>
                <a:ext uri="{FF2B5EF4-FFF2-40B4-BE49-F238E27FC236}">
                  <a16:creationId xmlns:a16="http://schemas.microsoft.com/office/drawing/2014/main" id="{B869BCCF-FD5B-625E-3E55-154E8D9754C4}"/>
                </a:ext>
              </a:extLst>
            </p:cNvPr>
            <p:cNvSpPr/>
            <p:nvPr/>
          </p:nvSpPr>
          <p:spPr>
            <a:xfrm>
              <a:off x="7615425" y="1633075"/>
              <a:ext cx="37450" cy="20775"/>
            </a:xfrm>
            <a:custGeom>
              <a:avLst/>
              <a:gdLst/>
              <a:ahLst/>
              <a:cxnLst/>
              <a:rect l="l" t="t" r="r" b="b"/>
              <a:pathLst>
                <a:path w="1498" h="831" extrusionOk="0">
                  <a:moveTo>
                    <a:pt x="978" y="0"/>
                  </a:moveTo>
                  <a:cubicBezTo>
                    <a:pt x="882" y="0"/>
                    <a:pt x="772" y="14"/>
                    <a:pt x="660" y="52"/>
                  </a:cubicBezTo>
                  <a:cubicBezTo>
                    <a:pt x="246" y="171"/>
                    <a:pt x="0" y="475"/>
                    <a:pt x="89" y="660"/>
                  </a:cubicBezTo>
                  <a:cubicBezTo>
                    <a:pt x="143" y="779"/>
                    <a:pt x="290" y="831"/>
                    <a:pt x="475" y="831"/>
                  </a:cubicBezTo>
                  <a:cubicBezTo>
                    <a:pt x="594" y="831"/>
                    <a:pt x="735" y="807"/>
                    <a:pt x="868" y="770"/>
                  </a:cubicBezTo>
                  <a:cubicBezTo>
                    <a:pt x="1224" y="667"/>
                    <a:pt x="1498" y="459"/>
                    <a:pt x="1467" y="260"/>
                  </a:cubicBezTo>
                  <a:cubicBezTo>
                    <a:pt x="1446" y="112"/>
                    <a:pt x="1245" y="0"/>
                    <a:pt x="978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5243;p53">
              <a:extLst>
                <a:ext uri="{FF2B5EF4-FFF2-40B4-BE49-F238E27FC236}">
                  <a16:creationId xmlns:a16="http://schemas.microsoft.com/office/drawing/2014/main" id="{808DF3D0-7F9C-F6A4-8F9F-6B5824E9B7A3}"/>
                </a:ext>
              </a:extLst>
            </p:cNvPr>
            <p:cNvSpPr/>
            <p:nvPr/>
          </p:nvSpPr>
          <p:spPr>
            <a:xfrm>
              <a:off x="7658600" y="1636225"/>
              <a:ext cx="19500" cy="10025"/>
            </a:xfrm>
            <a:custGeom>
              <a:avLst/>
              <a:gdLst/>
              <a:ahLst/>
              <a:cxnLst/>
              <a:rect l="l" t="t" r="r" b="b"/>
              <a:pathLst>
                <a:path w="780" h="401" extrusionOk="0">
                  <a:moveTo>
                    <a:pt x="393" y="0"/>
                  </a:moveTo>
                  <a:cubicBezTo>
                    <a:pt x="171" y="0"/>
                    <a:pt x="0" y="103"/>
                    <a:pt x="16" y="215"/>
                  </a:cubicBezTo>
                  <a:cubicBezTo>
                    <a:pt x="23" y="326"/>
                    <a:pt x="185" y="400"/>
                    <a:pt x="386" y="400"/>
                  </a:cubicBezTo>
                  <a:lnTo>
                    <a:pt x="393" y="400"/>
                  </a:lnTo>
                  <a:cubicBezTo>
                    <a:pt x="594" y="400"/>
                    <a:pt x="763" y="319"/>
                    <a:pt x="772" y="215"/>
                  </a:cubicBezTo>
                  <a:cubicBezTo>
                    <a:pt x="779" y="103"/>
                    <a:pt x="608" y="0"/>
                    <a:pt x="393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5244;p53">
              <a:extLst>
                <a:ext uri="{FF2B5EF4-FFF2-40B4-BE49-F238E27FC236}">
                  <a16:creationId xmlns:a16="http://schemas.microsoft.com/office/drawing/2014/main" id="{6D022949-DD66-D72D-E7E3-D00E5AE244D3}"/>
                </a:ext>
              </a:extLst>
            </p:cNvPr>
            <p:cNvSpPr/>
            <p:nvPr/>
          </p:nvSpPr>
          <p:spPr>
            <a:xfrm>
              <a:off x="7362400" y="1596950"/>
              <a:ext cx="43375" cy="54675"/>
            </a:xfrm>
            <a:custGeom>
              <a:avLst/>
              <a:gdLst/>
              <a:ahLst/>
              <a:cxnLst/>
              <a:rect l="l" t="t" r="r" b="b"/>
              <a:pathLst>
                <a:path w="1735" h="2187" extrusionOk="0">
                  <a:moveTo>
                    <a:pt x="867" y="1"/>
                  </a:moveTo>
                  <a:cubicBezTo>
                    <a:pt x="490" y="1"/>
                    <a:pt x="178" y="303"/>
                    <a:pt x="178" y="682"/>
                  </a:cubicBezTo>
                  <a:cubicBezTo>
                    <a:pt x="178" y="712"/>
                    <a:pt x="186" y="741"/>
                    <a:pt x="193" y="778"/>
                  </a:cubicBezTo>
                  <a:cubicBezTo>
                    <a:pt x="66" y="926"/>
                    <a:pt x="1" y="1112"/>
                    <a:pt x="1" y="1319"/>
                  </a:cubicBezTo>
                  <a:cubicBezTo>
                    <a:pt x="1" y="1801"/>
                    <a:pt x="385" y="2187"/>
                    <a:pt x="867" y="2187"/>
                  </a:cubicBezTo>
                  <a:cubicBezTo>
                    <a:pt x="1342" y="2187"/>
                    <a:pt x="1735" y="1801"/>
                    <a:pt x="1735" y="1319"/>
                  </a:cubicBezTo>
                  <a:cubicBezTo>
                    <a:pt x="1735" y="1112"/>
                    <a:pt x="1660" y="926"/>
                    <a:pt x="1541" y="778"/>
                  </a:cubicBezTo>
                  <a:cubicBezTo>
                    <a:pt x="1541" y="741"/>
                    <a:pt x="1550" y="712"/>
                    <a:pt x="1550" y="682"/>
                  </a:cubicBezTo>
                  <a:cubicBezTo>
                    <a:pt x="1550" y="303"/>
                    <a:pt x="1245" y="1"/>
                    <a:pt x="86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5245;p53">
              <a:extLst>
                <a:ext uri="{FF2B5EF4-FFF2-40B4-BE49-F238E27FC236}">
                  <a16:creationId xmlns:a16="http://schemas.microsoft.com/office/drawing/2014/main" id="{1447283C-E0CC-EC5E-07F5-312DE375A3CE}"/>
                </a:ext>
              </a:extLst>
            </p:cNvPr>
            <p:cNvSpPr/>
            <p:nvPr/>
          </p:nvSpPr>
          <p:spPr>
            <a:xfrm>
              <a:off x="7383875" y="1622125"/>
              <a:ext cx="1900" cy="57100"/>
            </a:xfrm>
            <a:custGeom>
              <a:avLst/>
              <a:gdLst/>
              <a:ahLst/>
              <a:cxnLst/>
              <a:rect l="l" t="t" r="r" b="b"/>
              <a:pathLst>
                <a:path w="76" h="2284" extrusionOk="0">
                  <a:moveTo>
                    <a:pt x="38" y="1"/>
                  </a:moveTo>
                  <a:lnTo>
                    <a:pt x="1" y="2247"/>
                  </a:lnTo>
                  <a:cubicBezTo>
                    <a:pt x="1" y="2268"/>
                    <a:pt x="15" y="2284"/>
                    <a:pt x="38" y="2284"/>
                  </a:cubicBezTo>
                  <a:cubicBezTo>
                    <a:pt x="59" y="2284"/>
                    <a:pt x="75" y="2268"/>
                    <a:pt x="75" y="2247"/>
                  </a:cubicBezTo>
                  <a:cubicBezTo>
                    <a:pt x="75" y="2247"/>
                    <a:pt x="59" y="1"/>
                    <a:pt x="38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5246;p53">
              <a:extLst>
                <a:ext uri="{FF2B5EF4-FFF2-40B4-BE49-F238E27FC236}">
                  <a16:creationId xmlns:a16="http://schemas.microsoft.com/office/drawing/2014/main" id="{6EC30A88-D06B-E672-9351-00F121F18C37}"/>
                </a:ext>
              </a:extLst>
            </p:cNvPr>
            <p:cNvSpPr/>
            <p:nvPr/>
          </p:nvSpPr>
          <p:spPr>
            <a:xfrm>
              <a:off x="7373875" y="1635650"/>
              <a:ext cx="10950" cy="8900"/>
            </a:xfrm>
            <a:custGeom>
              <a:avLst/>
              <a:gdLst/>
              <a:ahLst/>
              <a:cxnLst/>
              <a:rect l="l" t="t" r="r" b="b"/>
              <a:pathLst>
                <a:path w="438" h="356" extrusionOk="0">
                  <a:moveTo>
                    <a:pt x="0" y="0"/>
                  </a:moveTo>
                  <a:cubicBezTo>
                    <a:pt x="205" y="342"/>
                    <a:pt x="404" y="356"/>
                    <a:pt x="434" y="356"/>
                  </a:cubicBezTo>
                  <a:cubicBezTo>
                    <a:pt x="437" y="356"/>
                    <a:pt x="438" y="356"/>
                    <a:pt x="438" y="356"/>
                  </a:cubicBezTo>
                  <a:lnTo>
                    <a:pt x="438" y="311"/>
                  </a:lnTo>
                  <a:cubicBezTo>
                    <a:pt x="438" y="311"/>
                    <a:pt x="434" y="314"/>
                    <a:pt x="422" y="314"/>
                  </a:cubicBezTo>
                  <a:cubicBezTo>
                    <a:pt x="396" y="314"/>
                    <a:pt x="334" y="300"/>
                    <a:pt x="201" y="208"/>
                  </a:cubicBezTo>
                  <a:cubicBezTo>
                    <a:pt x="82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5247;p53">
              <a:extLst>
                <a:ext uri="{FF2B5EF4-FFF2-40B4-BE49-F238E27FC236}">
                  <a16:creationId xmlns:a16="http://schemas.microsoft.com/office/drawing/2014/main" id="{9CC3E02B-4AA4-40F7-7FBA-BDE3CE99CABC}"/>
                </a:ext>
              </a:extLst>
            </p:cNvPr>
            <p:cNvSpPr/>
            <p:nvPr/>
          </p:nvSpPr>
          <p:spPr>
            <a:xfrm>
              <a:off x="7384800" y="1633250"/>
              <a:ext cx="9450" cy="7625"/>
            </a:xfrm>
            <a:custGeom>
              <a:avLst/>
              <a:gdLst/>
              <a:ahLst/>
              <a:cxnLst/>
              <a:rect l="l" t="t" r="r" b="b"/>
              <a:pathLst>
                <a:path w="378" h="305" extrusionOk="0">
                  <a:moveTo>
                    <a:pt x="378" y="0"/>
                  </a:moveTo>
                  <a:cubicBezTo>
                    <a:pt x="378" y="0"/>
                    <a:pt x="305" y="105"/>
                    <a:pt x="209" y="171"/>
                  </a:cubicBezTo>
                  <a:cubicBezTo>
                    <a:pt x="96" y="250"/>
                    <a:pt x="41" y="263"/>
                    <a:pt x="17" y="263"/>
                  </a:cubicBezTo>
                  <a:cubicBezTo>
                    <a:pt x="5" y="263"/>
                    <a:pt x="1" y="260"/>
                    <a:pt x="1" y="260"/>
                  </a:cubicBezTo>
                  <a:lnTo>
                    <a:pt x="1" y="260"/>
                  </a:lnTo>
                  <a:lnTo>
                    <a:pt x="8" y="304"/>
                  </a:lnTo>
                  <a:cubicBezTo>
                    <a:pt x="8" y="304"/>
                    <a:pt x="8" y="304"/>
                    <a:pt x="9" y="304"/>
                  </a:cubicBezTo>
                  <a:cubicBezTo>
                    <a:pt x="24" y="304"/>
                    <a:pt x="194" y="298"/>
                    <a:pt x="378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5248;p53">
              <a:extLst>
                <a:ext uri="{FF2B5EF4-FFF2-40B4-BE49-F238E27FC236}">
                  <a16:creationId xmlns:a16="http://schemas.microsoft.com/office/drawing/2014/main" id="{AA528A86-3E82-34B3-A770-6E3FC9F3B7A8}"/>
                </a:ext>
              </a:extLst>
            </p:cNvPr>
            <p:cNvSpPr/>
            <p:nvPr/>
          </p:nvSpPr>
          <p:spPr>
            <a:xfrm>
              <a:off x="7377200" y="1627850"/>
              <a:ext cx="7625" cy="6175"/>
            </a:xfrm>
            <a:custGeom>
              <a:avLst/>
              <a:gdLst/>
              <a:ahLst/>
              <a:cxnLst/>
              <a:rect l="l" t="t" r="r" b="b"/>
              <a:pathLst>
                <a:path w="305" h="247" extrusionOk="0">
                  <a:moveTo>
                    <a:pt x="1" y="1"/>
                  </a:moveTo>
                  <a:cubicBezTo>
                    <a:pt x="149" y="240"/>
                    <a:pt x="289" y="246"/>
                    <a:pt x="304" y="246"/>
                  </a:cubicBezTo>
                  <a:cubicBezTo>
                    <a:pt x="304" y="246"/>
                    <a:pt x="305" y="246"/>
                    <a:pt x="305" y="246"/>
                  </a:cubicBezTo>
                  <a:lnTo>
                    <a:pt x="305" y="209"/>
                  </a:lnTo>
                  <a:cubicBezTo>
                    <a:pt x="305" y="209"/>
                    <a:pt x="302" y="211"/>
                    <a:pt x="293" y="211"/>
                  </a:cubicBezTo>
                  <a:cubicBezTo>
                    <a:pt x="275" y="211"/>
                    <a:pt x="232" y="201"/>
                    <a:pt x="141" y="134"/>
                  </a:cubicBezTo>
                  <a:cubicBezTo>
                    <a:pt x="60" y="8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5249;p53">
              <a:extLst>
                <a:ext uri="{FF2B5EF4-FFF2-40B4-BE49-F238E27FC236}">
                  <a16:creationId xmlns:a16="http://schemas.microsoft.com/office/drawing/2014/main" id="{310C01D4-C007-5015-6046-5FA90A04B5E3}"/>
                </a:ext>
              </a:extLst>
            </p:cNvPr>
            <p:cNvSpPr/>
            <p:nvPr/>
          </p:nvSpPr>
          <p:spPr>
            <a:xfrm>
              <a:off x="7673450" y="1502475"/>
              <a:ext cx="158950" cy="154700"/>
            </a:xfrm>
            <a:custGeom>
              <a:avLst/>
              <a:gdLst/>
              <a:ahLst/>
              <a:cxnLst/>
              <a:rect l="l" t="t" r="r" b="b"/>
              <a:pathLst>
                <a:path w="6358" h="6188" extrusionOk="0">
                  <a:moveTo>
                    <a:pt x="3090" y="1"/>
                  </a:moveTo>
                  <a:cubicBezTo>
                    <a:pt x="2978" y="1"/>
                    <a:pt x="2867" y="30"/>
                    <a:pt x="2771" y="90"/>
                  </a:cubicBezTo>
                  <a:cubicBezTo>
                    <a:pt x="2067" y="534"/>
                    <a:pt x="0" y="6188"/>
                    <a:pt x="3089" y="6188"/>
                  </a:cubicBezTo>
                  <a:cubicBezTo>
                    <a:pt x="6358" y="6188"/>
                    <a:pt x="4112" y="534"/>
                    <a:pt x="3415" y="90"/>
                  </a:cubicBezTo>
                  <a:cubicBezTo>
                    <a:pt x="3315" y="30"/>
                    <a:pt x="3202" y="1"/>
                    <a:pt x="3090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5250;p53">
              <a:extLst>
                <a:ext uri="{FF2B5EF4-FFF2-40B4-BE49-F238E27FC236}">
                  <a16:creationId xmlns:a16="http://schemas.microsoft.com/office/drawing/2014/main" id="{22763F73-644D-0D7C-4DAE-49D70460B104}"/>
                </a:ext>
              </a:extLst>
            </p:cNvPr>
            <p:cNvSpPr/>
            <p:nvPr/>
          </p:nvSpPr>
          <p:spPr>
            <a:xfrm>
              <a:off x="7673450" y="1504650"/>
              <a:ext cx="77250" cy="152525"/>
            </a:xfrm>
            <a:custGeom>
              <a:avLst/>
              <a:gdLst/>
              <a:ahLst/>
              <a:cxnLst/>
              <a:rect l="l" t="t" r="r" b="b"/>
              <a:pathLst>
                <a:path w="3090" h="6101" extrusionOk="0">
                  <a:moveTo>
                    <a:pt x="2776" y="1"/>
                  </a:moveTo>
                  <a:cubicBezTo>
                    <a:pt x="2775" y="1"/>
                    <a:pt x="2773" y="2"/>
                    <a:pt x="2771" y="3"/>
                  </a:cubicBezTo>
                  <a:cubicBezTo>
                    <a:pt x="2067" y="447"/>
                    <a:pt x="0" y="6101"/>
                    <a:pt x="3089" y="6101"/>
                  </a:cubicBezTo>
                  <a:cubicBezTo>
                    <a:pt x="3089" y="6101"/>
                    <a:pt x="2312" y="6033"/>
                    <a:pt x="2268" y="3826"/>
                  </a:cubicBezTo>
                  <a:cubicBezTo>
                    <a:pt x="2215" y="1638"/>
                    <a:pt x="2848" y="1"/>
                    <a:pt x="2776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5251;p53">
              <a:extLst>
                <a:ext uri="{FF2B5EF4-FFF2-40B4-BE49-F238E27FC236}">
                  <a16:creationId xmlns:a16="http://schemas.microsoft.com/office/drawing/2014/main" id="{57AB9DB3-21FD-9A10-ABAF-06F315A465A4}"/>
                </a:ext>
              </a:extLst>
            </p:cNvPr>
            <p:cNvSpPr/>
            <p:nvPr/>
          </p:nvSpPr>
          <p:spPr>
            <a:xfrm>
              <a:off x="7748275" y="1572725"/>
              <a:ext cx="11125" cy="107050"/>
            </a:xfrm>
            <a:custGeom>
              <a:avLst/>
              <a:gdLst/>
              <a:ahLst/>
              <a:cxnLst/>
              <a:rect l="l" t="t" r="r" b="b"/>
              <a:pathLst>
                <a:path w="445" h="4282" extrusionOk="0">
                  <a:moveTo>
                    <a:pt x="224" y="1"/>
                  </a:moveTo>
                  <a:cubicBezTo>
                    <a:pt x="223" y="1"/>
                    <a:pt x="222" y="6"/>
                    <a:pt x="222" y="20"/>
                  </a:cubicBezTo>
                  <a:lnTo>
                    <a:pt x="0" y="4281"/>
                  </a:lnTo>
                  <a:lnTo>
                    <a:pt x="445" y="4281"/>
                  </a:lnTo>
                  <a:cubicBezTo>
                    <a:pt x="430" y="2458"/>
                    <a:pt x="267" y="20"/>
                    <a:pt x="229" y="20"/>
                  </a:cubicBezTo>
                  <a:cubicBezTo>
                    <a:pt x="229" y="20"/>
                    <a:pt x="226" y="1"/>
                    <a:pt x="22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5252;p53">
              <a:extLst>
                <a:ext uri="{FF2B5EF4-FFF2-40B4-BE49-F238E27FC236}">
                  <a16:creationId xmlns:a16="http://schemas.microsoft.com/office/drawing/2014/main" id="{0206EF45-2759-1E8D-3737-B9AA29DC5309}"/>
                </a:ext>
              </a:extLst>
            </p:cNvPr>
            <p:cNvSpPr/>
            <p:nvPr/>
          </p:nvSpPr>
          <p:spPr>
            <a:xfrm>
              <a:off x="7723625" y="1610650"/>
              <a:ext cx="30400" cy="24475"/>
            </a:xfrm>
            <a:custGeom>
              <a:avLst/>
              <a:gdLst/>
              <a:ahLst/>
              <a:cxnLst/>
              <a:rect l="l" t="t" r="r" b="b"/>
              <a:pathLst>
                <a:path w="1216" h="979" extrusionOk="0">
                  <a:moveTo>
                    <a:pt x="1" y="1"/>
                  </a:moveTo>
                  <a:cubicBezTo>
                    <a:pt x="595" y="952"/>
                    <a:pt x="1136" y="979"/>
                    <a:pt x="1196" y="979"/>
                  </a:cubicBezTo>
                  <a:cubicBezTo>
                    <a:pt x="1199" y="979"/>
                    <a:pt x="1201" y="979"/>
                    <a:pt x="1201" y="979"/>
                  </a:cubicBezTo>
                  <a:lnTo>
                    <a:pt x="1215" y="838"/>
                  </a:lnTo>
                  <a:lnTo>
                    <a:pt x="1215" y="838"/>
                  </a:lnTo>
                  <a:cubicBezTo>
                    <a:pt x="1215" y="838"/>
                    <a:pt x="1203" y="847"/>
                    <a:pt x="1168" y="847"/>
                  </a:cubicBezTo>
                  <a:cubicBezTo>
                    <a:pt x="1093" y="847"/>
                    <a:pt x="919" y="806"/>
                    <a:pt x="556" y="548"/>
                  </a:cubicBezTo>
                  <a:cubicBezTo>
                    <a:pt x="245" y="33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5253;p53">
              <a:extLst>
                <a:ext uri="{FF2B5EF4-FFF2-40B4-BE49-F238E27FC236}">
                  <a16:creationId xmlns:a16="http://schemas.microsoft.com/office/drawing/2014/main" id="{2ACAF02B-F549-4C99-0039-701A4EEA7F84}"/>
                </a:ext>
              </a:extLst>
            </p:cNvPr>
            <p:cNvSpPr/>
            <p:nvPr/>
          </p:nvSpPr>
          <p:spPr>
            <a:xfrm>
              <a:off x="7754000" y="1603800"/>
              <a:ext cx="25600" cy="20750"/>
            </a:xfrm>
            <a:custGeom>
              <a:avLst/>
              <a:gdLst/>
              <a:ahLst/>
              <a:cxnLst/>
              <a:rect l="l" t="t" r="r" b="b"/>
              <a:pathLst>
                <a:path w="1024" h="830" extrusionOk="0">
                  <a:moveTo>
                    <a:pt x="1023" y="1"/>
                  </a:moveTo>
                  <a:lnTo>
                    <a:pt x="1023" y="1"/>
                  </a:lnTo>
                  <a:cubicBezTo>
                    <a:pt x="1023" y="1"/>
                    <a:pt x="824" y="282"/>
                    <a:pt x="557" y="467"/>
                  </a:cubicBezTo>
                  <a:cubicBezTo>
                    <a:pt x="255" y="685"/>
                    <a:pt x="108" y="721"/>
                    <a:pt x="44" y="721"/>
                  </a:cubicBezTo>
                  <a:cubicBezTo>
                    <a:pt x="12" y="721"/>
                    <a:pt x="0" y="712"/>
                    <a:pt x="0" y="712"/>
                  </a:cubicBezTo>
                  <a:lnTo>
                    <a:pt x="0" y="712"/>
                  </a:lnTo>
                  <a:lnTo>
                    <a:pt x="8" y="830"/>
                  </a:lnTo>
                  <a:cubicBezTo>
                    <a:pt x="8" y="830"/>
                    <a:pt x="10" y="830"/>
                    <a:pt x="14" y="830"/>
                  </a:cubicBezTo>
                  <a:cubicBezTo>
                    <a:pt x="72" y="830"/>
                    <a:pt x="531" y="803"/>
                    <a:pt x="1023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5254;p53">
              <a:extLst>
                <a:ext uri="{FF2B5EF4-FFF2-40B4-BE49-F238E27FC236}">
                  <a16:creationId xmlns:a16="http://schemas.microsoft.com/office/drawing/2014/main" id="{2BE85310-19E8-C325-84F1-3057EA65AF7B}"/>
                </a:ext>
              </a:extLst>
            </p:cNvPr>
            <p:cNvSpPr/>
            <p:nvPr/>
          </p:nvSpPr>
          <p:spPr>
            <a:xfrm>
              <a:off x="7733225" y="1588950"/>
              <a:ext cx="20800" cy="16700"/>
            </a:xfrm>
            <a:custGeom>
              <a:avLst/>
              <a:gdLst/>
              <a:ahLst/>
              <a:cxnLst/>
              <a:rect l="l" t="t" r="r" b="b"/>
              <a:pathLst>
                <a:path w="832" h="668" extrusionOk="0">
                  <a:moveTo>
                    <a:pt x="1" y="1"/>
                  </a:moveTo>
                  <a:lnTo>
                    <a:pt x="1" y="1"/>
                  </a:lnTo>
                  <a:cubicBezTo>
                    <a:pt x="398" y="648"/>
                    <a:pt x="774" y="668"/>
                    <a:pt x="820" y="668"/>
                  </a:cubicBezTo>
                  <a:cubicBezTo>
                    <a:pt x="823" y="668"/>
                    <a:pt x="824" y="668"/>
                    <a:pt x="824" y="668"/>
                  </a:cubicBezTo>
                  <a:lnTo>
                    <a:pt x="831" y="572"/>
                  </a:lnTo>
                  <a:lnTo>
                    <a:pt x="831" y="572"/>
                  </a:lnTo>
                  <a:cubicBezTo>
                    <a:pt x="831" y="572"/>
                    <a:pt x="821" y="580"/>
                    <a:pt x="793" y="580"/>
                  </a:cubicBezTo>
                  <a:cubicBezTo>
                    <a:pt x="739" y="580"/>
                    <a:pt x="618" y="550"/>
                    <a:pt x="380" y="380"/>
                  </a:cubicBezTo>
                  <a:cubicBezTo>
                    <a:pt x="165" y="23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5255;p53">
              <a:extLst>
                <a:ext uri="{FF2B5EF4-FFF2-40B4-BE49-F238E27FC236}">
                  <a16:creationId xmlns:a16="http://schemas.microsoft.com/office/drawing/2014/main" id="{A7817A7D-837C-FC32-BC5C-8A1AC351E86B}"/>
                </a:ext>
              </a:extLst>
            </p:cNvPr>
            <p:cNvSpPr/>
            <p:nvPr/>
          </p:nvSpPr>
          <p:spPr>
            <a:xfrm>
              <a:off x="7517600" y="1556875"/>
              <a:ext cx="110650" cy="107700"/>
            </a:xfrm>
            <a:custGeom>
              <a:avLst/>
              <a:gdLst/>
              <a:ahLst/>
              <a:cxnLst/>
              <a:rect l="l" t="t" r="r" b="b"/>
              <a:pathLst>
                <a:path w="4426" h="4308" extrusionOk="0">
                  <a:moveTo>
                    <a:pt x="2151" y="1"/>
                  </a:moveTo>
                  <a:cubicBezTo>
                    <a:pt x="2073" y="1"/>
                    <a:pt x="1995" y="21"/>
                    <a:pt x="1929" y="62"/>
                  </a:cubicBezTo>
                  <a:cubicBezTo>
                    <a:pt x="1440" y="366"/>
                    <a:pt x="1" y="4307"/>
                    <a:pt x="2151" y="4307"/>
                  </a:cubicBezTo>
                  <a:cubicBezTo>
                    <a:pt x="4425" y="4307"/>
                    <a:pt x="2862" y="366"/>
                    <a:pt x="2373" y="62"/>
                  </a:cubicBezTo>
                  <a:cubicBezTo>
                    <a:pt x="2307" y="21"/>
                    <a:pt x="2229" y="1"/>
                    <a:pt x="2151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5256;p53">
              <a:extLst>
                <a:ext uri="{FF2B5EF4-FFF2-40B4-BE49-F238E27FC236}">
                  <a16:creationId xmlns:a16="http://schemas.microsoft.com/office/drawing/2014/main" id="{1973EF9C-4CF0-3716-44A7-4C9406E0FA61}"/>
                </a:ext>
              </a:extLst>
            </p:cNvPr>
            <p:cNvSpPr/>
            <p:nvPr/>
          </p:nvSpPr>
          <p:spPr>
            <a:xfrm>
              <a:off x="7517600" y="1558375"/>
              <a:ext cx="53775" cy="106200"/>
            </a:xfrm>
            <a:custGeom>
              <a:avLst/>
              <a:gdLst/>
              <a:ahLst/>
              <a:cxnLst/>
              <a:rect l="l" t="t" r="r" b="b"/>
              <a:pathLst>
                <a:path w="2151" h="4248" extrusionOk="0">
                  <a:moveTo>
                    <a:pt x="1932" y="1"/>
                  </a:moveTo>
                  <a:cubicBezTo>
                    <a:pt x="1931" y="1"/>
                    <a:pt x="1930" y="1"/>
                    <a:pt x="1929" y="2"/>
                  </a:cubicBezTo>
                  <a:cubicBezTo>
                    <a:pt x="1440" y="306"/>
                    <a:pt x="1" y="4247"/>
                    <a:pt x="2151" y="4247"/>
                  </a:cubicBezTo>
                  <a:cubicBezTo>
                    <a:pt x="2151" y="4247"/>
                    <a:pt x="1610" y="4203"/>
                    <a:pt x="1580" y="2663"/>
                  </a:cubicBezTo>
                  <a:cubicBezTo>
                    <a:pt x="1543" y="1142"/>
                    <a:pt x="1985" y="1"/>
                    <a:pt x="1932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5257;p53">
              <a:extLst>
                <a:ext uri="{FF2B5EF4-FFF2-40B4-BE49-F238E27FC236}">
                  <a16:creationId xmlns:a16="http://schemas.microsoft.com/office/drawing/2014/main" id="{5B47463F-0A14-A6F0-7512-7DA4E51F6109}"/>
                </a:ext>
              </a:extLst>
            </p:cNvPr>
            <p:cNvSpPr/>
            <p:nvPr/>
          </p:nvSpPr>
          <p:spPr>
            <a:xfrm>
              <a:off x="7569675" y="1605800"/>
              <a:ext cx="7800" cy="74550"/>
            </a:xfrm>
            <a:custGeom>
              <a:avLst/>
              <a:gdLst/>
              <a:ahLst/>
              <a:cxnLst/>
              <a:rect l="l" t="t" r="r" b="b"/>
              <a:pathLst>
                <a:path w="312" h="2982" extrusionOk="0">
                  <a:moveTo>
                    <a:pt x="159" y="0"/>
                  </a:moveTo>
                  <a:cubicBezTo>
                    <a:pt x="158" y="0"/>
                    <a:pt x="157" y="4"/>
                    <a:pt x="157" y="17"/>
                  </a:cubicBezTo>
                  <a:lnTo>
                    <a:pt x="0" y="2981"/>
                  </a:lnTo>
                  <a:lnTo>
                    <a:pt x="312" y="2981"/>
                  </a:lnTo>
                  <a:cubicBezTo>
                    <a:pt x="304" y="1713"/>
                    <a:pt x="185" y="17"/>
                    <a:pt x="164" y="17"/>
                  </a:cubicBezTo>
                  <a:cubicBezTo>
                    <a:pt x="164" y="17"/>
                    <a:pt x="161" y="0"/>
                    <a:pt x="159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5258;p53">
              <a:extLst>
                <a:ext uri="{FF2B5EF4-FFF2-40B4-BE49-F238E27FC236}">
                  <a16:creationId xmlns:a16="http://schemas.microsoft.com/office/drawing/2014/main" id="{176D0E22-CD62-DEDC-4CDF-AD839575563E}"/>
                </a:ext>
              </a:extLst>
            </p:cNvPr>
            <p:cNvSpPr/>
            <p:nvPr/>
          </p:nvSpPr>
          <p:spPr>
            <a:xfrm>
              <a:off x="7552650" y="1632125"/>
              <a:ext cx="20950" cy="17100"/>
            </a:xfrm>
            <a:custGeom>
              <a:avLst/>
              <a:gdLst/>
              <a:ahLst/>
              <a:cxnLst/>
              <a:rect l="l" t="t" r="r" b="b"/>
              <a:pathLst>
                <a:path w="838" h="684" extrusionOk="0">
                  <a:moveTo>
                    <a:pt x="0" y="1"/>
                  </a:moveTo>
                  <a:lnTo>
                    <a:pt x="0" y="1"/>
                  </a:lnTo>
                  <a:cubicBezTo>
                    <a:pt x="406" y="665"/>
                    <a:pt x="785" y="684"/>
                    <a:pt x="827" y="684"/>
                  </a:cubicBezTo>
                  <a:cubicBezTo>
                    <a:pt x="829" y="684"/>
                    <a:pt x="831" y="684"/>
                    <a:pt x="831" y="684"/>
                  </a:cubicBezTo>
                  <a:lnTo>
                    <a:pt x="838" y="586"/>
                  </a:lnTo>
                  <a:lnTo>
                    <a:pt x="838" y="586"/>
                  </a:lnTo>
                  <a:cubicBezTo>
                    <a:pt x="838" y="586"/>
                    <a:pt x="830" y="592"/>
                    <a:pt x="806" y="592"/>
                  </a:cubicBezTo>
                  <a:cubicBezTo>
                    <a:pt x="757" y="592"/>
                    <a:pt x="639" y="564"/>
                    <a:pt x="386" y="387"/>
                  </a:cubicBezTo>
                  <a:cubicBezTo>
                    <a:pt x="164" y="23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5259;p53">
              <a:extLst>
                <a:ext uri="{FF2B5EF4-FFF2-40B4-BE49-F238E27FC236}">
                  <a16:creationId xmlns:a16="http://schemas.microsoft.com/office/drawing/2014/main" id="{2A136132-A215-56A5-7BB9-50AA1A6AAFC7}"/>
                </a:ext>
              </a:extLst>
            </p:cNvPr>
            <p:cNvSpPr/>
            <p:nvPr/>
          </p:nvSpPr>
          <p:spPr>
            <a:xfrm>
              <a:off x="7573575" y="1627500"/>
              <a:ext cx="18000" cy="14475"/>
            </a:xfrm>
            <a:custGeom>
              <a:avLst/>
              <a:gdLst/>
              <a:ahLst/>
              <a:cxnLst/>
              <a:rect l="l" t="t" r="r" b="b"/>
              <a:pathLst>
                <a:path w="720" h="579" extrusionOk="0">
                  <a:moveTo>
                    <a:pt x="719" y="1"/>
                  </a:moveTo>
                  <a:cubicBezTo>
                    <a:pt x="719" y="1"/>
                    <a:pt x="579" y="193"/>
                    <a:pt x="394" y="326"/>
                  </a:cubicBezTo>
                  <a:cubicBezTo>
                    <a:pt x="184" y="472"/>
                    <a:pt x="81" y="497"/>
                    <a:pt x="34" y="497"/>
                  </a:cubicBezTo>
                  <a:cubicBezTo>
                    <a:pt x="10" y="497"/>
                    <a:pt x="1" y="490"/>
                    <a:pt x="1" y="490"/>
                  </a:cubicBezTo>
                  <a:lnTo>
                    <a:pt x="1" y="490"/>
                  </a:lnTo>
                  <a:lnTo>
                    <a:pt x="8" y="579"/>
                  </a:lnTo>
                  <a:cubicBezTo>
                    <a:pt x="8" y="579"/>
                    <a:pt x="9" y="579"/>
                    <a:pt x="10" y="579"/>
                  </a:cubicBezTo>
                  <a:cubicBezTo>
                    <a:pt x="39" y="579"/>
                    <a:pt x="366" y="566"/>
                    <a:pt x="71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260;p53">
              <a:extLst>
                <a:ext uri="{FF2B5EF4-FFF2-40B4-BE49-F238E27FC236}">
                  <a16:creationId xmlns:a16="http://schemas.microsoft.com/office/drawing/2014/main" id="{A6375546-0D1D-B6D7-E72A-8554626B65B0}"/>
                </a:ext>
              </a:extLst>
            </p:cNvPr>
            <p:cNvSpPr/>
            <p:nvPr/>
          </p:nvSpPr>
          <p:spPr>
            <a:xfrm>
              <a:off x="7559125" y="1617150"/>
              <a:ext cx="14475" cy="11675"/>
            </a:xfrm>
            <a:custGeom>
              <a:avLst/>
              <a:gdLst/>
              <a:ahLst/>
              <a:cxnLst/>
              <a:rect l="l" t="t" r="r" b="b"/>
              <a:pathLst>
                <a:path w="579" h="467" extrusionOk="0">
                  <a:moveTo>
                    <a:pt x="1" y="0"/>
                  </a:moveTo>
                  <a:lnTo>
                    <a:pt x="1" y="0"/>
                  </a:lnTo>
                  <a:cubicBezTo>
                    <a:pt x="296" y="460"/>
                    <a:pt x="563" y="466"/>
                    <a:pt x="578" y="466"/>
                  </a:cubicBezTo>
                  <a:cubicBezTo>
                    <a:pt x="579" y="466"/>
                    <a:pt x="579" y="466"/>
                    <a:pt x="579" y="466"/>
                  </a:cubicBezTo>
                  <a:lnTo>
                    <a:pt x="579" y="393"/>
                  </a:lnTo>
                  <a:cubicBezTo>
                    <a:pt x="579" y="393"/>
                    <a:pt x="571" y="400"/>
                    <a:pt x="550" y="400"/>
                  </a:cubicBezTo>
                  <a:cubicBezTo>
                    <a:pt x="511" y="400"/>
                    <a:pt x="429" y="379"/>
                    <a:pt x="268" y="260"/>
                  </a:cubicBezTo>
                  <a:cubicBezTo>
                    <a:pt x="118" y="15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261;p53">
              <a:extLst>
                <a:ext uri="{FF2B5EF4-FFF2-40B4-BE49-F238E27FC236}">
                  <a16:creationId xmlns:a16="http://schemas.microsoft.com/office/drawing/2014/main" id="{84A0C462-D031-0FB6-FF71-589F44E48D08}"/>
                </a:ext>
              </a:extLst>
            </p:cNvPr>
            <p:cNvSpPr/>
            <p:nvPr/>
          </p:nvSpPr>
          <p:spPr>
            <a:xfrm>
              <a:off x="7639875" y="1540475"/>
              <a:ext cx="120475" cy="117250"/>
            </a:xfrm>
            <a:custGeom>
              <a:avLst/>
              <a:gdLst/>
              <a:ahLst/>
              <a:cxnLst/>
              <a:rect l="l" t="t" r="r" b="b"/>
              <a:pathLst>
                <a:path w="4819" h="4690" extrusionOk="0">
                  <a:moveTo>
                    <a:pt x="2476" y="1"/>
                  </a:moveTo>
                  <a:cubicBezTo>
                    <a:pt x="2391" y="1"/>
                    <a:pt x="2306" y="25"/>
                    <a:pt x="2232" y="73"/>
                  </a:cubicBezTo>
                  <a:cubicBezTo>
                    <a:pt x="1699" y="407"/>
                    <a:pt x="0" y="4689"/>
                    <a:pt x="2476" y="4689"/>
                  </a:cubicBezTo>
                  <a:cubicBezTo>
                    <a:pt x="4818" y="4689"/>
                    <a:pt x="3255" y="407"/>
                    <a:pt x="2721" y="73"/>
                  </a:cubicBezTo>
                  <a:cubicBezTo>
                    <a:pt x="2647" y="25"/>
                    <a:pt x="2561" y="1"/>
                    <a:pt x="2476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62;p53">
              <a:extLst>
                <a:ext uri="{FF2B5EF4-FFF2-40B4-BE49-F238E27FC236}">
                  <a16:creationId xmlns:a16="http://schemas.microsoft.com/office/drawing/2014/main" id="{A6B0CAFB-7AD4-925E-2505-FBF2ED1EF99E}"/>
                </a:ext>
              </a:extLst>
            </p:cNvPr>
            <p:cNvSpPr/>
            <p:nvPr/>
          </p:nvSpPr>
          <p:spPr>
            <a:xfrm>
              <a:off x="7641750" y="1545575"/>
              <a:ext cx="56350" cy="111425"/>
            </a:xfrm>
            <a:custGeom>
              <a:avLst/>
              <a:gdLst/>
              <a:ahLst/>
              <a:cxnLst/>
              <a:rect l="l" t="t" r="r" b="b"/>
              <a:pathLst>
                <a:path w="2254" h="4457" extrusionOk="0">
                  <a:moveTo>
                    <a:pt x="2028" y="0"/>
                  </a:moveTo>
                  <a:cubicBezTo>
                    <a:pt x="2027" y="0"/>
                    <a:pt x="2025" y="1"/>
                    <a:pt x="2024" y="2"/>
                  </a:cubicBezTo>
                  <a:cubicBezTo>
                    <a:pt x="1505" y="322"/>
                    <a:pt x="0" y="4457"/>
                    <a:pt x="2253" y="4457"/>
                  </a:cubicBezTo>
                  <a:cubicBezTo>
                    <a:pt x="2253" y="4457"/>
                    <a:pt x="1690" y="4412"/>
                    <a:pt x="1652" y="2796"/>
                  </a:cubicBezTo>
                  <a:cubicBezTo>
                    <a:pt x="1616" y="1200"/>
                    <a:pt x="2077" y="0"/>
                    <a:pt x="202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5263;p53">
              <a:extLst>
                <a:ext uri="{FF2B5EF4-FFF2-40B4-BE49-F238E27FC236}">
                  <a16:creationId xmlns:a16="http://schemas.microsoft.com/office/drawing/2014/main" id="{D30571AE-BA90-1C68-3969-BAF801D18986}"/>
                </a:ext>
              </a:extLst>
            </p:cNvPr>
            <p:cNvSpPr/>
            <p:nvPr/>
          </p:nvSpPr>
          <p:spPr>
            <a:xfrm>
              <a:off x="7696200" y="1601350"/>
              <a:ext cx="8175" cy="79525"/>
            </a:xfrm>
            <a:custGeom>
              <a:avLst/>
              <a:gdLst/>
              <a:ahLst/>
              <a:cxnLst/>
              <a:rect l="l" t="t" r="r" b="b"/>
              <a:pathLst>
                <a:path w="327" h="3181" extrusionOk="0">
                  <a:moveTo>
                    <a:pt x="166" y="0"/>
                  </a:moveTo>
                  <a:cubicBezTo>
                    <a:pt x="165" y="0"/>
                    <a:pt x="164" y="5"/>
                    <a:pt x="164" y="17"/>
                  </a:cubicBezTo>
                  <a:lnTo>
                    <a:pt x="1" y="3181"/>
                  </a:lnTo>
                  <a:cubicBezTo>
                    <a:pt x="13" y="3178"/>
                    <a:pt x="49" y="3178"/>
                    <a:pt x="94" y="3178"/>
                  </a:cubicBezTo>
                  <a:cubicBezTo>
                    <a:pt x="182" y="3178"/>
                    <a:pt x="302" y="3181"/>
                    <a:pt x="326" y="3181"/>
                  </a:cubicBezTo>
                  <a:cubicBezTo>
                    <a:pt x="319" y="1826"/>
                    <a:pt x="193" y="17"/>
                    <a:pt x="171" y="17"/>
                  </a:cubicBezTo>
                  <a:cubicBezTo>
                    <a:pt x="171" y="17"/>
                    <a:pt x="168" y="0"/>
                    <a:pt x="166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5264;p53">
              <a:extLst>
                <a:ext uri="{FF2B5EF4-FFF2-40B4-BE49-F238E27FC236}">
                  <a16:creationId xmlns:a16="http://schemas.microsoft.com/office/drawing/2014/main" id="{FCC6AC88-E29E-C3E1-A444-8298CDDC2FEC}"/>
                </a:ext>
              </a:extLst>
            </p:cNvPr>
            <p:cNvSpPr/>
            <p:nvPr/>
          </p:nvSpPr>
          <p:spPr>
            <a:xfrm>
              <a:off x="7677875" y="1629375"/>
              <a:ext cx="22450" cy="18175"/>
            </a:xfrm>
            <a:custGeom>
              <a:avLst/>
              <a:gdLst/>
              <a:ahLst/>
              <a:cxnLst/>
              <a:rect l="l" t="t" r="r" b="b"/>
              <a:pathLst>
                <a:path w="898" h="727" extrusionOk="0">
                  <a:moveTo>
                    <a:pt x="1" y="0"/>
                  </a:moveTo>
                  <a:lnTo>
                    <a:pt x="1" y="0"/>
                  </a:lnTo>
                  <a:cubicBezTo>
                    <a:pt x="433" y="706"/>
                    <a:pt x="840" y="726"/>
                    <a:pt x="886" y="726"/>
                  </a:cubicBezTo>
                  <a:cubicBezTo>
                    <a:pt x="889" y="726"/>
                    <a:pt x="890" y="726"/>
                    <a:pt x="890" y="726"/>
                  </a:cubicBezTo>
                  <a:lnTo>
                    <a:pt x="897" y="623"/>
                  </a:lnTo>
                  <a:lnTo>
                    <a:pt x="897" y="623"/>
                  </a:lnTo>
                  <a:cubicBezTo>
                    <a:pt x="897" y="623"/>
                    <a:pt x="888" y="630"/>
                    <a:pt x="862" y="630"/>
                  </a:cubicBezTo>
                  <a:cubicBezTo>
                    <a:pt x="807" y="630"/>
                    <a:pt x="678" y="600"/>
                    <a:pt x="408" y="415"/>
                  </a:cubicBezTo>
                  <a:cubicBezTo>
                    <a:pt x="179" y="25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265;p53">
              <a:extLst>
                <a:ext uri="{FF2B5EF4-FFF2-40B4-BE49-F238E27FC236}">
                  <a16:creationId xmlns:a16="http://schemas.microsoft.com/office/drawing/2014/main" id="{DDD4E492-8F68-1032-7248-2966A4A48CE1}"/>
                </a:ext>
              </a:extLst>
            </p:cNvPr>
            <p:cNvSpPr/>
            <p:nvPr/>
          </p:nvSpPr>
          <p:spPr>
            <a:xfrm>
              <a:off x="7700300" y="162435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1"/>
                    <a:pt x="615" y="209"/>
                    <a:pt x="415" y="349"/>
                  </a:cubicBezTo>
                  <a:cubicBezTo>
                    <a:pt x="192" y="507"/>
                    <a:pt x="82" y="533"/>
                    <a:pt x="33" y="533"/>
                  </a:cubicBezTo>
                  <a:cubicBezTo>
                    <a:pt x="9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9" y="616"/>
                    <a:pt x="12" y="616"/>
                  </a:cubicBezTo>
                  <a:cubicBezTo>
                    <a:pt x="56" y="616"/>
                    <a:pt x="397" y="596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5266;p53">
              <a:extLst>
                <a:ext uri="{FF2B5EF4-FFF2-40B4-BE49-F238E27FC236}">
                  <a16:creationId xmlns:a16="http://schemas.microsoft.com/office/drawing/2014/main" id="{ACFA48C1-C87F-D8F9-C194-D24B29B14E10}"/>
                </a:ext>
              </a:extLst>
            </p:cNvPr>
            <p:cNvSpPr/>
            <p:nvPr/>
          </p:nvSpPr>
          <p:spPr>
            <a:xfrm>
              <a:off x="7684900" y="1613225"/>
              <a:ext cx="15425" cy="12650"/>
            </a:xfrm>
            <a:custGeom>
              <a:avLst/>
              <a:gdLst/>
              <a:ahLst/>
              <a:cxnLst/>
              <a:rect l="l" t="t" r="r" b="b"/>
              <a:pathLst>
                <a:path w="617" h="506" extrusionOk="0">
                  <a:moveTo>
                    <a:pt x="1" y="1"/>
                  </a:moveTo>
                  <a:lnTo>
                    <a:pt x="1" y="1"/>
                  </a:lnTo>
                  <a:cubicBezTo>
                    <a:pt x="303" y="493"/>
                    <a:pt x="579" y="506"/>
                    <a:pt x="607" y="506"/>
                  </a:cubicBezTo>
                  <a:cubicBezTo>
                    <a:pt x="608" y="506"/>
                    <a:pt x="609" y="506"/>
                    <a:pt x="609" y="506"/>
                  </a:cubicBezTo>
                  <a:lnTo>
                    <a:pt x="616" y="431"/>
                  </a:lnTo>
                  <a:lnTo>
                    <a:pt x="616" y="431"/>
                  </a:lnTo>
                  <a:cubicBezTo>
                    <a:pt x="616" y="431"/>
                    <a:pt x="610" y="436"/>
                    <a:pt x="593" y="436"/>
                  </a:cubicBezTo>
                  <a:cubicBezTo>
                    <a:pt x="557" y="436"/>
                    <a:pt x="469" y="415"/>
                    <a:pt x="282" y="284"/>
                  </a:cubicBezTo>
                  <a:cubicBezTo>
                    <a:pt x="127" y="17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5267;p53">
              <a:extLst>
                <a:ext uri="{FF2B5EF4-FFF2-40B4-BE49-F238E27FC236}">
                  <a16:creationId xmlns:a16="http://schemas.microsoft.com/office/drawing/2014/main" id="{7BFF60CB-A605-5829-21FE-766BDE6F341B}"/>
                </a:ext>
              </a:extLst>
            </p:cNvPr>
            <p:cNvSpPr/>
            <p:nvPr/>
          </p:nvSpPr>
          <p:spPr>
            <a:xfrm>
              <a:off x="7421675" y="1540075"/>
              <a:ext cx="120425" cy="117100"/>
            </a:xfrm>
            <a:custGeom>
              <a:avLst/>
              <a:gdLst/>
              <a:ahLst/>
              <a:cxnLst/>
              <a:rect l="l" t="t" r="r" b="b"/>
              <a:pathLst>
                <a:path w="4817" h="4684" extrusionOk="0">
                  <a:moveTo>
                    <a:pt x="2475" y="1"/>
                  </a:moveTo>
                  <a:cubicBezTo>
                    <a:pt x="2390" y="1"/>
                    <a:pt x="2305" y="23"/>
                    <a:pt x="2230" y="67"/>
                  </a:cubicBezTo>
                  <a:cubicBezTo>
                    <a:pt x="1704" y="400"/>
                    <a:pt x="0" y="4684"/>
                    <a:pt x="2476" y="4684"/>
                  </a:cubicBezTo>
                  <a:cubicBezTo>
                    <a:pt x="4816" y="4684"/>
                    <a:pt x="3253" y="400"/>
                    <a:pt x="2719" y="67"/>
                  </a:cubicBezTo>
                  <a:cubicBezTo>
                    <a:pt x="2646" y="23"/>
                    <a:pt x="2561" y="1"/>
                    <a:pt x="2475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5268;p53">
              <a:extLst>
                <a:ext uri="{FF2B5EF4-FFF2-40B4-BE49-F238E27FC236}">
                  <a16:creationId xmlns:a16="http://schemas.microsoft.com/office/drawing/2014/main" id="{8E928DEE-5E1C-D7A8-74AF-1AC47DBB8F89}"/>
                </a:ext>
              </a:extLst>
            </p:cNvPr>
            <p:cNvSpPr/>
            <p:nvPr/>
          </p:nvSpPr>
          <p:spPr>
            <a:xfrm>
              <a:off x="7423525" y="1545050"/>
              <a:ext cx="56550" cy="111550"/>
            </a:xfrm>
            <a:custGeom>
              <a:avLst/>
              <a:gdLst/>
              <a:ahLst/>
              <a:cxnLst/>
              <a:rect l="l" t="t" r="r" b="b"/>
              <a:pathLst>
                <a:path w="2262" h="4462" extrusionOk="0">
                  <a:moveTo>
                    <a:pt x="2027" y="0"/>
                  </a:moveTo>
                  <a:cubicBezTo>
                    <a:pt x="2026" y="0"/>
                    <a:pt x="2024" y="1"/>
                    <a:pt x="2023" y="2"/>
                  </a:cubicBezTo>
                  <a:cubicBezTo>
                    <a:pt x="1512" y="327"/>
                    <a:pt x="1" y="4462"/>
                    <a:pt x="2261" y="4462"/>
                  </a:cubicBezTo>
                  <a:cubicBezTo>
                    <a:pt x="2261" y="4462"/>
                    <a:pt x="1690" y="4410"/>
                    <a:pt x="1653" y="2795"/>
                  </a:cubicBezTo>
                  <a:cubicBezTo>
                    <a:pt x="1623" y="1194"/>
                    <a:pt x="2088" y="0"/>
                    <a:pt x="2027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5269;p53">
              <a:extLst>
                <a:ext uri="{FF2B5EF4-FFF2-40B4-BE49-F238E27FC236}">
                  <a16:creationId xmlns:a16="http://schemas.microsoft.com/office/drawing/2014/main" id="{F3DC0C48-3FC0-5413-4912-C652B3D51763}"/>
                </a:ext>
              </a:extLst>
            </p:cNvPr>
            <p:cNvSpPr/>
            <p:nvPr/>
          </p:nvSpPr>
          <p:spPr>
            <a:xfrm>
              <a:off x="7478000" y="1600800"/>
              <a:ext cx="8325" cy="79550"/>
            </a:xfrm>
            <a:custGeom>
              <a:avLst/>
              <a:gdLst/>
              <a:ahLst/>
              <a:cxnLst/>
              <a:rect l="l" t="t" r="r" b="b"/>
              <a:pathLst>
                <a:path w="333" h="3182" extrusionOk="0">
                  <a:moveTo>
                    <a:pt x="165" y="0"/>
                  </a:moveTo>
                  <a:cubicBezTo>
                    <a:pt x="163" y="0"/>
                    <a:pt x="162" y="4"/>
                    <a:pt x="162" y="16"/>
                  </a:cubicBezTo>
                  <a:lnTo>
                    <a:pt x="0" y="3181"/>
                  </a:lnTo>
                  <a:lnTo>
                    <a:pt x="333" y="3181"/>
                  </a:lnTo>
                  <a:cubicBezTo>
                    <a:pt x="319" y="1825"/>
                    <a:pt x="200" y="16"/>
                    <a:pt x="171" y="16"/>
                  </a:cubicBezTo>
                  <a:cubicBezTo>
                    <a:pt x="171" y="16"/>
                    <a:pt x="167" y="0"/>
                    <a:pt x="165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5270;p53">
              <a:extLst>
                <a:ext uri="{FF2B5EF4-FFF2-40B4-BE49-F238E27FC236}">
                  <a16:creationId xmlns:a16="http://schemas.microsoft.com/office/drawing/2014/main" id="{55FE180E-89CB-56BE-14AF-C28EC9A88622}"/>
                </a:ext>
              </a:extLst>
            </p:cNvPr>
            <p:cNvSpPr/>
            <p:nvPr/>
          </p:nvSpPr>
          <p:spPr>
            <a:xfrm>
              <a:off x="7459625" y="1628975"/>
              <a:ext cx="22675" cy="18200"/>
            </a:xfrm>
            <a:custGeom>
              <a:avLst/>
              <a:gdLst/>
              <a:ahLst/>
              <a:cxnLst/>
              <a:rect l="l" t="t" r="r" b="b"/>
              <a:pathLst>
                <a:path w="907" h="728" extrusionOk="0">
                  <a:moveTo>
                    <a:pt x="1" y="0"/>
                  </a:moveTo>
                  <a:cubicBezTo>
                    <a:pt x="443" y="709"/>
                    <a:pt x="844" y="728"/>
                    <a:pt x="886" y="728"/>
                  </a:cubicBezTo>
                  <a:cubicBezTo>
                    <a:pt x="889" y="728"/>
                    <a:pt x="890" y="728"/>
                    <a:pt x="890" y="728"/>
                  </a:cubicBezTo>
                  <a:lnTo>
                    <a:pt x="906" y="623"/>
                  </a:lnTo>
                  <a:lnTo>
                    <a:pt x="906" y="623"/>
                  </a:lnTo>
                  <a:cubicBezTo>
                    <a:pt x="906" y="623"/>
                    <a:pt x="896" y="630"/>
                    <a:pt x="868" y="630"/>
                  </a:cubicBezTo>
                  <a:cubicBezTo>
                    <a:pt x="812" y="630"/>
                    <a:pt x="681" y="599"/>
                    <a:pt x="417" y="409"/>
                  </a:cubicBezTo>
                  <a:cubicBezTo>
                    <a:pt x="186" y="246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5271;p53">
              <a:extLst>
                <a:ext uri="{FF2B5EF4-FFF2-40B4-BE49-F238E27FC236}">
                  <a16:creationId xmlns:a16="http://schemas.microsoft.com/office/drawing/2014/main" id="{06FAE3CA-4094-C9C6-7B9A-1B86DE78EE96}"/>
                </a:ext>
              </a:extLst>
            </p:cNvPr>
            <p:cNvSpPr/>
            <p:nvPr/>
          </p:nvSpPr>
          <p:spPr>
            <a:xfrm>
              <a:off x="7482275" y="162400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0"/>
                    <a:pt x="606" y="208"/>
                    <a:pt x="414" y="342"/>
                  </a:cubicBezTo>
                  <a:cubicBezTo>
                    <a:pt x="184" y="506"/>
                    <a:pt x="76" y="533"/>
                    <a:pt x="30" y="533"/>
                  </a:cubicBezTo>
                  <a:cubicBezTo>
                    <a:pt x="8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8" y="616"/>
                    <a:pt x="9" y="616"/>
                  </a:cubicBezTo>
                  <a:cubicBezTo>
                    <a:pt x="39" y="616"/>
                    <a:pt x="387" y="603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5272;p53">
              <a:extLst>
                <a:ext uri="{FF2B5EF4-FFF2-40B4-BE49-F238E27FC236}">
                  <a16:creationId xmlns:a16="http://schemas.microsoft.com/office/drawing/2014/main" id="{3EC5940B-696A-6952-7DF8-3C80A476A412}"/>
                </a:ext>
              </a:extLst>
            </p:cNvPr>
            <p:cNvSpPr/>
            <p:nvPr/>
          </p:nvSpPr>
          <p:spPr>
            <a:xfrm>
              <a:off x="7466700" y="1612875"/>
              <a:ext cx="15600" cy="12425"/>
            </a:xfrm>
            <a:custGeom>
              <a:avLst/>
              <a:gdLst/>
              <a:ahLst/>
              <a:cxnLst/>
              <a:rect l="l" t="t" r="r" b="b"/>
              <a:pathLst>
                <a:path w="624" h="497" extrusionOk="0">
                  <a:moveTo>
                    <a:pt x="1" y="1"/>
                  </a:moveTo>
                  <a:cubicBezTo>
                    <a:pt x="302" y="484"/>
                    <a:pt x="583" y="497"/>
                    <a:pt x="612" y="497"/>
                  </a:cubicBezTo>
                  <a:cubicBezTo>
                    <a:pt x="613" y="497"/>
                    <a:pt x="614" y="497"/>
                    <a:pt x="614" y="497"/>
                  </a:cubicBezTo>
                  <a:lnTo>
                    <a:pt x="623" y="422"/>
                  </a:lnTo>
                  <a:lnTo>
                    <a:pt x="623" y="422"/>
                  </a:lnTo>
                  <a:cubicBezTo>
                    <a:pt x="623" y="422"/>
                    <a:pt x="615" y="429"/>
                    <a:pt x="591" y="429"/>
                  </a:cubicBezTo>
                  <a:cubicBezTo>
                    <a:pt x="549" y="429"/>
                    <a:pt x="458" y="407"/>
                    <a:pt x="282" y="282"/>
                  </a:cubicBezTo>
                  <a:cubicBezTo>
                    <a:pt x="125" y="17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5273;p53">
              <a:extLst>
                <a:ext uri="{FF2B5EF4-FFF2-40B4-BE49-F238E27FC236}">
                  <a16:creationId xmlns:a16="http://schemas.microsoft.com/office/drawing/2014/main" id="{889B6D67-DF6C-9FD9-D3FA-E1F30E404CCC}"/>
                </a:ext>
              </a:extLst>
            </p:cNvPr>
            <p:cNvSpPr/>
            <p:nvPr/>
          </p:nvSpPr>
          <p:spPr>
            <a:xfrm>
              <a:off x="7454475" y="1518300"/>
              <a:ext cx="141725" cy="137775"/>
            </a:xfrm>
            <a:custGeom>
              <a:avLst/>
              <a:gdLst/>
              <a:ahLst/>
              <a:cxnLst/>
              <a:rect l="l" t="t" r="r" b="b"/>
              <a:pathLst>
                <a:path w="5669" h="5511" extrusionOk="0">
                  <a:moveTo>
                    <a:pt x="2909" y="1"/>
                  </a:moveTo>
                  <a:cubicBezTo>
                    <a:pt x="2808" y="1"/>
                    <a:pt x="2708" y="27"/>
                    <a:pt x="2624" y="79"/>
                  </a:cubicBezTo>
                  <a:cubicBezTo>
                    <a:pt x="2001" y="471"/>
                    <a:pt x="1" y="5510"/>
                    <a:pt x="2912" y="5510"/>
                  </a:cubicBezTo>
                  <a:cubicBezTo>
                    <a:pt x="5668" y="5510"/>
                    <a:pt x="3824" y="471"/>
                    <a:pt x="3202" y="79"/>
                  </a:cubicBezTo>
                  <a:cubicBezTo>
                    <a:pt x="3113" y="27"/>
                    <a:pt x="3011" y="1"/>
                    <a:pt x="2909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0" name="Google Shape;5274;p53">
              <a:extLst>
                <a:ext uri="{FF2B5EF4-FFF2-40B4-BE49-F238E27FC236}">
                  <a16:creationId xmlns:a16="http://schemas.microsoft.com/office/drawing/2014/main" id="{AE1911B8-E767-7D5A-7C47-79502F92C0FC}"/>
                </a:ext>
              </a:extLst>
            </p:cNvPr>
            <p:cNvSpPr/>
            <p:nvPr/>
          </p:nvSpPr>
          <p:spPr>
            <a:xfrm>
              <a:off x="7457225" y="1524100"/>
              <a:ext cx="67075" cy="132500"/>
            </a:xfrm>
            <a:custGeom>
              <a:avLst/>
              <a:gdLst/>
              <a:ahLst/>
              <a:cxnLst/>
              <a:rect l="l" t="t" r="r" b="b"/>
              <a:pathLst>
                <a:path w="2683" h="5300" extrusionOk="0">
                  <a:moveTo>
                    <a:pt x="2413" y="1"/>
                  </a:moveTo>
                  <a:cubicBezTo>
                    <a:pt x="2412" y="1"/>
                    <a:pt x="2410" y="1"/>
                    <a:pt x="2409" y="2"/>
                  </a:cubicBezTo>
                  <a:cubicBezTo>
                    <a:pt x="1793" y="388"/>
                    <a:pt x="1" y="5300"/>
                    <a:pt x="2683" y="5300"/>
                  </a:cubicBezTo>
                  <a:cubicBezTo>
                    <a:pt x="2683" y="5300"/>
                    <a:pt x="2009" y="5241"/>
                    <a:pt x="1971" y="3322"/>
                  </a:cubicBezTo>
                  <a:cubicBezTo>
                    <a:pt x="1928" y="1421"/>
                    <a:pt x="2478" y="1"/>
                    <a:pt x="2413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1" name="Google Shape;5275;p53">
              <a:extLst>
                <a:ext uri="{FF2B5EF4-FFF2-40B4-BE49-F238E27FC236}">
                  <a16:creationId xmlns:a16="http://schemas.microsoft.com/office/drawing/2014/main" id="{244DE460-1318-2573-C099-92B4D3568C9D}"/>
                </a:ext>
              </a:extLst>
            </p:cNvPr>
            <p:cNvSpPr/>
            <p:nvPr/>
          </p:nvSpPr>
          <p:spPr>
            <a:xfrm>
              <a:off x="7521700" y="1591900"/>
              <a:ext cx="9275" cy="88450"/>
            </a:xfrm>
            <a:custGeom>
              <a:avLst/>
              <a:gdLst/>
              <a:ahLst/>
              <a:cxnLst/>
              <a:rect l="l" t="t" r="r" b="b"/>
              <a:pathLst>
                <a:path w="371" h="3538" extrusionOk="0">
                  <a:moveTo>
                    <a:pt x="187" y="0"/>
                  </a:moveTo>
                  <a:cubicBezTo>
                    <a:pt x="186" y="0"/>
                    <a:pt x="185" y="4"/>
                    <a:pt x="185" y="16"/>
                  </a:cubicBezTo>
                  <a:lnTo>
                    <a:pt x="1" y="3537"/>
                  </a:lnTo>
                  <a:lnTo>
                    <a:pt x="370" y="3537"/>
                  </a:lnTo>
                  <a:cubicBezTo>
                    <a:pt x="356" y="2033"/>
                    <a:pt x="223" y="16"/>
                    <a:pt x="193" y="16"/>
                  </a:cubicBezTo>
                  <a:cubicBezTo>
                    <a:pt x="193" y="16"/>
                    <a:pt x="189" y="0"/>
                    <a:pt x="18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2" name="Google Shape;5276;p53">
              <a:extLst>
                <a:ext uri="{FF2B5EF4-FFF2-40B4-BE49-F238E27FC236}">
                  <a16:creationId xmlns:a16="http://schemas.microsoft.com/office/drawing/2014/main" id="{BFE19562-346E-9625-BBA2-40BCA408A886}"/>
                </a:ext>
              </a:extLst>
            </p:cNvPr>
            <p:cNvSpPr/>
            <p:nvPr/>
          </p:nvSpPr>
          <p:spPr>
            <a:xfrm>
              <a:off x="7501525" y="1623250"/>
              <a:ext cx="25000" cy="20200"/>
            </a:xfrm>
            <a:custGeom>
              <a:avLst/>
              <a:gdLst/>
              <a:ahLst/>
              <a:cxnLst/>
              <a:rect l="l" t="t" r="r" b="b"/>
              <a:pathLst>
                <a:path w="1000" h="808" extrusionOk="0">
                  <a:moveTo>
                    <a:pt x="0" y="0"/>
                  </a:moveTo>
                  <a:lnTo>
                    <a:pt x="0" y="0"/>
                  </a:lnTo>
                  <a:cubicBezTo>
                    <a:pt x="484" y="787"/>
                    <a:pt x="935" y="807"/>
                    <a:pt x="981" y="807"/>
                  </a:cubicBezTo>
                  <a:cubicBezTo>
                    <a:pt x="984" y="807"/>
                    <a:pt x="985" y="807"/>
                    <a:pt x="985" y="807"/>
                  </a:cubicBezTo>
                  <a:lnTo>
                    <a:pt x="1000" y="690"/>
                  </a:lnTo>
                  <a:lnTo>
                    <a:pt x="1000" y="690"/>
                  </a:lnTo>
                  <a:cubicBezTo>
                    <a:pt x="1000" y="690"/>
                    <a:pt x="989" y="697"/>
                    <a:pt x="960" y="697"/>
                  </a:cubicBezTo>
                  <a:cubicBezTo>
                    <a:pt x="899" y="697"/>
                    <a:pt x="755" y="664"/>
                    <a:pt x="452" y="452"/>
                  </a:cubicBezTo>
                  <a:cubicBezTo>
                    <a:pt x="199" y="27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3" name="Google Shape;5277;p53">
              <a:extLst>
                <a:ext uri="{FF2B5EF4-FFF2-40B4-BE49-F238E27FC236}">
                  <a16:creationId xmlns:a16="http://schemas.microsoft.com/office/drawing/2014/main" id="{E87DCE6F-D708-9699-7E71-652FDFA46937}"/>
                </a:ext>
              </a:extLst>
            </p:cNvPr>
            <p:cNvSpPr/>
            <p:nvPr/>
          </p:nvSpPr>
          <p:spPr>
            <a:xfrm>
              <a:off x="7526500" y="1617675"/>
              <a:ext cx="21150" cy="17100"/>
            </a:xfrm>
            <a:custGeom>
              <a:avLst/>
              <a:gdLst/>
              <a:ahLst/>
              <a:cxnLst/>
              <a:rect l="l" t="t" r="r" b="b"/>
              <a:pathLst>
                <a:path w="846" h="684" extrusionOk="0">
                  <a:moveTo>
                    <a:pt x="845" y="1"/>
                  </a:moveTo>
                  <a:cubicBezTo>
                    <a:pt x="845" y="1"/>
                    <a:pt x="676" y="230"/>
                    <a:pt x="461" y="387"/>
                  </a:cubicBezTo>
                  <a:cubicBezTo>
                    <a:pt x="210" y="564"/>
                    <a:pt x="89" y="593"/>
                    <a:pt x="37" y="593"/>
                  </a:cubicBezTo>
                  <a:cubicBezTo>
                    <a:pt x="10" y="593"/>
                    <a:pt x="1" y="586"/>
                    <a:pt x="1" y="586"/>
                  </a:cubicBezTo>
                  <a:lnTo>
                    <a:pt x="1" y="586"/>
                  </a:lnTo>
                  <a:lnTo>
                    <a:pt x="9" y="684"/>
                  </a:lnTo>
                  <a:cubicBezTo>
                    <a:pt x="9" y="684"/>
                    <a:pt x="11" y="684"/>
                    <a:pt x="13" y="684"/>
                  </a:cubicBezTo>
                  <a:cubicBezTo>
                    <a:pt x="55" y="684"/>
                    <a:pt x="434" y="665"/>
                    <a:pt x="845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4" name="Google Shape;5278;p53">
              <a:extLst>
                <a:ext uri="{FF2B5EF4-FFF2-40B4-BE49-F238E27FC236}">
                  <a16:creationId xmlns:a16="http://schemas.microsoft.com/office/drawing/2014/main" id="{F8964FA5-DA2C-12F5-207A-2D4776EFAB6A}"/>
                </a:ext>
              </a:extLst>
            </p:cNvPr>
            <p:cNvSpPr/>
            <p:nvPr/>
          </p:nvSpPr>
          <p:spPr>
            <a:xfrm>
              <a:off x="7509300" y="1605275"/>
              <a:ext cx="17225" cy="13950"/>
            </a:xfrm>
            <a:custGeom>
              <a:avLst/>
              <a:gdLst/>
              <a:ahLst/>
              <a:cxnLst/>
              <a:rect l="l" t="t" r="r" b="b"/>
              <a:pathLst>
                <a:path w="689" h="558" extrusionOk="0">
                  <a:moveTo>
                    <a:pt x="0" y="1"/>
                  </a:moveTo>
                  <a:lnTo>
                    <a:pt x="0" y="1"/>
                  </a:lnTo>
                  <a:cubicBezTo>
                    <a:pt x="339" y="544"/>
                    <a:pt x="650" y="557"/>
                    <a:pt x="679" y="557"/>
                  </a:cubicBezTo>
                  <a:cubicBezTo>
                    <a:pt x="681" y="557"/>
                    <a:pt x="681" y="557"/>
                    <a:pt x="681" y="557"/>
                  </a:cubicBezTo>
                  <a:lnTo>
                    <a:pt x="689" y="475"/>
                  </a:lnTo>
                  <a:lnTo>
                    <a:pt x="689" y="475"/>
                  </a:lnTo>
                  <a:cubicBezTo>
                    <a:pt x="689" y="475"/>
                    <a:pt x="681" y="481"/>
                    <a:pt x="660" y="481"/>
                  </a:cubicBezTo>
                  <a:cubicBezTo>
                    <a:pt x="617" y="481"/>
                    <a:pt x="517" y="457"/>
                    <a:pt x="312" y="312"/>
                  </a:cubicBezTo>
                  <a:cubicBezTo>
                    <a:pt x="141" y="193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5" name="Google Shape;5279;p53">
              <a:extLst>
                <a:ext uri="{FF2B5EF4-FFF2-40B4-BE49-F238E27FC236}">
                  <a16:creationId xmlns:a16="http://schemas.microsoft.com/office/drawing/2014/main" id="{AAAD0EB4-BDFE-2823-53F6-839332402EAF}"/>
                </a:ext>
              </a:extLst>
            </p:cNvPr>
            <p:cNvSpPr/>
            <p:nvPr/>
          </p:nvSpPr>
          <p:spPr>
            <a:xfrm>
              <a:off x="7404450" y="1558600"/>
              <a:ext cx="64675" cy="81525"/>
            </a:xfrm>
            <a:custGeom>
              <a:avLst/>
              <a:gdLst/>
              <a:ahLst/>
              <a:cxnLst/>
              <a:rect l="l" t="t" r="r" b="b"/>
              <a:pathLst>
                <a:path w="2587" h="3261" extrusionOk="0">
                  <a:moveTo>
                    <a:pt x="1290" y="0"/>
                  </a:moveTo>
                  <a:cubicBezTo>
                    <a:pt x="734" y="0"/>
                    <a:pt x="275" y="452"/>
                    <a:pt x="275" y="1016"/>
                  </a:cubicBezTo>
                  <a:cubicBezTo>
                    <a:pt x="275" y="1067"/>
                    <a:pt x="282" y="1112"/>
                    <a:pt x="289" y="1156"/>
                  </a:cubicBezTo>
                  <a:cubicBezTo>
                    <a:pt x="111" y="1379"/>
                    <a:pt x="1" y="1659"/>
                    <a:pt x="1" y="1964"/>
                  </a:cubicBezTo>
                  <a:cubicBezTo>
                    <a:pt x="1" y="2682"/>
                    <a:pt x="579" y="3260"/>
                    <a:pt x="1290" y="3260"/>
                  </a:cubicBezTo>
                  <a:cubicBezTo>
                    <a:pt x="2009" y="3260"/>
                    <a:pt x="2587" y="2682"/>
                    <a:pt x="2587" y="1964"/>
                  </a:cubicBezTo>
                  <a:cubicBezTo>
                    <a:pt x="2587" y="1659"/>
                    <a:pt x="2475" y="1379"/>
                    <a:pt x="2297" y="1156"/>
                  </a:cubicBezTo>
                  <a:cubicBezTo>
                    <a:pt x="2304" y="1112"/>
                    <a:pt x="2313" y="1067"/>
                    <a:pt x="2313" y="1016"/>
                  </a:cubicBezTo>
                  <a:cubicBezTo>
                    <a:pt x="2313" y="452"/>
                    <a:pt x="1852" y="0"/>
                    <a:pt x="1290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6" name="Google Shape;5280;p53">
              <a:extLst>
                <a:ext uri="{FF2B5EF4-FFF2-40B4-BE49-F238E27FC236}">
                  <a16:creationId xmlns:a16="http://schemas.microsoft.com/office/drawing/2014/main" id="{92AA617D-DBFC-010D-2549-B26F21043C67}"/>
                </a:ext>
              </a:extLst>
            </p:cNvPr>
            <p:cNvSpPr/>
            <p:nvPr/>
          </p:nvSpPr>
          <p:spPr>
            <a:xfrm>
              <a:off x="7436700" y="1583475"/>
              <a:ext cx="2950" cy="96875"/>
            </a:xfrm>
            <a:custGeom>
              <a:avLst/>
              <a:gdLst/>
              <a:ahLst/>
              <a:cxnLst/>
              <a:rect l="l" t="t" r="r" b="b"/>
              <a:pathLst>
                <a:path w="118" h="3875" extrusionOk="0">
                  <a:moveTo>
                    <a:pt x="54" y="0"/>
                  </a:moveTo>
                  <a:cubicBezTo>
                    <a:pt x="53" y="0"/>
                    <a:pt x="52" y="4"/>
                    <a:pt x="52" y="14"/>
                  </a:cubicBezTo>
                  <a:lnTo>
                    <a:pt x="0" y="3821"/>
                  </a:lnTo>
                  <a:cubicBezTo>
                    <a:pt x="0" y="3851"/>
                    <a:pt x="22" y="3874"/>
                    <a:pt x="52" y="3874"/>
                  </a:cubicBezTo>
                  <a:lnTo>
                    <a:pt x="59" y="3874"/>
                  </a:lnTo>
                  <a:cubicBezTo>
                    <a:pt x="96" y="3874"/>
                    <a:pt x="118" y="3851"/>
                    <a:pt x="118" y="3821"/>
                  </a:cubicBezTo>
                  <a:cubicBezTo>
                    <a:pt x="118" y="3821"/>
                    <a:pt x="96" y="14"/>
                    <a:pt x="59" y="14"/>
                  </a:cubicBezTo>
                  <a:cubicBezTo>
                    <a:pt x="59" y="14"/>
                    <a:pt x="56" y="0"/>
                    <a:pt x="54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7" name="Google Shape;5281;p53">
              <a:extLst>
                <a:ext uri="{FF2B5EF4-FFF2-40B4-BE49-F238E27FC236}">
                  <a16:creationId xmlns:a16="http://schemas.microsoft.com/office/drawing/2014/main" id="{5E2A07AF-9307-B034-14B1-E74ADB2F9EE1}"/>
                </a:ext>
              </a:extLst>
            </p:cNvPr>
            <p:cNvSpPr/>
            <p:nvPr/>
          </p:nvSpPr>
          <p:spPr>
            <a:xfrm>
              <a:off x="7419800" y="1606975"/>
              <a:ext cx="18375" cy="15000"/>
            </a:xfrm>
            <a:custGeom>
              <a:avLst/>
              <a:gdLst/>
              <a:ahLst/>
              <a:cxnLst/>
              <a:rect l="l" t="t" r="r" b="b"/>
              <a:pathLst>
                <a:path w="735" h="600" extrusionOk="0">
                  <a:moveTo>
                    <a:pt x="0" y="0"/>
                  </a:moveTo>
                  <a:lnTo>
                    <a:pt x="0" y="0"/>
                  </a:lnTo>
                  <a:cubicBezTo>
                    <a:pt x="353" y="580"/>
                    <a:pt x="679" y="600"/>
                    <a:pt x="723" y="600"/>
                  </a:cubicBezTo>
                  <a:cubicBezTo>
                    <a:pt x="726" y="600"/>
                    <a:pt x="728" y="599"/>
                    <a:pt x="728" y="599"/>
                  </a:cubicBezTo>
                  <a:lnTo>
                    <a:pt x="735" y="511"/>
                  </a:lnTo>
                  <a:lnTo>
                    <a:pt x="735" y="511"/>
                  </a:lnTo>
                  <a:cubicBezTo>
                    <a:pt x="735" y="511"/>
                    <a:pt x="726" y="517"/>
                    <a:pt x="702" y="517"/>
                  </a:cubicBezTo>
                  <a:cubicBezTo>
                    <a:pt x="656" y="517"/>
                    <a:pt x="550" y="492"/>
                    <a:pt x="335" y="340"/>
                  </a:cubicBezTo>
                  <a:cubicBezTo>
                    <a:pt x="150" y="199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8" name="Google Shape;5282;p53">
              <a:extLst>
                <a:ext uri="{FF2B5EF4-FFF2-40B4-BE49-F238E27FC236}">
                  <a16:creationId xmlns:a16="http://schemas.microsoft.com/office/drawing/2014/main" id="{D647615C-11BA-FEA0-7C99-9928DB740C1B}"/>
                </a:ext>
              </a:extLst>
            </p:cNvPr>
            <p:cNvSpPr/>
            <p:nvPr/>
          </p:nvSpPr>
          <p:spPr>
            <a:xfrm>
              <a:off x="7438150" y="1602700"/>
              <a:ext cx="15600" cy="12775"/>
            </a:xfrm>
            <a:custGeom>
              <a:avLst/>
              <a:gdLst/>
              <a:ahLst/>
              <a:cxnLst/>
              <a:rect l="l" t="t" r="r" b="b"/>
              <a:pathLst>
                <a:path w="624" h="511" extrusionOk="0">
                  <a:moveTo>
                    <a:pt x="623" y="0"/>
                  </a:moveTo>
                  <a:cubicBezTo>
                    <a:pt x="623" y="0"/>
                    <a:pt x="497" y="178"/>
                    <a:pt x="342" y="289"/>
                  </a:cubicBezTo>
                  <a:cubicBezTo>
                    <a:pt x="156" y="421"/>
                    <a:pt x="67" y="444"/>
                    <a:pt x="28" y="444"/>
                  </a:cubicBezTo>
                  <a:cubicBezTo>
                    <a:pt x="8" y="444"/>
                    <a:pt x="1" y="438"/>
                    <a:pt x="1" y="438"/>
                  </a:cubicBezTo>
                  <a:lnTo>
                    <a:pt x="1" y="438"/>
                  </a:lnTo>
                  <a:lnTo>
                    <a:pt x="8" y="511"/>
                  </a:lnTo>
                  <a:cubicBezTo>
                    <a:pt x="8" y="511"/>
                    <a:pt x="9" y="511"/>
                    <a:pt x="11" y="511"/>
                  </a:cubicBezTo>
                  <a:cubicBezTo>
                    <a:pt x="42" y="511"/>
                    <a:pt x="323" y="497"/>
                    <a:pt x="62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9" name="Google Shape;5283;p53">
              <a:extLst>
                <a:ext uri="{FF2B5EF4-FFF2-40B4-BE49-F238E27FC236}">
                  <a16:creationId xmlns:a16="http://schemas.microsoft.com/office/drawing/2014/main" id="{F3692E16-281C-0364-7A73-966E10947512}"/>
                </a:ext>
              </a:extLst>
            </p:cNvPr>
            <p:cNvSpPr/>
            <p:nvPr/>
          </p:nvSpPr>
          <p:spPr>
            <a:xfrm>
              <a:off x="7425575" y="1593625"/>
              <a:ext cx="12600" cy="10200"/>
            </a:xfrm>
            <a:custGeom>
              <a:avLst/>
              <a:gdLst/>
              <a:ahLst/>
              <a:cxnLst/>
              <a:rect l="l" t="t" r="r" b="b"/>
              <a:pathLst>
                <a:path w="504" h="408" extrusionOk="0">
                  <a:moveTo>
                    <a:pt x="1" y="1"/>
                  </a:moveTo>
                  <a:lnTo>
                    <a:pt x="1" y="1"/>
                  </a:lnTo>
                  <a:cubicBezTo>
                    <a:pt x="242" y="395"/>
                    <a:pt x="467" y="408"/>
                    <a:pt x="494" y="408"/>
                  </a:cubicBezTo>
                  <a:cubicBezTo>
                    <a:pt x="496" y="408"/>
                    <a:pt x="497" y="408"/>
                    <a:pt x="497" y="408"/>
                  </a:cubicBezTo>
                  <a:lnTo>
                    <a:pt x="504" y="347"/>
                  </a:lnTo>
                  <a:lnTo>
                    <a:pt x="504" y="347"/>
                  </a:lnTo>
                  <a:cubicBezTo>
                    <a:pt x="504" y="347"/>
                    <a:pt x="497" y="353"/>
                    <a:pt x="479" y="353"/>
                  </a:cubicBezTo>
                  <a:cubicBezTo>
                    <a:pt x="446" y="353"/>
                    <a:pt x="374" y="334"/>
                    <a:pt x="230" y="230"/>
                  </a:cubicBezTo>
                  <a:cubicBezTo>
                    <a:pt x="104" y="14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0" name="Google Shape;5284;p53">
              <a:extLst>
                <a:ext uri="{FF2B5EF4-FFF2-40B4-BE49-F238E27FC236}">
                  <a16:creationId xmlns:a16="http://schemas.microsoft.com/office/drawing/2014/main" id="{1797ED76-C3FB-6DDE-7CFF-8679AF54AFA6}"/>
                </a:ext>
              </a:extLst>
            </p:cNvPr>
            <p:cNvSpPr/>
            <p:nvPr/>
          </p:nvSpPr>
          <p:spPr>
            <a:xfrm>
              <a:off x="7286250" y="1591750"/>
              <a:ext cx="46350" cy="58600"/>
            </a:xfrm>
            <a:custGeom>
              <a:avLst/>
              <a:gdLst/>
              <a:ahLst/>
              <a:cxnLst/>
              <a:rect l="l" t="t" r="r" b="b"/>
              <a:pathLst>
                <a:path w="1854" h="2344" extrusionOk="0">
                  <a:moveTo>
                    <a:pt x="927" y="1"/>
                  </a:moveTo>
                  <a:cubicBezTo>
                    <a:pt x="527" y="1"/>
                    <a:pt x="194" y="326"/>
                    <a:pt x="194" y="734"/>
                  </a:cubicBezTo>
                  <a:cubicBezTo>
                    <a:pt x="194" y="764"/>
                    <a:pt x="201" y="801"/>
                    <a:pt x="208" y="831"/>
                  </a:cubicBezTo>
                  <a:cubicBezTo>
                    <a:pt x="75" y="993"/>
                    <a:pt x="0" y="1194"/>
                    <a:pt x="0" y="1417"/>
                  </a:cubicBezTo>
                  <a:cubicBezTo>
                    <a:pt x="0" y="1927"/>
                    <a:pt x="416" y="2343"/>
                    <a:pt x="927" y="2343"/>
                  </a:cubicBezTo>
                  <a:cubicBezTo>
                    <a:pt x="1439" y="2343"/>
                    <a:pt x="1853" y="1927"/>
                    <a:pt x="1853" y="1417"/>
                  </a:cubicBezTo>
                  <a:cubicBezTo>
                    <a:pt x="1853" y="1194"/>
                    <a:pt x="1772" y="993"/>
                    <a:pt x="1645" y="831"/>
                  </a:cubicBezTo>
                  <a:cubicBezTo>
                    <a:pt x="1652" y="801"/>
                    <a:pt x="1652" y="764"/>
                    <a:pt x="1652" y="734"/>
                  </a:cubicBezTo>
                  <a:cubicBezTo>
                    <a:pt x="1652" y="326"/>
                    <a:pt x="1327" y="1"/>
                    <a:pt x="92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1" name="Google Shape;5285;p53">
              <a:extLst>
                <a:ext uri="{FF2B5EF4-FFF2-40B4-BE49-F238E27FC236}">
                  <a16:creationId xmlns:a16="http://schemas.microsoft.com/office/drawing/2014/main" id="{FB54BB5A-79E6-5125-BE72-D36DF3B3AFB2}"/>
                </a:ext>
              </a:extLst>
            </p:cNvPr>
            <p:cNvSpPr/>
            <p:nvPr/>
          </p:nvSpPr>
          <p:spPr>
            <a:xfrm>
              <a:off x="7309225" y="1609675"/>
              <a:ext cx="2250" cy="69550"/>
            </a:xfrm>
            <a:custGeom>
              <a:avLst/>
              <a:gdLst/>
              <a:ahLst/>
              <a:cxnLst/>
              <a:rect l="l" t="t" r="r" b="b"/>
              <a:pathLst>
                <a:path w="90" h="2782" extrusionOk="0">
                  <a:moveTo>
                    <a:pt x="47" y="0"/>
                  </a:moveTo>
                  <a:cubicBezTo>
                    <a:pt x="46" y="0"/>
                    <a:pt x="45" y="2"/>
                    <a:pt x="45" y="10"/>
                  </a:cubicBezTo>
                  <a:lnTo>
                    <a:pt x="1" y="2738"/>
                  </a:lnTo>
                  <a:cubicBezTo>
                    <a:pt x="1" y="2759"/>
                    <a:pt x="22" y="2782"/>
                    <a:pt x="45" y="2782"/>
                  </a:cubicBezTo>
                  <a:lnTo>
                    <a:pt x="52" y="2782"/>
                  </a:lnTo>
                  <a:cubicBezTo>
                    <a:pt x="75" y="2782"/>
                    <a:pt x="90" y="2759"/>
                    <a:pt x="90" y="2738"/>
                  </a:cubicBezTo>
                  <a:cubicBezTo>
                    <a:pt x="90" y="2738"/>
                    <a:pt x="75" y="10"/>
                    <a:pt x="52" y="10"/>
                  </a:cubicBezTo>
                  <a:cubicBezTo>
                    <a:pt x="52" y="10"/>
                    <a:pt x="49" y="0"/>
                    <a:pt x="4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2" name="Google Shape;5286;p53">
              <a:extLst>
                <a:ext uri="{FF2B5EF4-FFF2-40B4-BE49-F238E27FC236}">
                  <a16:creationId xmlns:a16="http://schemas.microsoft.com/office/drawing/2014/main" id="{E9F92669-72EB-A721-0A66-934064008FF1}"/>
                </a:ext>
              </a:extLst>
            </p:cNvPr>
            <p:cNvSpPr/>
            <p:nvPr/>
          </p:nvSpPr>
          <p:spPr>
            <a:xfrm>
              <a:off x="7297175" y="1626400"/>
              <a:ext cx="13200" cy="10950"/>
            </a:xfrm>
            <a:custGeom>
              <a:avLst/>
              <a:gdLst/>
              <a:ahLst/>
              <a:cxnLst/>
              <a:rect l="l" t="t" r="r" b="b"/>
              <a:pathLst>
                <a:path w="528" h="438" extrusionOk="0">
                  <a:moveTo>
                    <a:pt x="1" y="0"/>
                  </a:moveTo>
                  <a:cubicBezTo>
                    <a:pt x="266" y="431"/>
                    <a:pt x="505" y="438"/>
                    <a:pt x="519" y="438"/>
                  </a:cubicBezTo>
                  <a:cubicBezTo>
                    <a:pt x="520" y="438"/>
                    <a:pt x="520" y="438"/>
                    <a:pt x="520" y="438"/>
                  </a:cubicBezTo>
                  <a:lnTo>
                    <a:pt x="527" y="370"/>
                  </a:lnTo>
                  <a:lnTo>
                    <a:pt x="527" y="370"/>
                  </a:lnTo>
                  <a:cubicBezTo>
                    <a:pt x="527" y="370"/>
                    <a:pt x="521" y="375"/>
                    <a:pt x="504" y="375"/>
                  </a:cubicBezTo>
                  <a:cubicBezTo>
                    <a:pt x="470" y="375"/>
                    <a:pt x="396" y="356"/>
                    <a:pt x="246" y="246"/>
                  </a:cubicBezTo>
                  <a:cubicBezTo>
                    <a:pt x="104" y="148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8" name="Google Shape;5287;p53">
              <a:extLst>
                <a:ext uri="{FF2B5EF4-FFF2-40B4-BE49-F238E27FC236}">
                  <a16:creationId xmlns:a16="http://schemas.microsoft.com/office/drawing/2014/main" id="{D44521B1-501C-A44A-7A8A-EEAAB50F7229}"/>
                </a:ext>
              </a:extLst>
            </p:cNvPr>
            <p:cNvSpPr/>
            <p:nvPr/>
          </p:nvSpPr>
          <p:spPr>
            <a:xfrm>
              <a:off x="7310350" y="1623425"/>
              <a:ext cx="11300" cy="9300"/>
            </a:xfrm>
            <a:custGeom>
              <a:avLst/>
              <a:gdLst/>
              <a:ahLst/>
              <a:cxnLst/>
              <a:rect l="l" t="t" r="r" b="b"/>
              <a:pathLst>
                <a:path w="452" h="372" extrusionOk="0">
                  <a:moveTo>
                    <a:pt x="452" y="0"/>
                  </a:moveTo>
                  <a:lnTo>
                    <a:pt x="452" y="0"/>
                  </a:lnTo>
                  <a:cubicBezTo>
                    <a:pt x="452" y="0"/>
                    <a:pt x="356" y="126"/>
                    <a:pt x="244" y="208"/>
                  </a:cubicBezTo>
                  <a:cubicBezTo>
                    <a:pt x="102" y="308"/>
                    <a:pt x="39" y="323"/>
                    <a:pt x="14" y="323"/>
                  </a:cubicBezTo>
                  <a:cubicBezTo>
                    <a:pt x="4" y="323"/>
                    <a:pt x="0" y="320"/>
                    <a:pt x="0" y="320"/>
                  </a:cubicBezTo>
                  <a:lnTo>
                    <a:pt x="0" y="320"/>
                  </a:lnTo>
                  <a:lnTo>
                    <a:pt x="7" y="372"/>
                  </a:lnTo>
                  <a:cubicBezTo>
                    <a:pt x="7" y="372"/>
                    <a:pt x="8" y="372"/>
                    <a:pt x="8" y="372"/>
                  </a:cubicBezTo>
                  <a:cubicBezTo>
                    <a:pt x="22" y="372"/>
                    <a:pt x="224" y="365"/>
                    <a:pt x="452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9" name="Google Shape;5288;p53">
              <a:extLst>
                <a:ext uri="{FF2B5EF4-FFF2-40B4-BE49-F238E27FC236}">
                  <a16:creationId xmlns:a16="http://schemas.microsoft.com/office/drawing/2014/main" id="{A645D3BC-1E2A-02D2-BB9E-8BC1683CEF30}"/>
                </a:ext>
              </a:extLst>
            </p:cNvPr>
            <p:cNvSpPr/>
            <p:nvPr/>
          </p:nvSpPr>
          <p:spPr>
            <a:xfrm>
              <a:off x="7301275" y="1616975"/>
              <a:ext cx="9100" cy="7400"/>
            </a:xfrm>
            <a:custGeom>
              <a:avLst/>
              <a:gdLst/>
              <a:ahLst/>
              <a:cxnLst/>
              <a:rect l="l" t="t" r="r" b="b"/>
              <a:pathLst>
                <a:path w="364" h="296" extrusionOk="0">
                  <a:moveTo>
                    <a:pt x="0" y="0"/>
                  </a:moveTo>
                  <a:cubicBezTo>
                    <a:pt x="184" y="289"/>
                    <a:pt x="348" y="295"/>
                    <a:pt x="362" y="295"/>
                  </a:cubicBezTo>
                  <a:cubicBezTo>
                    <a:pt x="363" y="295"/>
                    <a:pt x="363" y="295"/>
                    <a:pt x="363" y="295"/>
                  </a:cubicBezTo>
                  <a:lnTo>
                    <a:pt x="363" y="251"/>
                  </a:lnTo>
                  <a:cubicBezTo>
                    <a:pt x="363" y="251"/>
                    <a:pt x="359" y="254"/>
                    <a:pt x="347" y="254"/>
                  </a:cubicBezTo>
                  <a:cubicBezTo>
                    <a:pt x="325" y="254"/>
                    <a:pt x="274" y="241"/>
                    <a:pt x="171" y="162"/>
                  </a:cubicBezTo>
                  <a:cubicBezTo>
                    <a:pt x="73" y="9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0" name="Google Shape;5289;p53">
              <a:extLst>
                <a:ext uri="{FF2B5EF4-FFF2-40B4-BE49-F238E27FC236}">
                  <a16:creationId xmlns:a16="http://schemas.microsoft.com/office/drawing/2014/main" id="{8EFB9337-670D-89A4-4770-9E338FCF968B}"/>
                </a:ext>
              </a:extLst>
            </p:cNvPr>
            <p:cNvSpPr/>
            <p:nvPr/>
          </p:nvSpPr>
          <p:spPr>
            <a:xfrm>
              <a:off x="7200475" y="1642125"/>
              <a:ext cx="91000" cy="37825"/>
            </a:xfrm>
            <a:custGeom>
              <a:avLst/>
              <a:gdLst/>
              <a:ahLst/>
              <a:cxnLst/>
              <a:rect l="l" t="t" r="r" b="b"/>
              <a:pathLst>
                <a:path w="3640" h="1513" extrusionOk="0">
                  <a:moveTo>
                    <a:pt x="1215" y="1"/>
                  </a:moveTo>
                  <a:cubicBezTo>
                    <a:pt x="801" y="1"/>
                    <a:pt x="469" y="335"/>
                    <a:pt x="469" y="750"/>
                  </a:cubicBezTo>
                  <a:lnTo>
                    <a:pt x="469" y="764"/>
                  </a:lnTo>
                  <a:cubicBezTo>
                    <a:pt x="438" y="757"/>
                    <a:pt x="408" y="750"/>
                    <a:pt x="380" y="750"/>
                  </a:cubicBezTo>
                  <a:cubicBezTo>
                    <a:pt x="172" y="750"/>
                    <a:pt x="1" y="920"/>
                    <a:pt x="1" y="1128"/>
                  </a:cubicBezTo>
                  <a:cubicBezTo>
                    <a:pt x="1" y="1335"/>
                    <a:pt x="172" y="1498"/>
                    <a:pt x="380" y="1498"/>
                  </a:cubicBezTo>
                  <a:lnTo>
                    <a:pt x="380" y="1512"/>
                  </a:lnTo>
                  <a:lnTo>
                    <a:pt x="3403" y="1512"/>
                  </a:lnTo>
                  <a:lnTo>
                    <a:pt x="3403" y="1498"/>
                  </a:lnTo>
                  <a:cubicBezTo>
                    <a:pt x="3536" y="1475"/>
                    <a:pt x="3639" y="1365"/>
                    <a:pt x="3639" y="1217"/>
                  </a:cubicBezTo>
                  <a:cubicBezTo>
                    <a:pt x="3639" y="1061"/>
                    <a:pt x="3513" y="934"/>
                    <a:pt x="3358" y="934"/>
                  </a:cubicBezTo>
                  <a:cubicBezTo>
                    <a:pt x="3291" y="934"/>
                    <a:pt x="3232" y="965"/>
                    <a:pt x="3181" y="1002"/>
                  </a:cubicBezTo>
                  <a:lnTo>
                    <a:pt x="3181" y="965"/>
                  </a:lnTo>
                  <a:cubicBezTo>
                    <a:pt x="3181" y="668"/>
                    <a:pt x="2942" y="424"/>
                    <a:pt x="2647" y="424"/>
                  </a:cubicBezTo>
                  <a:cubicBezTo>
                    <a:pt x="2476" y="424"/>
                    <a:pt x="2327" y="497"/>
                    <a:pt x="2224" y="623"/>
                  </a:cubicBezTo>
                  <a:cubicBezTo>
                    <a:pt x="2186" y="609"/>
                    <a:pt x="2149" y="602"/>
                    <a:pt x="2114" y="602"/>
                  </a:cubicBezTo>
                  <a:cubicBezTo>
                    <a:pt x="2053" y="602"/>
                    <a:pt x="2001" y="616"/>
                    <a:pt x="1957" y="639"/>
                  </a:cubicBezTo>
                  <a:cubicBezTo>
                    <a:pt x="1898" y="275"/>
                    <a:pt x="1594" y="1"/>
                    <a:pt x="121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1" name="Google Shape;5290;p53">
              <a:extLst>
                <a:ext uri="{FF2B5EF4-FFF2-40B4-BE49-F238E27FC236}">
                  <a16:creationId xmlns:a16="http://schemas.microsoft.com/office/drawing/2014/main" id="{EAC9E5B7-941A-3958-A925-5DDD711120BF}"/>
                </a:ext>
              </a:extLst>
            </p:cNvPr>
            <p:cNvSpPr/>
            <p:nvPr/>
          </p:nvSpPr>
          <p:spPr>
            <a:xfrm>
              <a:off x="7211775" y="1643250"/>
              <a:ext cx="12425" cy="17975"/>
            </a:xfrm>
            <a:custGeom>
              <a:avLst/>
              <a:gdLst/>
              <a:ahLst/>
              <a:cxnLst/>
              <a:rect l="l" t="t" r="r" b="b"/>
              <a:pathLst>
                <a:path w="497" h="719" extrusionOk="0">
                  <a:moveTo>
                    <a:pt x="497" y="0"/>
                  </a:moveTo>
                  <a:lnTo>
                    <a:pt x="497" y="0"/>
                  </a:lnTo>
                  <a:cubicBezTo>
                    <a:pt x="209" y="82"/>
                    <a:pt x="1" y="349"/>
                    <a:pt x="1" y="667"/>
                  </a:cubicBezTo>
                  <a:lnTo>
                    <a:pt x="1" y="712"/>
                  </a:lnTo>
                  <a:cubicBezTo>
                    <a:pt x="8" y="712"/>
                    <a:pt x="8" y="712"/>
                    <a:pt x="17" y="719"/>
                  </a:cubicBezTo>
                  <a:lnTo>
                    <a:pt x="17" y="705"/>
                  </a:lnTo>
                  <a:cubicBezTo>
                    <a:pt x="17" y="386"/>
                    <a:pt x="216" y="112"/>
                    <a:pt x="497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2" name="Google Shape;5291;p53">
              <a:extLst>
                <a:ext uri="{FF2B5EF4-FFF2-40B4-BE49-F238E27FC236}">
                  <a16:creationId xmlns:a16="http://schemas.microsoft.com/office/drawing/2014/main" id="{F3A77C45-3BC5-C16A-E1AA-B4704E8F9554}"/>
                </a:ext>
              </a:extLst>
            </p:cNvPr>
            <p:cNvSpPr/>
            <p:nvPr/>
          </p:nvSpPr>
          <p:spPr>
            <a:xfrm>
              <a:off x="7211775" y="1642700"/>
              <a:ext cx="17100" cy="34325"/>
            </a:xfrm>
            <a:custGeom>
              <a:avLst/>
              <a:gdLst/>
              <a:ahLst/>
              <a:cxnLst/>
              <a:rect l="l" t="t" r="r" b="b"/>
              <a:pathLst>
                <a:path w="684" h="1373" extrusionOk="0">
                  <a:moveTo>
                    <a:pt x="683" y="1"/>
                  </a:moveTo>
                  <a:cubicBezTo>
                    <a:pt x="623" y="1"/>
                    <a:pt x="557" y="8"/>
                    <a:pt x="497" y="22"/>
                  </a:cubicBezTo>
                  <a:cubicBezTo>
                    <a:pt x="216" y="134"/>
                    <a:pt x="17" y="408"/>
                    <a:pt x="17" y="727"/>
                  </a:cubicBezTo>
                  <a:lnTo>
                    <a:pt x="17" y="741"/>
                  </a:lnTo>
                  <a:cubicBezTo>
                    <a:pt x="8" y="734"/>
                    <a:pt x="8" y="734"/>
                    <a:pt x="1" y="734"/>
                  </a:cubicBezTo>
                  <a:cubicBezTo>
                    <a:pt x="24" y="1089"/>
                    <a:pt x="319" y="1372"/>
                    <a:pt x="683" y="1372"/>
                  </a:cubicBezTo>
                  <a:cubicBezTo>
                    <a:pt x="683" y="1372"/>
                    <a:pt x="290" y="1246"/>
                    <a:pt x="260" y="689"/>
                  </a:cubicBezTo>
                  <a:cubicBezTo>
                    <a:pt x="230" y="179"/>
                    <a:pt x="683" y="1"/>
                    <a:pt x="683" y="1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3" name="Google Shape;5292;p53">
              <a:extLst>
                <a:ext uri="{FF2B5EF4-FFF2-40B4-BE49-F238E27FC236}">
                  <a16:creationId xmlns:a16="http://schemas.microsoft.com/office/drawing/2014/main" id="{07A0499E-9B25-392D-FD53-29E17C087C6D}"/>
                </a:ext>
              </a:extLst>
            </p:cNvPr>
            <p:cNvSpPr/>
            <p:nvPr/>
          </p:nvSpPr>
          <p:spPr>
            <a:xfrm>
              <a:off x="7244575" y="1657350"/>
              <a:ext cx="18000" cy="9075"/>
            </a:xfrm>
            <a:custGeom>
              <a:avLst/>
              <a:gdLst/>
              <a:ahLst/>
              <a:cxnLst/>
              <a:rect l="l" t="t" r="r" b="b"/>
              <a:pathLst>
                <a:path w="720" h="363" extrusionOk="0">
                  <a:moveTo>
                    <a:pt x="357" y="0"/>
                  </a:moveTo>
                  <a:cubicBezTo>
                    <a:pt x="163" y="7"/>
                    <a:pt x="1" y="171"/>
                    <a:pt x="8" y="363"/>
                  </a:cubicBezTo>
                  <a:cubicBezTo>
                    <a:pt x="8" y="363"/>
                    <a:pt x="67" y="164"/>
                    <a:pt x="357" y="141"/>
                  </a:cubicBezTo>
                  <a:lnTo>
                    <a:pt x="385" y="141"/>
                  </a:lnTo>
                  <a:cubicBezTo>
                    <a:pt x="630" y="141"/>
                    <a:pt x="719" y="356"/>
                    <a:pt x="719" y="356"/>
                  </a:cubicBezTo>
                  <a:cubicBezTo>
                    <a:pt x="719" y="164"/>
                    <a:pt x="556" y="0"/>
                    <a:pt x="364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4" name="Google Shape;5293;p53">
              <a:extLst>
                <a:ext uri="{FF2B5EF4-FFF2-40B4-BE49-F238E27FC236}">
                  <a16:creationId xmlns:a16="http://schemas.microsoft.com/office/drawing/2014/main" id="{09F0BB2B-D692-1383-0ECD-1F346454CABC}"/>
                </a:ext>
              </a:extLst>
            </p:cNvPr>
            <p:cNvSpPr/>
            <p:nvPr/>
          </p:nvSpPr>
          <p:spPr>
            <a:xfrm>
              <a:off x="7488350" y="1497900"/>
              <a:ext cx="29500" cy="12925"/>
            </a:xfrm>
            <a:custGeom>
              <a:avLst/>
              <a:gdLst/>
              <a:ahLst/>
              <a:cxnLst/>
              <a:rect l="l" t="t" r="r" b="b"/>
              <a:pathLst>
                <a:path w="1180" h="517" extrusionOk="0">
                  <a:moveTo>
                    <a:pt x="1026" y="0"/>
                  </a:moveTo>
                  <a:cubicBezTo>
                    <a:pt x="950" y="0"/>
                    <a:pt x="859" y="34"/>
                    <a:pt x="771" y="102"/>
                  </a:cubicBezTo>
                  <a:cubicBezTo>
                    <a:pt x="698" y="154"/>
                    <a:pt x="637" y="228"/>
                    <a:pt x="609" y="294"/>
                  </a:cubicBezTo>
                  <a:cubicBezTo>
                    <a:pt x="548" y="250"/>
                    <a:pt x="468" y="220"/>
                    <a:pt x="380" y="205"/>
                  </a:cubicBezTo>
                  <a:cubicBezTo>
                    <a:pt x="346" y="200"/>
                    <a:pt x="315" y="198"/>
                    <a:pt x="285" y="198"/>
                  </a:cubicBezTo>
                  <a:cubicBezTo>
                    <a:pt x="128" y="198"/>
                    <a:pt x="20" y="263"/>
                    <a:pt x="1" y="369"/>
                  </a:cubicBezTo>
                  <a:cubicBezTo>
                    <a:pt x="1" y="369"/>
                    <a:pt x="44" y="287"/>
                    <a:pt x="248" y="287"/>
                  </a:cubicBezTo>
                  <a:cubicBezTo>
                    <a:pt x="282" y="287"/>
                    <a:pt x="320" y="289"/>
                    <a:pt x="364" y="294"/>
                  </a:cubicBezTo>
                  <a:cubicBezTo>
                    <a:pt x="460" y="301"/>
                    <a:pt x="534" y="332"/>
                    <a:pt x="586" y="362"/>
                  </a:cubicBezTo>
                  <a:lnTo>
                    <a:pt x="579" y="517"/>
                  </a:lnTo>
                  <a:lnTo>
                    <a:pt x="653" y="502"/>
                  </a:lnTo>
                  <a:lnTo>
                    <a:pt x="742" y="479"/>
                  </a:lnTo>
                  <a:lnTo>
                    <a:pt x="661" y="346"/>
                  </a:lnTo>
                  <a:cubicBezTo>
                    <a:pt x="698" y="294"/>
                    <a:pt x="742" y="236"/>
                    <a:pt x="824" y="168"/>
                  </a:cubicBezTo>
                  <a:cubicBezTo>
                    <a:pt x="938" y="77"/>
                    <a:pt x="1032" y="56"/>
                    <a:pt x="1094" y="56"/>
                  </a:cubicBezTo>
                  <a:cubicBezTo>
                    <a:pt x="1149" y="56"/>
                    <a:pt x="1180" y="72"/>
                    <a:pt x="1180" y="72"/>
                  </a:cubicBezTo>
                  <a:cubicBezTo>
                    <a:pt x="1145" y="25"/>
                    <a:pt x="1091" y="0"/>
                    <a:pt x="1026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5" name="Google Shape;5294;p53">
              <a:extLst>
                <a:ext uri="{FF2B5EF4-FFF2-40B4-BE49-F238E27FC236}">
                  <a16:creationId xmlns:a16="http://schemas.microsoft.com/office/drawing/2014/main" id="{A83FA7CB-1DE8-E37C-DAD8-35A726DC3EA1}"/>
                </a:ext>
              </a:extLst>
            </p:cNvPr>
            <p:cNvSpPr/>
            <p:nvPr/>
          </p:nvSpPr>
          <p:spPr>
            <a:xfrm>
              <a:off x="7313675" y="1413575"/>
              <a:ext cx="24825" cy="12025"/>
            </a:xfrm>
            <a:custGeom>
              <a:avLst/>
              <a:gdLst/>
              <a:ahLst/>
              <a:cxnLst/>
              <a:rect l="l" t="t" r="r" b="b"/>
              <a:pathLst>
                <a:path w="993" h="481" extrusionOk="0">
                  <a:moveTo>
                    <a:pt x="851" y="0"/>
                  </a:moveTo>
                  <a:cubicBezTo>
                    <a:pt x="787" y="0"/>
                    <a:pt x="715" y="30"/>
                    <a:pt x="644" y="89"/>
                  </a:cubicBezTo>
                  <a:cubicBezTo>
                    <a:pt x="578" y="141"/>
                    <a:pt x="534" y="207"/>
                    <a:pt x="511" y="267"/>
                  </a:cubicBezTo>
                  <a:cubicBezTo>
                    <a:pt x="459" y="230"/>
                    <a:pt x="394" y="192"/>
                    <a:pt x="312" y="178"/>
                  </a:cubicBezTo>
                  <a:cubicBezTo>
                    <a:pt x="281" y="173"/>
                    <a:pt x="251" y="170"/>
                    <a:pt x="224" y="170"/>
                  </a:cubicBezTo>
                  <a:cubicBezTo>
                    <a:pt x="93" y="170"/>
                    <a:pt x="6" y="227"/>
                    <a:pt x="1" y="326"/>
                  </a:cubicBezTo>
                  <a:cubicBezTo>
                    <a:pt x="1" y="326"/>
                    <a:pt x="33" y="251"/>
                    <a:pt x="203" y="251"/>
                  </a:cubicBezTo>
                  <a:cubicBezTo>
                    <a:pt x="233" y="251"/>
                    <a:pt x="266" y="253"/>
                    <a:pt x="305" y="258"/>
                  </a:cubicBezTo>
                  <a:cubicBezTo>
                    <a:pt x="386" y="274"/>
                    <a:pt x="445" y="303"/>
                    <a:pt x="490" y="333"/>
                  </a:cubicBezTo>
                  <a:lnTo>
                    <a:pt x="490" y="480"/>
                  </a:lnTo>
                  <a:lnTo>
                    <a:pt x="555" y="466"/>
                  </a:lnTo>
                  <a:lnTo>
                    <a:pt x="630" y="452"/>
                  </a:lnTo>
                  <a:lnTo>
                    <a:pt x="555" y="319"/>
                  </a:lnTo>
                  <a:cubicBezTo>
                    <a:pt x="586" y="274"/>
                    <a:pt x="623" y="214"/>
                    <a:pt x="689" y="162"/>
                  </a:cubicBezTo>
                  <a:cubicBezTo>
                    <a:pt x="782" y="77"/>
                    <a:pt x="862" y="57"/>
                    <a:pt x="916" y="57"/>
                  </a:cubicBezTo>
                  <a:cubicBezTo>
                    <a:pt x="964" y="57"/>
                    <a:pt x="993" y="73"/>
                    <a:pt x="993" y="73"/>
                  </a:cubicBezTo>
                  <a:cubicBezTo>
                    <a:pt x="958" y="24"/>
                    <a:pt x="908" y="0"/>
                    <a:pt x="851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6" name="Google Shape;5295;p53">
              <a:extLst>
                <a:ext uri="{FF2B5EF4-FFF2-40B4-BE49-F238E27FC236}">
                  <a16:creationId xmlns:a16="http://schemas.microsoft.com/office/drawing/2014/main" id="{73F7ACBD-2D96-9574-CFAF-382EFF419154}"/>
                </a:ext>
              </a:extLst>
            </p:cNvPr>
            <p:cNvSpPr/>
            <p:nvPr/>
          </p:nvSpPr>
          <p:spPr>
            <a:xfrm>
              <a:off x="7314425" y="1458625"/>
              <a:ext cx="15025" cy="6450"/>
            </a:xfrm>
            <a:custGeom>
              <a:avLst/>
              <a:gdLst/>
              <a:ahLst/>
              <a:cxnLst/>
              <a:rect l="l" t="t" r="r" b="b"/>
              <a:pathLst>
                <a:path w="601" h="258" extrusionOk="0">
                  <a:moveTo>
                    <a:pt x="520" y="1"/>
                  </a:moveTo>
                  <a:cubicBezTo>
                    <a:pt x="482" y="1"/>
                    <a:pt x="437" y="17"/>
                    <a:pt x="392" y="50"/>
                  </a:cubicBezTo>
                  <a:cubicBezTo>
                    <a:pt x="348" y="80"/>
                    <a:pt x="326" y="110"/>
                    <a:pt x="303" y="146"/>
                  </a:cubicBezTo>
                  <a:cubicBezTo>
                    <a:pt x="275" y="124"/>
                    <a:pt x="237" y="110"/>
                    <a:pt x="193" y="101"/>
                  </a:cubicBezTo>
                  <a:cubicBezTo>
                    <a:pt x="178" y="99"/>
                    <a:pt x="164" y="98"/>
                    <a:pt x="150" y="98"/>
                  </a:cubicBezTo>
                  <a:cubicBezTo>
                    <a:pt x="68" y="98"/>
                    <a:pt x="7" y="133"/>
                    <a:pt x="1" y="183"/>
                  </a:cubicBezTo>
                  <a:cubicBezTo>
                    <a:pt x="1" y="183"/>
                    <a:pt x="23" y="143"/>
                    <a:pt x="134" y="143"/>
                  </a:cubicBezTo>
                  <a:cubicBezTo>
                    <a:pt x="150" y="143"/>
                    <a:pt x="167" y="144"/>
                    <a:pt x="186" y="146"/>
                  </a:cubicBezTo>
                  <a:cubicBezTo>
                    <a:pt x="230" y="146"/>
                    <a:pt x="268" y="162"/>
                    <a:pt x="296" y="176"/>
                  </a:cubicBezTo>
                  <a:lnTo>
                    <a:pt x="289" y="258"/>
                  </a:lnTo>
                  <a:lnTo>
                    <a:pt x="333" y="243"/>
                  </a:lnTo>
                  <a:lnTo>
                    <a:pt x="378" y="234"/>
                  </a:lnTo>
                  <a:lnTo>
                    <a:pt x="333" y="169"/>
                  </a:lnTo>
                  <a:cubicBezTo>
                    <a:pt x="348" y="146"/>
                    <a:pt x="378" y="117"/>
                    <a:pt x="415" y="87"/>
                  </a:cubicBezTo>
                  <a:cubicBezTo>
                    <a:pt x="475" y="39"/>
                    <a:pt x="524" y="28"/>
                    <a:pt x="557" y="28"/>
                  </a:cubicBezTo>
                  <a:cubicBezTo>
                    <a:pt x="585" y="28"/>
                    <a:pt x="600" y="35"/>
                    <a:pt x="600" y="35"/>
                  </a:cubicBezTo>
                  <a:cubicBezTo>
                    <a:pt x="580" y="12"/>
                    <a:pt x="552" y="1"/>
                    <a:pt x="520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7" name="Google Shape;5296;p53">
              <a:extLst>
                <a:ext uri="{FF2B5EF4-FFF2-40B4-BE49-F238E27FC236}">
                  <a16:creationId xmlns:a16="http://schemas.microsoft.com/office/drawing/2014/main" id="{15027CAD-8398-5EB3-7784-DB1998A16DB9}"/>
                </a:ext>
              </a:extLst>
            </p:cNvPr>
            <p:cNvSpPr/>
            <p:nvPr/>
          </p:nvSpPr>
          <p:spPr>
            <a:xfrm>
              <a:off x="7228275" y="1437800"/>
              <a:ext cx="20375" cy="8725"/>
            </a:xfrm>
            <a:custGeom>
              <a:avLst/>
              <a:gdLst/>
              <a:ahLst/>
              <a:cxnLst/>
              <a:rect l="l" t="t" r="r" b="b"/>
              <a:pathLst>
                <a:path w="815" h="349" extrusionOk="0">
                  <a:moveTo>
                    <a:pt x="712" y="1"/>
                  </a:moveTo>
                  <a:cubicBezTo>
                    <a:pt x="659" y="1"/>
                    <a:pt x="596" y="23"/>
                    <a:pt x="534" y="68"/>
                  </a:cubicBezTo>
                  <a:cubicBezTo>
                    <a:pt x="482" y="105"/>
                    <a:pt x="445" y="157"/>
                    <a:pt x="424" y="201"/>
                  </a:cubicBezTo>
                  <a:cubicBezTo>
                    <a:pt x="379" y="171"/>
                    <a:pt x="326" y="150"/>
                    <a:pt x="260" y="143"/>
                  </a:cubicBezTo>
                  <a:cubicBezTo>
                    <a:pt x="237" y="139"/>
                    <a:pt x="215" y="137"/>
                    <a:pt x="194" y="137"/>
                  </a:cubicBezTo>
                  <a:cubicBezTo>
                    <a:pt x="88" y="137"/>
                    <a:pt x="12" y="184"/>
                    <a:pt x="0" y="253"/>
                  </a:cubicBezTo>
                  <a:cubicBezTo>
                    <a:pt x="0" y="253"/>
                    <a:pt x="28" y="197"/>
                    <a:pt x="176" y="197"/>
                  </a:cubicBezTo>
                  <a:cubicBezTo>
                    <a:pt x="198" y="197"/>
                    <a:pt x="224" y="198"/>
                    <a:pt x="253" y="201"/>
                  </a:cubicBezTo>
                  <a:cubicBezTo>
                    <a:pt x="319" y="209"/>
                    <a:pt x="370" y="223"/>
                    <a:pt x="400" y="246"/>
                  </a:cubicBezTo>
                  <a:lnTo>
                    <a:pt x="400" y="349"/>
                  </a:lnTo>
                  <a:lnTo>
                    <a:pt x="452" y="342"/>
                  </a:lnTo>
                  <a:lnTo>
                    <a:pt x="512" y="328"/>
                  </a:lnTo>
                  <a:lnTo>
                    <a:pt x="459" y="232"/>
                  </a:lnTo>
                  <a:cubicBezTo>
                    <a:pt x="482" y="201"/>
                    <a:pt x="512" y="157"/>
                    <a:pt x="571" y="120"/>
                  </a:cubicBezTo>
                  <a:cubicBezTo>
                    <a:pt x="656" y="51"/>
                    <a:pt x="723" y="37"/>
                    <a:pt x="766" y="37"/>
                  </a:cubicBezTo>
                  <a:cubicBezTo>
                    <a:pt x="797" y="37"/>
                    <a:pt x="815" y="45"/>
                    <a:pt x="815" y="45"/>
                  </a:cubicBezTo>
                  <a:cubicBezTo>
                    <a:pt x="792" y="15"/>
                    <a:pt x="755" y="1"/>
                    <a:pt x="712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8" name="Google Shape;5297;p53">
              <a:extLst>
                <a:ext uri="{FF2B5EF4-FFF2-40B4-BE49-F238E27FC236}">
                  <a16:creationId xmlns:a16="http://schemas.microsoft.com/office/drawing/2014/main" id="{D7E093A9-3E6A-1392-2FA4-D20065797962}"/>
                </a:ext>
              </a:extLst>
            </p:cNvPr>
            <p:cNvSpPr/>
            <p:nvPr/>
          </p:nvSpPr>
          <p:spPr>
            <a:xfrm>
              <a:off x="7503925" y="1476125"/>
              <a:ext cx="10950" cy="4700"/>
            </a:xfrm>
            <a:custGeom>
              <a:avLst/>
              <a:gdLst/>
              <a:ahLst/>
              <a:cxnLst/>
              <a:rect l="l" t="t" r="r" b="b"/>
              <a:pathLst>
                <a:path w="438" h="188" extrusionOk="0">
                  <a:moveTo>
                    <a:pt x="385" y="1"/>
                  </a:moveTo>
                  <a:cubicBezTo>
                    <a:pt x="357" y="1"/>
                    <a:pt x="324" y="14"/>
                    <a:pt x="290" y="40"/>
                  </a:cubicBezTo>
                  <a:cubicBezTo>
                    <a:pt x="260" y="54"/>
                    <a:pt x="237" y="84"/>
                    <a:pt x="230" y="105"/>
                  </a:cubicBezTo>
                  <a:cubicBezTo>
                    <a:pt x="208" y="91"/>
                    <a:pt x="178" y="77"/>
                    <a:pt x="141" y="77"/>
                  </a:cubicBezTo>
                  <a:cubicBezTo>
                    <a:pt x="127" y="74"/>
                    <a:pt x="114" y="73"/>
                    <a:pt x="102" y="73"/>
                  </a:cubicBezTo>
                  <a:cubicBezTo>
                    <a:pt x="47" y="73"/>
                    <a:pt x="6" y="99"/>
                    <a:pt x="0" y="136"/>
                  </a:cubicBezTo>
                  <a:cubicBezTo>
                    <a:pt x="0" y="136"/>
                    <a:pt x="17" y="103"/>
                    <a:pt x="93" y="103"/>
                  </a:cubicBezTo>
                  <a:cubicBezTo>
                    <a:pt x="105" y="103"/>
                    <a:pt x="118" y="103"/>
                    <a:pt x="134" y="105"/>
                  </a:cubicBezTo>
                  <a:cubicBezTo>
                    <a:pt x="171" y="105"/>
                    <a:pt x="201" y="121"/>
                    <a:pt x="215" y="128"/>
                  </a:cubicBezTo>
                  <a:lnTo>
                    <a:pt x="215" y="187"/>
                  </a:lnTo>
                  <a:lnTo>
                    <a:pt x="246" y="180"/>
                  </a:lnTo>
                  <a:lnTo>
                    <a:pt x="274" y="173"/>
                  </a:lnTo>
                  <a:lnTo>
                    <a:pt x="246" y="121"/>
                  </a:lnTo>
                  <a:cubicBezTo>
                    <a:pt x="260" y="105"/>
                    <a:pt x="274" y="84"/>
                    <a:pt x="304" y="61"/>
                  </a:cubicBezTo>
                  <a:cubicBezTo>
                    <a:pt x="348" y="26"/>
                    <a:pt x="383" y="17"/>
                    <a:pt x="406" y="17"/>
                  </a:cubicBezTo>
                  <a:cubicBezTo>
                    <a:pt x="427" y="17"/>
                    <a:pt x="438" y="24"/>
                    <a:pt x="438" y="24"/>
                  </a:cubicBezTo>
                  <a:cubicBezTo>
                    <a:pt x="425" y="8"/>
                    <a:pt x="407" y="1"/>
                    <a:pt x="38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9" name="Google Shape;5298;p53">
              <a:extLst>
                <a:ext uri="{FF2B5EF4-FFF2-40B4-BE49-F238E27FC236}">
                  <a16:creationId xmlns:a16="http://schemas.microsoft.com/office/drawing/2014/main" id="{C74167E7-02F8-57E3-7DC0-4904431A4D32}"/>
                </a:ext>
              </a:extLst>
            </p:cNvPr>
            <p:cNvSpPr/>
            <p:nvPr/>
          </p:nvSpPr>
          <p:spPr>
            <a:xfrm>
              <a:off x="7717150" y="1657150"/>
              <a:ext cx="58350" cy="24300"/>
            </a:xfrm>
            <a:custGeom>
              <a:avLst/>
              <a:gdLst/>
              <a:ahLst/>
              <a:cxnLst/>
              <a:rect l="l" t="t" r="r" b="b"/>
              <a:pathLst>
                <a:path w="2334" h="972" extrusionOk="0">
                  <a:moveTo>
                    <a:pt x="777" y="1"/>
                  </a:moveTo>
                  <a:cubicBezTo>
                    <a:pt x="511" y="1"/>
                    <a:pt x="297" y="216"/>
                    <a:pt x="297" y="474"/>
                  </a:cubicBezTo>
                  <a:lnTo>
                    <a:pt x="297" y="483"/>
                  </a:lnTo>
                  <a:cubicBezTo>
                    <a:pt x="281" y="483"/>
                    <a:pt x="260" y="474"/>
                    <a:pt x="244" y="474"/>
                  </a:cubicBezTo>
                  <a:cubicBezTo>
                    <a:pt x="110" y="474"/>
                    <a:pt x="0" y="586"/>
                    <a:pt x="0" y="719"/>
                  </a:cubicBezTo>
                  <a:cubicBezTo>
                    <a:pt x="0" y="853"/>
                    <a:pt x="110" y="956"/>
                    <a:pt x="244" y="956"/>
                  </a:cubicBezTo>
                  <a:lnTo>
                    <a:pt x="244" y="972"/>
                  </a:lnTo>
                  <a:lnTo>
                    <a:pt x="2179" y="972"/>
                  </a:lnTo>
                  <a:lnTo>
                    <a:pt x="2179" y="956"/>
                  </a:lnTo>
                  <a:cubicBezTo>
                    <a:pt x="2268" y="949"/>
                    <a:pt x="2333" y="867"/>
                    <a:pt x="2333" y="778"/>
                  </a:cubicBezTo>
                  <a:cubicBezTo>
                    <a:pt x="2333" y="682"/>
                    <a:pt x="2253" y="600"/>
                    <a:pt x="2156" y="600"/>
                  </a:cubicBezTo>
                  <a:cubicBezTo>
                    <a:pt x="2111" y="600"/>
                    <a:pt x="2076" y="616"/>
                    <a:pt x="2038" y="638"/>
                  </a:cubicBezTo>
                  <a:lnTo>
                    <a:pt x="2038" y="616"/>
                  </a:lnTo>
                  <a:cubicBezTo>
                    <a:pt x="2038" y="422"/>
                    <a:pt x="1889" y="268"/>
                    <a:pt x="1697" y="268"/>
                  </a:cubicBezTo>
                  <a:cubicBezTo>
                    <a:pt x="1587" y="268"/>
                    <a:pt x="1489" y="319"/>
                    <a:pt x="1430" y="394"/>
                  </a:cubicBezTo>
                  <a:cubicBezTo>
                    <a:pt x="1409" y="385"/>
                    <a:pt x="1378" y="385"/>
                    <a:pt x="1355" y="385"/>
                  </a:cubicBezTo>
                  <a:cubicBezTo>
                    <a:pt x="1320" y="385"/>
                    <a:pt x="1282" y="394"/>
                    <a:pt x="1252" y="408"/>
                  </a:cubicBezTo>
                  <a:cubicBezTo>
                    <a:pt x="1222" y="172"/>
                    <a:pt x="1023" y="1"/>
                    <a:pt x="77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0" name="Google Shape;5299;p53">
              <a:extLst>
                <a:ext uri="{FF2B5EF4-FFF2-40B4-BE49-F238E27FC236}">
                  <a16:creationId xmlns:a16="http://schemas.microsoft.com/office/drawing/2014/main" id="{B831C40B-432D-BF23-A42A-F456F8B1DA7C}"/>
                </a:ext>
              </a:extLst>
            </p:cNvPr>
            <p:cNvSpPr/>
            <p:nvPr/>
          </p:nvSpPr>
          <p:spPr>
            <a:xfrm>
              <a:off x="7724350" y="1657350"/>
              <a:ext cx="10950" cy="22075"/>
            </a:xfrm>
            <a:custGeom>
              <a:avLst/>
              <a:gdLst/>
              <a:ahLst/>
              <a:cxnLst/>
              <a:rect l="l" t="t" r="r" b="b"/>
              <a:pathLst>
                <a:path w="438" h="883" extrusionOk="0">
                  <a:moveTo>
                    <a:pt x="438" y="0"/>
                  </a:moveTo>
                  <a:cubicBezTo>
                    <a:pt x="201" y="0"/>
                    <a:pt x="0" y="199"/>
                    <a:pt x="0" y="445"/>
                  </a:cubicBezTo>
                  <a:cubicBezTo>
                    <a:pt x="0" y="688"/>
                    <a:pt x="201" y="882"/>
                    <a:pt x="438" y="882"/>
                  </a:cubicBezTo>
                  <a:cubicBezTo>
                    <a:pt x="438" y="882"/>
                    <a:pt x="187" y="800"/>
                    <a:pt x="171" y="445"/>
                  </a:cubicBezTo>
                  <a:cubicBezTo>
                    <a:pt x="150" y="119"/>
                    <a:pt x="438" y="0"/>
                    <a:pt x="43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1" name="Google Shape;5300;p53">
              <a:extLst>
                <a:ext uri="{FF2B5EF4-FFF2-40B4-BE49-F238E27FC236}">
                  <a16:creationId xmlns:a16="http://schemas.microsoft.com/office/drawing/2014/main" id="{D4060314-6899-2C38-7650-CA8710F1C7CA}"/>
                </a:ext>
              </a:extLst>
            </p:cNvPr>
            <p:cNvSpPr/>
            <p:nvPr/>
          </p:nvSpPr>
          <p:spPr>
            <a:xfrm>
              <a:off x="7745475" y="1666775"/>
              <a:ext cx="11525" cy="5975"/>
            </a:xfrm>
            <a:custGeom>
              <a:avLst/>
              <a:gdLst/>
              <a:ahLst/>
              <a:cxnLst/>
              <a:rect l="l" t="t" r="r" b="b"/>
              <a:pathLst>
                <a:path w="461" h="239" extrusionOk="0">
                  <a:moveTo>
                    <a:pt x="231" y="0"/>
                  </a:moveTo>
                  <a:cubicBezTo>
                    <a:pt x="105" y="9"/>
                    <a:pt x="0" y="112"/>
                    <a:pt x="0" y="238"/>
                  </a:cubicBezTo>
                  <a:cubicBezTo>
                    <a:pt x="0" y="238"/>
                    <a:pt x="37" y="105"/>
                    <a:pt x="231" y="89"/>
                  </a:cubicBezTo>
                  <a:cubicBezTo>
                    <a:pt x="235" y="89"/>
                    <a:pt x="239" y="89"/>
                    <a:pt x="243" y="89"/>
                  </a:cubicBezTo>
                  <a:cubicBezTo>
                    <a:pt x="403" y="89"/>
                    <a:pt x="461" y="231"/>
                    <a:pt x="461" y="231"/>
                  </a:cubicBezTo>
                  <a:cubicBezTo>
                    <a:pt x="461" y="105"/>
                    <a:pt x="356" y="0"/>
                    <a:pt x="23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2" name="Google Shape;5301;p53">
              <a:extLst>
                <a:ext uri="{FF2B5EF4-FFF2-40B4-BE49-F238E27FC236}">
                  <a16:creationId xmlns:a16="http://schemas.microsoft.com/office/drawing/2014/main" id="{992BE179-6FFA-C03A-D344-D353FDE1FC4F}"/>
                </a:ext>
              </a:extLst>
            </p:cNvPr>
            <p:cNvSpPr/>
            <p:nvPr/>
          </p:nvSpPr>
          <p:spPr>
            <a:xfrm>
              <a:off x="7352750" y="1654925"/>
              <a:ext cx="60225" cy="25025"/>
            </a:xfrm>
            <a:custGeom>
              <a:avLst/>
              <a:gdLst/>
              <a:ahLst/>
              <a:cxnLst/>
              <a:rect l="l" t="t" r="r" b="b"/>
              <a:pathLst>
                <a:path w="2409" h="1001" extrusionOk="0">
                  <a:moveTo>
                    <a:pt x="1608" y="1"/>
                  </a:moveTo>
                  <a:cubicBezTo>
                    <a:pt x="1358" y="1"/>
                    <a:pt x="1150" y="186"/>
                    <a:pt x="1119" y="422"/>
                  </a:cubicBezTo>
                  <a:cubicBezTo>
                    <a:pt x="1082" y="408"/>
                    <a:pt x="1054" y="401"/>
                    <a:pt x="1016" y="401"/>
                  </a:cubicBezTo>
                  <a:cubicBezTo>
                    <a:pt x="986" y="401"/>
                    <a:pt x="965" y="401"/>
                    <a:pt x="934" y="408"/>
                  </a:cubicBezTo>
                  <a:cubicBezTo>
                    <a:pt x="876" y="334"/>
                    <a:pt x="771" y="282"/>
                    <a:pt x="660" y="282"/>
                  </a:cubicBezTo>
                  <a:cubicBezTo>
                    <a:pt x="468" y="282"/>
                    <a:pt x="305" y="438"/>
                    <a:pt x="305" y="638"/>
                  </a:cubicBezTo>
                  <a:lnTo>
                    <a:pt x="305" y="661"/>
                  </a:lnTo>
                  <a:cubicBezTo>
                    <a:pt x="275" y="638"/>
                    <a:pt x="230" y="623"/>
                    <a:pt x="186" y="623"/>
                  </a:cubicBezTo>
                  <a:cubicBezTo>
                    <a:pt x="83" y="623"/>
                    <a:pt x="1" y="705"/>
                    <a:pt x="1" y="808"/>
                  </a:cubicBezTo>
                  <a:cubicBezTo>
                    <a:pt x="1" y="904"/>
                    <a:pt x="68" y="979"/>
                    <a:pt x="164" y="993"/>
                  </a:cubicBezTo>
                  <a:lnTo>
                    <a:pt x="164" y="1000"/>
                  </a:lnTo>
                  <a:lnTo>
                    <a:pt x="2165" y="1000"/>
                  </a:lnTo>
                  <a:lnTo>
                    <a:pt x="2165" y="993"/>
                  </a:lnTo>
                  <a:cubicBezTo>
                    <a:pt x="2298" y="993"/>
                    <a:pt x="2409" y="883"/>
                    <a:pt x="2409" y="750"/>
                  </a:cubicBezTo>
                  <a:cubicBezTo>
                    <a:pt x="2409" y="607"/>
                    <a:pt x="2298" y="497"/>
                    <a:pt x="2165" y="497"/>
                  </a:cubicBezTo>
                  <a:cubicBezTo>
                    <a:pt x="2142" y="497"/>
                    <a:pt x="2121" y="497"/>
                    <a:pt x="2105" y="504"/>
                  </a:cubicBezTo>
                  <a:lnTo>
                    <a:pt x="2105" y="497"/>
                  </a:lnTo>
                  <a:cubicBezTo>
                    <a:pt x="2105" y="223"/>
                    <a:pt x="1882" y="1"/>
                    <a:pt x="1608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3" name="Google Shape;5302;p53">
              <a:extLst>
                <a:ext uri="{FF2B5EF4-FFF2-40B4-BE49-F238E27FC236}">
                  <a16:creationId xmlns:a16="http://schemas.microsoft.com/office/drawing/2014/main" id="{45338997-5723-D063-3390-252FD706A1E7}"/>
                </a:ext>
              </a:extLst>
            </p:cNvPr>
            <p:cNvSpPr/>
            <p:nvPr/>
          </p:nvSpPr>
          <p:spPr>
            <a:xfrm>
              <a:off x="7397225" y="1655650"/>
              <a:ext cx="8375" cy="11900"/>
            </a:xfrm>
            <a:custGeom>
              <a:avLst/>
              <a:gdLst/>
              <a:ahLst/>
              <a:cxnLst/>
              <a:rect l="l" t="t" r="r" b="b"/>
              <a:pathLst>
                <a:path w="335" h="476" extrusionOk="0">
                  <a:moveTo>
                    <a:pt x="0" y="0"/>
                  </a:moveTo>
                  <a:lnTo>
                    <a:pt x="0" y="0"/>
                  </a:lnTo>
                  <a:cubicBezTo>
                    <a:pt x="192" y="75"/>
                    <a:pt x="326" y="253"/>
                    <a:pt x="326" y="468"/>
                  </a:cubicBezTo>
                  <a:lnTo>
                    <a:pt x="326" y="475"/>
                  </a:lnTo>
                  <a:lnTo>
                    <a:pt x="334" y="475"/>
                  </a:lnTo>
                  <a:lnTo>
                    <a:pt x="334" y="438"/>
                  </a:lnTo>
                  <a:cubicBezTo>
                    <a:pt x="334" y="232"/>
                    <a:pt x="192" y="61"/>
                    <a:pt x="0" y="0"/>
                  </a:cubicBezTo>
                  <a:close/>
                </a:path>
              </a:pathLst>
            </a:custGeom>
            <a:solidFill>
              <a:srgbClr val="EDED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4" name="Google Shape;5303;p53">
              <a:extLst>
                <a:ext uri="{FF2B5EF4-FFF2-40B4-BE49-F238E27FC236}">
                  <a16:creationId xmlns:a16="http://schemas.microsoft.com/office/drawing/2014/main" id="{656BF3F0-396A-F29E-3D1C-B90FDEA484A2}"/>
                </a:ext>
              </a:extLst>
            </p:cNvPr>
            <p:cNvSpPr/>
            <p:nvPr/>
          </p:nvSpPr>
          <p:spPr>
            <a:xfrm>
              <a:off x="7394225" y="1655300"/>
              <a:ext cx="11375" cy="22825"/>
            </a:xfrm>
            <a:custGeom>
              <a:avLst/>
              <a:gdLst/>
              <a:ahLst/>
              <a:cxnLst/>
              <a:rect l="l" t="t" r="r" b="b"/>
              <a:pathLst>
                <a:path w="455" h="913" extrusionOk="0">
                  <a:moveTo>
                    <a:pt x="1" y="0"/>
                  </a:moveTo>
                  <a:cubicBezTo>
                    <a:pt x="1" y="0"/>
                    <a:pt x="298" y="119"/>
                    <a:pt x="284" y="452"/>
                  </a:cubicBezTo>
                  <a:cubicBezTo>
                    <a:pt x="261" y="824"/>
                    <a:pt x="1" y="913"/>
                    <a:pt x="1" y="913"/>
                  </a:cubicBezTo>
                  <a:cubicBezTo>
                    <a:pt x="239" y="913"/>
                    <a:pt x="438" y="719"/>
                    <a:pt x="454" y="489"/>
                  </a:cubicBezTo>
                  <a:lnTo>
                    <a:pt x="446" y="489"/>
                  </a:lnTo>
                  <a:lnTo>
                    <a:pt x="446" y="482"/>
                  </a:lnTo>
                  <a:cubicBezTo>
                    <a:pt x="446" y="267"/>
                    <a:pt x="312" y="89"/>
                    <a:pt x="120" y="14"/>
                  </a:cubicBezTo>
                  <a:cubicBezTo>
                    <a:pt x="83" y="7"/>
                    <a:pt x="45" y="0"/>
                    <a:pt x="1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5" name="Google Shape;5304;p53">
              <a:extLst>
                <a:ext uri="{FF2B5EF4-FFF2-40B4-BE49-F238E27FC236}">
                  <a16:creationId xmlns:a16="http://schemas.microsoft.com/office/drawing/2014/main" id="{1E77F170-C2A3-21FA-C0BE-2A25438C0F17}"/>
                </a:ext>
              </a:extLst>
            </p:cNvPr>
            <p:cNvSpPr/>
            <p:nvPr/>
          </p:nvSpPr>
          <p:spPr>
            <a:xfrm>
              <a:off x="7371825" y="1665125"/>
              <a:ext cx="11900" cy="5925"/>
            </a:xfrm>
            <a:custGeom>
              <a:avLst/>
              <a:gdLst/>
              <a:ahLst/>
              <a:cxnLst/>
              <a:rect l="l" t="t" r="r" b="b"/>
              <a:pathLst>
                <a:path w="476" h="237" extrusionOk="0">
                  <a:moveTo>
                    <a:pt x="239" y="0"/>
                  </a:moveTo>
                  <a:cubicBezTo>
                    <a:pt x="113" y="0"/>
                    <a:pt x="8" y="103"/>
                    <a:pt x="1" y="230"/>
                  </a:cubicBezTo>
                  <a:cubicBezTo>
                    <a:pt x="1" y="230"/>
                    <a:pt x="61" y="89"/>
                    <a:pt x="223" y="89"/>
                  </a:cubicBezTo>
                  <a:lnTo>
                    <a:pt x="246" y="89"/>
                  </a:lnTo>
                  <a:cubicBezTo>
                    <a:pt x="438" y="103"/>
                    <a:pt x="475" y="237"/>
                    <a:pt x="475" y="237"/>
                  </a:cubicBezTo>
                  <a:cubicBezTo>
                    <a:pt x="475" y="103"/>
                    <a:pt x="372" y="0"/>
                    <a:pt x="246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6" name="Google Shape;5305;p53">
              <a:extLst>
                <a:ext uri="{FF2B5EF4-FFF2-40B4-BE49-F238E27FC236}">
                  <a16:creationId xmlns:a16="http://schemas.microsoft.com/office/drawing/2014/main" id="{E9128AD7-A83C-D12E-8B8B-141E16421B75}"/>
                </a:ext>
              </a:extLst>
            </p:cNvPr>
            <p:cNvSpPr/>
            <p:nvPr/>
          </p:nvSpPr>
          <p:spPr>
            <a:xfrm>
              <a:off x="7309975" y="1567125"/>
              <a:ext cx="59475" cy="74850"/>
            </a:xfrm>
            <a:custGeom>
              <a:avLst/>
              <a:gdLst/>
              <a:ahLst/>
              <a:cxnLst/>
              <a:rect l="l" t="t" r="r" b="b"/>
              <a:pathLst>
                <a:path w="2379" h="2994" extrusionOk="0">
                  <a:moveTo>
                    <a:pt x="1185" y="1"/>
                  </a:moveTo>
                  <a:cubicBezTo>
                    <a:pt x="675" y="1"/>
                    <a:pt x="252" y="415"/>
                    <a:pt x="252" y="934"/>
                  </a:cubicBezTo>
                  <a:cubicBezTo>
                    <a:pt x="252" y="979"/>
                    <a:pt x="259" y="1023"/>
                    <a:pt x="268" y="1068"/>
                  </a:cubicBezTo>
                  <a:cubicBezTo>
                    <a:pt x="104" y="1267"/>
                    <a:pt x="1" y="1527"/>
                    <a:pt x="1" y="1808"/>
                  </a:cubicBezTo>
                  <a:cubicBezTo>
                    <a:pt x="1" y="2467"/>
                    <a:pt x="534" y="2994"/>
                    <a:pt x="1185" y="2994"/>
                  </a:cubicBezTo>
                  <a:cubicBezTo>
                    <a:pt x="1845" y="2994"/>
                    <a:pt x="2379" y="2467"/>
                    <a:pt x="2379" y="1808"/>
                  </a:cubicBezTo>
                  <a:cubicBezTo>
                    <a:pt x="2379" y="1527"/>
                    <a:pt x="2275" y="1267"/>
                    <a:pt x="2112" y="1068"/>
                  </a:cubicBezTo>
                  <a:cubicBezTo>
                    <a:pt x="2119" y="1023"/>
                    <a:pt x="2126" y="979"/>
                    <a:pt x="2126" y="934"/>
                  </a:cubicBezTo>
                  <a:cubicBezTo>
                    <a:pt x="2126" y="415"/>
                    <a:pt x="1705" y="1"/>
                    <a:pt x="118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7" name="Google Shape;5306;p53">
              <a:extLst>
                <a:ext uri="{FF2B5EF4-FFF2-40B4-BE49-F238E27FC236}">
                  <a16:creationId xmlns:a16="http://schemas.microsoft.com/office/drawing/2014/main" id="{F1CC0FB9-9FCB-ECD2-2400-5FB5C8D90E7D}"/>
                </a:ext>
              </a:extLst>
            </p:cNvPr>
            <p:cNvSpPr/>
            <p:nvPr/>
          </p:nvSpPr>
          <p:spPr>
            <a:xfrm>
              <a:off x="7339600" y="1590125"/>
              <a:ext cx="2825" cy="89100"/>
            </a:xfrm>
            <a:custGeom>
              <a:avLst/>
              <a:gdLst/>
              <a:ahLst/>
              <a:cxnLst/>
              <a:rect l="l" t="t" r="r" b="b"/>
              <a:pathLst>
                <a:path w="113" h="3564" extrusionOk="0">
                  <a:moveTo>
                    <a:pt x="54" y="1"/>
                  </a:moveTo>
                  <a:cubicBezTo>
                    <a:pt x="53" y="1"/>
                    <a:pt x="52" y="4"/>
                    <a:pt x="52" y="14"/>
                  </a:cubicBezTo>
                  <a:lnTo>
                    <a:pt x="0" y="3511"/>
                  </a:lnTo>
                  <a:cubicBezTo>
                    <a:pt x="0" y="3534"/>
                    <a:pt x="23" y="3564"/>
                    <a:pt x="52" y="3564"/>
                  </a:cubicBezTo>
                  <a:lnTo>
                    <a:pt x="61" y="3564"/>
                  </a:lnTo>
                  <a:cubicBezTo>
                    <a:pt x="89" y="3564"/>
                    <a:pt x="112" y="3534"/>
                    <a:pt x="112" y="3511"/>
                  </a:cubicBezTo>
                  <a:cubicBezTo>
                    <a:pt x="112" y="3511"/>
                    <a:pt x="89" y="14"/>
                    <a:pt x="61" y="14"/>
                  </a:cubicBezTo>
                  <a:cubicBezTo>
                    <a:pt x="61" y="14"/>
                    <a:pt x="57" y="1"/>
                    <a:pt x="5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8" name="Google Shape;5307;p53">
              <a:extLst>
                <a:ext uri="{FF2B5EF4-FFF2-40B4-BE49-F238E27FC236}">
                  <a16:creationId xmlns:a16="http://schemas.microsoft.com/office/drawing/2014/main" id="{476BAFC9-E1B5-2D35-EDB3-CB9974691778}"/>
                </a:ext>
              </a:extLst>
            </p:cNvPr>
            <p:cNvSpPr/>
            <p:nvPr/>
          </p:nvSpPr>
          <p:spPr>
            <a:xfrm>
              <a:off x="7324025" y="1611600"/>
              <a:ext cx="16875" cy="13875"/>
            </a:xfrm>
            <a:custGeom>
              <a:avLst/>
              <a:gdLst/>
              <a:ahLst/>
              <a:cxnLst/>
              <a:rect l="l" t="t" r="r" b="b"/>
              <a:pathLst>
                <a:path w="675" h="555" extrusionOk="0">
                  <a:moveTo>
                    <a:pt x="1" y="0"/>
                  </a:moveTo>
                  <a:lnTo>
                    <a:pt x="1" y="0"/>
                  </a:lnTo>
                  <a:cubicBezTo>
                    <a:pt x="331" y="541"/>
                    <a:pt x="634" y="555"/>
                    <a:pt x="665" y="555"/>
                  </a:cubicBezTo>
                  <a:cubicBezTo>
                    <a:pt x="667" y="555"/>
                    <a:pt x="668" y="555"/>
                    <a:pt x="668" y="555"/>
                  </a:cubicBezTo>
                  <a:lnTo>
                    <a:pt x="675" y="473"/>
                  </a:lnTo>
                  <a:lnTo>
                    <a:pt x="675" y="473"/>
                  </a:lnTo>
                  <a:cubicBezTo>
                    <a:pt x="675" y="473"/>
                    <a:pt x="668" y="479"/>
                    <a:pt x="647" y="479"/>
                  </a:cubicBezTo>
                  <a:cubicBezTo>
                    <a:pt x="606" y="479"/>
                    <a:pt x="511" y="455"/>
                    <a:pt x="312" y="311"/>
                  </a:cubicBezTo>
                  <a:cubicBezTo>
                    <a:pt x="134" y="18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9" name="Google Shape;5308;p53">
              <a:extLst>
                <a:ext uri="{FF2B5EF4-FFF2-40B4-BE49-F238E27FC236}">
                  <a16:creationId xmlns:a16="http://schemas.microsoft.com/office/drawing/2014/main" id="{3ED404C7-FB80-8BEA-A199-D55FC8A90CB5}"/>
                </a:ext>
              </a:extLst>
            </p:cNvPr>
            <p:cNvSpPr/>
            <p:nvPr/>
          </p:nvSpPr>
          <p:spPr>
            <a:xfrm>
              <a:off x="7340875" y="1607675"/>
              <a:ext cx="14475" cy="11900"/>
            </a:xfrm>
            <a:custGeom>
              <a:avLst/>
              <a:gdLst/>
              <a:ahLst/>
              <a:cxnLst/>
              <a:rect l="l" t="t" r="r" b="b"/>
              <a:pathLst>
                <a:path w="579" h="476" extrusionOk="0">
                  <a:moveTo>
                    <a:pt x="579" y="1"/>
                  </a:moveTo>
                  <a:cubicBezTo>
                    <a:pt x="579" y="1"/>
                    <a:pt x="461" y="164"/>
                    <a:pt x="312" y="267"/>
                  </a:cubicBezTo>
                  <a:cubicBezTo>
                    <a:pt x="143" y="392"/>
                    <a:pt x="60" y="413"/>
                    <a:pt x="24" y="413"/>
                  </a:cubicBezTo>
                  <a:cubicBezTo>
                    <a:pt x="7" y="413"/>
                    <a:pt x="1" y="408"/>
                    <a:pt x="1" y="408"/>
                  </a:cubicBezTo>
                  <a:lnTo>
                    <a:pt x="1" y="408"/>
                  </a:lnTo>
                  <a:lnTo>
                    <a:pt x="10" y="475"/>
                  </a:lnTo>
                  <a:cubicBezTo>
                    <a:pt x="10" y="475"/>
                    <a:pt x="11" y="475"/>
                    <a:pt x="12" y="475"/>
                  </a:cubicBezTo>
                  <a:cubicBezTo>
                    <a:pt x="40" y="475"/>
                    <a:pt x="300" y="463"/>
                    <a:pt x="57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0" name="Google Shape;5309;p53">
              <a:extLst>
                <a:ext uri="{FF2B5EF4-FFF2-40B4-BE49-F238E27FC236}">
                  <a16:creationId xmlns:a16="http://schemas.microsoft.com/office/drawing/2014/main" id="{70480C84-79BA-6177-A24E-11F093F8D89D}"/>
                </a:ext>
              </a:extLst>
            </p:cNvPr>
            <p:cNvSpPr/>
            <p:nvPr/>
          </p:nvSpPr>
          <p:spPr>
            <a:xfrm>
              <a:off x="7329425" y="1599375"/>
              <a:ext cx="11475" cy="9450"/>
            </a:xfrm>
            <a:custGeom>
              <a:avLst/>
              <a:gdLst/>
              <a:ahLst/>
              <a:cxnLst/>
              <a:rect l="l" t="t" r="r" b="b"/>
              <a:pathLst>
                <a:path w="459" h="378" extrusionOk="0">
                  <a:moveTo>
                    <a:pt x="0" y="0"/>
                  </a:moveTo>
                  <a:cubicBezTo>
                    <a:pt x="228" y="370"/>
                    <a:pt x="443" y="377"/>
                    <a:pt x="458" y="377"/>
                  </a:cubicBezTo>
                  <a:cubicBezTo>
                    <a:pt x="459" y="377"/>
                    <a:pt x="459" y="377"/>
                    <a:pt x="459" y="377"/>
                  </a:cubicBezTo>
                  <a:lnTo>
                    <a:pt x="459" y="325"/>
                  </a:lnTo>
                  <a:cubicBezTo>
                    <a:pt x="459" y="325"/>
                    <a:pt x="455" y="328"/>
                    <a:pt x="444" y="328"/>
                  </a:cubicBezTo>
                  <a:cubicBezTo>
                    <a:pt x="417" y="328"/>
                    <a:pt x="352" y="313"/>
                    <a:pt x="208" y="215"/>
                  </a:cubicBezTo>
                  <a:cubicBezTo>
                    <a:pt x="89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1" name="Google Shape;5310;p53">
              <a:extLst>
                <a:ext uri="{FF2B5EF4-FFF2-40B4-BE49-F238E27FC236}">
                  <a16:creationId xmlns:a16="http://schemas.microsoft.com/office/drawing/2014/main" id="{92456BA0-C266-E430-94B1-FEFAC7BCCEB5}"/>
                </a:ext>
              </a:extLst>
            </p:cNvPr>
            <p:cNvSpPr/>
            <p:nvPr/>
          </p:nvSpPr>
          <p:spPr>
            <a:xfrm>
              <a:off x="7378150" y="1188300"/>
              <a:ext cx="26700" cy="26700"/>
            </a:xfrm>
            <a:custGeom>
              <a:avLst/>
              <a:gdLst/>
              <a:ahLst/>
              <a:cxnLst/>
              <a:rect l="l" t="t" r="r" b="b"/>
              <a:pathLst>
                <a:path w="1068" h="1068" extrusionOk="0">
                  <a:moveTo>
                    <a:pt x="534" y="0"/>
                  </a:moveTo>
                  <a:cubicBezTo>
                    <a:pt x="237" y="0"/>
                    <a:pt x="0" y="237"/>
                    <a:pt x="0" y="534"/>
                  </a:cubicBezTo>
                  <a:cubicBezTo>
                    <a:pt x="0" y="831"/>
                    <a:pt x="237" y="1067"/>
                    <a:pt x="534" y="1067"/>
                  </a:cubicBezTo>
                  <a:cubicBezTo>
                    <a:pt x="831" y="1067"/>
                    <a:pt x="1067" y="831"/>
                    <a:pt x="1067" y="534"/>
                  </a:cubicBezTo>
                  <a:cubicBezTo>
                    <a:pt x="1067" y="237"/>
                    <a:pt x="831" y="0"/>
                    <a:pt x="534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2" name="Google Shape;5311;p53">
              <a:extLst>
                <a:ext uri="{FF2B5EF4-FFF2-40B4-BE49-F238E27FC236}">
                  <a16:creationId xmlns:a16="http://schemas.microsoft.com/office/drawing/2014/main" id="{FF3874C9-66B3-D368-59B7-714A3C4A4CCA}"/>
                </a:ext>
              </a:extLst>
            </p:cNvPr>
            <p:cNvSpPr/>
            <p:nvPr/>
          </p:nvSpPr>
          <p:spPr>
            <a:xfrm>
              <a:off x="7314200" y="1224800"/>
              <a:ext cx="9850" cy="9850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2" y="0"/>
                  </a:moveTo>
                  <a:cubicBezTo>
                    <a:pt x="90" y="0"/>
                    <a:pt x="1" y="89"/>
                    <a:pt x="1" y="192"/>
                  </a:cubicBezTo>
                  <a:cubicBezTo>
                    <a:pt x="1" y="304"/>
                    <a:pt x="90" y="393"/>
                    <a:pt x="202" y="393"/>
                  </a:cubicBezTo>
                  <a:cubicBezTo>
                    <a:pt x="312" y="393"/>
                    <a:pt x="394" y="304"/>
                    <a:pt x="394" y="192"/>
                  </a:cubicBezTo>
                  <a:cubicBezTo>
                    <a:pt x="394" y="89"/>
                    <a:pt x="312" y="0"/>
                    <a:pt x="202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3" name="Google Shape;5312;p53">
              <a:extLst>
                <a:ext uri="{FF2B5EF4-FFF2-40B4-BE49-F238E27FC236}">
                  <a16:creationId xmlns:a16="http://schemas.microsoft.com/office/drawing/2014/main" id="{A95BDCE3-FD35-47C7-165A-9A40CCFD193B}"/>
                </a:ext>
              </a:extLst>
            </p:cNvPr>
            <p:cNvSpPr/>
            <p:nvPr/>
          </p:nvSpPr>
          <p:spPr>
            <a:xfrm>
              <a:off x="7569850" y="1372975"/>
              <a:ext cx="12650" cy="12600"/>
            </a:xfrm>
            <a:custGeom>
              <a:avLst/>
              <a:gdLst/>
              <a:ahLst/>
              <a:cxnLst/>
              <a:rect l="l" t="t" r="r" b="b"/>
              <a:pathLst>
                <a:path w="506" h="504" extrusionOk="0">
                  <a:moveTo>
                    <a:pt x="253" y="1"/>
                  </a:moveTo>
                  <a:cubicBezTo>
                    <a:pt x="113" y="1"/>
                    <a:pt x="0" y="113"/>
                    <a:pt x="0" y="253"/>
                  </a:cubicBezTo>
                  <a:cubicBezTo>
                    <a:pt x="0" y="394"/>
                    <a:pt x="113" y="504"/>
                    <a:pt x="253" y="504"/>
                  </a:cubicBezTo>
                  <a:cubicBezTo>
                    <a:pt x="394" y="504"/>
                    <a:pt x="506" y="394"/>
                    <a:pt x="506" y="253"/>
                  </a:cubicBezTo>
                  <a:cubicBezTo>
                    <a:pt x="506" y="113"/>
                    <a:pt x="394" y="1"/>
                    <a:pt x="253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4" name="Google Shape;5313;p53">
              <a:extLst>
                <a:ext uri="{FF2B5EF4-FFF2-40B4-BE49-F238E27FC236}">
                  <a16:creationId xmlns:a16="http://schemas.microsoft.com/office/drawing/2014/main" id="{7A6A6691-21EC-3224-410A-783D8188E698}"/>
                </a:ext>
              </a:extLst>
            </p:cNvPr>
            <p:cNvSpPr/>
            <p:nvPr/>
          </p:nvSpPr>
          <p:spPr>
            <a:xfrm>
              <a:off x="7452975" y="1412050"/>
              <a:ext cx="63550" cy="63775"/>
            </a:xfrm>
            <a:custGeom>
              <a:avLst/>
              <a:gdLst/>
              <a:ahLst/>
              <a:cxnLst/>
              <a:rect l="l" t="t" r="r" b="b"/>
              <a:pathLst>
                <a:path w="2542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1972" y="2551"/>
                    <a:pt x="2541" y="1980"/>
                    <a:pt x="2541" y="1276"/>
                  </a:cubicBezTo>
                  <a:cubicBezTo>
                    <a:pt x="2541" y="572"/>
                    <a:pt x="1972" y="1"/>
                    <a:pt x="1275" y="1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5" name="Google Shape;5314;p53">
              <a:extLst>
                <a:ext uri="{FF2B5EF4-FFF2-40B4-BE49-F238E27FC236}">
                  <a16:creationId xmlns:a16="http://schemas.microsoft.com/office/drawing/2014/main" id="{5B731965-3837-300B-5C5A-35BABF1BF6E3}"/>
                </a:ext>
              </a:extLst>
            </p:cNvPr>
            <p:cNvSpPr/>
            <p:nvPr/>
          </p:nvSpPr>
          <p:spPr>
            <a:xfrm>
              <a:off x="7452800" y="1412050"/>
              <a:ext cx="31900" cy="63775"/>
            </a:xfrm>
            <a:custGeom>
              <a:avLst/>
              <a:gdLst/>
              <a:ahLst/>
              <a:cxnLst/>
              <a:rect l="l" t="t" r="r" b="b"/>
              <a:pathLst>
                <a:path w="1276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571" y="2542"/>
                    <a:pt x="7" y="1980"/>
                    <a:pt x="7" y="1276"/>
                  </a:cubicBezTo>
                  <a:cubicBezTo>
                    <a:pt x="7" y="572"/>
                    <a:pt x="571" y="8"/>
                    <a:pt x="1275" y="1"/>
                  </a:cubicBezTo>
                  <a:close/>
                </a:path>
              </a:pathLst>
            </a:custGeom>
            <a:solidFill>
              <a:srgbClr val="99A0A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6" name="Google Shape;5315;p53">
              <a:extLst>
                <a:ext uri="{FF2B5EF4-FFF2-40B4-BE49-F238E27FC236}">
                  <a16:creationId xmlns:a16="http://schemas.microsoft.com/office/drawing/2014/main" id="{CFC42DD7-7EFB-245A-41D7-7644926DFB11}"/>
                </a:ext>
              </a:extLst>
            </p:cNvPr>
            <p:cNvSpPr/>
            <p:nvPr/>
          </p:nvSpPr>
          <p:spPr>
            <a:xfrm>
              <a:off x="7452975" y="1412050"/>
              <a:ext cx="31725" cy="63775"/>
            </a:xfrm>
            <a:custGeom>
              <a:avLst/>
              <a:gdLst/>
              <a:ahLst/>
              <a:cxnLst/>
              <a:rect l="l" t="t" r="r" b="b"/>
              <a:pathLst>
                <a:path w="1269" h="2551" extrusionOk="0">
                  <a:moveTo>
                    <a:pt x="1268" y="1"/>
                  </a:moveTo>
                  <a:cubicBezTo>
                    <a:pt x="564" y="8"/>
                    <a:pt x="0" y="572"/>
                    <a:pt x="0" y="1276"/>
                  </a:cubicBezTo>
                  <a:cubicBezTo>
                    <a:pt x="0" y="1980"/>
                    <a:pt x="564" y="2542"/>
                    <a:pt x="1268" y="2551"/>
                  </a:cubicBezTo>
                  <a:cubicBezTo>
                    <a:pt x="1268" y="2542"/>
                    <a:pt x="578" y="1913"/>
                    <a:pt x="578" y="1276"/>
                  </a:cubicBezTo>
                  <a:cubicBezTo>
                    <a:pt x="578" y="639"/>
                    <a:pt x="1268" y="8"/>
                    <a:pt x="1268" y="1"/>
                  </a:cubicBezTo>
                  <a:close/>
                </a:path>
              </a:pathLst>
            </a:custGeom>
            <a:solidFill>
              <a:srgbClr val="FFE9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7" name="Google Shape;5316;p53">
              <a:extLst>
                <a:ext uri="{FF2B5EF4-FFF2-40B4-BE49-F238E27FC236}">
                  <a16:creationId xmlns:a16="http://schemas.microsoft.com/office/drawing/2014/main" id="{10840671-1459-3787-2B36-6E7033C6884A}"/>
                </a:ext>
              </a:extLst>
            </p:cNvPr>
            <p:cNvSpPr/>
            <p:nvPr/>
          </p:nvSpPr>
          <p:spPr>
            <a:xfrm>
              <a:off x="7148250" y="1678625"/>
              <a:ext cx="644150" cy="39875"/>
            </a:xfrm>
            <a:custGeom>
              <a:avLst/>
              <a:gdLst/>
              <a:ahLst/>
              <a:cxnLst/>
              <a:rect l="l" t="t" r="r" b="b"/>
              <a:pathLst>
                <a:path w="25766" h="1595" extrusionOk="0">
                  <a:moveTo>
                    <a:pt x="1615" y="1"/>
                  </a:moveTo>
                  <a:cubicBezTo>
                    <a:pt x="0" y="1"/>
                    <a:pt x="141" y="1594"/>
                    <a:pt x="1615" y="1594"/>
                  </a:cubicBezTo>
                  <a:lnTo>
                    <a:pt x="25765" y="1594"/>
                  </a:lnTo>
                  <a:lnTo>
                    <a:pt x="25765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8" name="Google Shape;5317;p53">
              <a:extLst>
                <a:ext uri="{FF2B5EF4-FFF2-40B4-BE49-F238E27FC236}">
                  <a16:creationId xmlns:a16="http://schemas.microsoft.com/office/drawing/2014/main" id="{8367D334-717F-4B9A-9262-1FD8065D1164}"/>
                </a:ext>
              </a:extLst>
            </p:cNvPr>
            <p:cNvSpPr/>
            <p:nvPr/>
          </p:nvSpPr>
          <p:spPr>
            <a:xfrm>
              <a:off x="7095475" y="1718475"/>
              <a:ext cx="696925" cy="39850"/>
            </a:xfrm>
            <a:custGeom>
              <a:avLst/>
              <a:gdLst/>
              <a:ahLst/>
              <a:cxnLst/>
              <a:rect l="l" t="t" r="r" b="b"/>
              <a:pathLst>
                <a:path w="27877" h="1594" extrusionOk="0">
                  <a:moveTo>
                    <a:pt x="1615" y="0"/>
                  </a:moveTo>
                  <a:cubicBezTo>
                    <a:pt x="45" y="0"/>
                    <a:pt x="0" y="1594"/>
                    <a:pt x="1615" y="1594"/>
                  </a:cubicBezTo>
                  <a:lnTo>
                    <a:pt x="27876" y="1594"/>
                  </a:lnTo>
                  <a:lnTo>
                    <a:pt x="2787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351" name="Google Shape;5134;p53">
            <a:extLst>
              <a:ext uri="{FF2B5EF4-FFF2-40B4-BE49-F238E27FC236}">
                <a16:creationId xmlns:a16="http://schemas.microsoft.com/office/drawing/2014/main" id="{CA11F70A-53A1-32CC-969C-FA2A356F642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4300" y="102870"/>
            <a:ext cx="8721089" cy="899219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en-US" sz="4000" b="1" dirty="0">
                <a:solidFill>
                  <a:srgbClr val="A1E1FD"/>
                </a:solidFill>
              </a:rPr>
              <a:t>2009–2016: The Obama Administration</a:t>
            </a:r>
            <a:endParaRPr sz="4000" dirty="0"/>
          </a:p>
        </p:txBody>
      </p:sp>
      <p:sp>
        <p:nvSpPr>
          <p:cNvPr id="5356" name="TextBox 5355">
            <a:extLst>
              <a:ext uri="{FF2B5EF4-FFF2-40B4-BE49-F238E27FC236}">
                <a16:creationId xmlns:a16="http://schemas.microsoft.com/office/drawing/2014/main" id="{8BBC5B9D-EDB0-1C82-81FD-9ADD9820846E}"/>
              </a:ext>
            </a:extLst>
          </p:cNvPr>
          <p:cNvSpPr txBox="1"/>
          <p:nvPr/>
        </p:nvSpPr>
        <p:spPr>
          <a:xfrm>
            <a:off x="308611" y="1287839"/>
            <a:ext cx="8526778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b="1" dirty="0">
                <a:solidFill>
                  <a:srgbClr val="AAACB1"/>
                </a:solidFill>
                <a:latin typeface="Kumbh Sans" panose="020B0604020202020204" charset="0"/>
                <a:cs typeface="Kumbh Sans" panose="020B0604020202020204" charset="0"/>
              </a:rPr>
              <a:t>Formal Adoption in  Federal policy making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endParaRPr lang="en-US" altLang="en-US" sz="2400" dirty="0">
              <a:solidFill>
                <a:schemeClr val="tx1"/>
              </a:solidFill>
              <a:latin typeface="Kumbh Sans" panose="020B0604020202020204" charset="0"/>
              <a:cs typeface="Kumbh Sans" panose="020B060402020202020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b="1" dirty="0">
                <a:solidFill>
                  <a:srgbClr val="AAACB1"/>
                </a:solidFill>
                <a:latin typeface="Kumbh Sans" panose="020B0604020202020204" charset="0"/>
                <a:cs typeface="Kumbh Sans" panose="020B0604020202020204" charset="0"/>
              </a:rPr>
              <a:t>Creation of Interagency Working Group (IWG).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endParaRPr lang="en-US" sz="2400" dirty="0">
              <a:latin typeface="Kumbh Sans" panose="020B0604020202020204" charset="0"/>
              <a:cs typeface="Kumbh Sans" panose="020B0604020202020204" charset="0"/>
            </a:endParaRPr>
          </a:p>
          <a:p>
            <a:pPr algn="l"/>
            <a:r>
              <a:rPr lang="en-US" sz="2400" b="1" dirty="0">
                <a:solidFill>
                  <a:srgbClr val="FFD65D"/>
                </a:solidFill>
                <a:latin typeface="Kumbh Sans" panose="020B0604020202020204" charset="0"/>
                <a:cs typeface="Kumbh Sans" panose="020B0604020202020204" charset="0"/>
              </a:rPr>
              <a:t>Key Estimate:</a:t>
            </a:r>
          </a:p>
          <a:p>
            <a:pPr algn="l"/>
            <a:endParaRPr lang="en-US" sz="2400" b="1" dirty="0">
              <a:solidFill>
                <a:srgbClr val="FFD65D"/>
              </a:solidFill>
              <a:latin typeface="Kumbh Sans" panose="020B0604020202020204" charset="0"/>
              <a:cs typeface="Kumbh Sans" panose="020B0604020202020204" charset="0"/>
            </a:endParaRPr>
          </a:p>
          <a:p>
            <a:r>
              <a:rPr lang="en-US" sz="2400" b="1" dirty="0">
                <a:solidFill>
                  <a:srgbClr val="8AC93D"/>
                </a:solidFill>
                <a:latin typeface="Kumbh Sans" panose="020B0604020202020204" charset="0"/>
                <a:cs typeface="Kumbh Sans" panose="020B0604020202020204" charset="0"/>
              </a:rPr>
              <a:t>IWG Estimate: 41/t CO</a:t>
            </a:r>
            <a:r>
              <a:rPr lang="en-US" sz="2400" b="1" baseline="-25000" dirty="0">
                <a:solidFill>
                  <a:srgbClr val="8AC93D"/>
                </a:solidFill>
                <a:latin typeface="Kumbh Sans" panose="020B0604020202020204" charset="0"/>
                <a:cs typeface="Kumbh Sans" panose="020B0604020202020204" charset="0"/>
              </a:rPr>
              <a:t>2</a:t>
            </a:r>
            <a:r>
              <a:rPr lang="en-US" sz="2400" b="1" dirty="0">
                <a:solidFill>
                  <a:srgbClr val="8AC93D"/>
                </a:solidFill>
                <a:latin typeface="Kumbh Sans" panose="020B0604020202020204" charset="0"/>
                <a:cs typeface="Kumbh Sans" panose="020B0604020202020204" charset="0"/>
              </a:rPr>
              <a:t> SCC used in cost–benefit analyses for fuel efficiency and power plant regulations.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32">
          <a:extLst>
            <a:ext uri="{FF2B5EF4-FFF2-40B4-BE49-F238E27FC236}">
              <a16:creationId xmlns:a16="http://schemas.microsoft.com/office/drawing/2014/main" id="{12A1F3A7-20BF-D63B-0F39-0C837CBCEA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3" name="Google Shape;5133;p53">
            <a:extLst>
              <a:ext uri="{FF2B5EF4-FFF2-40B4-BE49-F238E27FC236}">
                <a16:creationId xmlns:a16="http://schemas.microsoft.com/office/drawing/2014/main" id="{AC3A94AB-E33A-14F9-3E87-C496582BAB2B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0" y="1250086"/>
            <a:ext cx="4995081" cy="36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/>
            <a:r>
              <a:rPr lang="en-US" sz="2800" dirty="0">
                <a:solidFill>
                  <a:srgbClr val="FFFFFF"/>
                </a:solidFill>
                <a:latin typeface="Kumbh Sans" panose="020B0604020202020204" charset="0"/>
                <a:cs typeface="Kumbh Sans" panose="020B0604020202020204" charset="0"/>
              </a:rPr>
              <a:t>Estimate for the SCC : </a:t>
            </a:r>
            <a:endParaRPr sz="2800" dirty="0"/>
          </a:p>
        </p:txBody>
      </p:sp>
      <p:sp>
        <p:nvSpPr>
          <p:cNvPr id="5134" name="Google Shape;5134;p53">
            <a:extLst>
              <a:ext uri="{FF2B5EF4-FFF2-40B4-BE49-F238E27FC236}">
                <a16:creationId xmlns:a16="http://schemas.microsoft.com/office/drawing/2014/main" id="{9B5B4BFA-70A1-3DCC-3743-9DB9E57C603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07402" y="890486"/>
            <a:ext cx="6329196" cy="300292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200" dirty="0"/>
              <a:t>US $ 1-7/tCO</a:t>
            </a:r>
            <a:r>
              <a:rPr lang="en-US" sz="7200" baseline="-25000" dirty="0"/>
              <a:t>2</a:t>
            </a:r>
            <a:endParaRPr sz="7200" baseline="-25000" dirty="0"/>
          </a:p>
        </p:txBody>
      </p:sp>
      <p:grpSp>
        <p:nvGrpSpPr>
          <p:cNvPr id="5139" name="Google Shape;5139;p53">
            <a:extLst>
              <a:ext uri="{FF2B5EF4-FFF2-40B4-BE49-F238E27FC236}">
                <a16:creationId xmlns:a16="http://schemas.microsoft.com/office/drawing/2014/main" id="{771F7867-0467-DC17-1F13-FC644A18DFA7}"/>
              </a:ext>
            </a:extLst>
          </p:cNvPr>
          <p:cNvGrpSpPr/>
          <p:nvPr/>
        </p:nvGrpSpPr>
        <p:grpSpPr>
          <a:xfrm>
            <a:off x="1" y="2420914"/>
            <a:ext cx="2136935" cy="2183097"/>
            <a:chOff x="998550" y="1958600"/>
            <a:chExt cx="693225" cy="708200"/>
          </a:xfrm>
        </p:grpSpPr>
        <p:sp>
          <p:nvSpPr>
            <p:cNvPr id="5140" name="Google Shape;5140;p53">
              <a:extLst>
                <a:ext uri="{FF2B5EF4-FFF2-40B4-BE49-F238E27FC236}">
                  <a16:creationId xmlns:a16="http://schemas.microsoft.com/office/drawing/2014/main" id="{950FC17D-DCD3-60CF-859A-3BC39D252341}"/>
                </a:ext>
              </a:extLst>
            </p:cNvPr>
            <p:cNvSpPr/>
            <p:nvPr/>
          </p:nvSpPr>
          <p:spPr>
            <a:xfrm>
              <a:off x="1404400" y="2326850"/>
              <a:ext cx="89175" cy="43725"/>
            </a:xfrm>
            <a:custGeom>
              <a:avLst/>
              <a:gdLst/>
              <a:ahLst/>
              <a:cxnLst/>
              <a:rect l="l" t="t" r="r" b="b"/>
              <a:pathLst>
                <a:path w="3567" h="1749" extrusionOk="0">
                  <a:moveTo>
                    <a:pt x="1566" y="0"/>
                  </a:moveTo>
                  <a:cubicBezTo>
                    <a:pt x="935" y="0"/>
                    <a:pt x="424" y="496"/>
                    <a:pt x="380" y="1112"/>
                  </a:cubicBezTo>
                  <a:cubicBezTo>
                    <a:pt x="165" y="1156"/>
                    <a:pt x="1" y="1348"/>
                    <a:pt x="1" y="1578"/>
                  </a:cubicBezTo>
                  <a:cubicBezTo>
                    <a:pt x="1" y="1638"/>
                    <a:pt x="17" y="1697"/>
                    <a:pt x="31" y="1748"/>
                  </a:cubicBezTo>
                  <a:lnTo>
                    <a:pt x="3567" y="1748"/>
                  </a:lnTo>
                  <a:lnTo>
                    <a:pt x="3567" y="1704"/>
                  </a:lnTo>
                  <a:cubicBezTo>
                    <a:pt x="3567" y="1371"/>
                    <a:pt x="3291" y="1098"/>
                    <a:pt x="2958" y="1098"/>
                  </a:cubicBezTo>
                  <a:cubicBezTo>
                    <a:pt x="2884" y="1098"/>
                    <a:pt x="2818" y="1112"/>
                    <a:pt x="2750" y="1133"/>
                  </a:cubicBezTo>
                  <a:cubicBezTo>
                    <a:pt x="2722" y="504"/>
                    <a:pt x="2203" y="0"/>
                    <a:pt x="1566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1" name="Google Shape;5141;p53">
              <a:extLst>
                <a:ext uri="{FF2B5EF4-FFF2-40B4-BE49-F238E27FC236}">
                  <a16:creationId xmlns:a16="http://schemas.microsoft.com/office/drawing/2014/main" id="{9DCE0168-6D4A-4466-E7B5-4358459A095B}"/>
                </a:ext>
              </a:extLst>
            </p:cNvPr>
            <p:cNvSpPr/>
            <p:nvPr/>
          </p:nvSpPr>
          <p:spPr>
            <a:xfrm>
              <a:off x="1067275" y="2387975"/>
              <a:ext cx="166575" cy="202150"/>
            </a:xfrm>
            <a:custGeom>
              <a:avLst/>
              <a:gdLst/>
              <a:ahLst/>
              <a:cxnLst/>
              <a:rect l="l" t="t" r="r" b="b"/>
              <a:pathLst>
                <a:path w="6663" h="8086" extrusionOk="0">
                  <a:moveTo>
                    <a:pt x="1" y="1"/>
                  </a:moveTo>
                  <a:lnTo>
                    <a:pt x="1" y="8085"/>
                  </a:lnTo>
                  <a:lnTo>
                    <a:pt x="6662" y="8085"/>
                  </a:lnTo>
                  <a:lnTo>
                    <a:pt x="6662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2" name="Google Shape;5142;p53">
              <a:extLst>
                <a:ext uri="{FF2B5EF4-FFF2-40B4-BE49-F238E27FC236}">
                  <a16:creationId xmlns:a16="http://schemas.microsoft.com/office/drawing/2014/main" id="{8AFDE75A-3085-8DB9-8787-DB12AF3E92B0}"/>
                </a:ext>
              </a:extLst>
            </p:cNvPr>
            <p:cNvSpPr/>
            <p:nvPr/>
          </p:nvSpPr>
          <p:spPr>
            <a:xfrm>
              <a:off x="1067275" y="2460575"/>
              <a:ext cx="166575" cy="10425"/>
            </a:xfrm>
            <a:custGeom>
              <a:avLst/>
              <a:gdLst/>
              <a:ahLst/>
              <a:cxnLst/>
              <a:rect l="l" t="t" r="r" b="b"/>
              <a:pathLst>
                <a:path w="6663" h="417" extrusionOk="0">
                  <a:moveTo>
                    <a:pt x="1" y="1"/>
                  </a:moveTo>
                  <a:lnTo>
                    <a:pt x="1" y="417"/>
                  </a:lnTo>
                  <a:lnTo>
                    <a:pt x="6662" y="417"/>
                  </a:lnTo>
                  <a:lnTo>
                    <a:pt x="666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3" name="Google Shape;5143;p53">
              <a:extLst>
                <a:ext uri="{FF2B5EF4-FFF2-40B4-BE49-F238E27FC236}">
                  <a16:creationId xmlns:a16="http://schemas.microsoft.com/office/drawing/2014/main" id="{0F4A15A5-11AD-9751-3E05-B5E4951C9506}"/>
                </a:ext>
              </a:extLst>
            </p:cNvPr>
            <p:cNvSpPr/>
            <p:nvPr/>
          </p:nvSpPr>
          <p:spPr>
            <a:xfrm>
              <a:off x="1067275" y="2498550"/>
              <a:ext cx="166575" cy="35050"/>
            </a:xfrm>
            <a:custGeom>
              <a:avLst/>
              <a:gdLst/>
              <a:ahLst/>
              <a:cxnLst/>
              <a:rect l="l" t="t" r="r" b="b"/>
              <a:pathLst>
                <a:path w="6663" h="1402" extrusionOk="0">
                  <a:moveTo>
                    <a:pt x="1" y="0"/>
                  </a:moveTo>
                  <a:lnTo>
                    <a:pt x="1" y="1402"/>
                  </a:lnTo>
                  <a:lnTo>
                    <a:pt x="6662" y="1402"/>
                  </a:lnTo>
                  <a:lnTo>
                    <a:pt x="6662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4" name="Google Shape;5144;p53">
              <a:extLst>
                <a:ext uri="{FF2B5EF4-FFF2-40B4-BE49-F238E27FC236}">
                  <a16:creationId xmlns:a16="http://schemas.microsoft.com/office/drawing/2014/main" id="{318D2AD8-5EAE-C386-83A6-941CEC5776B6}"/>
                </a:ext>
              </a:extLst>
            </p:cNvPr>
            <p:cNvSpPr/>
            <p:nvPr/>
          </p:nvSpPr>
          <p:spPr>
            <a:xfrm>
              <a:off x="1186550" y="2497075"/>
              <a:ext cx="20625" cy="37650"/>
            </a:xfrm>
            <a:custGeom>
              <a:avLst/>
              <a:gdLst/>
              <a:ahLst/>
              <a:cxnLst/>
              <a:rect l="l" t="t" r="r" b="b"/>
              <a:pathLst>
                <a:path w="825" h="1506" extrusionOk="0">
                  <a:moveTo>
                    <a:pt x="743" y="82"/>
                  </a:moveTo>
                  <a:lnTo>
                    <a:pt x="743" y="1423"/>
                  </a:lnTo>
                  <a:lnTo>
                    <a:pt x="83" y="1423"/>
                  </a:lnTo>
                  <a:lnTo>
                    <a:pt x="83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5" name="Google Shape;5145;p53">
              <a:extLst>
                <a:ext uri="{FF2B5EF4-FFF2-40B4-BE49-F238E27FC236}">
                  <a16:creationId xmlns:a16="http://schemas.microsoft.com/office/drawing/2014/main" id="{404F351F-4FC7-8CF7-1859-9903697CF6DF}"/>
                </a:ext>
              </a:extLst>
            </p:cNvPr>
            <p:cNvSpPr/>
            <p:nvPr/>
          </p:nvSpPr>
          <p:spPr>
            <a:xfrm>
              <a:off x="1149525" y="2497075"/>
              <a:ext cx="20600" cy="37650"/>
            </a:xfrm>
            <a:custGeom>
              <a:avLst/>
              <a:gdLst/>
              <a:ahLst/>
              <a:cxnLst/>
              <a:rect l="l" t="t" r="r" b="b"/>
              <a:pathLst>
                <a:path w="824" h="1506" extrusionOk="0">
                  <a:moveTo>
                    <a:pt x="742" y="82"/>
                  </a:moveTo>
                  <a:lnTo>
                    <a:pt x="742" y="1423"/>
                  </a:lnTo>
                  <a:lnTo>
                    <a:pt x="82" y="1423"/>
                  </a:lnTo>
                  <a:lnTo>
                    <a:pt x="82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6" name="Google Shape;5146;p53">
              <a:extLst>
                <a:ext uri="{FF2B5EF4-FFF2-40B4-BE49-F238E27FC236}">
                  <a16:creationId xmlns:a16="http://schemas.microsoft.com/office/drawing/2014/main" id="{C6F1CBE1-7ACC-02A1-3E42-5A8822E4A00C}"/>
                </a:ext>
              </a:extLst>
            </p:cNvPr>
            <p:cNvSpPr/>
            <p:nvPr/>
          </p:nvSpPr>
          <p:spPr>
            <a:xfrm>
              <a:off x="1223825" y="2497075"/>
              <a:ext cx="10950" cy="37650"/>
            </a:xfrm>
            <a:custGeom>
              <a:avLst/>
              <a:gdLst/>
              <a:ahLst/>
              <a:cxnLst/>
              <a:rect l="l" t="t" r="r" b="b"/>
              <a:pathLst>
                <a:path w="438" h="1506" extrusionOk="0">
                  <a:moveTo>
                    <a:pt x="363" y="82"/>
                  </a:moveTo>
                  <a:lnTo>
                    <a:pt x="363" y="1423"/>
                  </a:lnTo>
                  <a:lnTo>
                    <a:pt x="75" y="1423"/>
                  </a:lnTo>
                  <a:lnTo>
                    <a:pt x="75" y="82"/>
                  </a:lnTo>
                  <a:close/>
                  <a:moveTo>
                    <a:pt x="0" y="1"/>
                  </a:moveTo>
                  <a:lnTo>
                    <a:pt x="0" y="1505"/>
                  </a:lnTo>
                  <a:lnTo>
                    <a:pt x="438" y="1505"/>
                  </a:lnTo>
                  <a:lnTo>
                    <a:pt x="438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7" name="Google Shape;5147;p53">
              <a:extLst>
                <a:ext uri="{FF2B5EF4-FFF2-40B4-BE49-F238E27FC236}">
                  <a16:creationId xmlns:a16="http://schemas.microsoft.com/office/drawing/2014/main" id="{2B757766-A223-FB98-BA92-4A4C4BC6C427}"/>
                </a:ext>
              </a:extLst>
            </p:cNvPr>
            <p:cNvSpPr/>
            <p:nvPr/>
          </p:nvSpPr>
          <p:spPr>
            <a:xfrm>
              <a:off x="1205100" y="2497075"/>
              <a:ext cx="20600" cy="37650"/>
            </a:xfrm>
            <a:custGeom>
              <a:avLst/>
              <a:gdLst/>
              <a:ahLst/>
              <a:cxnLst/>
              <a:rect l="l" t="t" r="r" b="b"/>
              <a:pathLst>
                <a:path w="824" h="1506" extrusionOk="0">
                  <a:moveTo>
                    <a:pt x="749" y="82"/>
                  </a:moveTo>
                  <a:lnTo>
                    <a:pt x="749" y="1423"/>
                  </a:lnTo>
                  <a:lnTo>
                    <a:pt x="82" y="1423"/>
                  </a:lnTo>
                  <a:lnTo>
                    <a:pt x="82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8" name="Google Shape;5148;p53">
              <a:extLst>
                <a:ext uri="{FF2B5EF4-FFF2-40B4-BE49-F238E27FC236}">
                  <a16:creationId xmlns:a16="http://schemas.microsoft.com/office/drawing/2014/main" id="{DD6CF142-C46F-ADE7-653A-71109CBB00F4}"/>
                </a:ext>
              </a:extLst>
            </p:cNvPr>
            <p:cNvSpPr/>
            <p:nvPr/>
          </p:nvSpPr>
          <p:spPr>
            <a:xfrm>
              <a:off x="1168075" y="2497075"/>
              <a:ext cx="20550" cy="37650"/>
            </a:xfrm>
            <a:custGeom>
              <a:avLst/>
              <a:gdLst/>
              <a:ahLst/>
              <a:cxnLst/>
              <a:rect l="l" t="t" r="r" b="b"/>
              <a:pathLst>
                <a:path w="822" h="1506" extrusionOk="0">
                  <a:moveTo>
                    <a:pt x="740" y="82"/>
                  </a:moveTo>
                  <a:lnTo>
                    <a:pt x="740" y="1423"/>
                  </a:lnTo>
                  <a:lnTo>
                    <a:pt x="82" y="1423"/>
                  </a:lnTo>
                  <a:lnTo>
                    <a:pt x="82" y="82"/>
                  </a:lnTo>
                  <a:close/>
                  <a:moveTo>
                    <a:pt x="0" y="1"/>
                  </a:moveTo>
                  <a:lnTo>
                    <a:pt x="0" y="1505"/>
                  </a:lnTo>
                  <a:lnTo>
                    <a:pt x="822" y="1505"/>
                  </a:lnTo>
                  <a:lnTo>
                    <a:pt x="822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9" name="Google Shape;5149;p53">
              <a:extLst>
                <a:ext uri="{FF2B5EF4-FFF2-40B4-BE49-F238E27FC236}">
                  <a16:creationId xmlns:a16="http://schemas.microsoft.com/office/drawing/2014/main" id="{73DD53DF-C92E-DA11-4A7C-39DD0A9D4088}"/>
                </a:ext>
              </a:extLst>
            </p:cNvPr>
            <p:cNvSpPr/>
            <p:nvPr/>
          </p:nvSpPr>
          <p:spPr>
            <a:xfrm>
              <a:off x="1066175" y="2497075"/>
              <a:ext cx="11125" cy="37650"/>
            </a:xfrm>
            <a:custGeom>
              <a:avLst/>
              <a:gdLst/>
              <a:ahLst/>
              <a:cxnLst/>
              <a:rect l="l" t="t" r="r" b="b"/>
              <a:pathLst>
                <a:path w="445" h="1506" extrusionOk="0">
                  <a:moveTo>
                    <a:pt x="363" y="82"/>
                  </a:moveTo>
                  <a:lnTo>
                    <a:pt x="363" y="1423"/>
                  </a:lnTo>
                  <a:lnTo>
                    <a:pt x="82" y="1423"/>
                  </a:lnTo>
                  <a:lnTo>
                    <a:pt x="82" y="82"/>
                  </a:lnTo>
                  <a:close/>
                  <a:moveTo>
                    <a:pt x="0" y="1"/>
                  </a:moveTo>
                  <a:lnTo>
                    <a:pt x="0" y="1505"/>
                  </a:lnTo>
                  <a:lnTo>
                    <a:pt x="445" y="1505"/>
                  </a:lnTo>
                  <a:lnTo>
                    <a:pt x="445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0" name="Google Shape;5150;p53">
              <a:extLst>
                <a:ext uri="{FF2B5EF4-FFF2-40B4-BE49-F238E27FC236}">
                  <a16:creationId xmlns:a16="http://schemas.microsoft.com/office/drawing/2014/main" id="{9839581C-6277-5DB2-D878-2458C9B2F666}"/>
                </a:ext>
              </a:extLst>
            </p:cNvPr>
            <p:cNvSpPr/>
            <p:nvPr/>
          </p:nvSpPr>
          <p:spPr>
            <a:xfrm>
              <a:off x="1075225" y="2497075"/>
              <a:ext cx="20625" cy="37650"/>
            </a:xfrm>
            <a:custGeom>
              <a:avLst/>
              <a:gdLst/>
              <a:ahLst/>
              <a:cxnLst/>
              <a:rect l="l" t="t" r="r" b="b"/>
              <a:pathLst>
                <a:path w="825" h="1506" extrusionOk="0">
                  <a:moveTo>
                    <a:pt x="750" y="82"/>
                  </a:moveTo>
                  <a:lnTo>
                    <a:pt x="750" y="1423"/>
                  </a:lnTo>
                  <a:lnTo>
                    <a:pt x="83" y="1423"/>
                  </a:lnTo>
                  <a:lnTo>
                    <a:pt x="83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1" name="Google Shape;5151;p53">
              <a:extLst>
                <a:ext uri="{FF2B5EF4-FFF2-40B4-BE49-F238E27FC236}">
                  <a16:creationId xmlns:a16="http://schemas.microsoft.com/office/drawing/2014/main" id="{C0279CEC-48B7-011E-F459-6E11C19CB0A3}"/>
                </a:ext>
              </a:extLst>
            </p:cNvPr>
            <p:cNvSpPr/>
            <p:nvPr/>
          </p:nvSpPr>
          <p:spPr>
            <a:xfrm>
              <a:off x="1093950" y="2497075"/>
              <a:ext cx="20400" cy="37650"/>
            </a:xfrm>
            <a:custGeom>
              <a:avLst/>
              <a:gdLst/>
              <a:ahLst/>
              <a:cxnLst/>
              <a:rect l="l" t="t" r="r" b="b"/>
              <a:pathLst>
                <a:path w="816" h="1506" extrusionOk="0">
                  <a:moveTo>
                    <a:pt x="742" y="82"/>
                  </a:moveTo>
                  <a:lnTo>
                    <a:pt x="742" y="1423"/>
                  </a:lnTo>
                  <a:lnTo>
                    <a:pt x="75" y="1423"/>
                  </a:lnTo>
                  <a:lnTo>
                    <a:pt x="75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15" y="1505"/>
                  </a:lnTo>
                  <a:lnTo>
                    <a:pt x="815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2" name="Google Shape;5152;p53">
              <a:extLst>
                <a:ext uri="{FF2B5EF4-FFF2-40B4-BE49-F238E27FC236}">
                  <a16:creationId xmlns:a16="http://schemas.microsoft.com/office/drawing/2014/main" id="{876239B8-17F0-FC3D-EAAB-6919B1D80439}"/>
                </a:ext>
              </a:extLst>
            </p:cNvPr>
            <p:cNvSpPr/>
            <p:nvPr/>
          </p:nvSpPr>
          <p:spPr>
            <a:xfrm>
              <a:off x="1130975" y="2497075"/>
              <a:ext cx="20625" cy="37650"/>
            </a:xfrm>
            <a:custGeom>
              <a:avLst/>
              <a:gdLst/>
              <a:ahLst/>
              <a:cxnLst/>
              <a:rect l="l" t="t" r="r" b="b"/>
              <a:pathLst>
                <a:path w="825" h="1506" extrusionOk="0">
                  <a:moveTo>
                    <a:pt x="743" y="82"/>
                  </a:moveTo>
                  <a:lnTo>
                    <a:pt x="743" y="1423"/>
                  </a:lnTo>
                  <a:lnTo>
                    <a:pt x="83" y="1423"/>
                  </a:lnTo>
                  <a:lnTo>
                    <a:pt x="83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3" name="Google Shape;5153;p53">
              <a:extLst>
                <a:ext uri="{FF2B5EF4-FFF2-40B4-BE49-F238E27FC236}">
                  <a16:creationId xmlns:a16="http://schemas.microsoft.com/office/drawing/2014/main" id="{CC1E02DE-E1C9-F81E-2C6A-C440EB6331BE}"/>
                </a:ext>
              </a:extLst>
            </p:cNvPr>
            <p:cNvSpPr/>
            <p:nvPr/>
          </p:nvSpPr>
          <p:spPr>
            <a:xfrm>
              <a:off x="1112500" y="2497075"/>
              <a:ext cx="20550" cy="37650"/>
            </a:xfrm>
            <a:custGeom>
              <a:avLst/>
              <a:gdLst/>
              <a:ahLst/>
              <a:cxnLst/>
              <a:rect l="l" t="t" r="r" b="b"/>
              <a:pathLst>
                <a:path w="822" h="1506" extrusionOk="0">
                  <a:moveTo>
                    <a:pt x="740" y="82"/>
                  </a:moveTo>
                  <a:lnTo>
                    <a:pt x="740" y="1423"/>
                  </a:lnTo>
                  <a:lnTo>
                    <a:pt x="73" y="1423"/>
                  </a:lnTo>
                  <a:lnTo>
                    <a:pt x="73" y="82"/>
                  </a:lnTo>
                  <a:close/>
                  <a:moveTo>
                    <a:pt x="0" y="1"/>
                  </a:moveTo>
                  <a:lnTo>
                    <a:pt x="0" y="1505"/>
                  </a:lnTo>
                  <a:lnTo>
                    <a:pt x="822" y="1505"/>
                  </a:lnTo>
                  <a:lnTo>
                    <a:pt x="822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4" name="Google Shape;5154;p53">
              <a:extLst>
                <a:ext uri="{FF2B5EF4-FFF2-40B4-BE49-F238E27FC236}">
                  <a16:creationId xmlns:a16="http://schemas.microsoft.com/office/drawing/2014/main" id="{E1497A89-6865-FB6C-8705-D498A6235A7C}"/>
                </a:ext>
              </a:extLst>
            </p:cNvPr>
            <p:cNvSpPr/>
            <p:nvPr/>
          </p:nvSpPr>
          <p:spPr>
            <a:xfrm>
              <a:off x="1116350" y="2274025"/>
              <a:ext cx="52275" cy="316100"/>
            </a:xfrm>
            <a:custGeom>
              <a:avLst/>
              <a:gdLst/>
              <a:ahLst/>
              <a:cxnLst/>
              <a:rect l="l" t="t" r="r" b="b"/>
              <a:pathLst>
                <a:path w="2091" h="12644" extrusionOk="0">
                  <a:moveTo>
                    <a:pt x="565" y="1"/>
                  </a:moveTo>
                  <a:lnTo>
                    <a:pt x="1" y="12613"/>
                  </a:lnTo>
                  <a:lnTo>
                    <a:pt x="2090" y="12643"/>
                  </a:lnTo>
                  <a:lnTo>
                    <a:pt x="1824" y="17"/>
                  </a:lnTo>
                  <a:lnTo>
                    <a:pt x="565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5" name="Google Shape;5155;p53">
              <a:extLst>
                <a:ext uri="{FF2B5EF4-FFF2-40B4-BE49-F238E27FC236}">
                  <a16:creationId xmlns:a16="http://schemas.microsoft.com/office/drawing/2014/main" id="{97270549-5F4A-C78F-B698-574BE7CB012C}"/>
                </a:ext>
              </a:extLst>
            </p:cNvPr>
            <p:cNvSpPr/>
            <p:nvPr/>
          </p:nvSpPr>
          <p:spPr>
            <a:xfrm>
              <a:off x="1116350" y="2274250"/>
              <a:ext cx="29875" cy="312875"/>
            </a:xfrm>
            <a:custGeom>
              <a:avLst/>
              <a:gdLst/>
              <a:ahLst/>
              <a:cxnLst/>
              <a:rect l="l" t="t" r="r" b="b"/>
              <a:pathLst>
                <a:path w="1195" h="12515" extrusionOk="0">
                  <a:moveTo>
                    <a:pt x="565" y="0"/>
                  </a:moveTo>
                  <a:lnTo>
                    <a:pt x="1" y="12515"/>
                  </a:lnTo>
                  <a:lnTo>
                    <a:pt x="1047" y="12515"/>
                  </a:lnTo>
                  <a:lnTo>
                    <a:pt x="1194" y="8"/>
                  </a:lnTo>
                  <a:lnTo>
                    <a:pt x="565" y="0"/>
                  </a:lnTo>
                  <a:close/>
                </a:path>
              </a:pathLst>
            </a:custGeom>
            <a:solidFill>
              <a:srgbClr val="92939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6" name="Google Shape;5156;p53">
              <a:extLst>
                <a:ext uri="{FF2B5EF4-FFF2-40B4-BE49-F238E27FC236}">
                  <a16:creationId xmlns:a16="http://schemas.microsoft.com/office/drawing/2014/main" id="{69C830A3-455A-0222-7F91-1BB686A19A7E}"/>
                </a:ext>
              </a:extLst>
            </p:cNvPr>
            <p:cNvSpPr/>
            <p:nvPr/>
          </p:nvSpPr>
          <p:spPr>
            <a:xfrm>
              <a:off x="1126375" y="2350000"/>
              <a:ext cx="37450" cy="18925"/>
            </a:xfrm>
            <a:custGeom>
              <a:avLst/>
              <a:gdLst/>
              <a:ahLst/>
              <a:cxnLst/>
              <a:rect l="l" t="t" r="r" b="b"/>
              <a:pathLst>
                <a:path w="1498" h="757" extrusionOk="0">
                  <a:moveTo>
                    <a:pt x="37" y="1"/>
                  </a:moveTo>
                  <a:lnTo>
                    <a:pt x="0" y="734"/>
                  </a:lnTo>
                  <a:lnTo>
                    <a:pt x="749" y="741"/>
                  </a:lnTo>
                  <a:lnTo>
                    <a:pt x="1497" y="757"/>
                  </a:lnTo>
                  <a:lnTo>
                    <a:pt x="1483" y="22"/>
                  </a:lnTo>
                  <a:lnTo>
                    <a:pt x="756" y="15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7" name="Google Shape;5157;p53">
              <a:extLst>
                <a:ext uri="{FF2B5EF4-FFF2-40B4-BE49-F238E27FC236}">
                  <a16:creationId xmlns:a16="http://schemas.microsoft.com/office/drawing/2014/main" id="{0EB0018C-31E9-7ABC-8794-A70A4C3A1EDC}"/>
                </a:ext>
              </a:extLst>
            </p:cNvPr>
            <p:cNvSpPr/>
            <p:nvPr/>
          </p:nvSpPr>
          <p:spPr>
            <a:xfrm>
              <a:off x="1124150" y="2392950"/>
              <a:ext cx="40775" cy="27275"/>
            </a:xfrm>
            <a:custGeom>
              <a:avLst/>
              <a:gdLst/>
              <a:ahLst/>
              <a:cxnLst/>
              <a:rect l="l" t="t" r="r" b="b"/>
              <a:pathLst>
                <a:path w="1631" h="1091" extrusionOk="0">
                  <a:moveTo>
                    <a:pt x="45" y="1"/>
                  </a:moveTo>
                  <a:lnTo>
                    <a:pt x="0" y="1068"/>
                  </a:lnTo>
                  <a:lnTo>
                    <a:pt x="816" y="1077"/>
                  </a:lnTo>
                  <a:lnTo>
                    <a:pt x="1631" y="1091"/>
                  </a:lnTo>
                  <a:lnTo>
                    <a:pt x="1608" y="17"/>
                  </a:lnTo>
                  <a:lnTo>
                    <a:pt x="831" y="10"/>
                  </a:lnTo>
                  <a:lnTo>
                    <a:pt x="45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8" name="Google Shape;5158;p53">
              <a:extLst>
                <a:ext uri="{FF2B5EF4-FFF2-40B4-BE49-F238E27FC236}">
                  <a16:creationId xmlns:a16="http://schemas.microsoft.com/office/drawing/2014/main" id="{FD648614-B12D-ED7F-8836-A35746F22AFF}"/>
                </a:ext>
              </a:extLst>
            </p:cNvPr>
            <p:cNvSpPr/>
            <p:nvPr/>
          </p:nvSpPr>
          <p:spPr>
            <a:xfrm>
              <a:off x="999125" y="2054350"/>
              <a:ext cx="117650" cy="77825"/>
            </a:xfrm>
            <a:custGeom>
              <a:avLst/>
              <a:gdLst/>
              <a:ahLst/>
              <a:cxnLst/>
              <a:rect l="l" t="t" r="r" b="b"/>
              <a:pathLst>
                <a:path w="4706" h="3113" extrusionOk="0">
                  <a:moveTo>
                    <a:pt x="0" y="1"/>
                  </a:moveTo>
                  <a:lnTo>
                    <a:pt x="0" y="8"/>
                  </a:lnTo>
                  <a:lnTo>
                    <a:pt x="0" y="2231"/>
                  </a:lnTo>
                  <a:lnTo>
                    <a:pt x="0" y="3113"/>
                  </a:lnTo>
                  <a:lnTo>
                    <a:pt x="3061" y="3113"/>
                  </a:lnTo>
                  <a:cubicBezTo>
                    <a:pt x="3075" y="3097"/>
                    <a:pt x="3089" y="3090"/>
                    <a:pt x="3105" y="3075"/>
                  </a:cubicBezTo>
                  <a:cubicBezTo>
                    <a:pt x="3112" y="3090"/>
                    <a:pt x="3120" y="3097"/>
                    <a:pt x="3120" y="3113"/>
                  </a:cubicBezTo>
                  <a:lnTo>
                    <a:pt x="4638" y="3113"/>
                  </a:lnTo>
                  <a:cubicBezTo>
                    <a:pt x="4683" y="3017"/>
                    <a:pt x="4706" y="2912"/>
                    <a:pt x="4706" y="2794"/>
                  </a:cubicBezTo>
                  <a:cubicBezTo>
                    <a:pt x="4706" y="2341"/>
                    <a:pt x="4334" y="1971"/>
                    <a:pt x="3883" y="1971"/>
                  </a:cubicBezTo>
                  <a:cubicBezTo>
                    <a:pt x="3719" y="1971"/>
                    <a:pt x="3571" y="2016"/>
                    <a:pt x="3445" y="2097"/>
                  </a:cubicBezTo>
                  <a:cubicBezTo>
                    <a:pt x="3363" y="1571"/>
                    <a:pt x="2904" y="1171"/>
                    <a:pt x="2357" y="1171"/>
                  </a:cubicBezTo>
                  <a:cubicBezTo>
                    <a:pt x="2172" y="1171"/>
                    <a:pt x="1994" y="1215"/>
                    <a:pt x="1837" y="1297"/>
                  </a:cubicBezTo>
                  <a:cubicBezTo>
                    <a:pt x="1505" y="593"/>
                    <a:pt x="815" y="82"/>
                    <a:pt x="0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9" name="Google Shape;5159;p53">
              <a:extLst>
                <a:ext uri="{FF2B5EF4-FFF2-40B4-BE49-F238E27FC236}">
                  <a16:creationId xmlns:a16="http://schemas.microsoft.com/office/drawing/2014/main" id="{DDCFB773-2315-B4C2-B847-305E7A04C834}"/>
                </a:ext>
              </a:extLst>
            </p:cNvPr>
            <p:cNvSpPr/>
            <p:nvPr/>
          </p:nvSpPr>
          <p:spPr>
            <a:xfrm>
              <a:off x="1361075" y="2415000"/>
              <a:ext cx="188075" cy="174525"/>
            </a:xfrm>
            <a:custGeom>
              <a:avLst/>
              <a:gdLst/>
              <a:ahLst/>
              <a:cxnLst/>
              <a:rect l="l" t="t" r="r" b="b"/>
              <a:pathLst>
                <a:path w="7523" h="6981" extrusionOk="0">
                  <a:moveTo>
                    <a:pt x="0" y="1"/>
                  </a:moveTo>
                  <a:lnTo>
                    <a:pt x="0" y="6981"/>
                  </a:lnTo>
                  <a:lnTo>
                    <a:pt x="7523" y="6981"/>
                  </a:lnTo>
                  <a:lnTo>
                    <a:pt x="7523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0" name="Google Shape;5160;p53">
              <a:extLst>
                <a:ext uri="{FF2B5EF4-FFF2-40B4-BE49-F238E27FC236}">
                  <a16:creationId xmlns:a16="http://schemas.microsoft.com/office/drawing/2014/main" id="{D3384941-FB27-5A06-316D-25FCCD25401E}"/>
                </a:ext>
              </a:extLst>
            </p:cNvPr>
            <p:cNvSpPr/>
            <p:nvPr/>
          </p:nvSpPr>
          <p:spPr>
            <a:xfrm>
              <a:off x="1549125" y="2418925"/>
              <a:ext cx="200" cy="168200"/>
            </a:xfrm>
            <a:custGeom>
              <a:avLst/>
              <a:gdLst/>
              <a:ahLst/>
              <a:cxnLst/>
              <a:rect l="l" t="t" r="r" b="b"/>
              <a:pathLst>
                <a:path w="8" h="6728" extrusionOk="0">
                  <a:moveTo>
                    <a:pt x="1" y="0"/>
                  </a:moveTo>
                  <a:lnTo>
                    <a:pt x="1" y="6728"/>
                  </a:lnTo>
                  <a:lnTo>
                    <a:pt x="8" y="6728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52596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1" name="Google Shape;5161;p53">
              <a:extLst>
                <a:ext uri="{FF2B5EF4-FFF2-40B4-BE49-F238E27FC236}">
                  <a16:creationId xmlns:a16="http://schemas.microsoft.com/office/drawing/2014/main" id="{BF4903B9-DD7E-889D-1687-93D623852791}"/>
                </a:ext>
              </a:extLst>
            </p:cNvPr>
            <p:cNvSpPr/>
            <p:nvPr/>
          </p:nvSpPr>
          <p:spPr>
            <a:xfrm>
              <a:off x="1502625" y="2418925"/>
              <a:ext cx="46525" cy="158025"/>
            </a:xfrm>
            <a:custGeom>
              <a:avLst/>
              <a:gdLst/>
              <a:ahLst/>
              <a:cxnLst/>
              <a:rect l="l" t="t" r="r" b="b"/>
              <a:pathLst>
                <a:path w="1861" h="6321" extrusionOk="0">
                  <a:moveTo>
                    <a:pt x="0" y="0"/>
                  </a:moveTo>
                  <a:lnTo>
                    <a:pt x="0" y="6321"/>
                  </a:lnTo>
                  <a:lnTo>
                    <a:pt x="1861" y="6321"/>
                  </a:lnTo>
                  <a:lnTo>
                    <a:pt x="1861" y="0"/>
                  </a:lnTo>
                  <a:close/>
                </a:path>
              </a:pathLst>
            </a:custGeom>
            <a:solidFill>
              <a:srgbClr val="85868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2" name="Google Shape;5162;p53">
              <a:extLst>
                <a:ext uri="{FF2B5EF4-FFF2-40B4-BE49-F238E27FC236}">
                  <a16:creationId xmlns:a16="http://schemas.microsoft.com/office/drawing/2014/main" id="{B47BE857-B33B-9408-AB9C-318E0F46A09F}"/>
                </a:ext>
              </a:extLst>
            </p:cNvPr>
            <p:cNvSpPr/>
            <p:nvPr/>
          </p:nvSpPr>
          <p:spPr>
            <a:xfrm>
              <a:off x="1353275" y="2411325"/>
              <a:ext cx="203425" cy="7625"/>
            </a:xfrm>
            <a:custGeom>
              <a:avLst/>
              <a:gdLst/>
              <a:ahLst/>
              <a:cxnLst/>
              <a:rect l="l" t="t" r="r" b="b"/>
              <a:pathLst>
                <a:path w="8137" h="305" extrusionOk="0">
                  <a:moveTo>
                    <a:pt x="150" y="0"/>
                  </a:moveTo>
                  <a:cubicBezTo>
                    <a:pt x="68" y="0"/>
                    <a:pt x="1" y="66"/>
                    <a:pt x="1" y="148"/>
                  </a:cubicBezTo>
                  <a:cubicBezTo>
                    <a:pt x="1" y="237"/>
                    <a:pt x="68" y="304"/>
                    <a:pt x="150" y="304"/>
                  </a:cubicBezTo>
                  <a:lnTo>
                    <a:pt x="7989" y="304"/>
                  </a:lnTo>
                  <a:cubicBezTo>
                    <a:pt x="8071" y="304"/>
                    <a:pt x="8137" y="237"/>
                    <a:pt x="8137" y="148"/>
                  </a:cubicBezTo>
                  <a:cubicBezTo>
                    <a:pt x="8137" y="66"/>
                    <a:pt x="8071" y="0"/>
                    <a:pt x="7989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3" name="Google Shape;5163;p53">
              <a:extLst>
                <a:ext uri="{FF2B5EF4-FFF2-40B4-BE49-F238E27FC236}">
                  <a16:creationId xmlns:a16="http://schemas.microsoft.com/office/drawing/2014/main" id="{81998726-C6BB-7EEB-675D-ECC650647C64}"/>
                </a:ext>
              </a:extLst>
            </p:cNvPr>
            <p:cNvSpPr/>
            <p:nvPr/>
          </p:nvSpPr>
          <p:spPr>
            <a:xfrm>
              <a:off x="1524450" y="2448925"/>
              <a:ext cx="11900" cy="17425"/>
            </a:xfrm>
            <a:custGeom>
              <a:avLst/>
              <a:gdLst/>
              <a:ahLst/>
              <a:cxnLst/>
              <a:rect l="l" t="t" r="r" b="b"/>
              <a:pathLst>
                <a:path w="476" h="697" extrusionOk="0">
                  <a:moveTo>
                    <a:pt x="1" y="1"/>
                  </a:moveTo>
                  <a:lnTo>
                    <a:pt x="1" y="696"/>
                  </a:lnTo>
                  <a:lnTo>
                    <a:pt x="475" y="696"/>
                  </a:lnTo>
                  <a:lnTo>
                    <a:pt x="475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4" name="Google Shape;5164;p53">
              <a:extLst>
                <a:ext uri="{FF2B5EF4-FFF2-40B4-BE49-F238E27FC236}">
                  <a16:creationId xmlns:a16="http://schemas.microsoft.com/office/drawing/2014/main" id="{9A106E95-58A3-CFCD-5F4B-9D90822F7BAF}"/>
                </a:ext>
              </a:extLst>
            </p:cNvPr>
            <p:cNvSpPr/>
            <p:nvPr/>
          </p:nvSpPr>
          <p:spPr>
            <a:xfrm>
              <a:off x="1503150" y="2448925"/>
              <a:ext cx="11725" cy="17425"/>
            </a:xfrm>
            <a:custGeom>
              <a:avLst/>
              <a:gdLst/>
              <a:ahLst/>
              <a:cxnLst/>
              <a:rect l="l" t="t" r="r" b="b"/>
              <a:pathLst>
                <a:path w="469" h="697" extrusionOk="0">
                  <a:moveTo>
                    <a:pt x="1" y="1"/>
                  </a:moveTo>
                  <a:lnTo>
                    <a:pt x="1" y="696"/>
                  </a:lnTo>
                  <a:lnTo>
                    <a:pt x="468" y="696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5" name="Google Shape;5165;p53">
              <a:extLst>
                <a:ext uri="{FF2B5EF4-FFF2-40B4-BE49-F238E27FC236}">
                  <a16:creationId xmlns:a16="http://schemas.microsoft.com/office/drawing/2014/main" id="{A300CA70-B5D7-AFAA-2E8B-A54F707E988E}"/>
                </a:ext>
              </a:extLst>
            </p:cNvPr>
            <p:cNvSpPr/>
            <p:nvPr/>
          </p:nvSpPr>
          <p:spPr>
            <a:xfrm>
              <a:off x="1481675" y="2448925"/>
              <a:ext cx="11675" cy="17425"/>
            </a:xfrm>
            <a:custGeom>
              <a:avLst/>
              <a:gdLst/>
              <a:ahLst/>
              <a:cxnLst/>
              <a:rect l="l" t="t" r="r" b="b"/>
              <a:pathLst>
                <a:path w="467" h="697" extrusionOk="0">
                  <a:moveTo>
                    <a:pt x="1" y="1"/>
                  </a:moveTo>
                  <a:lnTo>
                    <a:pt x="1" y="696"/>
                  </a:lnTo>
                  <a:lnTo>
                    <a:pt x="467" y="696"/>
                  </a:lnTo>
                  <a:lnTo>
                    <a:pt x="46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6" name="Google Shape;5166;p53">
              <a:extLst>
                <a:ext uri="{FF2B5EF4-FFF2-40B4-BE49-F238E27FC236}">
                  <a16:creationId xmlns:a16="http://schemas.microsoft.com/office/drawing/2014/main" id="{F8DF09E2-B75E-BCB2-36A6-E04056ECBD04}"/>
                </a:ext>
              </a:extLst>
            </p:cNvPr>
            <p:cNvSpPr/>
            <p:nvPr/>
          </p:nvSpPr>
          <p:spPr>
            <a:xfrm>
              <a:off x="1460200" y="2448925"/>
              <a:ext cx="11675" cy="17425"/>
            </a:xfrm>
            <a:custGeom>
              <a:avLst/>
              <a:gdLst/>
              <a:ahLst/>
              <a:cxnLst/>
              <a:rect l="l" t="t" r="r" b="b"/>
              <a:pathLst>
                <a:path w="467" h="697" extrusionOk="0">
                  <a:moveTo>
                    <a:pt x="1" y="1"/>
                  </a:moveTo>
                  <a:lnTo>
                    <a:pt x="1" y="696"/>
                  </a:lnTo>
                  <a:lnTo>
                    <a:pt x="467" y="696"/>
                  </a:lnTo>
                  <a:lnTo>
                    <a:pt x="46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7" name="Google Shape;5167;p53">
              <a:extLst>
                <a:ext uri="{FF2B5EF4-FFF2-40B4-BE49-F238E27FC236}">
                  <a16:creationId xmlns:a16="http://schemas.microsoft.com/office/drawing/2014/main" id="{BCF6462A-0FD1-8D44-9841-9DA83B5A51F1}"/>
                </a:ext>
              </a:extLst>
            </p:cNvPr>
            <p:cNvSpPr/>
            <p:nvPr/>
          </p:nvSpPr>
          <p:spPr>
            <a:xfrm>
              <a:off x="1438700" y="2448925"/>
              <a:ext cx="11700" cy="17425"/>
            </a:xfrm>
            <a:custGeom>
              <a:avLst/>
              <a:gdLst/>
              <a:ahLst/>
              <a:cxnLst/>
              <a:rect l="l" t="t" r="r" b="b"/>
              <a:pathLst>
                <a:path w="468" h="697" extrusionOk="0">
                  <a:moveTo>
                    <a:pt x="0" y="1"/>
                  </a:moveTo>
                  <a:lnTo>
                    <a:pt x="0" y="696"/>
                  </a:lnTo>
                  <a:lnTo>
                    <a:pt x="468" y="696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8" name="Google Shape;5168;p53">
              <a:extLst>
                <a:ext uri="{FF2B5EF4-FFF2-40B4-BE49-F238E27FC236}">
                  <a16:creationId xmlns:a16="http://schemas.microsoft.com/office/drawing/2014/main" id="{AAFF353E-5971-365B-6A31-63D2382BD390}"/>
                </a:ext>
              </a:extLst>
            </p:cNvPr>
            <p:cNvSpPr/>
            <p:nvPr/>
          </p:nvSpPr>
          <p:spPr>
            <a:xfrm>
              <a:off x="1417225" y="2448925"/>
              <a:ext cx="11675" cy="17425"/>
            </a:xfrm>
            <a:custGeom>
              <a:avLst/>
              <a:gdLst/>
              <a:ahLst/>
              <a:cxnLst/>
              <a:rect l="l" t="t" r="r" b="b"/>
              <a:pathLst>
                <a:path w="467" h="697" extrusionOk="0">
                  <a:moveTo>
                    <a:pt x="0" y="1"/>
                  </a:moveTo>
                  <a:lnTo>
                    <a:pt x="0" y="696"/>
                  </a:lnTo>
                  <a:lnTo>
                    <a:pt x="466" y="696"/>
                  </a:lnTo>
                  <a:lnTo>
                    <a:pt x="466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9" name="Google Shape;5169;p53">
              <a:extLst>
                <a:ext uri="{FF2B5EF4-FFF2-40B4-BE49-F238E27FC236}">
                  <a16:creationId xmlns:a16="http://schemas.microsoft.com/office/drawing/2014/main" id="{7C7F2EB3-FCD6-7596-3AFB-BAFD7D5677B2}"/>
                </a:ext>
              </a:extLst>
            </p:cNvPr>
            <p:cNvSpPr/>
            <p:nvPr/>
          </p:nvSpPr>
          <p:spPr>
            <a:xfrm>
              <a:off x="1395750" y="2448925"/>
              <a:ext cx="11675" cy="17425"/>
            </a:xfrm>
            <a:custGeom>
              <a:avLst/>
              <a:gdLst/>
              <a:ahLst/>
              <a:cxnLst/>
              <a:rect l="l" t="t" r="r" b="b"/>
              <a:pathLst>
                <a:path w="467" h="697" extrusionOk="0">
                  <a:moveTo>
                    <a:pt x="0" y="1"/>
                  </a:moveTo>
                  <a:lnTo>
                    <a:pt x="0" y="696"/>
                  </a:lnTo>
                  <a:lnTo>
                    <a:pt x="466" y="696"/>
                  </a:lnTo>
                  <a:lnTo>
                    <a:pt x="466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0" name="Google Shape;5170;p53">
              <a:extLst>
                <a:ext uri="{FF2B5EF4-FFF2-40B4-BE49-F238E27FC236}">
                  <a16:creationId xmlns:a16="http://schemas.microsoft.com/office/drawing/2014/main" id="{C2A314AA-1F63-7401-9E9A-AEDE6479701D}"/>
                </a:ext>
              </a:extLst>
            </p:cNvPr>
            <p:cNvSpPr/>
            <p:nvPr/>
          </p:nvSpPr>
          <p:spPr>
            <a:xfrm>
              <a:off x="1374225" y="2448925"/>
              <a:ext cx="11725" cy="17425"/>
            </a:xfrm>
            <a:custGeom>
              <a:avLst/>
              <a:gdLst/>
              <a:ahLst/>
              <a:cxnLst/>
              <a:rect l="l" t="t" r="r" b="b"/>
              <a:pathLst>
                <a:path w="469" h="697" extrusionOk="0">
                  <a:moveTo>
                    <a:pt x="0" y="1"/>
                  </a:moveTo>
                  <a:lnTo>
                    <a:pt x="0" y="696"/>
                  </a:lnTo>
                  <a:lnTo>
                    <a:pt x="468" y="696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1" name="Google Shape;5171;p53">
              <a:extLst>
                <a:ext uri="{FF2B5EF4-FFF2-40B4-BE49-F238E27FC236}">
                  <a16:creationId xmlns:a16="http://schemas.microsoft.com/office/drawing/2014/main" id="{E2440E1B-F8FB-ECA5-C218-94F8A956BD92}"/>
                </a:ext>
              </a:extLst>
            </p:cNvPr>
            <p:cNvSpPr/>
            <p:nvPr/>
          </p:nvSpPr>
          <p:spPr>
            <a:xfrm>
              <a:off x="1524450" y="2482450"/>
              <a:ext cx="11900" cy="17450"/>
            </a:xfrm>
            <a:custGeom>
              <a:avLst/>
              <a:gdLst/>
              <a:ahLst/>
              <a:cxnLst/>
              <a:rect l="l" t="t" r="r" b="b"/>
              <a:pathLst>
                <a:path w="476" h="698" extrusionOk="0">
                  <a:moveTo>
                    <a:pt x="1" y="1"/>
                  </a:moveTo>
                  <a:lnTo>
                    <a:pt x="1" y="698"/>
                  </a:lnTo>
                  <a:lnTo>
                    <a:pt x="475" y="698"/>
                  </a:lnTo>
                  <a:lnTo>
                    <a:pt x="475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2" name="Google Shape;5172;p53">
              <a:extLst>
                <a:ext uri="{FF2B5EF4-FFF2-40B4-BE49-F238E27FC236}">
                  <a16:creationId xmlns:a16="http://schemas.microsoft.com/office/drawing/2014/main" id="{36F2F609-61C1-9EC9-598E-B33B7F94D341}"/>
                </a:ext>
              </a:extLst>
            </p:cNvPr>
            <p:cNvSpPr/>
            <p:nvPr/>
          </p:nvSpPr>
          <p:spPr>
            <a:xfrm>
              <a:off x="1503150" y="2482450"/>
              <a:ext cx="11725" cy="17450"/>
            </a:xfrm>
            <a:custGeom>
              <a:avLst/>
              <a:gdLst/>
              <a:ahLst/>
              <a:cxnLst/>
              <a:rect l="l" t="t" r="r" b="b"/>
              <a:pathLst>
                <a:path w="469" h="698" extrusionOk="0">
                  <a:moveTo>
                    <a:pt x="1" y="1"/>
                  </a:moveTo>
                  <a:lnTo>
                    <a:pt x="1" y="698"/>
                  </a:lnTo>
                  <a:lnTo>
                    <a:pt x="468" y="698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3" name="Google Shape;5173;p53">
              <a:extLst>
                <a:ext uri="{FF2B5EF4-FFF2-40B4-BE49-F238E27FC236}">
                  <a16:creationId xmlns:a16="http://schemas.microsoft.com/office/drawing/2014/main" id="{208B651A-C18A-F0DE-4E20-8AECC808ADF7}"/>
                </a:ext>
              </a:extLst>
            </p:cNvPr>
            <p:cNvSpPr/>
            <p:nvPr/>
          </p:nvSpPr>
          <p:spPr>
            <a:xfrm>
              <a:off x="1481675" y="2482450"/>
              <a:ext cx="11675" cy="17450"/>
            </a:xfrm>
            <a:custGeom>
              <a:avLst/>
              <a:gdLst/>
              <a:ahLst/>
              <a:cxnLst/>
              <a:rect l="l" t="t" r="r" b="b"/>
              <a:pathLst>
                <a:path w="467" h="698" extrusionOk="0">
                  <a:moveTo>
                    <a:pt x="1" y="1"/>
                  </a:moveTo>
                  <a:lnTo>
                    <a:pt x="1" y="698"/>
                  </a:lnTo>
                  <a:lnTo>
                    <a:pt x="467" y="698"/>
                  </a:lnTo>
                  <a:lnTo>
                    <a:pt x="46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4" name="Google Shape;5174;p53">
              <a:extLst>
                <a:ext uri="{FF2B5EF4-FFF2-40B4-BE49-F238E27FC236}">
                  <a16:creationId xmlns:a16="http://schemas.microsoft.com/office/drawing/2014/main" id="{C9FD0D6E-836E-9B72-DB43-87AB264DF9A3}"/>
                </a:ext>
              </a:extLst>
            </p:cNvPr>
            <p:cNvSpPr/>
            <p:nvPr/>
          </p:nvSpPr>
          <p:spPr>
            <a:xfrm>
              <a:off x="1460200" y="2482450"/>
              <a:ext cx="11675" cy="17450"/>
            </a:xfrm>
            <a:custGeom>
              <a:avLst/>
              <a:gdLst/>
              <a:ahLst/>
              <a:cxnLst/>
              <a:rect l="l" t="t" r="r" b="b"/>
              <a:pathLst>
                <a:path w="467" h="698" extrusionOk="0">
                  <a:moveTo>
                    <a:pt x="1" y="1"/>
                  </a:moveTo>
                  <a:lnTo>
                    <a:pt x="1" y="698"/>
                  </a:lnTo>
                  <a:lnTo>
                    <a:pt x="467" y="698"/>
                  </a:lnTo>
                  <a:lnTo>
                    <a:pt x="46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5" name="Google Shape;5175;p53">
              <a:extLst>
                <a:ext uri="{FF2B5EF4-FFF2-40B4-BE49-F238E27FC236}">
                  <a16:creationId xmlns:a16="http://schemas.microsoft.com/office/drawing/2014/main" id="{E79CC225-BBE7-6F15-38B5-9E1FCFFDEFA1}"/>
                </a:ext>
              </a:extLst>
            </p:cNvPr>
            <p:cNvSpPr/>
            <p:nvPr/>
          </p:nvSpPr>
          <p:spPr>
            <a:xfrm>
              <a:off x="1438700" y="2482450"/>
              <a:ext cx="11700" cy="17450"/>
            </a:xfrm>
            <a:custGeom>
              <a:avLst/>
              <a:gdLst/>
              <a:ahLst/>
              <a:cxnLst/>
              <a:rect l="l" t="t" r="r" b="b"/>
              <a:pathLst>
                <a:path w="468" h="698" extrusionOk="0">
                  <a:moveTo>
                    <a:pt x="0" y="1"/>
                  </a:moveTo>
                  <a:lnTo>
                    <a:pt x="0" y="698"/>
                  </a:lnTo>
                  <a:lnTo>
                    <a:pt x="468" y="698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6" name="Google Shape;5176;p53">
              <a:extLst>
                <a:ext uri="{FF2B5EF4-FFF2-40B4-BE49-F238E27FC236}">
                  <a16:creationId xmlns:a16="http://schemas.microsoft.com/office/drawing/2014/main" id="{12A60552-6C16-C9B2-2CCA-ED05C74948E7}"/>
                </a:ext>
              </a:extLst>
            </p:cNvPr>
            <p:cNvSpPr/>
            <p:nvPr/>
          </p:nvSpPr>
          <p:spPr>
            <a:xfrm>
              <a:off x="1417225" y="2482450"/>
              <a:ext cx="11675" cy="17450"/>
            </a:xfrm>
            <a:custGeom>
              <a:avLst/>
              <a:gdLst/>
              <a:ahLst/>
              <a:cxnLst/>
              <a:rect l="l" t="t" r="r" b="b"/>
              <a:pathLst>
                <a:path w="467" h="698" extrusionOk="0">
                  <a:moveTo>
                    <a:pt x="0" y="1"/>
                  </a:moveTo>
                  <a:lnTo>
                    <a:pt x="0" y="698"/>
                  </a:lnTo>
                  <a:lnTo>
                    <a:pt x="466" y="698"/>
                  </a:lnTo>
                  <a:lnTo>
                    <a:pt x="466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7" name="Google Shape;5177;p53">
              <a:extLst>
                <a:ext uri="{FF2B5EF4-FFF2-40B4-BE49-F238E27FC236}">
                  <a16:creationId xmlns:a16="http://schemas.microsoft.com/office/drawing/2014/main" id="{7933B12D-623E-C327-643F-C9087485A67C}"/>
                </a:ext>
              </a:extLst>
            </p:cNvPr>
            <p:cNvSpPr/>
            <p:nvPr/>
          </p:nvSpPr>
          <p:spPr>
            <a:xfrm>
              <a:off x="1395750" y="2482450"/>
              <a:ext cx="11675" cy="17450"/>
            </a:xfrm>
            <a:custGeom>
              <a:avLst/>
              <a:gdLst/>
              <a:ahLst/>
              <a:cxnLst/>
              <a:rect l="l" t="t" r="r" b="b"/>
              <a:pathLst>
                <a:path w="467" h="698" extrusionOk="0">
                  <a:moveTo>
                    <a:pt x="0" y="1"/>
                  </a:moveTo>
                  <a:lnTo>
                    <a:pt x="0" y="698"/>
                  </a:lnTo>
                  <a:lnTo>
                    <a:pt x="466" y="698"/>
                  </a:lnTo>
                  <a:lnTo>
                    <a:pt x="466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8" name="Google Shape;5178;p53">
              <a:extLst>
                <a:ext uri="{FF2B5EF4-FFF2-40B4-BE49-F238E27FC236}">
                  <a16:creationId xmlns:a16="http://schemas.microsoft.com/office/drawing/2014/main" id="{5FE9E31C-214E-1420-1ADA-BE6830A1EA42}"/>
                </a:ext>
              </a:extLst>
            </p:cNvPr>
            <p:cNvSpPr/>
            <p:nvPr/>
          </p:nvSpPr>
          <p:spPr>
            <a:xfrm>
              <a:off x="1374225" y="2482450"/>
              <a:ext cx="11725" cy="17450"/>
            </a:xfrm>
            <a:custGeom>
              <a:avLst/>
              <a:gdLst/>
              <a:ahLst/>
              <a:cxnLst/>
              <a:rect l="l" t="t" r="r" b="b"/>
              <a:pathLst>
                <a:path w="469" h="698" extrusionOk="0">
                  <a:moveTo>
                    <a:pt x="0" y="1"/>
                  </a:moveTo>
                  <a:lnTo>
                    <a:pt x="0" y="698"/>
                  </a:lnTo>
                  <a:lnTo>
                    <a:pt x="468" y="698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9" name="Google Shape;5179;p53">
              <a:extLst>
                <a:ext uri="{FF2B5EF4-FFF2-40B4-BE49-F238E27FC236}">
                  <a16:creationId xmlns:a16="http://schemas.microsoft.com/office/drawing/2014/main" id="{19CA4C07-979D-24CE-97A1-6567BBD810AA}"/>
                </a:ext>
              </a:extLst>
            </p:cNvPr>
            <p:cNvSpPr/>
            <p:nvPr/>
          </p:nvSpPr>
          <p:spPr>
            <a:xfrm>
              <a:off x="1524450" y="2515975"/>
              <a:ext cx="11900" cy="17625"/>
            </a:xfrm>
            <a:custGeom>
              <a:avLst/>
              <a:gdLst/>
              <a:ahLst/>
              <a:cxnLst/>
              <a:rect l="l" t="t" r="r" b="b"/>
              <a:pathLst>
                <a:path w="476" h="705" extrusionOk="0">
                  <a:moveTo>
                    <a:pt x="1" y="0"/>
                  </a:moveTo>
                  <a:lnTo>
                    <a:pt x="1" y="705"/>
                  </a:lnTo>
                  <a:lnTo>
                    <a:pt x="475" y="705"/>
                  </a:lnTo>
                  <a:lnTo>
                    <a:pt x="475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0" name="Google Shape;5180;p53">
              <a:extLst>
                <a:ext uri="{FF2B5EF4-FFF2-40B4-BE49-F238E27FC236}">
                  <a16:creationId xmlns:a16="http://schemas.microsoft.com/office/drawing/2014/main" id="{89D222C3-F22B-9898-B8CA-74C1941400C4}"/>
                </a:ext>
              </a:extLst>
            </p:cNvPr>
            <p:cNvSpPr/>
            <p:nvPr/>
          </p:nvSpPr>
          <p:spPr>
            <a:xfrm>
              <a:off x="1503150" y="2515975"/>
              <a:ext cx="11725" cy="17625"/>
            </a:xfrm>
            <a:custGeom>
              <a:avLst/>
              <a:gdLst/>
              <a:ahLst/>
              <a:cxnLst/>
              <a:rect l="l" t="t" r="r" b="b"/>
              <a:pathLst>
                <a:path w="469" h="705" extrusionOk="0">
                  <a:moveTo>
                    <a:pt x="1" y="0"/>
                  </a:moveTo>
                  <a:lnTo>
                    <a:pt x="1" y="705"/>
                  </a:lnTo>
                  <a:lnTo>
                    <a:pt x="468" y="705"/>
                  </a:lnTo>
                  <a:lnTo>
                    <a:pt x="468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1" name="Google Shape;5181;p53">
              <a:extLst>
                <a:ext uri="{FF2B5EF4-FFF2-40B4-BE49-F238E27FC236}">
                  <a16:creationId xmlns:a16="http://schemas.microsoft.com/office/drawing/2014/main" id="{9A694A02-BEC9-BAA0-F276-CC0224F75164}"/>
                </a:ext>
              </a:extLst>
            </p:cNvPr>
            <p:cNvSpPr/>
            <p:nvPr/>
          </p:nvSpPr>
          <p:spPr>
            <a:xfrm>
              <a:off x="1481675" y="2515975"/>
              <a:ext cx="11675" cy="17625"/>
            </a:xfrm>
            <a:custGeom>
              <a:avLst/>
              <a:gdLst/>
              <a:ahLst/>
              <a:cxnLst/>
              <a:rect l="l" t="t" r="r" b="b"/>
              <a:pathLst>
                <a:path w="467" h="705" extrusionOk="0">
                  <a:moveTo>
                    <a:pt x="1" y="0"/>
                  </a:moveTo>
                  <a:lnTo>
                    <a:pt x="1" y="705"/>
                  </a:lnTo>
                  <a:lnTo>
                    <a:pt x="467" y="705"/>
                  </a:lnTo>
                  <a:lnTo>
                    <a:pt x="467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2" name="Google Shape;5182;p53">
              <a:extLst>
                <a:ext uri="{FF2B5EF4-FFF2-40B4-BE49-F238E27FC236}">
                  <a16:creationId xmlns:a16="http://schemas.microsoft.com/office/drawing/2014/main" id="{97889748-3F78-0CF8-1296-6A918579C3DF}"/>
                </a:ext>
              </a:extLst>
            </p:cNvPr>
            <p:cNvSpPr/>
            <p:nvPr/>
          </p:nvSpPr>
          <p:spPr>
            <a:xfrm>
              <a:off x="1460200" y="2515975"/>
              <a:ext cx="11675" cy="17625"/>
            </a:xfrm>
            <a:custGeom>
              <a:avLst/>
              <a:gdLst/>
              <a:ahLst/>
              <a:cxnLst/>
              <a:rect l="l" t="t" r="r" b="b"/>
              <a:pathLst>
                <a:path w="467" h="705" extrusionOk="0">
                  <a:moveTo>
                    <a:pt x="1" y="0"/>
                  </a:moveTo>
                  <a:lnTo>
                    <a:pt x="1" y="705"/>
                  </a:lnTo>
                  <a:lnTo>
                    <a:pt x="467" y="705"/>
                  </a:lnTo>
                  <a:lnTo>
                    <a:pt x="467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3" name="Google Shape;5183;p53">
              <a:extLst>
                <a:ext uri="{FF2B5EF4-FFF2-40B4-BE49-F238E27FC236}">
                  <a16:creationId xmlns:a16="http://schemas.microsoft.com/office/drawing/2014/main" id="{667C00AC-F091-8D40-CEA1-249CCABDEAE0}"/>
                </a:ext>
              </a:extLst>
            </p:cNvPr>
            <p:cNvSpPr/>
            <p:nvPr/>
          </p:nvSpPr>
          <p:spPr>
            <a:xfrm>
              <a:off x="1438700" y="2515975"/>
              <a:ext cx="11700" cy="17625"/>
            </a:xfrm>
            <a:custGeom>
              <a:avLst/>
              <a:gdLst/>
              <a:ahLst/>
              <a:cxnLst/>
              <a:rect l="l" t="t" r="r" b="b"/>
              <a:pathLst>
                <a:path w="468" h="705" extrusionOk="0">
                  <a:moveTo>
                    <a:pt x="0" y="0"/>
                  </a:moveTo>
                  <a:lnTo>
                    <a:pt x="0" y="705"/>
                  </a:lnTo>
                  <a:lnTo>
                    <a:pt x="468" y="705"/>
                  </a:lnTo>
                  <a:lnTo>
                    <a:pt x="468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4" name="Google Shape;5184;p53">
              <a:extLst>
                <a:ext uri="{FF2B5EF4-FFF2-40B4-BE49-F238E27FC236}">
                  <a16:creationId xmlns:a16="http://schemas.microsoft.com/office/drawing/2014/main" id="{D232D69D-4ACD-4782-5E4F-BA1AED3AEF53}"/>
                </a:ext>
              </a:extLst>
            </p:cNvPr>
            <p:cNvSpPr/>
            <p:nvPr/>
          </p:nvSpPr>
          <p:spPr>
            <a:xfrm>
              <a:off x="1417225" y="2515975"/>
              <a:ext cx="11675" cy="17625"/>
            </a:xfrm>
            <a:custGeom>
              <a:avLst/>
              <a:gdLst/>
              <a:ahLst/>
              <a:cxnLst/>
              <a:rect l="l" t="t" r="r" b="b"/>
              <a:pathLst>
                <a:path w="467" h="705" extrusionOk="0">
                  <a:moveTo>
                    <a:pt x="0" y="0"/>
                  </a:moveTo>
                  <a:lnTo>
                    <a:pt x="0" y="705"/>
                  </a:lnTo>
                  <a:lnTo>
                    <a:pt x="466" y="705"/>
                  </a:lnTo>
                  <a:lnTo>
                    <a:pt x="466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5" name="Google Shape;5185;p53">
              <a:extLst>
                <a:ext uri="{FF2B5EF4-FFF2-40B4-BE49-F238E27FC236}">
                  <a16:creationId xmlns:a16="http://schemas.microsoft.com/office/drawing/2014/main" id="{45BD92B1-C038-4D7A-E3A3-CACD8F6EB870}"/>
                </a:ext>
              </a:extLst>
            </p:cNvPr>
            <p:cNvSpPr/>
            <p:nvPr/>
          </p:nvSpPr>
          <p:spPr>
            <a:xfrm>
              <a:off x="1395750" y="2515975"/>
              <a:ext cx="11675" cy="17625"/>
            </a:xfrm>
            <a:custGeom>
              <a:avLst/>
              <a:gdLst/>
              <a:ahLst/>
              <a:cxnLst/>
              <a:rect l="l" t="t" r="r" b="b"/>
              <a:pathLst>
                <a:path w="467" h="705" extrusionOk="0">
                  <a:moveTo>
                    <a:pt x="0" y="0"/>
                  </a:moveTo>
                  <a:lnTo>
                    <a:pt x="0" y="705"/>
                  </a:lnTo>
                  <a:lnTo>
                    <a:pt x="466" y="705"/>
                  </a:lnTo>
                  <a:lnTo>
                    <a:pt x="466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6" name="Google Shape;5186;p53">
              <a:extLst>
                <a:ext uri="{FF2B5EF4-FFF2-40B4-BE49-F238E27FC236}">
                  <a16:creationId xmlns:a16="http://schemas.microsoft.com/office/drawing/2014/main" id="{908603D3-740A-05C6-DE11-9D97689B1DB6}"/>
                </a:ext>
              </a:extLst>
            </p:cNvPr>
            <p:cNvSpPr/>
            <p:nvPr/>
          </p:nvSpPr>
          <p:spPr>
            <a:xfrm>
              <a:off x="1374225" y="2515975"/>
              <a:ext cx="11725" cy="17625"/>
            </a:xfrm>
            <a:custGeom>
              <a:avLst/>
              <a:gdLst/>
              <a:ahLst/>
              <a:cxnLst/>
              <a:rect l="l" t="t" r="r" b="b"/>
              <a:pathLst>
                <a:path w="469" h="705" extrusionOk="0">
                  <a:moveTo>
                    <a:pt x="0" y="0"/>
                  </a:moveTo>
                  <a:lnTo>
                    <a:pt x="0" y="705"/>
                  </a:lnTo>
                  <a:lnTo>
                    <a:pt x="468" y="705"/>
                  </a:lnTo>
                  <a:lnTo>
                    <a:pt x="468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7" name="Google Shape;5187;p53">
              <a:extLst>
                <a:ext uri="{FF2B5EF4-FFF2-40B4-BE49-F238E27FC236}">
                  <a16:creationId xmlns:a16="http://schemas.microsoft.com/office/drawing/2014/main" id="{B0A6349D-6B6F-CE96-462F-F8D4357854AF}"/>
                </a:ext>
              </a:extLst>
            </p:cNvPr>
            <p:cNvSpPr/>
            <p:nvPr/>
          </p:nvSpPr>
          <p:spPr>
            <a:xfrm>
              <a:off x="1360875" y="2576925"/>
              <a:ext cx="188275" cy="11150"/>
            </a:xfrm>
            <a:custGeom>
              <a:avLst/>
              <a:gdLst/>
              <a:ahLst/>
              <a:cxnLst/>
              <a:rect l="l" t="t" r="r" b="b"/>
              <a:pathLst>
                <a:path w="7531" h="446" extrusionOk="0">
                  <a:moveTo>
                    <a:pt x="1" y="1"/>
                  </a:moveTo>
                  <a:lnTo>
                    <a:pt x="1" y="445"/>
                  </a:lnTo>
                  <a:lnTo>
                    <a:pt x="7531" y="445"/>
                  </a:lnTo>
                  <a:lnTo>
                    <a:pt x="7531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8" name="Google Shape;5188;p53">
              <a:extLst>
                <a:ext uri="{FF2B5EF4-FFF2-40B4-BE49-F238E27FC236}">
                  <a16:creationId xmlns:a16="http://schemas.microsoft.com/office/drawing/2014/main" id="{F537A9E1-7592-9CF7-D5F6-0A25AB647E34}"/>
                </a:ext>
              </a:extLst>
            </p:cNvPr>
            <p:cNvSpPr/>
            <p:nvPr/>
          </p:nvSpPr>
          <p:spPr>
            <a:xfrm>
              <a:off x="1232125" y="2361475"/>
              <a:ext cx="156225" cy="228650"/>
            </a:xfrm>
            <a:custGeom>
              <a:avLst/>
              <a:gdLst/>
              <a:ahLst/>
              <a:cxnLst/>
              <a:rect l="l" t="t" r="r" b="b"/>
              <a:pathLst>
                <a:path w="6249" h="9146" extrusionOk="0">
                  <a:moveTo>
                    <a:pt x="1246" y="1"/>
                  </a:moveTo>
                  <a:cubicBezTo>
                    <a:pt x="1246" y="1"/>
                    <a:pt x="854" y="8122"/>
                    <a:pt x="1" y="9145"/>
                  </a:cubicBezTo>
                  <a:lnTo>
                    <a:pt x="6248" y="9145"/>
                  </a:lnTo>
                  <a:cubicBezTo>
                    <a:pt x="6248" y="9145"/>
                    <a:pt x="4966" y="6373"/>
                    <a:pt x="4758" y="1"/>
                  </a:cubicBez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9" name="Google Shape;5189;p53">
              <a:extLst>
                <a:ext uri="{FF2B5EF4-FFF2-40B4-BE49-F238E27FC236}">
                  <a16:creationId xmlns:a16="http://schemas.microsoft.com/office/drawing/2014/main" id="{3D650DF6-C85B-DACC-2987-EE93470C617C}"/>
                </a:ext>
              </a:extLst>
            </p:cNvPr>
            <p:cNvSpPr/>
            <p:nvPr/>
          </p:nvSpPr>
          <p:spPr>
            <a:xfrm>
              <a:off x="1310150" y="2361475"/>
              <a:ext cx="76900" cy="225650"/>
            </a:xfrm>
            <a:custGeom>
              <a:avLst/>
              <a:gdLst/>
              <a:ahLst/>
              <a:cxnLst/>
              <a:rect l="l" t="t" r="r" b="b"/>
              <a:pathLst>
                <a:path w="3076" h="9026" extrusionOk="0">
                  <a:moveTo>
                    <a:pt x="1" y="1"/>
                  </a:moveTo>
                  <a:lnTo>
                    <a:pt x="1" y="9026"/>
                  </a:lnTo>
                  <a:lnTo>
                    <a:pt x="3076" y="9026"/>
                  </a:lnTo>
                  <a:cubicBezTo>
                    <a:pt x="3038" y="8944"/>
                    <a:pt x="2987" y="8804"/>
                    <a:pt x="2926" y="8619"/>
                  </a:cubicBezTo>
                  <a:cubicBezTo>
                    <a:pt x="2697" y="7959"/>
                    <a:pt x="2327" y="6684"/>
                    <a:pt x="2037" y="4706"/>
                  </a:cubicBezTo>
                  <a:cubicBezTo>
                    <a:pt x="1934" y="3981"/>
                    <a:pt x="1838" y="3164"/>
                    <a:pt x="1763" y="2247"/>
                  </a:cubicBezTo>
                  <a:cubicBezTo>
                    <a:pt x="1756" y="2186"/>
                    <a:pt x="1749" y="2128"/>
                    <a:pt x="1749" y="2069"/>
                  </a:cubicBezTo>
                  <a:cubicBezTo>
                    <a:pt x="1697" y="1423"/>
                    <a:pt x="1660" y="735"/>
                    <a:pt x="1637" y="1"/>
                  </a:cubicBezTo>
                  <a:close/>
                </a:path>
              </a:pathLst>
            </a:custGeom>
            <a:solidFill>
              <a:srgbClr val="A9645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0" name="Google Shape;5190;p53">
              <a:extLst>
                <a:ext uri="{FF2B5EF4-FFF2-40B4-BE49-F238E27FC236}">
                  <a16:creationId xmlns:a16="http://schemas.microsoft.com/office/drawing/2014/main" id="{BF04A902-D6BE-252A-5DD1-F8753FA9D003}"/>
                </a:ext>
              </a:extLst>
            </p:cNvPr>
            <p:cNvSpPr/>
            <p:nvPr/>
          </p:nvSpPr>
          <p:spPr>
            <a:xfrm>
              <a:off x="1258275" y="2424650"/>
              <a:ext cx="97650" cy="11500"/>
            </a:xfrm>
            <a:custGeom>
              <a:avLst/>
              <a:gdLst/>
              <a:ahLst/>
              <a:cxnLst/>
              <a:rect l="l" t="t" r="r" b="b"/>
              <a:pathLst>
                <a:path w="3906" h="460" extrusionOk="0">
                  <a:moveTo>
                    <a:pt x="38" y="1"/>
                  </a:moveTo>
                  <a:lnTo>
                    <a:pt x="0" y="460"/>
                  </a:lnTo>
                  <a:lnTo>
                    <a:pt x="3906" y="460"/>
                  </a:lnTo>
                  <a:lnTo>
                    <a:pt x="386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1" name="Google Shape;5191;p53">
              <a:extLst>
                <a:ext uri="{FF2B5EF4-FFF2-40B4-BE49-F238E27FC236}">
                  <a16:creationId xmlns:a16="http://schemas.microsoft.com/office/drawing/2014/main" id="{3A24104F-EE59-74AC-4F8D-E651063023A8}"/>
                </a:ext>
              </a:extLst>
            </p:cNvPr>
            <p:cNvSpPr/>
            <p:nvPr/>
          </p:nvSpPr>
          <p:spPr>
            <a:xfrm>
              <a:off x="1254175" y="2469875"/>
              <a:ext cx="107325" cy="11675"/>
            </a:xfrm>
            <a:custGeom>
              <a:avLst/>
              <a:gdLst/>
              <a:ahLst/>
              <a:cxnLst/>
              <a:rect l="l" t="t" r="r" b="b"/>
              <a:pathLst>
                <a:path w="4293" h="467" extrusionOk="0">
                  <a:moveTo>
                    <a:pt x="45" y="0"/>
                  </a:moveTo>
                  <a:lnTo>
                    <a:pt x="1" y="466"/>
                  </a:lnTo>
                  <a:lnTo>
                    <a:pt x="4292" y="466"/>
                  </a:lnTo>
                  <a:lnTo>
                    <a:pt x="4224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2" name="Google Shape;5192;p53">
              <a:extLst>
                <a:ext uri="{FF2B5EF4-FFF2-40B4-BE49-F238E27FC236}">
                  <a16:creationId xmlns:a16="http://schemas.microsoft.com/office/drawing/2014/main" id="{8175FB59-800B-F12A-1B03-B783803B1AE5}"/>
                </a:ext>
              </a:extLst>
            </p:cNvPr>
            <p:cNvSpPr/>
            <p:nvPr/>
          </p:nvSpPr>
          <p:spPr>
            <a:xfrm>
              <a:off x="1263475" y="2361475"/>
              <a:ext cx="88000" cy="13000"/>
            </a:xfrm>
            <a:custGeom>
              <a:avLst/>
              <a:gdLst/>
              <a:ahLst/>
              <a:cxnLst/>
              <a:rect l="l" t="t" r="r" b="b"/>
              <a:pathLst>
                <a:path w="3520" h="520" extrusionOk="0">
                  <a:moveTo>
                    <a:pt x="29" y="1"/>
                  </a:moveTo>
                  <a:lnTo>
                    <a:pt x="1" y="513"/>
                  </a:lnTo>
                  <a:lnTo>
                    <a:pt x="3520" y="520"/>
                  </a:lnTo>
                  <a:lnTo>
                    <a:pt x="350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3" name="Google Shape;5193;p53">
              <a:extLst>
                <a:ext uri="{FF2B5EF4-FFF2-40B4-BE49-F238E27FC236}">
                  <a16:creationId xmlns:a16="http://schemas.microsoft.com/office/drawing/2014/main" id="{B6A5AC18-D91B-B756-3B11-74BA930FBBA4}"/>
                </a:ext>
              </a:extLst>
            </p:cNvPr>
            <p:cNvSpPr/>
            <p:nvPr/>
          </p:nvSpPr>
          <p:spPr>
            <a:xfrm>
              <a:off x="998550" y="2256650"/>
              <a:ext cx="88400" cy="333475"/>
            </a:xfrm>
            <a:custGeom>
              <a:avLst/>
              <a:gdLst/>
              <a:ahLst/>
              <a:cxnLst/>
              <a:rect l="l" t="t" r="r" b="b"/>
              <a:pathLst>
                <a:path w="3536" h="13339" extrusionOk="0">
                  <a:moveTo>
                    <a:pt x="7" y="0"/>
                  </a:moveTo>
                  <a:lnTo>
                    <a:pt x="0" y="13338"/>
                  </a:lnTo>
                  <a:lnTo>
                    <a:pt x="3536" y="13338"/>
                  </a:lnTo>
                  <a:cubicBezTo>
                    <a:pt x="3536" y="13338"/>
                    <a:pt x="3491" y="5773"/>
                    <a:pt x="3395" y="5261"/>
                  </a:cubicBezTo>
                  <a:cubicBezTo>
                    <a:pt x="3306" y="4757"/>
                    <a:pt x="3009" y="3794"/>
                    <a:pt x="2076" y="2757"/>
                  </a:cubicBezTo>
                  <a:cubicBezTo>
                    <a:pt x="1149" y="1711"/>
                    <a:pt x="7" y="0"/>
                    <a:pt x="7" y="0"/>
                  </a:cubicBez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4" name="Google Shape;5194;p53">
              <a:extLst>
                <a:ext uri="{FF2B5EF4-FFF2-40B4-BE49-F238E27FC236}">
                  <a16:creationId xmlns:a16="http://schemas.microsoft.com/office/drawing/2014/main" id="{506706BC-C925-522D-4DDE-83F31E94E533}"/>
                </a:ext>
              </a:extLst>
            </p:cNvPr>
            <p:cNvSpPr/>
            <p:nvPr/>
          </p:nvSpPr>
          <p:spPr>
            <a:xfrm>
              <a:off x="998725" y="2256650"/>
              <a:ext cx="88225" cy="330475"/>
            </a:xfrm>
            <a:custGeom>
              <a:avLst/>
              <a:gdLst/>
              <a:ahLst/>
              <a:cxnLst/>
              <a:rect l="l" t="t" r="r" b="b"/>
              <a:pathLst>
                <a:path w="3529" h="13219" extrusionOk="0">
                  <a:moveTo>
                    <a:pt x="0" y="0"/>
                  </a:moveTo>
                  <a:lnTo>
                    <a:pt x="1275" y="2853"/>
                  </a:lnTo>
                  <a:cubicBezTo>
                    <a:pt x="1334" y="2972"/>
                    <a:pt x="2261" y="4839"/>
                    <a:pt x="2268" y="6810"/>
                  </a:cubicBezTo>
                  <a:lnTo>
                    <a:pt x="2328" y="13219"/>
                  </a:lnTo>
                  <a:lnTo>
                    <a:pt x="3529" y="13219"/>
                  </a:lnTo>
                  <a:cubicBezTo>
                    <a:pt x="3529" y="12931"/>
                    <a:pt x="3521" y="12122"/>
                    <a:pt x="3513" y="11122"/>
                  </a:cubicBezTo>
                  <a:lnTo>
                    <a:pt x="3513" y="11040"/>
                  </a:lnTo>
                  <a:cubicBezTo>
                    <a:pt x="3505" y="10619"/>
                    <a:pt x="3505" y="10158"/>
                    <a:pt x="3498" y="9699"/>
                  </a:cubicBezTo>
                  <a:lnTo>
                    <a:pt x="3498" y="9618"/>
                  </a:lnTo>
                  <a:cubicBezTo>
                    <a:pt x="3491" y="9269"/>
                    <a:pt x="3491" y="8913"/>
                    <a:pt x="3484" y="8574"/>
                  </a:cubicBezTo>
                  <a:cubicBezTo>
                    <a:pt x="3484" y="8431"/>
                    <a:pt x="3477" y="8298"/>
                    <a:pt x="3477" y="8158"/>
                  </a:cubicBezTo>
                  <a:cubicBezTo>
                    <a:pt x="3454" y="6706"/>
                    <a:pt x="3424" y="5462"/>
                    <a:pt x="3388" y="5261"/>
                  </a:cubicBezTo>
                  <a:lnTo>
                    <a:pt x="3388" y="5254"/>
                  </a:lnTo>
                  <a:cubicBezTo>
                    <a:pt x="3299" y="4741"/>
                    <a:pt x="2995" y="3786"/>
                    <a:pt x="2069" y="2757"/>
                  </a:cubicBezTo>
                  <a:cubicBezTo>
                    <a:pt x="1142" y="171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A9645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5" name="Google Shape;5195;p53">
              <a:extLst>
                <a:ext uri="{FF2B5EF4-FFF2-40B4-BE49-F238E27FC236}">
                  <a16:creationId xmlns:a16="http://schemas.microsoft.com/office/drawing/2014/main" id="{A44E26DE-B7D6-F556-8BD6-37FD13280381}"/>
                </a:ext>
              </a:extLst>
            </p:cNvPr>
            <p:cNvSpPr/>
            <p:nvPr/>
          </p:nvSpPr>
          <p:spPr>
            <a:xfrm>
              <a:off x="998725" y="2394300"/>
              <a:ext cx="85825" cy="15750"/>
            </a:xfrm>
            <a:custGeom>
              <a:avLst/>
              <a:gdLst/>
              <a:ahLst/>
              <a:cxnLst/>
              <a:rect l="l" t="t" r="r" b="b"/>
              <a:pathLst>
                <a:path w="3433" h="630" extrusionOk="0">
                  <a:moveTo>
                    <a:pt x="0" y="0"/>
                  </a:moveTo>
                  <a:lnTo>
                    <a:pt x="0" y="630"/>
                  </a:lnTo>
                  <a:lnTo>
                    <a:pt x="3433" y="630"/>
                  </a:lnTo>
                  <a:lnTo>
                    <a:pt x="3433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6" name="Google Shape;5196;p53">
              <a:extLst>
                <a:ext uri="{FF2B5EF4-FFF2-40B4-BE49-F238E27FC236}">
                  <a16:creationId xmlns:a16="http://schemas.microsoft.com/office/drawing/2014/main" id="{D40908D2-4DA3-19CD-16D4-7DA7687CD9A8}"/>
                </a:ext>
              </a:extLst>
            </p:cNvPr>
            <p:cNvSpPr/>
            <p:nvPr/>
          </p:nvSpPr>
          <p:spPr>
            <a:xfrm>
              <a:off x="998550" y="2439100"/>
              <a:ext cx="87125" cy="3725"/>
            </a:xfrm>
            <a:custGeom>
              <a:avLst/>
              <a:gdLst/>
              <a:ahLst/>
              <a:cxnLst/>
              <a:rect l="l" t="t" r="r" b="b"/>
              <a:pathLst>
                <a:path w="3485" h="149" extrusionOk="0">
                  <a:moveTo>
                    <a:pt x="0" y="1"/>
                  </a:moveTo>
                  <a:lnTo>
                    <a:pt x="0" y="148"/>
                  </a:lnTo>
                  <a:lnTo>
                    <a:pt x="3484" y="148"/>
                  </a:lnTo>
                  <a:lnTo>
                    <a:pt x="348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7" name="Google Shape;5197;p53">
              <a:extLst>
                <a:ext uri="{FF2B5EF4-FFF2-40B4-BE49-F238E27FC236}">
                  <a16:creationId xmlns:a16="http://schemas.microsoft.com/office/drawing/2014/main" id="{62C2123F-DFE6-4B2C-DCD5-423A11378476}"/>
                </a:ext>
              </a:extLst>
            </p:cNvPr>
            <p:cNvSpPr/>
            <p:nvPr/>
          </p:nvSpPr>
          <p:spPr>
            <a:xfrm>
              <a:off x="998550" y="2447825"/>
              <a:ext cx="87125" cy="3700"/>
            </a:xfrm>
            <a:custGeom>
              <a:avLst/>
              <a:gdLst/>
              <a:ahLst/>
              <a:cxnLst/>
              <a:rect l="l" t="t" r="r" b="b"/>
              <a:pathLst>
                <a:path w="3485" h="148" extrusionOk="0">
                  <a:moveTo>
                    <a:pt x="0" y="0"/>
                  </a:moveTo>
                  <a:lnTo>
                    <a:pt x="0" y="148"/>
                  </a:lnTo>
                  <a:lnTo>
                    <a:pt x="3484" y="148"/>
                  </a:lnTo>
                  <a:lnTo>
                    <a:pt x="3484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8" name="Google Shape;5198;p53">
              <a:extLst>
                <a:ext uri="{FF2B5EF4-FFF2-40B4-BE49-F238E27FC236}">
                  <a16:creationId xmlns:a16="http://schemas.microsoft.com/office/drawing/2014/main" id="{BBB2235D-2B77-F958-FE84-7759ABE26303}"/>
                </a:ext>
              </a:extLst>
            </p:cNvPr>
            <p:cNvSpPr/>
            <p:nvPr/>
          </p:nvSpPr>
          <p:spPr>
            <a:xfrm>
              <a:off x="998550" y="2456525"/>
              <a:ext cx="87125" cy="3725"/>
            </a:xfrm>
            <a:custGeom>
              <a:avLst/>
              <a:gdLst/>
              <a:ahLst/>
              <a:cxnLst/>
              <a:rect l="l" t="t" r="r" b="b"/>
              <a:pathLst>
                <a:path w="3485" h="149" extrusionOk="0">
                  <a:moveTo>
                    <a:pt x="0" y="1"/>
                  </a:moveTo>
                  <a:lnTo>
                    <a:pt x="0" y="148"/>
                  </a:lnTo>
                  <a:lnTo>
                    <a:pt x="3484" y="148"/>
                  </a:lnTo>
                  <a:lnTo>
                    <a:pt x="348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9" name="Google Shape;5199;p53">
              <a:extLst>
                <a:ext uri="{FF2B5EF4-FFF2-40B4-BE49-F238E27FC236}">
                  <a16:creationId xmlns:a16="http://schemas.microsoft.com/office/drawing/2014/main" id="{C80DF396-C797-DB48-63C5-B99555A8501A}"/>
                </a:ext>
              </a:extLst>
            </p:cNvPr>
            <p:cNvSpPr/>
            <p:nvPr/>
          </p:nvSpPr>
          <p:spPr>
            <a:xfrm>
              <a:off x="998550" y="2465200"/>
              <a:ext cx="87125" cy="3750"/>
            </a:xfrm>
            <a:custGeom>
              <a:avLst/>
              <a:gdLst/>
              <a:ahLst/>
              <a:cxnLst/>
              <a:rect l="l" t="t" r="r" b="b"/>
              <a:pathLst>
                <a:path w="3485" h="150" extrusionOk="0">
                  <a:moveTo>
                    <a:pt x="0" y="1"/>
                  </a:moveTo>
                  <a:lnTo>
                    <a:pt x="0" y="150"/>
                  </a:lnTo>
                  <a:lnTo>
                    <a:pt x="3484" y="150"/>
                  </a:lnTo>
                  <a:lnTo>
                    <a:pt x="348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0" name="Google Shape;5200;p53">
              <a:extLst>
                <a:ext uri="{FF2B5EF4-FFF2-40B4-BE49-F238E27FC236}">
                  <a16:creationId xmlns:a16="http://schemas.microsoft.com/office/drawing/2014/main" id="{E9397ECF-6A35-B42E-FBA9-1ADFFE37C178}"/>
                </a:ext>
              </a:extLst>
            </p:cNvPr>
            <p:cNvSpPr/>
            <p:nvPr/>
          </p:nvSpPr>
          <p:spPr>
            <a:xfrm>
              <a:off x="998550" y="2473925"/>
              <a:ext cx="87125" cy="3750"/>
            </a:xfrm>
            <a:custGeom>
              <a:avLst/>
              <a:gdLst/>
              <a:ahLst/>
              <a:cxnLst/>
              <a:rect l="l" t="t" r="r" b="b"/>
              <a:pathLst>
                <a:path w="3485" h="150" extrusionOk="0">
                  <a:moveTo>
                    <a:pt x="0" y="0"/>
                  </a:moveTo>
                  <a:lnTo>
                    <a:pt x="0" y="150"/>
                  </a:lnTo>
                  <a:lnTo>
                    <a:pt x="3484" y="150"/>
                  </a:lnTo>
                  <a:lnTo>
                    <a:pt x="3484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1" name="Google Shape;5201;p53">
              <a:extLst>
                <a:ext uri="{FF2B5EF4-FFF2-40B4-BE49-F238E27FC236}">
                  <a16:creationId xmlns:a16="http://schemas.microsoft.com/office/drawing/2014/main" id="{B75684CB-4689-50FF-DD4E-67915D8421D6}"/>
                </a:ext>
              </a:extLst>
            </p:cNvPr>
            <p:cNvSpPr/>
            <p:nvPr/>
          </p:nvSpPr>
          <p:spPr>
            <a:xfrm>
              <a:off x="1267175" y="2240900"/>
              <a:ext cx="35000" cy="35200"/>
            </a:xfrm>
            <a:custGeom>
              <a:avLst/>
              <a:gdLst/>
              <a:ahLst/>
              <a:cxnLst/>
              <a:rect l="l" t="t" r="r" b="b"/>
              <a:pathLst>
                <a:path w="1400" h="1408" extrusionOk="0">
                  <a:moveTo>
                    <a:pt x="697" y="1"/>
                  </a:moveTo>
                  <a:cubicBezTo>
                    <a:pt x="311" y="1"/>
                    <a:pt x="0" y="319"/>
                    <a:pt x="0" y="703"/>
                  </a:cubicBezTo>
                  <a:cubicBezTo>
                    <a:pt x="0" y="1089"/>
                    <a:pt x="311" y="1407"/>
                    <a:pt x="697" y="1407"/>
                  </a:cubicBezTo>
                  <a:cubicBezTo>
                    <a:pt x="1088" y="1407"/>
                    <a:pt x="1400" y="1089"/>
                    <a:pt x="1400" y="703"/>
                  </a:cubicBezTo>
                  <a:cubicBezTo>
                    <a:pt x="1400" y="319"/>
                    <a:pt x="1088" y="1"/>
                    <a:pt x="697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2" name="Google Shape;5202;p53">
              <a:extLst>
                <a:ext uri="{FF2B5EF4-FFF2-40B4-BE49-F238E27FC236}">
                  <a16:creationId xmlns:a16="http://schemas.microsoft.com/office/drawing/2014/main" id="{063F3C51-57CB-E3FF-0000-34CA8157BCF6}"/>
                </a:ext>
              </a:extLst>
            </p:cNvPr>
            <p:cNvSpPr/>
            <p:nvPr/>
          </p:nvSpPr>
          <p:spPr>
            <a:xfrm>
              <a:off x="1123775" y="2239225"/>
              <a:ext cx="22275" cy="22250"/>
            </a:xfrm>
            <a:custGeom>
              <a:avLst/>
              <a:gdLst/>
              <a:ahLst/>
              <a:cxnLst/>
              <a:rect l="l" t="t" r="r" b="b"/>
              <a:pathLst>
                <a:path w="891" h="890" extrusionOk="0">
                  <a:moveTo>
                    <a:pt x="445" y="0"/>
                  </a:moveTo>
                  <a:cubicBezTo>
                    <a:pt x="200" y="0"/>
                    <a:pt x="1" y="201"/>
                    <a:pt x="1" y="445"/>
                  </a:cubicBezTo>
                  <a:cubicBezTo>
                    <a:pt x="1" y="697"/>
                    <a:pt x="200" y="889"/>
                    <a:pt x="445" y="889"/>
                  </a:cubicBezTo>
                  <a:cubicBezTo>
                    <a:pt x="689" y="889"/>
                    <a:pt x="890" y="697"/>
                    <a:pt x="890" y="445"/>
                  </a:cubicBezTo>
                  <a:cubicBezTo>
                    <a:pt x="890" y="201"/>
                    <a:pt x="689" y="0"/>
                    <a:pt x="445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3" name="Google Shape;5203;p53">
              <a:extLst>
                <a:ext uri="{FF2B5EF4-FFF2-40B4-BE49-F238E27FC236}">
                  <a16:creationId xmlns:a16="http://schemas.microsoft.com/office/drawing/2014/main" id="{99D262A6-73B1-3284-A956-E90D3CEE9FB8}"/>
                </a:ext>
              </a:extLst>
            </p:cNvPr>
            <p:cNvSpPr/>
            <p:nvPr/>
          </p:nvSpPr>
          <p:spPr>
            <a:xfrm>
              <a:off x="1139000" y="2197150"/>
              <a:ext cx="43150" cy="43025"/>
            </a:xfrm>
            <a:custGeom>
              <a:avLst/>
              <a:gdLst/>
              <a:ahLst/>
              <a:cxnLst/>
              <a:rect l="l" t="t" r="r" b="b"/>
              <a:pathLst>
                <a:path w="1726" h="1721" extrusionOk="0">
                  <a:moveTo>
                    <a:pt x="866" y="1"/>
                  </a:moveTo>
                  <a:cubicBezTo>
                    <a:pt x="391" y="1"/>
                    <a:pt x="0" y="387"/>
                    <a:pt x="0" y="862"/>
                  </a:cubicBezTo>
                  <a:cubicBezTo>
                    <a:pt x="0" y="1335"/>
                    <a:pt x="391" y="1720"/>
                    <a:pt x="866" y="1720"/>
                  </a:cubicBezTo>
                  <a:cubicBezTo>
                    <a:pt x="1341" y="1720"/>
                    <a:pt x="1725" y="1335"/>
                    <a:pt x="1725" y="862"/>
                  </a:cubicBezTo>
                  <a:cubicBezTo>
                    <a:pt x="1725" y="387"/>
                    <a:pt x="1341" y="1"/>
                    <a:pt x="866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4" name="Google Shape;5204;p53">
              <a:extLst>
                <a:ext uri="{FF2B5EF4-FFF2-40B4-BE49-F238E27FC236}">
                  <a16:creationId xmlns:a16="http://schemas.microsoft.com/office/drawing/2014/main" id="{9B328E4C-53BF-4E88-8035-8EA9398EBE27}"/>
                </a:ext>
              </a:extLst>
            </p:cNvPr>
            <p:cNvSpPr/>
            <p:nvPr/>
          </p:nvSpPr>
          <p:spPr>
            <a:xfrm>
              <a:off x="1250850" y="2278125"/>
              <a:ext cx="14875" cy="14650"/>
            </a:xfrm>
            <a:custGeom>
              <a:avLst/>
              <a:gdLst/>
              <a:ahLst/>
              <a:cxnLst/>
              <a:rect l="l" t="t" r="r" b="b"/>
              <a:pathLst>
                <a:path w="595" h="586" extrusionOk="0">
                  <a:moveTo>
                    <a:pt x="297" y="0"/>
                  </a:moveTo>
                  <a:cubicBezTo>
                    <a:pt x="134" y="0"/>
                    <a:pt x="0" y="134"/>
                    <a:pt x="0" y="297"/>
                  </a:cubicBezTo>
                  <a:cubicBezTo>
                    <a:pt x="0" y="455"/>
                    <a:pt x="127" y="586"/>
                    <a:pt x="285" y="586"/>
                  </a:cubicBezTo>
                  <a:cubicBezTo>
                    <a:pt x="289" y="586"/>
                    <a:pt x="293" y="585"/>
                    <a:pt x="297" y="585"/>
                  </a:cubicBezTo>
                  <a:cubicBezTo>
                    <a:pt x="461" y="585"/>
                    <a:pt x="594" y="452"/>
                    <a:pt x="594" y="290"/>
                  </a:cubicBezTo>
                  <a:cubicBezTo>
                    <a:pt x="594" y="126"/>
                    <a:pt x="461" y="0"/>
                    <a:pt x="297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5" name="Google Shape;5205;p53">
              <a:extLst>
                <a:ext uri="{FF2B5EF4-FFF2-40B4-BE49-F238E27FC236}">
                  <a16:creationId xmlns:a16="http://schemas.microsoft.com/office/drawing/2014/main" id="{D5D2C18A-DB64-897F-04CB-529D0DC86B16}"/>
                </a:ext>
              </a:extLst>
            </p:cNvPr>
            <p:cNvSpPr/>
            <p:nvPr/>
          </p:nvSpPr>
          <p:spPr>
            <a:xfrm>
              <a:off x="1423700" y="2188075"/>
              <a:ext cx="164350" cy="71525"/>
            </a:xfrm>
            <a:custGeom>
              <a:avLst/>
              <a:gdLst/>
              <a:ahLst/>
              <a:cxnLst/>
              <a:rect l="l" t="t" r="r" b="b"/>
              <a:pathLst>
                <a:path w="6574" h="2861" extrusionOk="0">
                  <a:moveTo>
                    <a:pt x="3078" y="1"/>
                  </a:moveTo>
                  <a:cubicBezTo>
                    <a:pt x="3067" y="1"/>
                    <a:pt x="3056" y="1"/>
                    <a:pt x="3045" y="1"/>
                  </a:cubicBezTo>
                  <a:cubicBezTo>
                    <a:pt x="2512" y="8"/>
                    <a:pt x="2083" y="401"/>
                    <a:pt x="2001" y="904"/>
                  </a:cubicBezTo>
                  <a:cubicBezTo>
                    <a:pt x="1964" y="904"/>
                    <a:pt x="1927" y="897"/>
                    <a:pt x="1889" y="897"/>
                  </a:cubicBezTo>
                  <a:cubicBezTo>
                    <a:pt x="1431" y="913"/>
                    <a:pt x="1068" y="1283"/>
                    <a:pt x="1061" y="1735"/>
                  </a:cubicBezTo>
                  <a:cubicBezTo>
                    <a:pt x="534" y="1891"/>
                    <a:pt x="127" y="2327"/>
                    <a:pt x="1" y="2861"/>
                  </a:cubicBezTo>
                  <a:lnTo>
                    <a:pt x="6574" y="2743"/>
                  </a:lnTo>
                  <a:cubicBezTo>
                    <a:pt x="6390" y="2086"/>
                    <a:pt x="6007" y="1601"/>
                    <a:pt x="5306" y="1601"/>
                  </a:cubicBezTo>
                  <a:cubicBezTo>
                    <a:pt x="5296" y="1601"/>
                    <a:pt x="5286" y="1601"/>
                    <a:pt x="5275" y="1602"/>
                  </a:cubicBezTo>
                  <a:lnTo>
                    <a:pt x="5217" y="1602"/>
                  </a:lnTo>
                  <a:cubicBezTo>
                    <a:pt x="5210" y="1101"/>
                    <a:pt x="4802" y="698"/>
                    <a:pt x="4305" y="698"/>
                  </a:cubicBezTo>
                  <a:cubicBezTo>
                    <a:pt x="4295" y="698"/>
                    <a:pt x="4286" y="698"/>
                    <a:pt x="4276" y="698"/>
                  </a:cubicBezTo>
                  <a:cubicBezTo>
                    <a:pt x="4208" y="698"/>
                    <a:pt x="4150" y="705"/>
                    <a:pt x="4084" y="719"/>
                  </a:cubicBezTo>
                  <a:cubicBezTo>
                    <a:pt x="3938" y="301"/>
                    <a:pt x="3545" y="1"/>
                    <a:pt x="3078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6" name="Google Shape;5206;p53">
              <a:extLst>
                <a:ext uri="{FF2B5EF4-FFF2-40B4-BE49-F238E27FC236}">
                  <a16:creationId xmlns:a16="http://schemas.microsoft.com/office/drawing/2014/main" id="{0F41824C-071F-19A7-B5BD-8C735D7C784F}"/>
                </a:ext>
              </a:extLst>
            </p:cNvPr>
            <p:cNvSpPr/>
            <p:nvPr/>
          </p:nvSpPr>
          <p:spPr>
            <a:xfrm>
              <a:off x="1423700" y="2187725"/>
              <a:ext cx="165650" cy="71175"/>
            </a:xfrm>
            <a:custGeom>
              <a:avLst/>
              <a:gdLst/>
              <a:ahLst/>
              <a:cxnLst/>
              <a:rect l="l" t="t" r="r" b="b"/>
              <a:pathLst>
                <a:path w="6626" h="2847" extrusionOk="0">
                  <a:moveTo>
                    <a:pt x="3085" y="1"/>
                  </a:moveTo>
                  <a:cubicBezTo>
                    <a:pt x="3079" y="1"/>
                    <a:pt x="3074" y="1"/>
                    <a:pt x="3068" y="1"/>
                  </a:cubicBezTo>
                  <a:cubicBezTo>
                    <a:pt x="2535" y="8"/>
                    <a:pt x="2097" y="394"/>
                    <a:pt x="2016" y="904"/>
                  </a:cubicBezTo>
                  <a:cubicBezTo>
                    <a:pt x="1978" y="897"/>
                    <a:pt x="1941" y="897"/>
                    <a:pt x="1905" y="897"/>
                  </a:cubicBezTo>
                  <a:cubicBezTo>
                    <a:pt x="1445" y="897"/>
                    <a:pt x="1075" y="1267"/>
                    <a:pt x="1068" y="1728"/>
                  </a:cubicBezTo>
                  <a:cubicBezTo>
                    <a:pt x="541" y="1875"/>
                    <a:pt x="127" y="2306"/>
                    <a:pt x="1" y="2846"/>
                  </a:cubicBezTo>
                  <a:lnTo>
                    <a:pt x="6625" y="2764"/>
                  </a:lnTo>
                  <a:cubicBezTo>
                    <a:pt x="6449" y="2109"/>
                    <a:pt x="6009" y="1615"/>
                    <a:pt x="5300" y="1615"/>
                  </a:cubicBezTo>
                  <a:cubicBezTo>
                    <a:pt x="5294" y="1615"/>
                    <a:pt x="5289" y="1615"/>
                    <a:pt x="5284" y="1616"/>
                  </a:cubicBezTo>
                  <a:lnTo>
                    <a:pt x="5224" y="1616"/>
                  </a:lnTo>
                  <a:cubicBezTo>
                    <a:pt x="5224" y="1111"/>
                    <a:pt x="4811" y="705"/>
                    <a:pt x="4307" y="705"/>
                  </a:cubicBezTo>
                  <a:cubicBezTo>
                    <a:pt x="4301" y="705"/>
                    <a:pt x="4296" y="705"/>
                    <a:pt x="4290" y="705"/>
                  </a:cubicBezTo>
                  <a:cubicBezTo>
                    <a:pt x="4224" y="705"/>
                    <a:pt x="4164" y="712"/>
                    <a:pt x="4098" y="726"/>
                  </a:cubicBezTo>
                  <a:cubicBezTo>
                    <a:pt x="3952" y="301"/>
                    <a:pt x="3551" y="1"/>
                    <a:pt x="3085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7" name="Google Shape;5207;p53">
              <a:extLst>
                <a:ext uri="{FF2B5EF4-FFF2-40B4-BE49-F238E27FC236}">
                  <a16:creationId xmlns:a16="http://schemas.microsoft.com/office/drawing/2014/main" id="{D04708BE-F41A-5AE0-E930-BBFF00DD17B2}"/>
                </a:ext>
              </a:extLst>
            </p:cNvPr>
            <p:cNvSpPr/>
            <p:nvPr/>
          </p:nvSpPr>
          <p:spPr>
            <a:xfrm>
              <a:off x="1471325" y="2209950"/>
              <a:ext cx="18150" cy="36125"/>
            </a:xfrm>
            <a:custGeom>
              <a:avLst/>
              <a:gdLst/>
              <a:ahLst/>
              <a:cxnLst/>
              <a:rect l="l" t="t" r="r" b="b"/>
              <a:pathLst>
                <a:path w="726" h="1445" extrusionOk="0">
                  <a:moveTo>
                    <a:pt x="0" y="1"/>
                  </a:moveTo>
                  <a:cubicBezTo>
                    <a:pt x="0" y="1"/>
                    <a:pt x="578" y="186"/>
                    <a:pt x="548" y="719"/>
                  </a:cubicBezTo>
                  <a:cubicBezTo>
                    <a:pt x="518" y="1312"/>
                    <a:pt x="0" y="1445"/>
                    <a:pt x="0" y="1445"/>
                  </a:cubicBezTo>
                  <a:cubicBezTo>
                    <a:pt x="401" y="1445"/>
                    <a:pt x="726" y="1120"/>
                    <a:pt x="726" y="719"/>
                  </a:cubicBezTo>
                  <a:cubicBezTo>
                    <a:pt x="726" y="326"/>
                    <a:pt x="401" y="1"/>
                    <a:pt x="0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8" name="Google Shape;5208;p53">
              <a:extLst>
                <a:ext uri="{FF2B5EF4-FFF2-40B4-BE49-F238E27FC236}">
                  <a16:creationId xmlns:a16="http://schemas.microsoft.com/office/drawing/2014/main" id="{8E71446E-9BEF-8733-5FDB-1F8C69CFC288}"/>
                </a:ext>
              </a:extLst>
            </p:cNvPr>
            <p:cNvSpPr/>
            <p:nvPr/>
          </p:nvSpPr>
          <p:spPr>
            <a:xfrm>
              <a:off x="1533575" y="2227925"/>
              <a:ext cx="53550" cy="27050"/>
            </a:xfrm>
            <a:custGeom>
              <a:avLst/>
              <a:gdLst/>
              <a:ahLst/>
              <a:cxnLst/>
              <a:rect l="l" t="t" r="r" b="b"/>
              <a:pathLst>
                <a:path w="2142" h="1082" extrusionOk="0">
                  <a:moveTo>
                    <a:pt x="1068" y="0"/>
                  </a:moveTo>
                  <a:cubicBezTo>
                    <a:pt x="489" y="0"/>
                    <a:pt x="7" y="471"/>
                    <a:pt x="0" y="1053"/>
                  </a:cubicBezTo>
                  <a:cubicBezTo>
                    <a:pt x="0" y="1053"/>
                    <a:pt x="272" y="206"/>
                    <a:pt x="1007" y="206"/>
                  </a:cubicBezTo>
                  <a:cubicBezTo>
                    <a:pt x="1029" y="206"/>
                    <a:pt x="1052" y="207"/>
                    <a:pt x="1074" y="208"/>
                  </a:cubicBezTo>
                  <a:cubicBezTo>
                    <a:pt x="1947" y="274"/>
                    <a:pt x="2134" y="1082"/>
                    <a:pt x="2134" y="1082"/>
                  </a:cubicBezTo>
                  <a:cubicBezTo>
                    <a:pt x="2141" y="497"/>
                    <a:pt x="1674" y="15"/>
                    <a:pt x="1081" y="0"/>
                  </a:cubicBezTo>
                  <a:cubicBezTo>
                    <a:pt x="1077" y="0"/>
                    <a:pt x="1073" y="0"/>
                    <a:pt x="1068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9" name="Google Shape;5209;p53">
              <a:extLst>
                <a:ext uri="{FF2B5EF4-FFF2-40B4-BE49-F238E27FC236}">
                  <a16:creationId xmlns:a16="http://schemas.microsoft.com/office/drawing/2014/main" id="{DC70D54D-4C7F-090F-3DF4-037A8D60585C}"/>
                </a:ext>
              </a:extLst>
            </p:cNvPr>
            <p:cNvSpPr/>
            <p:nvPr/>
          </p:nvSpPr>
          <p:spPr>
            <a:xfrm>
              <a:off x="1162875" y="2146425"/>
              <a:ext cx="77275" cy="40575"/>
            </a:xfrm>
            <a:custGeom>
              <a:avLst/>
              <a:gdLst/>
              <a:ahLst/>
              <a:cxnLst/>
              <a:rect l="l" t="t" r="r" b="b"/>
              <a:pathLst>
                <a:path w="3091" h="1623" extrusionOk="0">
                  <a:moveTo>
                    <a:pt x="807" y="1"/>
                  </a:moveTo>
                  <a:cubicBezTo>
                    <a:pt x="363" y="1"/>
                    <a:pt x="0" y="363"/>
                    <a:pt x="0" y="815"/>
                  </a:cubicBezTo>
                  <a:cubicBezTo>
                    <a:pt x="0" y="1260"/>
                    <a:pt x="363" y="1623"/>
                    <a:pt x="807" y="1623"/>
                  </a:cubicBezTo>
                  <a:lnTo>
                    <a:pt x="2275" y="1623"/>
                  </a:lnTo>
                  <a:cubicBezTo>
                    <a:pt x="2726" y="1623"/>
                    <a:pt x="3091" y="1260"/>
                    <a:pt x="3091" y="815"/>
                  </a:cubicBezTo>
                  <a:cubicBezTo>
                    <a:pt x="3091" y="363"/>
                    <a:pt x="2726" y="1"/>
                    <a:pt x="227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0" name="Google Shape;5210;p53">
              <a:extLst>
                <a:ext uri="{FF2B5EF4-FFF2-40B4-BE49-F238E27FC236}">
                  <a16:creationId xmlns:a16="http://schemas.microsoft.com/office/drawing/2014/main" id="{BEE423D4-2382-001D-D00C-FF3A49DA0633}"/>
                </a:ext>
              </a:extLst>
            </p:cNvPr>
            <p:cNvSpPr/>
            <p:nvPr/>
          </p:nvSpPr>
          <p:spPr>
            <a:xfrm>
              <a:off x="1136775" y="1958600"/>
              <a:ext cx="77250" cy="40550"/>
            </a:xfrm>
            <a:custGeom>
              <a:avLst/>
              <a:gdLst/>
              <a:ahLst/>
              <a:cxnLst/>
              <a:rect l="l" t="t" r="r" b="b"/>
              <a:pathLst>
                <a:path w="3090" h="1622" extrusionOk="0">
                  <a:moveTo>
                    <a:pt x="808" y="0"/>
                  </a:moveTo>
                  <a:cubicBezTo>
                    <a:pt x="363" y="0"/>
                    <a:pt x="0" y="363"/>
                    <a:pt x="0" y="815"/>
                  </a:cubicBezTo>
                  <a:cubicBezTo>
                    <a:pt x="0" y="1259"/>
                    <a:pt x="363" y="1622"/>
                    <a:pt x="808" y="1622"/>
                  </a:cubicBezTo>
                  <a:lnTo>
                    <a:pt x="2282" y="1622"/>
                  </a:lnTo>
                  <a:cubicBezTo>
                    <a:pt x="2726" y="1622"/>
                    <a:pt x="3089" y="1259"/>
                    <a:pt x="3089" y="815"/>
                  </a:cubicBezTo>
                  <a:cubicBezTo>
                    <a:pt x="3089" y="363"/>
                    <a:pt x="2726" y="0"/>
                    <a:pt x="2282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1" name="Google Shape;5211;p53">
              <a:extLst>
                <a:ext uri="{FF2B5EF4-FFF2-40B4-BE49-F238E27FC236}">
                  <a16:creationId xmlns:a16="http://schemas.microsoft.com/office/drawing/2014/main" id="{AE8CB4AF-E293-5AF9-23F2-46477EF22404}"/>
                </a:ext>
              </a:extLst>
            </p:cNvPr>
            <p:cNvSpPr/>
            <p:nvPr/>
          </p:nvSpPr>
          <p:spPr>
            <a:xfrm>
              <a:off x="1001175" y="2198450"/>
              <a:ext cx="37975" cy="40625"/>
            </a:xfrm>
            <a:custGeom>
              <a:avLst/>
              <a:gdLst/>
              <a:ahLst/>
              <a:cxnLst/>
              <a:rect l="l" t="t" r="r" b="b"/>
              <a:pathLst>
                <a:path w="1519" h="1625" extrusionOk="0">
                  <a:moveTo>
                    <a:pt x="0" y="0"/>
                  </a:moveTo>
                  <a:lnTo>
                    <a:pt x="0" y="1624"/>
                  </a:lnTo>
                  <a:lnTo>
                    <a:pt x="703" y="1624"/>
                  </a:lnTo>
                  <a:cubicBezTo>
                    <a:pt x="1156" y="1624"/>
                    <a:pt x="1519" y="1254"/>
                    <a:pt x="1519" y="810"/>
                  </a:cubicBezTo>
                  <a:cubicBezTo>
                    <a:pt x="1519" y="365"/>
                    <a:pt x="1156" y="0"/>
                    <a:pt x="703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2" name="Google Shape;5212;p53">
              <a:extLst>
                <a:ext uri="{FF2B5EF4-FFF2-40B4-BE49-F238E27FC236}">
                  <a16:creationId xmlns:a16="http://schemas.microsoft.com/office/drawing/2014/main" id="{ABD76871-DDC4-88A6-01F5-C35BCBBCEAC8}"/>
                </a:ext>
              </a:extLst>
            </p:cNvPr>
            <p:cNvSpPr/>
            <p:nvPr/>
          </p:nvSpPr>
          <p:spPr>
            <a:xfrm>
              <a:off x="1222875" y="2077875"/>
              <a:ext cx="123575" cy="64850"/>
            </a:xfrm>
            <a:custGeom>
              <a:avLst/>
              <a:gdLst/>
              <a:ahLst/>
              <a:cxnLst/>
              <a:rect l="l" t="t" r="r" b="b"/>
              <a:pathLst>
                <a:path w="4943" h="2594" extrusionOk="0">
                  <a:moveTo>
                    <a:pt x="1297" y="0"/>
                  </a:moveTo>
                  <a:cubicBezTo>
                    <a:pt x="586" y="0"/>
                    <a:pt x="1" y="578"/>
                    <a:pt x="1" y="1297"/>
                  </a:cubicBezTo>
                  <a:cubicBezTo>
                    <a:pt x="1" y="2008"/>
                    <a:pt x="586" y="2593"/>
                    <a:pt x="1297" y="2593"/>
                  </a:cubicBezTo>
                  <a:lnTo>
                    <a:pt x="3647" y="2593"/>
                  </a:lnTo>
                  <a:cubicBezTo>
                    <a:pt x="4358" y="2593"/>
                    <a:pt x="4943" y="2008"/>
                    <a:pt x="4943" y="1297"/>
                  </a:cubicBezTo>
                  <a:cubicBezTo>
                    <a:pt x="4943" y="578"/>
                    <a:pt x="4358" y="0"/>
                    <a:pt x="3647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3" name="Google Shape;5213;p53">
              <a:extLst>
                <a:ext uri="{FF2B5EF4-FFF2-40B4-BE49-F238E27FC236}">
                  <a16:creationId xmlns:a16="http://schemas.microsoft.com/office/drawing/2014/main" id="{CD908F6D-F7A8-7EF4-A0F6-5B85B9C8CCD6}"/>
                </a:ext>
              </a:extLst>
            </p:cNvPr>
            <p:cNvSpPr/>
            <p:nvPr/>
          </p:nvSpPr>
          <p:spPr>
            <a:xfrm>
              <a:off x="1271425" y="2182175"/>
              <a:ext cx="145225" cy="41325"/>
            </a:xfrm>
            <a:custGeom>
              <a:avLst/>
              <a:gdLst/>
              <a:ahLst/>
              <a:cxnLst/>
              <a:rect l="l" t="t" r="r" b="b"/>
              <a:pathLst>
                <a:path w="5809" h="1653" extrusionOk="0">
                  <a:moveTo>
                    <a:pt x="822" y="0"/>
                  </a:moveTo>
                  <a:cubicBezTo>
                    <a:pt x="371" y="0"/>
                    <a:pt x="1" y="370"/>
                    <a:pt x="1" y="822"/>
                  </a:cubicBezTo>
                  <a:cubicBezTo>
                    <a:pt x="1" y="1283"/>
                    <a:pt x="371" y="1653"/>
                    <a:pt x="822" y="1653"/>
                  </a:cubicBezTo>
                  <a:lnTo>
                    <a:pt x="4987" y="1653"/>
                  </a:lnTo>
                  <a:cubicBezTo>
                    <a:pt x="5439" y="1653"/>
                    <a:pt x="5809" y="1283"/>
                    <a:pt x="5809" y="822"/>
                  </a:cubicBezTo>
                  <a:cubicBezTo>
                    <a:pt x="5809" y="370"/>
                    <a:pt x="5439" y="0"/>
                    <a:pt x="4987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4" name="Google Shape;5214;p53">
              <a:extLst>
                <a:ext uri="{FF2B5EF4-FFF2-40B4-BE49-F238E27FC236}">
                  <a16:creationId xmlns:a16="http://schemas.microsoft.com/office/drawing/2014/main" id="{B7010FE5-ED5D-B72E-8F17-BD23AB962B42}"/>
                </a:ext>
              </a:extLst>
            </p:cNvPr>
            <p:cNvSpPr/>
            <p:nvPr/>
          </p:nvSpPr>
          <p:spPr>
            <a:xfrm>
              <a:off x="998725" y="2587100"/>
              <a:ext cx="642450" cy="39875"/>
            </a:xfrm>
            <a:custGeom>
              <a:avLst/>
              <a:gdLst/>
              <a:ahLst/>
              <a:cxnLst/>
              <a:rect l="l" t="t" r="r" b="b"/>
              <a:pathLst>
                <a:path w="25698" h="1595" extrusionOk="0">
                  <a:moveTo>
                    <a:pt x="0" y="1"/>
                  </a:moveTo>
                  <a:lnTo>
                    <a:pt x="0" y="1594"/>
                  </a:lnTo>
                  <a:lnTo>
                    <a:pt x="24350" y="1594"/>
                  </a:lnTo>
                  <a:cubicBezTo>
                    <a:pt x="25698" y="1594"/>
                    <a:pt x="25557" y="1"/>
                    <a:pt x="2435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5" name="Google Shape;5215;p53">
              <a:extLst>
                <a:ext uri="{FF2B5EF4-FFF2-40B4-BE49-F238E27FC236}">
                  <a16:creationId xmlns:a16="http://schemas.microsoft.com/office/drawing/2014/main" id="{61E6C64B-0FE6-E003-05EB-6421F7872E99}"/>
                </a:ext>
              </a:extLst>
            </p:cNvPr>
            <p:cNvSpPr/>
            <p:nvPr/>
          </p:nvSpPr>
          <p:spPr>
            <a:xfrm>
              <a:off x="998725" y="2626950"/>
              <a:ext cx="693050" cy="39850"/>
            </a:xfrm>
            <a:custGeom>
              <a:avLst/>
              <a:gdLst/>
              <a:ahLst/>
              <a:cxnLst/>
              <a:rect l="l" t="t" r="r" b="b"/>
              <a:pathLst>
                <a:path w="27722" h="1594" extrusionOk="0">
                  <a:moveTo>
                    <a:pt x="0" y="0"/>
                  </a:moveTo>
                  <a:lnTo>
                    <a:pt x="0" y="1578"/>
                  </a:lnTo>
                  <a:lnTo>
                    <a:pt x="20763" y="1578"/>
                  </a:lnTo>
                  <a:cubicBezTo>
                    <a:pt x="20807" y="1578"/>
                    <a:pt x="20861" y="1587"/>
                    <a:pt x="20905" y="1594"/>
                  </a:cubicBezTo>
                  <a:lnTo>
                    <a:pt x="26692" y="1594"/>
                  </a:lnTo>
                  <a:cubicBezTo>
                    <a:pt x="27670" y="1594"/>
                    <a:pt x="27722" y="164"/>
                    <a:pt x="26774" y="15"/>
                  </a:cubicBezTo>
                  <a:cubicBezTo>
                    <a:pt x="26720" y="7"/>
                    <a:pt x="26662" y="0"/>
                    <a:pt x="26610" y="0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6" name="Google Shape;5216;p53">
              <a:extLst>
                <a:ext uri="{FF2B5EF4-FFF2-40B4-BE49-F238E27FC236}">
                  <a16:creationId xmlns:a16="http://schemas.microsoft.com/office/drawing/2014/main" id="{00076CC8-8A57-4405-ED73-64547C5C505F}"/>
                </a:ext>
              </a:extLst>
            </p:cNvPr>
            <p:cNvSpPr/>
            <p:nvPr/>
          </p:nvSpPr>
          <p:spPr>
            <a:xfrm>
              <a:off x="998725" y="2666375"/>
              <a:ext cx="522650" cy="425"/>
            </a:xfrm>
            <a:custGeom>
              <a:avLst/>
              <a:gdLst/>
              <a:ahLst/>
              <a:cxnLst/>
              <a:rect l="l" t="t" r="r" b="b"/>
              <a:pathLst>
                <a:path w="20906" h="17" extrusionOk="0">
                  <a:moveTo>
                    <a:pt x="0" y="1"/>
                  </a:moveTo>
                  <a:lnTo>
                    <a:pt x="0" y="17"/>
                  </a:lnTo>
                  <a:lnTo>
                    <a:pt x="20905" y="17"/>
                  </a:lnTo>
                  <a:cubicBezTo>
                    <a:pt x="20861" y="10"/>
                    <a:pt x="20807" y="1"/>
                    <a:pt x="20763" y="1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7" name="Google Shape;5217;p53">
              <a:extLst>
                <a:ext uri="{FF2B5EF4-FFF2-40B4-BE49-F238E27FC236}">
                  <a16:creationId xmlns:a16="http://schemas.microsoft.com/office/drawing/2014/main" id="{3007B749-78A1-5C32-7DB9-1F7A99CD2C65}"/>
                </a:ext>
              </a:extLst>
            </p:cNvPr>
            <p:cNvSpPr/>
            <p:nvPr/>
          </p:nvSpPr>
          <p:spPr>
            <a:xfrm>
              <a:off x="1210125" y="2313150"/>
              <a:ext cx="45950" cy="276975"/>
            </a:xfrm>
            <a:custGeom>
              <a:avLst/>
              <a:gdLst/>
              <a:ahLst/>
              <a:cxnLst/>
              <a:rect l="l" t="t" r="r" b="b"/>
              <a:pathLst>
                <a:path w="1838" h="11079" extrusionOk="0">
                  <a:moveTo>
                    <a:pt x="497" y="1"/>
                  </a:moveTo>
                  <a:lnTo>
                    <a:pt x="0" y="11055"/>
                  </a:lnTo>
                  <a:lnTo>
                    <a:pt x="1838" y="11078"/>
                  </a:lnTo>
                  <a:lnTo>
                    <a:pt x="1838" y="11078"/>
                  </a:lnTo>
                  <a:lnTo>
                    <a:pt x="1601" y="15"/>
                  </a:lnTo>
                  <a:lnTo>
                    <a:pt x="497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8" name="Google Shape;5218;p53">
              <a:extLst>
                <a:ext uri="{FF2B5EF4-FFF2-40B4-BE49-F238E27FC236}">
                  <a16:creationId xmlns:a16="http://schemas.microsoft.com/office/drawing/2014/main" id="{156CF9B5-C2AC-E725-EC66-6B76A5F3C5EA}"/>
                </a:ext>
              </a:extLst>
            </p:cNvPr>
            <p:cNvSpPr/>
            <p:nvPr/>
          </p:nvSpPr>
          <p:spPr>
            <a:xfrm>
              <a:off x="1210125" y="2313150"/>
              <a:ext cx="26300" cy="276550"/>
            </a:xfrm>
            <a:custGeom>
              <a:avLst/>
              <a:gdLst/>
              <a:ahLst/>
              <a:cxnLst/>
              <a:rect l="l" t="t" r="r" b="b"/>
              <a:pathLst>
                <a:path w="1052" h="11062" extrusionOk="0">
                  <a:moveTo>
                    <a:pt x="497" y="1"/>
                  </a:moveTo>
                  <a:lnTo>
                    <a:pt x="363" y="2994"/>
                  </a:lnTo>
                  <a:lnTo>
                    <a:pt x="0" y="11055"/>
                  </a:lnTo>
                  <a:lnTo>
                    <a:pt x="918" y="11062"/>
                  </a:lnTo>
                  <a:lnTo>
                    <a:pt x="1051" y="8"/>
                  </a:lnTo>
                  <a:lnTo>
                    <a:pt x="497" y="1"/>
                  </a:lnTo>
                  <a:close/>
                </a:path>
              </a:pathLst>
            </a:custGeom>
            <a:solidFill>
              <a:srgbClr val="92939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9" name="Google Shape;5219;p53">
              <a:extLst>
                <a:ext uri="{FF2B5EF4-FFF2-40B4-BE49-F238E27FC236}">
                  <a16:creationId xmlns:a16="http://schemas.microsoft.com/office/drawing/2014/main" id="{6303EDCB-FF6F-084B-F2D4-0D08CCB5EBE0}"/>
                </a:ext>
              </a:extLst>
            </p:cNvPr>
            <p:cNvSpPr/>
            <p:nvPr/>
          </p:nvSpPr>
          <p:spPr>
            <a:xfrm>
              <a:off x="1219025" y="2379850"/>
              <a:ext cx="32775" cy="16475"/>
            </a:xfrm>
            <a:custGeom>
              <a:avLst/>
              <a:gdLst/>
              <a:ahLst/>
              <a:cxnLst/>
              <a:rect l="l" t="t" r="r" b="b"/>
              <a:pathLst>
                <a:path w="1311" h="659" extrusionOk="0">
                  <a:moveTo>
                    <a:pt x="29" y="0"/>
                  </a:moveTo>
                  <a:lnTo>
                    <a:pt x="0" y="637"/>
                  </a:lnTo>
                  <a:lnTo>
                    <a:pt x="651" y="651"/>
                  </a:lnTo>
                  <a:lnTo>
                    <a:pt x="1311" y="658"/>
                  </a:lnTo>
                  <a:lnTo>
                    <a:pt x="1297" y="14"/>
                  </a:lnTo>
                  <a:lnTo>
                    <a:pt x="667" y="7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0" name="Google Shape;5220;p53">
              <a:extLst>
                <a:ext uri="{FF2B5EF4-FFF2-40B4-BE49-F238E27FC236}">
                  <a16:creationId xmlns:a16="http://schemas.microsoft.com/office/drawing/2014/main" id="{92E16866-814E-062E-D31C-53358017255D}"/>
                </a:ext>
              </a:extLst>
            </p:cNvPr>
            <p:cNvSpPr/>
            <p:nvPr/>
          </p:nvSpPr>
          <p:spPr>
            <a:xfrm>
              <a:off x="1216975" y="2417225"/>
              <a:ext cx="35775" cy="23950"/>
            </a:xfrm>
            <a:custGeom>
              <a:avLst/>
              <a:gdLst/>
              <a:ahLst/>
              <a:cxnLst/>
              <a:rect l="l" t="t" r="r" b="b"/>
              <a:pathLst>
                <a:path w="1431" h="958" extrusionOk="0">
                  <a:moveTo>
                    <a:pt x="45" y="1"/>
                  </a:moveTo>
                  <a:lnTo>
                    <a:pt x="0" y="941"/>
                  </a:lnTo>
                  <a:lnTo>
                    <a:pt x="719" y="950"/>
                  </a:lnTo>
                  <a:lnTo>
                    <a:pt x="1430" y="957"/>
                  </a:lnTo>
                  <a:lnTo>
                    <a:pt x="1416" y="24"/>
                  </a:lnTo>
                  <a:lnTo>
                    <a:pt x="726" y="8"/>
                  </a:lnTo>
                  <a:lnTo>
                    <a:pt x="45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21" name="Google Shape;5221;p53">
            <a:extLst>
              <a:ext uri="{FF2B5EF4-FFF2-40B4-BE49-F238E27FC236}">
                <a16:creationId xmlns:a16="http://schemas.microsoft.com/office/drawing/2014/main" id="{23B2C123-0AC0-F37C-4AD1-B1B863FD6A32}"/>
              </a:ext>
            </a:extLst>
          </p:cNvPr>
          <p:cNvGrpSpPr/>
          <p:nvPr/>
        </p:nvGrpSpPr>
        <p:grpSpPr>
          <a:xfrm>
            <a:off x="6987193" y="2679817"/>
            <a:ext cx="2520565" cy="1945481"/>
            <a:chOff x="7095475" y="1127208"/>
            <a:chExt cx="817675" cy="631117"/>
          </a:xfrm>
        </p:grpSpPr>
        <p:sp>
          <p:nvSpPr>
            <p:cNvPr id="5222" name="Google Shape;5222;p53">
              <a:extLst>
                <a:ext uri="{FF2B5EF4-FFF2-40B4-BE49-F238E27FC236}">
                  <a16:creationId xmlns:a16="http://schemas.microsoft.com/office/drawing/2014/main" id="{253339C9-FAD0-903B-1550-01C63E0356A2}"/>
                </a:ext>
              </a:extLst>
            </p:cNvPr>
            <p:cNvSpPr/>
            <p:nvPr/>
          </p:nvSpPr>
          <p:spPr>
            <a:xfrm>
              <a:off x="7137300" y="1488925"/>
              <a:ext cx="169725" cy="73950"/>
            </a:xfrm>
            <a:custGeom>
              <a:avLst/>
              <a:gdLst/>
              <a:ahLst/>
              <a:cxnLst/>
              <a:rect l="l" t="t" r="r" b="b"/>
              <a:pathLst>
                <a:path w="6789" h="2958" extrusionOk="0">
                  <a:moveTo>
                    <a:pt x="3232" y="0"/>
                  </a:moveTo>
                  <a:cubicBezTo>
                    <a:pt x="2690" y="0"/>
                    <a:pt x="2239" y="391"/>
                    <a:pt x="2135" y="906"/>
                  </a:cubicBezTo>
                  <a:cubicBezTo>
                    <a:pt x="2097" y="899"/>
                    <a:pt x="2062" y="899"/>
                    <a:pt x="2017" y="890"/>
                  </a:cubicBezTo>
                  <a:cubicBezTo>
                    <a:pt x="1550" y="890"/>
                    <a:pt x="1157" y="1261"/>
                    <a:pt x="1135" y="1727"/>
                  </a:cubicBezTo>
                  <a:cubicBezTo>
                    <a:pt x="586" y="1868"/>
                    <a:pt x="150" y="2305"/>
                    <a:pt x="1" y="2855"/>
                  </a:cubicBezTo>
                  <a:lnTo>
                    <a:pt x="6789" y="2958"/>
                  </a:lnTo>
                  <a:cubicBezTo>
                    <a:pt x="6625" y="2268"/>
                    <a:pt x="6241" y="1743"/>
                    <a:pt x="5499" y="1734"/>
                  </a:cubicBezTo>
                  <a:lnTo>
                    <a:pt x="5432" y="1734"/>
                  </a:lnTo>
                  <a:cubicBezTo>
                    <a:pt x="5441" y="1210"/>
                    <a:pt x="5025" y="772"/>
                    <a:pt x="4498" y="765"/>
                  </a:cubicBezTo>
                  <a:cubicBezTo>
                    <a:pt x="4425" y="765"/>
                    <a:pt x="4358" y="772"/>
                    <a:pt x="4292" y="787"/>
                  </a:cubicBezTo>
                  <a:cubicBezTo>
                    <a:pt x="4159" y="335"/>
                    <a:pt x="3742" y="9"/>
                    <a:pt x="3246" y="1"/>
                  </a:cubicBezTo>
                  <a:cubicBezTo>
                    <a:pt x="3241" y="1"/>
                    <a:pt x="3237" y="0"/>
                    <a:pt x="3232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3" name="Google Shape;5223;p53">
              <a:extLst>
                <a:ext uri="{FF2B5EF4-FFF2-40B4-BE49-F238E27FC236}">
                  <a16:creationId xmlns:a16="http://schemas.microsoft.com/office/drawing/2014/main" id="{B1C7EDA2-74E3-56F0-0227-B3D47A64319E}"/>
                </a:ext>
              </a:extLst>
            </p:cNvPr>
            <p:cNvSpPr/>
            <p:nvPr/>
          </p:nvSpPr>
          <p:spPr>
            <a:xfrm>
              <a:off x="7191050" y="1511725"/>
              <a:ext cx="18700" cy="37475"/>
            </a:xfrm>
            <a:custGeom>
              <a:avLst/>
              <a:gdLst/>
              <a:ahLst/>
              <a:cxnLst/>
              <a:rect l="l" t="t" r="r" b="b"/>
              <a:pathLst>
                <a:path w="748" h="1499" extrusionOk="0">
                  <a:moveTo>
                    <a:pt x="1" y="1"/>
                  </a:moveTo>
                  <a:cubicBezTo>
                    <a:pt x="1" y="1"/>
                    <a:pt x="593" y="193"/>
                    <a:pt x="563" y="750"/>
                  </a:cubicBezTo>
                  <a:cubicBezTo>
                    <a:pt x="534" y="1365"/>
                    <a:pt x="1" y="1498"/>
                    <a:pt x="1" y="1498"/>
                  </a:cubicBezTo>
                  <a:cubicBezTo>
                    <a:pt x="415" y="1498"/>
                    <a:pt x="748" y="1164"/>
                    <a:pt x="748" y="750"/>
                  </a:cubicBezTo>
                  <a:cubicBezTo>
                    <a:pt x="748" y="333"/>
                    <a:pt x="415" y="1"/>
                    <a:pt x="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4" name="Google Shape;5224;p53">
              <a:extLst>
                <a:ext uri="{FF2B5EF4-FFF2-40B4-BE49-F238E27FC236}">
                  <a16:creationId xmlns:a16="http://schemas.microsoft.com/office/drawing/2014/main" id="{6C9C4E7D-3BD1-22CF-70D6-A18AAD01B6E0}"/>
                </a:ext>
              </a:extLst>
            </p:cNvPr>
            <p:cNvSpPr/>
            <p:nvPr/>
          </p:nvSpPr>
          <p:spPr>
            <a:xfrm>
              <a:off x="7286250" y="1534500"/>
              <a:ext cx="11300" cy="7100"/>
            </a:xfrm>
            <a:custGeom>
              <a:avLst/>
              <a:gdLst/>
              <a:ahLst/>
              <a:cxnLst/>
              <a:rect l="l" t="t" r="r" b="b"/>
              <a:pathLst>
                <a:path w="452" h="284" extrusionOk="0">
                  <a:moveTo>
                    <a:pt x="0" y="0"/>
                  </a:moveTo>
                  <a:lnTo>
                    <a:pt x="0" y="0"/>
                  </a:lnTo>
                  <a:cubicBezTo>
                    <a:pt x="164" y="61"/>
                    <a:pt x="297" y="157"/>
                    <a:pt x="416" y="283"/>
                  </a:cubicBezTo>
                  <a:lnTo>
                    <a:pt x="452" y="232"/>
                  </a:lnTo>
                  <a:cubicBezTo>
                    <a:pt x="319" y="120"/>
                    <a:pt x="171" y="38"/>
                    <a:pt x="0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5" name="Google Shape;5225;p53">
              <a:extLst>
                <a:ext uri="{FF2B5EF4-FFF2-40B4-BE49-F238E27FC236}">
                  <a16:creationId xmlns:a16="http://schemas.microsoft.com/office/drawing/2014/main" id="{801DA383-C35D-4EE2-1918-716322CDE196}"/>
                </a:ext>
              </a:extLst>
            </p:cNvPr>
            <p:cNvSpPr/>
            <p:nvPr/>
          </p:nvSpPr>
          <p:spPr>
            <a:xfrm>
              <a:off x="7251975" y="1533600"/>
              <a:ext cx="44700" cy="27250"/>
            </a:xfrm>
            <a:custGeom>
              <a:avLst/>
              <a:gdLst/>
              <a:ahLst/>
              <a:cxnLst/>
              <a:rect l="l" t="t" r="r" b="b"/>
              <a:pathLst>
                <a:path w="1788" h="1090" extrusionOk="0">
                  <a:moveTo>
                    <a:pt x="1105" y="1"/>
                  </a:moveTo>
                  <a:cubicBezTo>
                    <a:pt x="505" y="1"/>
                    <a:pt x="16" y="481"/>
                    <a:pt x="0" y="1089"/>
                  </a:cubicBezTo>
                  <a:cubicBezTo>
                    <a:pt x="0" y="1089"/>
                    <a:pt x="283" y="214"/>
                    <a:pt x="1046" y="214"/>
                  </a:cubicBezTo>
                  <a:lnTo>
                    <a:pt x="1121" y="214"/>
                  </a:lnTo>
                  <a:cubicBezTo>
                    <a:pt x="1364" y="237"/>
                    <a:pt x="1565" y="312"/>
                    <a:pt x="1713" y="415"/>
                  </a:cubicBezTo>
                  <a:lnTo>
                    <a:pt x="1787" y="319"/>
                  </a:lnTo>
                  <a:cubicBezTo>
                    <a:pt x="1668" y="193"/>
                    <a:pt x="1535" y="97"/>
                    <a:pt x="1371" y="36"/>
                  </a:cubicBezTo>
                  <a:cubicBezTo>
                    <a:pt x="1298" y="15"/>
                    <a:pt x="1209" y="1"/>
                    <a:pt x="112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6" name="Google Shape;5226;p53">
              <a:extLst>
                <a:ext uri="{FF2B5EF4-FFF2-40B4-BE49-F238E27FC236}">
                  <a16:creationId xmlns:a16="http://schemas.microsoft.com/office/drawing/2014/main" id="{7411638D-E559-2B73-7B52-D47DA193942C}"/>
                </a:ext>
              </a:extLst>
            </p:cNvPr>
            <p:cNvSpPr/>
            <p:nvPr/>
          </p:nvSpPr>
          <p:spPr>
            <a:xfrm>
              <a:off x="7457400" y="1303300"/>
              <a:ext cx="214200" cy="93225"/>
            </a:xfrm>
            <a:custGeom>
              <a:avLst/>
              <a:gdLst/>
              <a:ahLst/>
              <a:cxnLst/>
              <a:rect l="l" t="t" r="r" b="b"/>
              <a:pathLst>
                <a:path w="8568" h="3729" extrusionOk="0">
                  <a:moveTo>
                    <a:pt x="4485" y="1"/>
                  </a:moveTo>
                  <a:cubicBezTo>
                    <a:pt x="4480" y="1"/>
                    <a:pt x="4475" y="1"/>
                    <a:pt x="4470" y="1"/>
                  </a:cubicBezTo>
                  <a:cubicBezTo>
                    <a:pt x="3848" y="17"/>
                    <a:pt x="3328" y="424"/>
                    <a:pt x="3150" y="995"/>
                  </a:cubicBezTo>
                  <a:cubicBezTo>
                    <a:pt x="3069" y="972"/>
                    <a:pt x="2987" y="965"/>
                    <a:pt x="2898" y="965"/>
                  </a:cubicBezTo>
                  <a:cubicBezTo>
                    <a:pt x="2231" y="979"/>
                    <a:pt x="1706" y="1521"/>
                    <a:pt x="1714" y="2188"/>
                  </a:cubicBezTo>
                  <a:lnTo>
                    <a:pt x="1632" y="2188"/>
                  </a:lnTo>
                  <a:cubicBezTo>
                    <a:pt x="698" y="2202"/>
                    <a:pt x="209" y="2862"/>
                    <a:pt x="1" y="3728"/>
                  </a:cubicBezTo>
                  <a:lnTo>
                    <a:pt x="8567" y="3602"/>
                  </a:lnTo>
                  <a:cubicBezTo>
                    <a:pt x="8382" y="2907"/>
                    <a:pt x="7826" y="2357"/>
                    <a:pt x="7130" y="2179"/>
                  </a:cubicBezTo>
                  <a:cubicBezTo>
                    <a:pt x="7108" y="1592"/>
                    <a:pt x="6626" y="1128"/>
                    <a:pt x="6033" y="1128"/>
                  </a:cubicBezTo>
                  <a:cubicBezTo>
                    <a:pt x="6028" y="1128"/>
                    <a:pt x="6024" y="1128"/>
                    <a:pt x="6019" y="1128"/>
                  </a:cubicBezTo>
                  <a:cubicBezTo>
                    <a:pt x="5975" y="1128"/>
                    <a:pt x="5921" y="1135"/>
                    <a:pt x="5877" y="1143"/>
                  </a:cubicBezTo>
                  <a:cubicBezTo>
                    <a:pt x="5744" y="488"/>
                    <a:pt x="5174" y="1"/>
                    <a:pt x="4485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7" name="Google Shape;5227;p53">
              <a:extLst>
                <a:ext uri="{FF2B5EF4-FFF2-40B4-BE49-F238E27FC236}">
                  <a16:creationId xmlns:a16="http://schemas.microsoft.com/office/drawing/2014/main" id="{7E9A857C-9EB2-DC21-D68D-D3ACD95E2946}"/>
                </a:ext>
              </a:extLst>
            </p:cNvPr>
            <p:cNvSpPr/>
            <p:nvPr/>
          </p:nvSpPr>
          <p:spPr>
            <a:xfrm>
              <a:off x="7580250" y="1332200"/>
              <a:ext cx="23550" cy="47125"/>
            </a:xfrm>
            <a:custGeom>
              <a:avLst/>
              <a:gdLst/>
              <a:ahLst/>
              <a:cxnLst/>
              <a:rect l="l" t="t" r="r" b="b"/>
              <a:pathLst>
                <a:path w="942" h="1885" extrusionOk="0">
                  <a:moveTo>
                    <a:pt x="941" y="1"/>
                  </a:moveTo>
                  <a:cubicBezTo>
                    <a:pt x="422" y="1"/>
                    <a:pt x="1" y="424"/>
                    <a:pt x="1" y="943"/>
                  </a:cubicBezTo>
                  <a:cubicBezTo>
                    <a:pt x="1" y="1461"/>
                    <a:pt x="422" y="1884"/>
                    <a:pt x="941" y="1884"/>
                  </a:cubicBezTo>
                  <a:cubicBezTo>
                    <a:pt x="941" y="1884"/>
                    <a:pt x="274" y="1713"/>
                    <a:pt x="230" y="943"/>
                  </a:cubicBezTo>
                  <a:cubicBezTo>
                    <a:pt x="193" y="246"/>
                    <a:pt x="941" y="1"/>
                    <a:pt x="94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8" name="Google Shape;5228;p53">
              <a:extLst>
                <a:ext uri="{FF2B5EF4-FFF2-40B4-BE49-F238E27FC236}">
                  <a16:creationId xmlns:a16="http://schemas.microsoft.com/office/drawing/2014/main" id="{9EF4808B-1FC6-43F1-3498-400FA27C565B}"/>
                </a:ext>
              </a:extLst>
            </p:cNvPr>
            <p:cNvSpPr/>
            <p:nvPr/>
          </p:nvSpPr>
          <p:spPr>
            <a:xfrm>
              <a:off x="7457050" y="1360750"/>
              <a:ext cx="26525" cy="34300"/>
            </a:xfrm>
            <a:custGeom>
              <a:avLst/>
              <a:gdLst/>
              <a:ahLst/>
              <a:cxnLst/>
              <a:rect l="l" t="t" r="r" b="b"/>
              <a:pathLst>
                <a:path w="1061" h="1372" extrusionOk="0">
                  <a:moveTo>
                    <a:pt x="1061" y="1"/>
                  </a:moveTo>
                  <a:cubicBezTo>
                    <a:pt x="452" y="157"/>
                    <a:pt x="1" y="712"/>
                    <a:pt x="8" y="1372"/>
                  </a:cubicBezTo>
                  <a:cubicBezTo>
                    <a:pt x="8" y="1372"/>
                    <a:pt x="38" y="1245"/>
                    <a:pt x="120" y="1082"/>
                  </a:cubicBezTo>
                  <a:cubicBezTo>
                    <a:pt x="305" y="579"/>
                    <a:pt x="600" y="185"/>
                    <a:pt x="1061" y="1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9" name="Google Shape;5229;p53">
              <a:extLst>
                <a:ext uri="{FF2B5EF4-FFF2-40B4-BE49-F238E27FC236}">
                  <a16:creationId xmlns:a16="http://schemas.microsoft.com/office/drawing/2014/main" id="{4CC603F4-BDF5-A5F6-8376-80374A917D4C}"/>
                </a:ext>
              </a:extLst>
            </p:cNvPr>
            <p:cNvSpPr/>
            <p:nvPr/>
          </p:nvSpPr>
          <p:spPr>
            <a:xfrm>
              <a:off x="7460025" y="1359825"/>
              <a:ext cx="66900" cy="34125"/>
            </a:xfrm>
            <a:custGeom>
              <a:avLst/>
              <a:gdLst/>
              <a:ahLst/>
              <a:cxnLst/>
              <a:rect l="l" t="t" r="r" b="b"/>
              <a:pathLst>
                <a:path w="2676" h="1365" extrusionOk="0">
                  <a:moveTo>
                    <a:pt x="1260" y="0"/>
                  </a:moveTo>
                  <a:cubicBezTo>
                    <a:pt x="1148" y="0"/>
                    <a:pt x="1045" y="16"/>
                    <a:pt x="942" y="38"/>
                  </a:cubicBezTo>
                  <a:cubicBezTo>
                    <a:pt x="481" y="222"/>
                    <a:pt x="186" y="616"/>
                    <a:pt x="1" y="1119"/>
                  </a:cubicBezTo>
                  <a:cubicBezTo>
                    <a:pt x="163" y="800"/>
                    <a:pt x="518" y="319"/>
                    <a:pt x="1267" y="267"/>
                  </a:cubicBezTo>
                  <a:lnTo>
                    <a:pt x="1356" y="267"/>
                  </a:lnTo>
                  <a:cubicBezTo>
                    <a:pt x="2320" y="267"/>
                    <a:pt x="2676" y="1364"/>
                    <a:pt x="2676" y="1364"/>
                  </a:cubicBezTo>
                  <a:cubicBezTo>
                    <a:pt x="2660" y="608"/>
                    <a:pt x="2037" y="0"/>
                    <a:pt x="1281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0" name="Google Shape;5230;p53">
              <a:extLst>
                <a:ext uri="{FF2B5EF4-FFF2-40B4-BE49-F238E27FC236}">
                  <a16:creationId xmlns:a16="http://schemas.microsoft.com/office/drawing/2014/main" id="{78F2EB4C-5B01-C162-05FF-CD92E20A928E}"/>
                </a:ext>
              </a:extLst>
            </p:cNvPr>
            <p:cNvSpPr/>
            <p:nvPr/>
          </p:nvSpPr>
          <p:spPr>
            <a:xfrm>
              <a:off x="7364800" y="1192375"/>
              <a:ext cx="181725" cy="65975"/>
            </a:xfrm>
            <a:custGeom>
              <a:avLst/>
              <a:gdLst/>
              <a:ahLst/>
              <a:cxnLst/>
              <a:rect l="l" t="t" r="r" b="b"/>
              <a:pathLst>
                <a:path w="7269" h="2639" extrusionOk="0">
                  <a:moveTo>
                    <a:pt x="3113" y="1"/>
                  </a:moveTo>
                  <a:cubicBezTo>
                    <a:pt x="2305" y="1"/>
                    <a:pt x="1615" y="497"/>
                    <a:pt x="1334" y="1192"/>
                  </a:cubicBezTo>
                  <a:cubicBezTo>
                    <a:pt x="1283" y="1185"/>
                    <a:pt x="1238" y="1185"/>
                    <a:pt x="1187" y="1185"/>
                  </a:cubicBezTo>
                  <a:cubicBezTo>
                    <a:pt x="534" y="1185"/>
                    <a:pt x="1" y="1712"/>
                    <a:pt x="1" y="2371"/>
                  </a:cubicBezTo>
                  <a:cubicBezTo>
                    <a:pt x="1" y="2460"/>
                    <a:pt x="15" y="2549"/>
                    <a:pt x="38" y="2638"/>
                  </a:cubicBezTo>
                  <a:lnTo>
                    <a:pt x="5876" y="2638"/>
                  </a:lnTo>
                  <a:cubicBezTo>
                    <a:pt x="5891" y="2624"/>
                    <a:pt x="5907" y="2615"/>
                    <a:pt x="5921" y="2601"/>
                  </a:cubicBezTo>
                  <a:cubicBezTo>
                    <a:pt x="5921" y="2615"/>
                    <a:pt x="5928" y="2624"/>
                    <a:pt x="5935" y="2638"/>
                  </a:cubicBezTo>
                  <a:lnTo>
                    <a:pt x="7217" y="2638"/>
                  </a:lnTo>
                  <a:cubicBezTo>
                    <a:pt x="7248" y="2556"/>
                    <a:pt x="7269" y="2467"/>
                    <a:pt x="7269" y="2371"/>
                  </a:cubicBezTo>
                  <a:cubicBezTo>
                    <a:pt x="7269" y="1986"/>
                    <a:pt x="6958" y="1674"/>
                    <a:pt x="6573" y="1674"/>
                  </a:cubicBezTo>
                  <a:cubicBezTo>
                    <a:pt x="6440" y="1674"/>
                    <a:pt x="6314" y="1712"/>
                    <a:pt x="6202" y="1779"/>
                  </a:cubicBezTo>
                  <a:cubicBezTo>
                    <a:pt x="6136" y="1335"/>
                    <a:pt x="5750" y="993"/>
                    <a:pt x="5291" y="993"/>
                  </a:cubicBezTo>
                  <a:cubicBezTo>
                    <a:pt x="5128" y="993"/>
                    <a:pt x="4980" y="1038"/>
                    <a:pt x="4854" y="1103"/>
                  </a:cubicBezTo>
                  <a:cubicBezTo>
                    <a:pt x="4543" y="453"/>
                    <a:pt x="3883" y="1"/>
                    <a:pt x="3113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1" name="Google Shape;5231;p53">
              <a:extLst>
                <a:ext uri="{FF2B5EF4-FFF2-40B4-BE49-F238E27FC236}">
                  <a16:creationId xmlns:a16="http://schemas.microsoft.com/office/drawing/2014/main" id="{77E00355-EEF7-A09B-DE49-9DA2992B1BF8}"/>
                </a:ext>
              </a:extLst>
            </p:cNvPr>
            <p:cNvSpPr/>
            <p:nvPr/>
          </p:nvSpPr>
          <p:spPr>
            <a:xfrm>
              <a:off x="7506267" y="1127208"/>
              <a:ext cx="100825" cy="36700"/>
            </a:xfrm>
            <a:custGeom>
              <a:avLst/>
              <a:gdLst/>
              <a:ahLst/>
              <a:cxnLst/>
              <a:rect l="l" t="t" r="r" b="b"/>
              <a:pathLst>
                <a:path w="4033" h="1468" extrusionOk="0">
                  <a:moveTo>
                    <a:pt x="2306" y="0"/>
                  </a:moveTo>
                  <a:cubicBezTo>
                    <a:pt x="1875" y="0"/>
                    <a:pt x="1512" y="253"/>
                    <a:pt x="1342" y="616"/>
                  </a:cubicBezTo>
                  <a:cubicBezTo>
                    <a:pt x="1267" y="578"/>
                    <a:pt x="1187" y="557"/>
                    <a:pt x="1098" y="557"/>
                  </a:cubicBezTo>
                  <a:cubicBezTo>
                    <a:pt x="838" y="557"/>
                    <a:pt x="623" y="742"/>
                    <a:pt x="586" y="986"/>
                  </a:cubicBezTo>
                  <a:cubicBezTo>
                    <a:pt x="527" y="950"/>
                    <a:pt x="460" y="927"/>
                    <a:pt x="387" y="927"/>
                  </a:cubicBezTo>
                  <a:cubicBezTo>
                    <a:pt x="171" y="927"/>
                    <a:pt x="1" y="1105"/>
                    <a:pt x="1" y="1320"/>
                  </a:cubicBezTo>
                  <a:cubicBezTo>
                    <a:pt x="1" y="1372"/>
                    <a:pt x="8" y="1416"/>
                    <a:pt x="31" y="1468"/>
                  </a:cubicBezTo>
                  <a:lnTo>
                    <a:pt x="742" y="1468"/>
                  </a:lnTo>
                  <a:cubicBezTo>
                    <a:pt x="742" y="1460"/>
                    <a:pt x="742" y="1453"/>
                    <a:pt x="749" y="1446"/>
                  </a:cubicBezTo>
                  <a:cubicBezTo>
                    <a:pt x="757" y="1453"/>
                    <a:pt x="764" y="1460"/>
                    <a:pt x="771" y="1468"/>
                  </a:cubicBezTo>
                  <a:lnTo>
                    <a:pt x="4009" y="1468"/>
                  </a:lnTo>
                  <a:cubicBezTo>
                    <a:pt x="4023" y="1416"/>
                    <a:pt x="4032" y="1364"/>
                    <a:pt x="4032" y="1320"/>
                  </a:cubicBezTo>
                  <a:cubicBezTo>
                    <a:pt x="4032" y="957"/>
                    <a:pt x="3735" y="660"/>
                    <a:pt x="3373" y="660"/>
                  </a:cubicBezTo>
                  <a:cubicBezTo>
                    <a:pt x="3342" y="660"/>
                    <a:pt x="3321" y="660"/>
                    <a:pt x="3291" y="667"/>
                  </a:cubicBezTo>
                  <a:cubicBezTo>
                    <a:pt x="3134" y="274"/>
                    <a:pt x="2750" y="0"/>
                    <a:pt x="230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2" name="Google Shape;5232;p53">
              <a:extLst>
                <a:ext uri="{FF2B5EF4-FFF2-40B4-BE49-F238E27FC236}">
                  <a16:creationId xmlns:a16="http://schemas.microsoft.com/office/drawing/2014/main" id="{E491A82A-50CB-ECE1-6868-4CAC21EAA26B}"/>
                </a:ext>
              </a:extLst>
            </p:cNvPr>
            <p:cNvSpPr/>
            <p:nvPr/>
          </p:nvSpPr>
          <p:spPr>
            <a:xfrm>
              <a:off x="7210300" y="1305925"/>
              <a:ext cx="123225" cy="60400"/>
            </a:xfrm>
            <a:custGeom>
              <a:avLst/>
              <a:gdLst/>
              <a:ahLst/>
              <a:cxnLst/>
              <a:rect l="l" t="t" r="r" b="b"/>
              <a:pathLst>
                <a:path w="4929" h="2416" extrusionOk="0">
                  <a:moveTo>
                    <a:pt x="2165" y="1"/>
                  </a:moveTo>
                  <a:cubicBezTo>
                    <a:pt x="1290" y="1"/>
                    <a:pt x="579" y="682"/>
                    <a:pt x="527" y="1541"/>
                  </a:cubicBezTo>
                  <a:cubicBezTo>
                    <a:pt x="223" y="1601"/>
                    <a:pt x="1" y="1868"/>
                    <a:pt x="1" y="2186"/>
                  </a:cubicBezTo>
                  <a:cubicBezTo>
                    <a:pt x="1" y="2261"/>
                    <a:pt x="15" y="2341"/>
                    <a:pt x="45" y="2416"/>
                  </a:cubicBezTo>
                  <a:lnTo>
                    <a:pt x="4922" y="2416"/>
                  </a:lnTo>
                  <a:cubicBezTo>
                    <a:pt x="4922" y="2394"/>
                    <a:pt x="4929" y="2371"/>
                    <a:pt x="4929" y="2357"/>
                  </a:cubicBezTo>
                  <a:cubicBezTo>
                    <a:pt x="4929" y="1889"/>
                    <a:pt x="4550" y="1512"/>
                    <a:pt x="4084" y="1512"/>
                  </a:cubicBezTo>
                  <a:cubicBezTo>
                    <a:pt x="3988" y="1512"/>
                    <a:pt x="3890" y="1534"/>
                    <a:pt x="3810" y="1564"/>
                  </a:cubicBezTo>
                  <a:cubicBezTo>
                    <a:pt x="3766" y="696"/>
                    <a:pt x="3045" y="1"/>
                    <a:pt x="216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3" name="Google Shape;5233;p53">
              <a:extLst>
                <a:ext uri="{FF2B5EF4-FFF2-40B4-BE49-F238E27FC236}">
                  <a16:creationId xmlns:a16="http://schemas.microsoft.com/office/drawing/2014/main" id="{C5366409-3CE4-D2AC-1F6F-6E378D3EEF33}"/>
                </a:ext>
              </a:extLst>
            </p:cNvPr>
            <p:cNvSpPr/>
            <p:nvPr/>
          </p:nvSpPr>
          <p:spPr>
            <a:xfrm>
              <a:off x="7267000" y="1159750"/>
              <a:ext cx="166575" cy="81575"/>
            </a:xfrm>
            <a:custGeom>
              <a:avLst/>
              <a:gdLst/>
              <a:ahLst/>
              <a:cxnLst/>
              <a:rect l="l" t="t" r="r" b="b"/>
              <a:pathLst>
                <a:path w="6663" h="3263" extrusionOk="0">
                  <a:moveTo>
                    <a:pt x="3742" y="1"/>
                  </a:moveTo>
                  <a:cubicBezTo>
                    <a:pt x="2549" y="1"/>
                    <a:pt x="1578" y="934"/>
                    <a:pt x="1519" y="2113"/>
                  </a:cubicBezTo>
                  <a:cubicBezTo>
                    <a:pt x="1400" y="2069"/>
                    <a:pt x="1275" y="2046"/>
                    <a:pt x="1142" y="2046"/>
                  </a:cubicBezTo>
                  <a:cubicBezTo>
                    <a:pt x="511" y="2046"/>
                    <a:pt x="0" y="2551"/>
                    <a:pt x="0" y="3180"/>
                  </a:cubicBezTo>
                  <a:cubicBezTo>
                    <a:pt x="0" y="3209"/>
                    <a:pt x="0" y="3232"/>
                    <a:pt x="7" y="3262"/>
                  </a:cubicBezTo>
                  <a:lnTo>
                    <a:pt x="6610" y="3262"/>
                  </a:lnTo>
                  <a:cubicBezTo>
                    <a:pt x="6646" y="3164"/>
                    <a:pt x="6662" y="3061"/>
                    <a:pt x="6662" y="2951"/>
                  </a:cubicBezTo>
                  <a:cubicBezTo>
                    <a:pt x="6662" y="2520"/>
                    <a:pt x="6365" y="2165"/>
                    <a:pt x="5958" y="2076"/>
                  </a:cubicBezTo>
                  <a:cubicBezTo>
                    <a:pt x="5883" y="920"/>
                    <a:pt x="4921" y="1"/>
                    <a:pt x="3742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4" name="Google Shape;5234;p53">
              <a:extLst>
                <a:ext uri="{FF2B5EF4-FFF2-40B4-BE49-F238E27FC236}">
                  <a16:creationId xmlns:a16="http://schemas.microsoft.com/office/drawing/2014/main" id="{C999E0BF-E844-B971-7BCA-08BDDEACE134}"/>
                </a:ext>
              </a:extLst>
            </p:cNvPr>
            <p:cNvSpPr/>
            <p:nvPr/>
          </p:nvSpPr>
          <p:spPr>
            <a:xfrm>
              <a:off x="7225125" y="1603800"/>
              <a:ext cx="228450" cy="75025"/>
            </a:xfrm>
            <a:custGeom>
              <a:avLst/>
              <a:gdLst/>
              <a:ahLst/>
              <a:cxnLst/>
              <a:rect l="l" t="t" r="r" b="b"/>
              <a:pathLst>
                <a:path w="9138" h="3001" extrusionOk="0">
                  <a:moveTo>
                    <a:pt x="1104" y="1"/>
                  </a:moveTo>
                  <a:lnTo>
                    <a:pt x="0" y="1571"/>
                  </a:lnTo>
                  <a:cubicBezTo>
                    <a:pt x="75" y="1550"/>
                    <a:pt x="149" y="1534"/>
                    <a:pt x="229" y="1534"/>
                  </a:cubicBezTo>
                  <a:cubicBezTo>
                    <a:pt x="608" y="1534"/>
                    <a:pt x="912" y="1808"/>
                    <a:pt x="971" y="2172"/>
                  </a:cubicBezTo>
                  <a:cubicBezTo>
                    <a:pt x="1015" y="2149"/>
                    <a:pt x="1067" y="2135"/>
                    <a:pt x="1128" y="2135"/>
                  </a:cubicBezTo>
                  <a:cubicBezTo>
                    <a:pt x="1163" y="2135"/>
                    <a:pt x="1200" y="2142"/>
                    <a:pt x="1238" y="2156"/>
                  </a:cubicBezTo>
                  <a:cubicBezTo>
                    <a:pt x="1341" y="2030"/>
                    <a:pt x="1490" y="1957"/>
                    <a:pt x="1661" y="1957"/>
                  </a:cubicBezTo>
                  <a:cubicBezTo>
                    <a:pt x="1956" y="1957"/>
                    <a:pt x="2195" y="2201"/>
                    <a:pt x="2195" y="2498"/>
                  </a:cubicBezTo>
                  <a:lnTo>
                    <a:pt x="2195" y="2535"/>
                  </a:lnTo>
                  <a:cubicBezTo>
                    <a:pt x="2246" y="2498"/>
                    <a:pt x="2305" y="2467"/>
                    <a:pt x="2372" y="2467"/>
                  </a:cubicBezTo>
                  <a:cubicBezTo>
                    <a:pt x="2527" y="2467"/>
                    <a:pt x="2653" y="2594"/>
                    <a:pt x="2653" y="2750"/>
                  </a:cubicBezTo>
                  <a:cubicBezTo>
                    <a:pt x="2653" y="2860"/>
                    <a:pt x="2595" y="2957"/>
                    <a:pt x="2497" y="3001"/>
                  </a:cubicBezTo>
                  <a:lnTo>
                    <a:pt x="5188" y="3001"/>
                  </a:lnTo>
                  <a:cubicBezTo>
                    <a:pt x="5136" y="2973"/>
                    <a:pt x="5106" y="2912"/>
                    <a:pt x="5106" y="2853"/>
                  </a:cubicBezTo>
                  <a:cubicBezTo>
                    <a:pt x="5106" y="2750"/>
                    <a:pt x="5188" y="2668"/>
                    <a:pt x="5291" y="2668"/>
                  </a:cubicBezTo>
                  <a:cubicBezTo>
                    <a:pt x="5335" y="2668"/>
                    <a:pt x="5380" y="2683"/>
                    <a:pt x="5410" y="2706"/>
                  </a:cubicBezTo>
                  <a:lnTo>
                    <a:pt x="5410" y="2683"/>
                  </a:lnTo>
                  <a:cubicBezTo>
                    <a:pt x="5410" y="2483"/>
                    <a:pt x="5573" y="2327"/>
                    <a:pt x="5765" y="2327"/>
                  </a:cubicBezTo>
                  <a:cubicBezTo>
                    <a:pt x="5876" y="2327"/>
                    <a:pt x="5981" y="2379"/>
                    <a:pt x="6039" y="2453"/>
                  </a:cubicBezTo>
                  <a:cubicBezTo>
                    <a:pt x="6070" y="2446"/>
                    <a:pt x="6091" y="2446"/>
                    <a:pt x="6121" y="2446"/>
                  </a:cubicBezTo>
                  <a:cubicBezTo>
                    <a:pt x="6159" y="2446"/>
                    <a:pt x="6187" y="2453"/>
                    <a:pt x="6224" y="2467"/>
                  </a:cubicBezTo>
                  <a:cubicBezTo>
                    <a:pt x="6240" y="2357"/>
                    <a:pt x="6292" y="2261"/>
                    <a:pt x="6365" y="2186"/>
                  </a:cubicBezTo>
                  <a:lnTo>
                    <a:pt x="6388" y="734"/>
                  </a:lnTo>
                  <a:cubicBezTo>
                    <a:pt x="6402" y="734"/>
                    <a:pt x="6409" y="1505"/>
                    <a:pt x="6418" y="2142"/>
                  </a:cubicBezTo>
                  <a:cubicBezTo>
                    <a:pt x="6498" y="2083"/>
                    <a:pt x="6603" y="2046"/>
                    <a:pt x="6713" y="2046"/>
                  </a:cubicBezTo>
                  <a:cubicBezTo>
                    <a:pt x="6774" y="2046"/>
                    <a:pt x="6833" y="2060"/>
                    <a:pt x="6884" y="2074"/>
                  </a:cubicBezTo>
                  <a:cubicBezTo>
                    <a:pt x="7076" y="2135"/>
                    <a:pt x="7218" y="2306"/>
                    <a:pt x="7218" y="2512"/>
                  </a:cubicBezTo>
                  <a:lnTo>
                    <a:pt x="7218" y="2549"/>
                  </a:lnTo>
                  <a:cubicBezTo>
                    <a:pt x="7233" y="2542"/>
                    <a:pt x="7247" y="2542"/>
                    <a:pt x="7270" y="2542"/>
                  </a:cubicBezTo>
                  <a:lnTo>
                    <a:pt x="7284" y="2542"/>
                  </a:lnTo>
                  <a:cubicBezTo>
                    <a:pt x="7441" y="2386"/>
                    <a:pt x="7626" y="2245"/>
                    <a:pt x="7832" y="2112"/>
                  </a:cubicBezTo>
                  <a:cubicBezTo>
                    <a:pt x="7841" y="1934"/>
                    <a:pt x="7900" y="1756"/>
                    <a:pt x="8010" y="1601"/>
                  </a:cubicBezTo>
                  <a:lnTo>
                    <a:pt x="9137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5" name="Google Shape;5235;p53">
              <a:extLst>
                <a:ext uri="{FF2B5EF4-FFF2-40B4-BE49-F238E27FC236}">
                  <a16:creationId xmlns:a16="http://schemas.microsoft.com/office/drawing/2014/main" id="{0EAB1FDB-2889-3E77-607C-D1D5B012C961}"/>
                </a:ext>
              </a:extLst>
            </p:cNvPr>
            <p:cNvSpPr/>
            <p:nvPr/>
          </p:nvSpPr>
          <p:spPr>
            <a:xfrm>
              <a:off x="7415350" y="1386900"/>
              <a:ext cx="497800" cy="293450"/>
            </a:xfrm>
            <a:custGeom>
              <a:avLst/>
              <a:gdLst/>
              <a:ahLst/>
              <a:cxnLst/>
              <a:rect l="l" t="t" r="r" b="b"/>
              <a:pathLst>
                <a:path w="19912" h="11738" extrusionOk="0">
                  <a:moveTo>
                    <a:pt x="8752" y="0"/>
                  </a:moveTo>
                  <a:cubicBezTo>
                    <a:pt x="8604" y="0"/>
                    <a:pt x="8471" y="59"/>
                    <a:pt x="8368" y="155"/>
                  </a:cubicBezTo>
                  <a:cubicBezTo>
                    <a:pt x="8270" y="251"/>
                    <a:pt x="8211" y="391"/>
                    <a:pt x="8211" y="541"/>
                  </a:cubicBezTo>
                  <a:lnTo>
                    <a:pt x="8211" y="770"/>
                  </a:lnTo>
                  <a:lnTo>
                    <a:pt x="8211" y="3512"/>
                  </a:lnTo>
                  <a:lnTo>
                    <a:pt x="8211" y="3742"/>
                  </a:lnTo>
                  <a:cubicBezTo>
                    <a:pt x="8211" y="3890"/>
                    <a:pt x="8153" y="4023"/>
                    <a:pt x="8048" y="4126"/>
                  </a:cubicBezTo>
                  <a:cubicBezTo>
                    <a:pt x="7952" y="4224"/>
                    <a:pt x="7818" y="4283"/>
                    <a:pt x="7664" y="4283"/>
                  </a:cubicBezTo>
                  <a:cubicBezTo>
                    <a:pt x="7367" y="4283"/>
                    <a:pt x="7123" y="4037"/>
                    <a:pt x="7123" y="3742"/>
                  </a:cubicBezTo>
                  <a:lnTo>
                    <a:pt x="7123" y="770"/>
                  </a:lnTo>
                  <a:lnTo>
                    <a:pt x="7123" y="756"/>
                  </a:lnTo>
                  <a:lnTo>
                    <a:pt x="401" y="10277"/>
                  </a:lnTo>
                  <a:cubicBezTo>
                    <a:pt x="1" y="10848"/>
                    <a:pt x="328" y="11693"/>
                    <a:pt x="979" y="11737"/>
                  </a:cubicBezTo>
                  <a:lnTo>
                    <a:pt x="18933" y="11737"/>
                  </a:lnTo>
                  <a:cubicBezTo>
                    <a:pt x="19586" y="11693"/>
                    <a:pt x="19911" y="10839"/>
                    <a:pt x="19511" y="10277"/>
                  </a:cubicBezTo>
                  <a:lnTo>
                    <a:pt x="12561" y="496"/>
                  </a:lnTo>
                  <a:lnTo>
                    <a:pt x="12561" y="3393"/>
                  </a:lnTo>
                  <a:cubicBezTo>
                    <a:pt x="12561" y="3541"/>
                    <a:pt x="12494" y="3674"/>
                    <a:pt x="12398" y="3770"/>
                  </a:cubicBezTo>
                  <a:cubicBezTo>
                    <a:pt x="12302" y="3875"/>
                    <a:pt x="12161" y="3934"/>
                    <a:pt x="12014" y="3934"/>
                  </a:cubicBezTo>
                  <a:cubicBezTo>
                    <a:pt x="11717" y="3934"/>
                    <a:pt x="11471" y="3690"/>
                    <a:pt x="11471" y="3393"/>
                  </a:cubicBezTo>
                  <a:lnTo>
                    <a:pt x="11471" y="1592"/>
                  </a:lnTo>
                  <a:cubicBezTo>
                    <a:pt x="11471" y="1290"/>
                    <a:pt x="11227" y="1044"/>
                    <a:pt x="10923" y="1044"/>
                  </a:cubicBezTo>
                  <a:cubicBezTo>
                    <a:pt x="10776" y="1044"/>
                    <a:pt x="10642" y="1112"/>
                    <a:pt x="10537" y="1208"/>
                  </a:cubicBezTo>
                  <a:cubicBezTo>
                    <a:pt x="10441" y="1304"/>
                    <a:pt x="10383" y="1444"/>
                    <a:pt x="10383" y="1592"/>
                  </a:cubicBezTo>
                  <a:lnTo>
                    <a:pt x="10383" y="2734"/>
                  </a:lnTo>
                  <a:cubicBezTo>
                    <a:pt x="10383" y="2890"/>
                    <a:pt x="10324" y="3023"/>
                    <a:pt x="10219" y="3119"/>
                  </a:cubicBezTo>
                  <a:cubicBezTo>
                    <a:pt x="10123" y="3223"/>
                    <a:pt x="9990" y="3281"/>
                    <a:pt x="9835" y="3281"/>
                  </a:cubicBezTo>
                  <a:cubicBezTo>
                    <a:pt x="9538" y="3281"/>
                    <a:pt x="9293" y="3038"/>
                    <a:pt x="9293" y="2734"/>
                  </a:cubicBezTo>
                  <a:lnTo>
                    <a:pt x="9302" y="2734"/>
                  </a:lnTo>
                  <a:lnTo>
                    <a:pt x="9302" y="541"/>
                  </a:lnTo>
                  <a:cubicBezTo>
                    <a:pt x="9302" y="244"/>
                    <a:pt x="9056" y="0"/>
                    <a:pt x="875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6" name="Google Shape;5236;p53">
              <a:extLst>
                <a:ext uri="{FF2B5EF4-FFF2-40B4-BE49-F238E27FC236}">
                  <a16:creationId xmlns:a16="http://schemas.microsoft.com/office/drawing/2014/main" id="{CDEF5908-4E9D-9DFE-A372-F51694CF5D3A}"/>
                </a:ext>
              </a:extLst>
            </p:cNvPr>
            <p:cNvSpPr/>
            <p:nvPr/>
          </p:nvSpPr>
          <p:spPr>
            <a:xfrm>
              <a:off x="7593425" y="1342600"/>
              <a:ext cx="135975" cy="151375"/>
            </a:xfrm>
            <a:custGeom>
              <a:avLst/>
              <a:gdLst/>
              <a:ahLst/>
              <a:cxnLst/>
              <a:rect l="l" t="t" r="r" b="b"/>
              <a:pathLst>
                <a:path w="5439" h="6055" extrusionOk="0">
                  <a:moveTo>
                    <a:pt x="2815" y="1"/>
                  </a:moveTo>
                  <a:cubicBezTo>
                    <a:pt x="2163" y="1"/>
                    <a:pt x="1547" y="334"/>
                    <a:pt x="1147" y="897"/>
                  </a:cubicBezTo>
                  <a:lnTo>
                    <a:pt x="0" y="2528"/>
                  </a:lnTo>
                  <a:lnTo>
                    <a:pt x="0" y="2542"/>
                  </a:lnTo>
                  <a:lnTo>
                    <a:pt x="0" y="5514"/>
                  </a:lnTo>
                  <a:cubicBezTo>
                    <a:pt x="0" y="5809"/>
                    <a:pt x="244" y="6055"/>
                    <a:pt x="541" y="6055"/>
                  </a:cubicBezTo>
                  <a:cubicBezTo>
                    <a:pt x="695" y="6055"/>
                    <a:pt x="829" y="5996"/>
                    <a:pt x="925" y="5898"/>
                  </a:cubicBezTo>
                  <a:cubicBezTo>
                    <a:pt x="1030" y="5795"/>
                    <a:pt x="1088" y="5662"/>
                    <a:pt x="1088" y="5514"/>
                  </a:cubicBezTo>
                  <a:lnTo>
                    <a:pt x="1088" y="5284"/>
                  </a:lnTo>
                  <a:lnTo>
                    <a:pt x="1088" y="2542"/>
                  </a:lnTo>
                  <a:lnTo>
                    <a:pt x="1088" y="2313"/>
                  </a:lnTo>
                  <a:cubicBezTo>
                    <a:pt x="1088" y="2163"/>
                    <a:pt x="1147" y="2023"/>
                    <a:pt x="1245" y="1927"/>
                  </a:cubicBezTo>
                  <a:cubicBezTo>
                    <a:pt x="1348" y="1831"/>
                    <a:pt x="1481" y="1772"/>
                    <a:pt x="1629" y="1772"/>
                  </a:cubicBezTo>
                  <a:cubicBezTo>
                    <a:pt x="1933" y="1772"/>
                    <a:pt x="2179" y="2016"/>
                    <a:pt x="2179" y="2313"/>
                  </a:cubicBezTo>
                  <a:lnTo>
                    <a:pt x="2179" y="4506"/>
                  </a:lnTo>
                  <a:lnTo>
                    <a:pt x="2170" y="4506"/>
                  </a:lnTo>
                  <a:cubicBezTo>
                    <a:pt x="2170" y="4810"/>
                    <a:pt x="2415" y="5053"/>
                    <a:pt x="2712" y="5053"/>
                  </a:cubicBezTo>
                  <a:cubicBezTo>
                    <a:pt x="2867" y="5053"/>
                    <a:pt x="3000" y="4995"/>
                    <a:pt x="3096" y="4891"/>
                  </a:cubicBezTo>
                  <a:cubicBezTo>
                    <a:pt x="3201" y="4795"/>
                    <a:pt x="3260" y="4662"/>
                    <a:pt x="3260" y="4506"/>
                  </a:cubicBezTo>
                  <a:lnTo>
                    <a:pt x="3260" y="3364"/>
                  </a:lnTo>
                  <a:cubicBezTo>
                    <a:pt x="3260" y="3216"/>
                    <a:pt x="3318" y="3076"/>
                    <a:pt x="3414" y="2980"/>
                  </a:cubicBezTo>
                  <a:cubicBezTo>
                    <a:pt x="3519" y="2884"/>
                    <a:pt x="3653" y="2816"/>
                    <a:pt x="3800" y="2816"/>
                  </a:cubicBezTo>
                  <a:cubicBezTo>
                    <a:pt x="4104" y="2816"/>
                    <a:pt x="4348" y="3062"/>
                    <a:pt x="4348" y="3364"/>
                  </a:cubicBezTo>
                  <a:lnTo>
                    <a:pt x="4348" y="5165"/>
                  </a:lnTo>
                  <a:cubicBezTo>
                    <a:pt x="4348" y="5462"/>
                    <a:pt x="4594" y="5706"/>
                    <a:pt x="4891" y="5706"/>
                  </a:cubicBezTo>
                  <a:cubicBezTo>
                    <a:pt x="5038" y="5706"/>
                    <a:pt x="5179" y="5647"/>
                    <a:pt x="5275" y="5542"/>
                  </a:cubicBezTo>
                  <a:cubicBezTo>
                    <a:pt x="5371" y="5446"/>
                    <a:pt x="5438" y="5313"/>
                    <a:pt x="5438" y="5165"/>
                  </a:cubicBezTo>
                  <a:lnTo>
                    <a:pt x="5438" y="2268"/>
                  </a:lnTo>
                  <a:lnTo>
                    <a:pt x="4437" y="867"/>
                  </a:lnTo>
                  <a:cubicBezTo>
                    <a:pt x="4053" y="326"/>
                    <a:pt x="3452" y="1"/>
                    <a:pt x="281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7" name="Google Shape;5237;p53">
              <a:extLst>
                <a:ext uri="{FF2B5EF4-FFF2-40B4-BE49-F238E27FC236}">
                  <a16:creationId xmlns:a16="http://schemas.microsoft.com/office/drawing/2014/main" id="{6313CDEF-21E4-1502-8BCA-BA4924E1CAF0}"/>
                </a:ext>
              </a:extLst>
            </p:cNvPr>
            <p:cNvSpPr/>
            <p:nvPr/>
          </p:nvSpPr>
          <p:spPr>
            <a:xfrm>
              <a:off x="7437400" y="1679925"/>
              <a:ext cx="3375" cy="425"/>
            </a:xfrm>
            <a:custGeom>
              <a:avLst/>
              <a:gdLst/>
              <a:ahLst/>
              <a:cxnLst/>
              <a:rect l="l" t="t" r="r" b="b"/>
              <a:pathLst>
                <a:path w="135" h="17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8"/>
                    <a:pt x="61" y="16"/>
                    <a:pt x="97" y="16"/>
                  </a:cubicBezTo>
                  <a:lnTo>
                    <a:pt x="134" y="16"/>
                  </a:lnTo>
                  <a:lnTo>
                    <a:pt x="97" y="16"/>
                  </a:lnTo>
                  <a:cubicBezTo>
                    <a:pt x="61" y="16"/>
                    <a:pt x="31" y="8"/>
                    <a:pt x="1" y="0"/>
                  </a:cubicBezTo>
                  <a:close/>
                </a:path>
              </a:pathLst>
            </a:custGeom>
            <a:solidFill>
              <a:srgbClr val="67717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8" name="Google Shape;5238;p53">
              <a:extLst>
                <a:ext uri="{FF2B5EF4-FFF2-40B4-BE49-F238E27FC236}">
                  <a16:creationId xmlns:a16="http://schemas.microsoft.com/office/drawing/2014/main" id="{03673576-5509-CB76-8BFB-BBB565ED9B0D}"/>
                </a:ext>
              </a:extLst>
            </p:cNvPr>
            <p:cNvSpPr/>
            <p:nvPr/>
          </p:nvSpPr>
          <p:spPr>
            <a:xfrm>
              <a:off x="7420900" y="1576550"/>
              <a:ext cx="371275" cy="103800"/>
            </a:xfrm>
            <a:custGeom>
              <a:avLst/>
              <a:gdLst/>
              <a:ahLst/>
              <a:cxnLst/>
              <a:rect l="l" t="t" r="r" b="b"/>
              <a:pathLst>
                <a:path w="14851" h="4152" extrusionOk="0">
                  <a:moveTo>
                    <a:pt x="661" y="4135"/>
                  </a:moveTo>
                  <a:cubicBezTo>
                    <a:pt x="691" y="4143"/>
                    <a:pt x="721" y="4151"/>
                    <a:pt x="757" y="4151"/>
                  </a:cubicBezTo>
                  <a:lnTo>
                    <a:pt x="6101" y="4151"/>
                  </a:lnTo>
                  <a:cubicBezTo>
                    <a:pt x="6101" y="4151"/>
                    <a:pt x="6101" y="4143"/>
                    <a:pt x="6108" y="4135"/>
                  </a:cubicBezTo>
                  <a:close/>
                  <a:moveTo>
                    <a:pt x="2076" y="1"/>
                  </a:moveTo>
                  <a:lnTo>
                    <a:pt x="179" y="2691"/>
                  </a:lnTo>
                  <a:cubicBezTo>
                    <a:pt x="69" y="2846"/>
                    <a:pt x="10" y="3024"/>
                    <a:pt x="1" y="3202"/>
                  </a:cubicBezTo>
                  <a:cubicBezTo>
                    <a:pt x="862" y="2661"/>
                    <a:pt x="2121" y="2313"/>
                    <a:pt x="3522" y="2313"/>
                  </a:cubicBezTo>
                  <a:cubicBezTo>
                    <a:pt x="4811" y="2313"/>
                    <a:pt x="5982" y="2602"/>
                    <a:pt x="6826" y="3068"/>
                  </a:cubicBezTo>
                  <a:cubicBezTo>
                    <a:pt x="7664" y="2231"/>
                    <a:pt x="8982" y="1683"/>
                    <a:pt x="10472" y="1683"/>
                  </a:cubicBezTo>
                  <a:cubicBezTo>
                    <a:pt x="12524" y="1683"/>
                    <a:pt x="14265" y="2720"/>
                    <a:pt x="14843" y="4151"/>
                  </a:cubicBezTo>
                  <a:lnTo>
                    <a:pt x="14850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9" name="Google Shape;5239;p53">
              <a:extLst>
                <a:ext uri="{FF2B5EF4-FFF2-40B4-BE49-F238E27FC236}">
                  <a16:creationId xmlns:a16="http://schemas.microsoft.com/office/drawing/2014/main" id="{C6769FC0-42BB-7FF1-23EF-73AE9894B4AC}"/>
                </a:ext>
              </a:extLst>
            </p:cNvPr>
            <p:cNvSpPr/>
            <p:nvPr/>
          </p:nvSpPr>
          <p:spPr>
            <a:xfrm>
              <a:off x="7697125" y="1146225"/>
              <a:ext cx="96725" cy="77300"/>
            </a:xfrm>
            <a:custGeom>
              <a:avLst/>
              <a:gdLst/>
              <a:ahLst/>
              <a:cxnLst/>
              <a:rect l="l" t="t" r="r" b="b"/>
              <a:pathLst>
                <a:path w="3869" h="3092" extrusionOk="0">
                  <a:moveTo>
                    <a:pt x="3647" y="1"/>
                  </a:moveTo>
                  <a:cubicBezTo>
                    <a:pt x="2706" y="1"/>
                    <a:pt x="1898" y="579"/>
                    <a:pt x="1557" y="1393"/>
                  </a:cubicBezTo>
                  <a:cubicBezTo>
                    <a:pt x="1505" y="1386"/>
                    <a:pt x="1445" y="1386"/>
                    <a:pt x="1393" y="1386"/>
                  </a:cubicBezTo>
                  <a:cubicBezTo>
                    <a:pt x="623" y="1386"/>
                    <a:pt x="1" y="2009"/>
                    <a:pt x="1" y="2772"/>
                  </a:cubicBezTo>
                  <a:cubicBezTo>
                    <a:pt x="1" y="2884"/>
                    <a:pt x="15" y="2987"/>
                    <a:pt x="38" y="3092"/>
                  </a:cubicBezTo>
                  <a:lnTo>
                    <a:pt x="3869" y="3092"/>
                  </a:lnTo>
                  <a:lnTo>
                    <a:pt x="3869" y="2217"/>
                  </a:lnTo>
                  <a:lnTo>
                    <a:pt x="3869" y="8"/>
                  </a:lnTo>
                  <a:cubicBezTo>
                    <a:pt x="3794" y="1"/>
                    <a:pt x="3721" y="1"/>
                    <a:pt x="3647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0" name="Google Shape;5240;p53">
              <a:extLst>
                <a:ext uri="{FF2B5EF4-FFF2-40B4-BE49-F238E27FC236}">
                  <a16:creationId xmlns:a16="http://schemas.microsoft.com/office/drawing/2014/main" id="{0E4DCD7A-51EB-E68C-9570-22CAEEE6847A}"/>
                </a:ext>
              </a:extLst>
            </p:cNvPr>
            <p:cNvSpPr/>
            <p:nvPr/>
          </p:nvSpPr>
          <p:spPr>
            <a:xfrm>
              <a:off x="7397400" y="1634350"/>
              <a:ext cx="223250" cy="45600"/>
            </a:xfrm>
            <a:custGeom>
              <a:avLst/>
              <a:gdLst/>
              <a:ahLst/>
              <a:cxnLst/>
              <a:rect l="l" t="t" r="r" b="b"/>
              <a:pathLst>
                <a:path w="8930" h="1824" extrusionOk="0">
                  <a:moveTo>
                    <a:pt x="4462" y="1"/>
                  </a:moveTo>
                  <a:cubicBezTo>
                    <a:pt x="2364" y="1"/>
                    <a:pt x="585" y="772"/>
                    <a:pt x="0" y="1823"/>
                  </a:cubicBezTo>
                  <a:lnTo>
                    <a:pt x="8929" y="1823"/>
                  </a:lnTo>
                  <a:cubicBezTo>
                    <a:pt x="8344" y="772"/>
                    <a:pt x="6566" y="1"/>
                    <a:pt x="4462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1" name="Google Shape;5241;p53">
              <a:extLst>
                <a:ext uri="{FF2B5EF4-FFF2-40B4-BE49-F238E27FC236}">
                  <a16:creationId xmlns:a16="http://schemas.microsoft.com/office/drawing/2014/main" id="{BA3139B4-A0F7-6ED9-4A6D-975111329B7F}"/>
                </a:ext>
              </a:extLst>
            </p:cNvPr>
            <p:cNvSpPr/>
            <p:nvPr/>
          </p:nvSpPr>
          <p:spPr>
            <a:xfrm>
              <a:off x="7573175" y="1618625"/>
              <a:ext cx="218825" cy="62075"/>
            </a:xfrm>
            <a:custGeom>
              <a:avLst/>
              <a:gdLst/>
              <a:ahLst/>
              <a:cxnLst/>
              <a:rect l="l" t="t" r="r" b="b"/>
              <a:pathLst>
                <a:path w="8753" h="2483" extrusionOk="0">
                  <a:moveTo>
                    <a:pt x="4381" y="0"/>
                  </a:moveTo>
                  <a:cubicBezTo>
                    <a:pt x="2322" y="0"/>
                    <a:pt x="572" y="1046"/>
                    <a:pt x="1" y="2483"/>
                  </a:cubicBezTo>
                  <a:lnTo>
                    <a:pt x="8752" y="2483"/>
                  </a:lnTo>
                  <a:cubicBezTo>
                    <a:pt x="8181" y="1046"/>
                    <a:pt x="6440" y="0"/>
                    <a:pt x="438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2" name="Google Shape;5242;p53">
              <a:extLst>
                <a:ext uri="{FF2B5EF4-FFF2-40B4-BE49-F238E27FC236}">
                  <a16:creationId xmlns:a16="http://schemas.microsoft.com/office/drawing/2014/main" id="{5EC07B9C-A19E-69F8-2810-2BCBE95BC111}"/>
                </a:ext>
              </a:extLst>
            </p:cNvPr>
            <p:cNvSpPr/>
            <p:nvPr/>
          </p:nvSpPr>
          <p:spPr>
            <a:xfrm>
              <a:off x="7615425" y="1633075"/>
              <a:ext cx="37450" cy="20775"/>
            </a:xfrm>
            <a:custGeom>
              <a:avLst/>
              <a:gdLst/>
              <a:ahLst/>
              <a:cxnLst/>
              <a:rect l="l" t="t" r="r" b="b"/>
              <a:pathLst>
                <a:path w="1498" h="831" extrusionOk="0">
                  <a:moveTo>
                    <a:pt x="978" y="0"/>
                  </a:moveTo>
                  <a:cubicBezTo>
                    <a:pt x="882" y="0"/>
                    <a:pt x="772" y="14"/>
                    <a:pt x="660" y="52"/>
                  </a:cubicBezTo>
                  <a:cubicBezTo>
                    <a:pt x="246" y="171"/>
                    <a:pt x="0" y="475"/>
                    <a:pt x="89" y="660"/>
                  </a:cubicBezTo>
                  <a:cubicBezTo>
                    <a:pt x="143" y="779"/>
                    <a:pt x="290" y="831"/>
                    <a:pt x="475" y="831"/>
                  </a:cubicBezTo>
                  <a:cubicBezTo>
                    <a:pt x="594" y="831"/>
                    <a:pt x="735" y="807"/>
                    <a:pt x="868" y="770"/>
                  </a:cubicBezTo>
                  <a:cubicBezTo>
                    <a:pt x="1224" y="667"/>
                    <a:pt x="1498" y="459"/>
                    <a:pt x="1467" y="260"/>
                  </a:cubicBezTo>
                  <a:cubicBezTo>
                    <a:pt x="1446" y="112"/>
                    <a:pt x="1245" y="0"/>
                    <a:pt x="978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3" name="Google Shape;5243;p53">
              <a:extLst>
                <a:ext uri="{FF2B5EF4-FFF2-40B4-BE49-F238E27FC236}">
                  <a16:creationId xmlns:a16="http://schemas.microsoft.com/office/drawing/2014/main" id="{96420005-7FA7-1C46-85C6-5B4EC8CADFD8}"/>
                </a:ext>
              </a:extLst>
            </p:cNvPr>
            <p:cNvSpPr/>
            <p:nvPr/>
          </p:nvSpPr>
          <p:spPr>
            <a:xfrm>
              <a:off x="7658600" y="1636225"/>
              <a:ext cx="19500" cy="10025"/>
            </a:xfrm>
            <a:custGeom>
              <a:avLst/>
              <a:gdLst/>
              <a:ahLst/>
              <a:cxnLst/>
              <a:rect l="l" t="t" r="r" b="b"/>
              <a:pathLst>
                <a:path w="780" h="401" extrusionOk="0">
                  <a:moveTo>
                    <a:pt x="393" y="0"/>
                  </a:moveTo>
                  <a:cubicBezTo>
                    <a:pt x="171" y="0"/>
                    <a:pt x="0" y="103"/>
                    <a:pt x="16" y="215"/>
                  </a:cubicBezTo>
                  <a:cubicBezTo>
                    <a:pt x="23" y="326"/>
                    <a:pt x="185" y="400"/>
                    <a:pt x="386" y="400"/>
                  </a:cubicBezTo>
                  <a:lnTo>
                    <a:pt x="393" y="400"/>
                  </a:lnTo>
                  <a:cubicBezTo>
                    <a:pt x="594" y="400"/>
                    <a:pt x="763" y="319"/>
                    <a:pt x="772" y="215"/>
                  </a:cubicBezTo>
                  <a:cubicBezTo>
                    <a:pt x="779" y="103"/>
                    <a:pt x="608" y="0"/>
                    <a:pt x="393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4" name="Google Shape;5244;p53">
              <a:extLst>
                <a:ext uri="{FF2B5EF4-FFF2-40B4-BE49-F238E27FC236}">
                  <a16:creationId xmlns:a16="http://schemas.microsoft.com/office/drawing/2014/main" id="{41E7DCCB-A083-D1CB-0612-56D4E8104B48}"/>
                </a:ext>
              </a:extLst>
            </p:cNvPr>
            <p:cNvSpPr/>
            <p:nvPr/>
          </p:nvSpPr>
          <p:spPr>
            <a:xfrm>
              <a:off x="7362400" y="1596950"/>
              <a:ext cx="43375" cy="54675"/>
            </a:xfrm>
            <a:custGeom>
              <a:avLst/>
              <a:gdLst/>
              <a:ahLst/>
              <a:cxnLst/>
              <a:rect l="l" t="t" r="r" b="b"/>
              <a:pathLst>
                <a:path w="1735" h="2187" extrusionOk="0">
                  <a:moveTo>
                    <a:pt x="867" y="1"/>
                  </a:moveTo>
                  <a:cubicBezTo>
                    <a:pt x="490" y="1"/>
                    <a:pt x="178" y="303"/>
                    <a:pt x="178" y="682"/>
                  </a:cubicBezTo>
                  <a:cubicBezTo>
                    <a:pt x="178" y="712"/>
                    <a:pt x="186" y="741"/>
                    <a:pt x="193" y="778"/>
                  </a:cubicBezTo>
                  <a:cubicBezTo>
                    <a:pt x="66" y="926"/>
                    <a:pt x="1" y="1112"/>
                    <a:pt x="1" y="1319"/>
                  </a:cubicBezTo>
                  <a:cubicBezTo>
                    <a:pt x="1" y="1801"/>
                    <a:pt x="385" y="2187"/>
                    <a:pt x="867" y="2187"/>
                  </a:cubicBezTo>
                  <a:cubicBezTo>
                    <a:pt x="1342" y="2187"/>
                    <a:pt x="1735" y="1801"/>
                    <a:pt x="1735" y="1319"/>
                  </a:cubicBezTo>
                  <a:cubicBezTo>
                    <a:pt x="1735" y="1112"/>
                    <a:pt x="1660" y="926"/>
                    <a:pt x="1541" y="778"/>
                  </a:cubicBezTo>
                  <a:cubicBezTo>
                    <a:pt x="1541" y="741"/>
                    <a:pt x="1550" y="712"/>
                    <a:pt x="1550" y="682"/>
                  </a:cubicBezTo>
                  <a:cubicBezTo>
                    <a:pt x="1550" y="303"/>
                    <a:pt x="1245" y="1"/>
                    <a:pt x="86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5" name="Google Shape;5245;p53">
              <a:extLst>
                <a:ext uri="{FF2B5EF4-FFF2-40B4-BE49-F238E27FC236}">
                  <a16:creationId xmlns:a16="http://schemas.microsoft.com/office/drawing/2014/main" id="{55DBBB85-C72B-D7F3-E048-E70196F3B201}"/>
                </a:ext>
              </a:extLst>
            </p:cNvPr>
            <p:cNvSpPr/>
            <p:nvPr/>
          </p:nvSpPr>
          <p:spPr>
            <a:xfrm>
              <a:off x="7383875" y="1622125"/>
              <a:ext cx="1900" cy="57100"/>
            </a:xfrm>
            <a:custGeom>
              <a:avLst/>
              <a:gdLst/>
              <a:ahLst/>
              <a:cxnLst/>
              <a:rect l="l" t="t" r="r" b="b"/>
              <a:pathLst>
                <a:path w="76" h="2284" extrusionOk="0">
                  <a:moveTo>
                    <a:pt x="38" y="1"/>
                  </a:moveTo>
                  <a:lnTo>
                    <a:pt x="1" y="2247"/>
                  </a:lnTo>
                  <a:cubicBezTo>
                    <a:pt x="1" y="2268"/>
                    <a:pt x="15" y="2284"/>
                    <a:pt x="38" y="2284"/>
                  </a:cubicBezTo>
                  <a:cubicBezTo>
                    <a:pt x="59" y="2284"/>
                    <a:pt x="75" y="2268"/>
                    <a:pt x="75" y="2247"/>
                  </a:cubicBezTo>
                  <a:cubicBezTo>
                    <a:pt x="75" y="2247"/>
                    <a:pt x="59" y="1"/>
                    <a:pt x="38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6" name="Google Shape;5246;p53">
              <a:extLst>
                <a:ext uri="{FF2B5EF4-FFF2-40B4-BE49-F238E27FC236}">
                  <a16:creationId xmlns:a16="http://schemas.microsoft.com/office/drawing/2014/main" id="{721FEF38-99A3-B679-ED9B-DCE51F4AA553}"/>
                </a:ext>
              </a:extLst>
            </p:cNvPr>
            <p:cNvSpPr/>
            <p:nvPr/>
          </p:nvSpPr>
          <p:spPr>
            <a:xfrm>
              <a:off x="7373875" y="1635650"/>
              <a:ext cx="10950" cy="8900"/>
            </a:xfrm>
            <a:custGeom>
              <a:avLst/>
              <a:gdLst/>
              <a:ahLst/>
              <a:cxnLst/>
              <a:rect l="l" t="t" r="r" b="b"/>
              <a:pathLst>
                <a:path w="438" h="356" extrusionOk="0">
                  <a:moveTo>
                    <a:pt x="0" y="0"/>
                  </a:moveTo>
                  <a:cubicBezTo>
                    <a:pt x="205" y="342"/>
                    <a:pt x="404" y="356"/>
                    <a:pt x="434" y="356"/>
                  </a:cubicBezTo>
                  <a:cubicBezTo>
                    <a:pt x="437" y="356"/>
                    <a:pt x="438" y="356"/>
                    <a:pt x="438" y="356"/>
                  </a:cubicBezTo>
                  <a:lnTo>
                    <a:pt x="438" y="311"/>
                  </a:lnTo>
                  <a:cubicBezTo>
                    <a:pt x="438" y="311"/>
                    <a:pt x="434" y="314"/>
                    <a:pt x="422" y="314"/>
                  </a:cubicBezTo>
                  <a:cubicBezTo>
                    <a:pt x="396" y="314"/>
                    <a:pt x="334" y="300"/>
                    <a:pt x="201" y="208"/>
                  </a:cubicBezTo>
                  <a:cubicBezTo>
                    <a:pt x="82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7" name="Google Shape;5247;p53">
              <a:extLst>
                <a:ext uri="{FF2B5EF4-FFF2-40B4-BE49-F238E27FC236}">
                  <a16:creationId xmlns:a16="http://schemas.microsoft.com/office/drawing/2014/main" id="{5DFD23C0-DA0D-8CC9-A74A-AB2967E0E85A}"/>
                </a:ext>
              </a:extLst>
            </p:cNvPr>
            <p:cNvSpPr/>
            <p:nvPr/>
          </p:nvSpPr>
          <p:spPr>
            <a:xfrm>
              <a:off x="7384800" y="1633250"/>
              <a:ext cx="9450" cy="7625"/>
            </a:xfrm>
            <a:custGeom>
              <a:avLst/>
              <a:gdLst/>
              <a:ahLst/>
              <a:cxnLst/>
              <a:rect l="l" t="t" r="r" b="b"/>
              <a:pathLst>
                <a:path w="378" h="305" extrusionOk="0">
                  <a:moveTo>
                    <a:pt x="378" y="0"/>
                  </a:moveTo>
                  <a:cubicBezTo>
                    <a:pt x="378" y="0"/>
                    <a:pt x="305" y="105"/>
                    <a:pt x="209" y="171"/>
                  </a:cubicBezTo>
                  <a:cubicBezTo>
                    <a:pt x="96" y="250"/>
                    <a:pt x="41" y="263"/>
                    <a:pt x="17" y="263"/>
                  </a:cubicBezTo>
                  <a:cubicBezTo>
                    <a:pt x="5" y="263"/>
                    <a:pt x="1" y="260"/>
                    <a:pt x="1" y="260"/>
                  </a:cubicBezTo>
                  <a:lnTo>
                    <a:pt x="1" y="260"/>
                  </a:lnTo>
                  <a:lnTo>
                    <a:pt x="8" y="304"/>
                  </a:lnTo>
                  <a:cubicBezTo>
                    <a:pt x="8" y="304"/>
                    <a:pt x="8" y="304"/>
                    <a:pt x="9" y="304"/>
                  </a:cubicBezTo>
                  <a:cubicBezTo>
                    <a:pt x="24" y="304"/>
                    <a:pt x="194" y="298"/>
                    <a:pt x="378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8" name="Google Shape;5248;p53">
              <a:extLst>
                <a:ext uri="{FF2B5EF4-FFF2-40B4-BE49-F238E27FC236}">
                  <a16:creationId xmlns:a16="http://schemas.microsoft.com/office/drawing/2014/main" id="{74D0007B-C2FD-A307-11F6-A4D30D632B91}"/>
                </a:ext>
              </a:extLst>
            </p:cNvPr>
            <p:cNvSpPr/>
            <p:nvPr/>
          </p:nvSpPr>
          <p:spPr>
            <a:xfrm>
              <a:off x="7377200" y="1627850"/>
              <a:ext cx="7625" cy="6175"/>
            </a:xfrm>
            <a:custGeom>
              <a:avLst/>
              <a:gdLst/>
              <a:ahLst/>
              <a:cxnLst/>
              <a:rect l="l" t="t" r="r" b="b"/>
              <a:pathLst>
                <a:path w="305" h="247" extrusionOk="0">
                  <a:moveTo>
                    <a:pt x="1" y="1"/>
                  </a:moveTo>
                  <a:cubicBezTo>
                    <a:pt x="149" y="240"/>
                    <a:pt x="289" y="246"/>
                    <a:pt x="304" y="246"/>
                  </a:cubicBezTo>
                  <a:cubicBezTo>
                    <a:pt x="304" y="246"/>
                    <a:pt x="305" y="246"/>
                    <a:pt x="305" y="246"/>
                  </a:cubicBezTo>
                  <a:lnTo>
                    <a:pt x="305" y="209"/>
                  </a:lnTo>
                  <a:cubicBezTo>
                    <a:pt x="305" y="209"/>
                    <a:pt x="302" y="211"/>
                    <a:pt x="293" y="211"/>
                  </a:cubicBezTo>
                  <a:cubicBezTo>
                    <a:pt x="275" y="211"/>
                    <a:pt x="232" y="201"/>
                    <a:pt x="141" y="134"/>
                  </a:cubicBezTo>
                  <a:cubicBezTo>
                    <a:pt x="60" y="8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9" name="Google Shape;5249;p53">
              <a:extLst>
                <a:ext uri="{FF2B5EF4-FFF2-40B4-BE49-F238E27FC236}">
                  <a16:creationId xmlns:a16="http://schemas.microsoft.com/office/drawing/2014/main" id="{C00F8572-846D-7F43-238D-72CE868E70E0}"/>
                </a:ext>
              </a:extLst>
            </p:cNvPr>
            <p:cNvSpPr/>
            <p:nvPr/>
          </p:nvSpPr>
          <p:spPr>
            <a:xfrm>
              <a:off x="7673450" y="1502475"/>
              <a:ext cx="158950" cy="154700"/>
            </a:xfrm>
            <a:custGeom>
              <a:avLst/>
              <a:gdLst/>
              <a:ahLst/>
              <a:cxnLst/>
              <a:rect l="l" t="t" r="r" b="b"/>
              <a:pathLst>
                <a:path w="6358" h="6188" extrusionOk="0">
                  <a:moveTo>
                    <a:pt x="3090" y="1"/>
                  </a:moveTo>
                  <a:cubicBezTo>
                    <a:pt x="2978" y="1"/>
                    <a:pt x="2867" y="30"/>
                    <a:pt x="2771" y="90"/>
                  </a:cubicBezTo>
                  <a:cubicBezTo>
                    <a:pt x="2067" y="534"/>
                    <a:pt x="0" y="6188"/>
                    <a:pt x="3089" y="6188"/>
                  </a:cubicBezTo>
                  <a:cubicBezTo>
                    <a:pt x="6358" y="6188"/>
                    <a:pt x="4112" y="534"/>
                    <a:pt x="3415" y="90"/>
                  </a:cubicBezTo>
                  <a:cubicBezTo>
                    <a:pt x="3315" y="30"/>
                    <a:pt x="3202" y="1"/>
                    <a:pt x="3090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0" name="Google Shape;5250;p53">
              <a:extLst>
                <a:ext uri="{FF2B5EF4-FFF2-40B4-BE49-F238E27FC236}">
                  <a16:creationId xmlns:a16="http://schemas.microsoft.com/office/drawing/2014/main" id="{FAE0AF7C-DB8A-F1ED-F6AF-A879AB509876}"/>
                </a:ext>
              </a:extLst>
            </p:cNvPr>
            <p:cNvSpPr/>
            <p:nvPr/>
          </p:nvSpPr>
          <p:spPr>
            <a:xfrm>
              <a:off x="7673450" y="1504650"/>
              <a:ext cx="77250" cy="152525"/>
            </a:xfrm>
            <a:custGeom>
              <a:avLst/>
              <a:gdLst/>
              <a:ahLst/>
              <a:cxnLst/>
              <a:rect l="l" t="t" r="r" b="b"/>
              <a:pathLst>
                <a:path w="3090" h="6101" extrusionOk="0">
                  <a:moveTo>
                    <a:pt x="2776" y="1"/>
                  </a:moveTo>
                  <a:cubicBezTo>
                    <a:pt x="2775" y="1"/>
                    <a:pt x="2773" y="2"/>
                    <a:pt x="2771" y="3"/>
                  </a:cubicBezTo>
                  <a:cubicBezTo>
                    <a:pt x="2067" y="447"/>
                    <a:pt x="0" y="6101"/>
                    <a:pt x="3089" y="6101"/>
                  </a:cubicBezTo>
                  <a:cubicBezTo>
                    <a:pt x="3089" y="6101"/>
                    <a:pt x="2312" y="6033"/>
                    <a:pt x="2268" y="3826"/>
                  </a:cubicBezTo>
                  <a:cubicBezTo>
                    <a:pt x="2215" y="1638"/>
                    <a:pt x="2848" y="1"/>
                    <a:pt x="2776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1" name="Google Shape;5251;p53">
              <a:extLst>
                <a:ext uri="{FF2B5EF4-FFF2-40B4-BE49-F238E27FC236}">
                  <a16:creationId xmlns:a16="http://schemas.microsoft.com/office/drawing/2014/main" id="{BD22324D-2E68-871D-42F7-4902D14E4C3D}"/>
                </a:ext>
              </a:extLst>
            </p:cNvPr>
            <p:cNvSpPr/>
            <p:nvPr/>
          </p:nvSpPr>
          <p:spPr>
            <a:xfrm>
              <a:off x="7748275" y="1572725"/>
              <a:ext cx="11125" cy="107050"/>
            </a:xfrm>
            <a:custGeom>
              <a:avLst/>
              <a:gdLst/>
              <a:ahLst/>
              <a:cxnLst/>
              <a:rect l="l" t="t" r="r" b="b"/>
              <a:pathLst>
                <a:path w="445" h="4282" extrusionOk="0">
                  <a:moveTo>
                    <a:pt x="224" y="1"/>
                  </a:moveTo>
                  <a:cubicBezTo>
                    <a:pt x="223" y="1"/>
                    <a:pt x="222" y="6"/>
                    <a:pt x="222" y="20"/>
                  </a:cubicBezTo>
                  <a:lnTo>
                    <a:pt x="0" y="4281"/>
                  </a:lnTo>
                  <a:lnTo>
                    <a:pt x="445" y="4281"/>
                  </a:lnTo>
                  <a:cubicBezTo>
                    <a:pt x="430" y="2458"/>
                    <a:pt x="267" y="20"/>
                    <a:pt x="229" y="20"/>
                  </a:cubicBezTo>
                  <a:cubicBezTo>
                    <a:pt x="229" y="20"/>
                    <a:pt x="226" y="1"/>
                    <a:pt x="22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2" name="Google Shape;5252;p53">
              <a:extLst>
                <a:ext uri="{FF2B5EF4-FFF2-40B4-BE49-F238E27FC236}">
                  <a16:creationId xmlns:a16="http://schemas.microsoft.com/office/drawing/2014/main" id="{C8BA2C21-BAFD-09F0-0773-A5EAFF2B23AA}"/>
                </a:ext>
              </a:extLst>
            </p:cNvPr>
            <p:cNvSpPr/>
            <p:nvPr/>
          </p:nvSpPr>
          <p:spPr>
            <a:xfrm>
              <a:off x="7723625" y="1610650"/>
              <a:ext cx="30400" cy="24475"/>
            </a:xfrm>
            <a:custGeom>
              <a:avLst/>
              <a:gdLst/>
              <a:ahLst/>
              <a:cxnLst/>
              <a:rect l="l" t="t" r="r" b="b"/>
              <a:pathLst>
                <a:path w="1216" h="979" extrusionOk="0">
                  <a:moveTo>
                    <a:pt x="1" y="1"/>
                  </a:moveTo>
                  <a:cubicBezTo>
                    <a:pt x="595" y="952"/>
                    <a:pt x="1136" y="979"/>
                    <a:pt x="1196" y="979"/>
                  </a:cubicBezTo>
                  <a:cubicBezTo>
                    <a:pt x="1199" y="979"/>
                    <a:pt x="1201" y="979"/>
                    <a:pt x="1201" y="979"/>
                  </a:cubicBezTo>
                  <a:lnTo>
                    <a:pt x="1215" y="838"/>
                  </a:lnTo>
                  <a:lnTo>
                    <a:pt x="1215" y="838"/>
                  </a:lnTo>
                  <a:cubicBezTo>
                    <a:pt x="1215" y="838"/>
                    <a:pt x="1203" y="847"/>
                    <a:pt x="1168" y="847"/>
                  </a:cubicBezTo>
                  <a:cubicBezTo>
                    <a:pt x="1093" y="847"/>
                    <a:pt x="919" y="806"/>
                    <a:pt x="556" y="548"/>
                  </a:cubicBezTo>
                  <a:cubicBezTo>
                    <a:pt x="245" y="33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3" name="Google Shape;5253;p53">
              <a:extLst>
                <a:ext uri="{FF2B5EF4-FFF2-40B4-BE49-F238E27FC236}">
                  <a16:creationId xmlns:a16="http://schemas.microsoft.com/office/drawing/2014/main" id="{253EDFF2-7113-A3D3-6A95-0A077C88A213}"/>
                </a:ext>
              </a:extLst>
            </p:cNvPr>
            <p:cNvSpPr/>
            <p:nvPr/>
          </p:nvSpPr>
          <p:spPr>
            <a:xfrm>
              <a:off x="7754000" y="1603800"/>
              <a:ext cx="25600" cy="20750"/>
            </a:xfrm>
            <a:custGeom>
              <a:avLst/>
              <a:gdLst/>
              <a:ahLst/>
              <a:cxnLst/>
              <a:rect l="l" t="t" r="r" b="b"/>
              <a:pathLst>
                <a:path w="1024" h="830" extrusionOk="0">
                  <a:moveTo>
                    <a:pt x="1023" y="1"/>
                  </a:moveTo>
                  <a:lnTo>
                    <a:pt x="1023" y="1"/>
                  </a:lnTo>
                  <a:cubicBezTo>
                    <a:pt x="1023" y="1"/>
                    <a:pt x="824" y="282"/>
                    <a:pt x="557" y="467"/>
                  </a:cubicBezTo>
                  <a:cubicBezTo>
                    <a:pt x="255" y="685"/>
                    <a:pt x="108" y="721"/>
                    <a:pt x="44" y="721"/>
                  </a:cubicBezTo>
                  <a:cubicBezTo>
                    <a:pt x="12" y="721"/>
                    <a:pt x="0" y="712"/>
                    <a:pt x="0" y="712"/>
                  </a:cubicBezTo>
                  <a:lnTo>
                    <a:pt x="0" y="712"/>
                  </a:lnTo>
                  <a:lnTo>
                    <a:pt x="8" y="830"/>
                  </a:lnTo>
                  <a:cubicBezTo>
                    <a:pt x="8" y="830"/>
                    <a:pt x="10" y="830"/>
                    <a:pt x="14" y="830"/>
                  </a:cubicBezTo>
                  <a:cubicBezTo>
                    <a:pt x="72" y="830"/>
                    <a:pt x="531" y="803"/>
                    <a:pt x="1023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4" name="Google Shape;5254;p53">
              <a:extLst>
                <a:ext uri="{FF2B5EF4-FFF2-40B4-BE49-F238E27FC236}">
                  <a16:creationId xmlns:a16="http://schemas.microsoft.com/office/drawing/2014/main" id="{90ECF7C4-3E50-31A1-3718-961F055B9F39}"/>
                </a:ext>
              </a:extLst>
            </p:cNvPr>
            <p:cNvSpPr/>
            <p:nvPr/>
          </p:nvSpPr>
          <p:spPr>
            <a:xfrm>
              <a:off x="7733225" y="1588950"/>
              <a:ext cx="20800" cy="16700"/>
            </a:xfrm>
            <a:custGeom>
              <a:avLst/>
              <a:gdLst/>
              <a:ahLst/>
              <a:cxnLst/>
              <a:rect l="l" t="t" r="r" b="b"/>
              <a:pathLst>
                <a:path w="832" h="668" extrusionOk="0">
                  <a:moveTo>
                    <a:pt x="1" y="1"/>
                  </a:moveTo>
                  <a:lnTo>
                    <a:pt x="1" y="1"/>
                  </a:lnTo>
                  <a:cubicBezTo>
                    <a:pt x="398" y="648"/>
                    <a:pt x="774" y="668"/>
                    <a:pt x="820" y="668"/>
                  </a:cubicBezTo>
                  <a:cubicBezTo>
                    <a:pt x="823" y="668"/>
                    <a:pt x="824" y="668"/>
                    <a:pt x="824" y="668"/>
                  </a:cubicBezTo>
                  <a:lnTo>
                    <a:pt x="831" y="572"/>
                  </a:lnTo>
                  <a:lnTo>
                    <a:pt x="831" y="572"/>
                  </a:lnTo>
                  <a:cubicBezTo>
                    <a:pt x="831" y="572"/>
                    <a:pt x="821" y="580"/>
                    <a:pt x="793" y="580"/>
                  </a:cubicBezTo>
                  <a:cubicBezTo>
                    <a:pt x="739" y="580"/>
                    <a:pt x="618" y="550"/>
                    <a:pt x="380" y="380"/>
                  </a:cubicBezTo>
                  <a:cubicBezTo>
                    <a:pt x="165" y="23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5" name="Google Shape;5255;p53">
              <a:extLst>
                <a:ext uri="{FF2B5EF4-FFF2-40B4-BE49-F238E27FC236}">
                  <a16:creationId xmlns:a16="http://schemas.microsoft.com/office/drawing/2014/main" id="{BBF350F0-1DCE-4849-98E8-41C5C353BB79}"/>
                </a:ext>
              </a:extLst>
            </p:cNvPr>
            <p:cNvSpPr/>
            <p:nvPr/>
          </p:nvSpPr>
          <p:spPr>
            <a:xfrm>
              <a:off x="7517600" y="1556875"/>
              <a:ext cx="110650" cy="107700"/>
            </a:xfrm>
            <a:custGeom>
              <a:avLst/>
              <a:gdLst/>
              <a:ahLst/>
              <a:cxnLst/>
              <a:rect l="l" t="t" r="r" b="b"/>
              <a:pathLst>
                <a:path w="4426" h="4308" extrusionOk="0">
                  <a:moveTo>
                    <a:pt x="2151" y="1"/>
                  </a:moveTo>
                  <a:cubicBezTo>
                    <a:pt x="2073" y="1"/>
                    <a:pt x="1995" y="21"/>
                    <a:pt x="1929" y="62"/>
                  </a:cubicBezTo>
                  <a:cubicBezTo>
                    <a:pt x="1440" y="366"/>
                    <a:pt x="1" y="4307"/>
                    <a:pt x="2151" y="4307"/>
                  </a:cubicBezTo>
                  <a:cubicBezTo>
                    <a:pt x="4425" y="4307"/>
                    <a:pt x="2862" y="366"/>
                    <a:pt x="2373" y="62"/>
                  </a:cubicBezTo>
                  <a:cubicBezTo>
                    <a:pt x="2307" y="21"/>
                    <a:pt x="2229" y="1"/>
                    <a:pt x="2151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6" name="Google Shape;5256;p53">
              <a:extLst>
                <a:ext uri="{FF2B5EF4-FFF2-40B4-BE49-F238E27FC236}">
                  <a16:creationId xmlns:a16="http://schemas.microsoft.com/office/drawing/2014/main" id="{4060E9D7-437B-367E-A0FB-350DD7DA033D}"/>
                </a:ext>
              </a:extLst>
            </p:cNvPr>
            <p:cNvSpPr/>
            <p:nvPr/>
          </p:nvSpPr>
          <p:spPr>
            <a:xfrm>
              <a:off x="7517600" y="1558375"/>
              <a:ext cx="53775" cy="106200"/>
            </a:xfrm>
            <a:custGeom>
              <a:avLst/>
              <a:gdLst/>
              <a:ahLst/>
              <a:cxnLst/>
              <a:rect l="l" t="t" r="r" b="b"/>
              <a:pathLst>
                <a:path w="2151" h="4248" extrusionOk="0">
                  <a:moveTo>
                    <a:pt x="1932" y="1"/>
                  </a:moveTo>
                  <a:cubicBezTo>
                    <a:pt x="1931" y="1"/>
                    <a:pt x="1930" y="1"/>
                    <a:pt x="1929" y="2"/>
                  </a:cubicBezTo>
                  <a:cubicBezTo>
                    <a:pt x="1440" y="306"/>
                    <a:pt x="1" y="4247"/>
                    <a:pt x="2151" y="4247"/>
                  </a:cubicBezTo>
                  <a:cubicBezTo>
                    <a:pt x="2151" y="4247"/>
                    <a:pt x="1610" y="4203"/>
                    <a:pt x="1580" y="2663"/>
                  </a:cubicBezTo>
                  <a:cubicBezTo>
                    <a:pt x="1543" y="1142"/>
                    <a:pt x="1985" y="1"/>
                    <a:pt x="1932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7" name="Google Shape;5257;p53">
              <a:extLst>
                <a:ext uri="{FF2B5EF4-FFF2-40B4-BE49-F238E27FC236}">
                  <a16:creationId xmlns:a16="http://schemas.microsoft.com/office/drawing/2014/main" id="{022C5BD5-5D2D-C288-6898-6AE1C43A35DF}"/>
                </a:ext>
              </a:extLst>
            </p:cNvPr>
            <p:cNvSpPr/>
            <p:nvPr/>
          </p:nvSpPr>
          <p:spPr>
            <a:xfrm>
              <a:off x="7569675" y="1605800"/>
              <a:ext cx="7800" cy="74550"/>
            </a:xfrm>
            <a:custGeom>
              <a:avLst/>
              <a:gdLst/>
              <a:ahLst/>
              <a:cxnLst/>
              <a:rect l="l" t="t" r="r" b="b"/>
              <a:pathLst>
                <a:path w="312" h="2982" extrusionOk="0">
                  <a:moveTo>
                    <a:pt x="159" y="0"/>
                  </a:moveTo>
                  <a:cubicBezTo>
                    <a:pt x="158" y="0"/>
                    <a:pt x="157" y="4"/>
                    <a:pt x="157" y="17"/>
                  </a:cubicBezTo>
                  <a:lnTo>
                    <a:pt x="0" y="2981"/>
                  </a:lnTo>
                  <a:lnTo>
                    <a:pt x="312" y="2981"/>
                  </a:lnTo>
                  <a:cubicBezTo>
                    <a:pt x="304" y="1713"/>
                    <a:pt x="185" y="17"/>
                    <a:pt x="164" y="17"/>
                  </a:cubicBezTo>
                  <a:cubicBezTo>
                    <a:pt x="164" y="17"/>
                    <a:pt x="161" y="0"/>
                    <a:pt x="159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8" name="Google Shape;5258;p53">
              <a:extLst>
                <a:ext uri="{FF2B5EF4-FFF2-40B4-BE49-F238E27FC236}">
                  <a16:creationId xmlns:a16="http://schemas.microsoft.com/office/drawing/2014/main" id="{DBCF1E5C-D023-A4F1-036C-7DD65C7CA9E3}"/>
                </a:ext>
              </a:extLst>
            </p:cNvPr>
            <p:cNvSpPr/>
            <p:nvPr/>
          </p:nvSpPr>
          <p:spPr>
            <a:xfrm>
              <a:off x="7552650" y="1632125"/>
              <a:ext cx="20950" cy="17100"/>
            </a:xfrm>
            <a:custGeom>
              <a:avLst/>
              <a:gdLst/>
              <a:ahLst/>
              <a:cxnLst/>
              <a:rect l="l" t="t" r="r" b="b"/>
              <a:pathLst>
                <a:path w="838" h="684" extrusionOk="0">
                  <a:moveTo>
                    <a:pt x="0" y="1"/>
                  </a:moveTo>
                  <a:lnTo>
                    <a:pt x="0" y="1"/>
                  </a:lnTo>
                  <a:cubicBezTo>
                    <a:pt x="406" y="665"/>
                    <a:pt x="785" y="684"/>
                    <a:pt x="827" y="684"/>
                  </a:cubicBezTo>
                  <a:cubicBezTo>
                    <a:pt x="829" y="684"/>
                    <a:pt x="831" y="684"/>
                    <a:pt x="831" y="684"/>
                  </a:cubicBezTo>
                  <a:lnTo>
                    <a:pt x="838" y="586"/>
                  </a:lnTo>
                  <a:lnTo>
                    <a:pt x="838" y="586"/>
                  </a:lnTo>
                  <a:cubicBezTo>
                    <a:pt x="838" y="586"/>
                    <a:pt x="830" y="592"/>
                    <a:pt x="806" y="592"/>
                  </a:cubicBezTo>
                  <a:cubicBezTo>
                    <a:pt x="757" y="592"/>
                    <a:pt x="639" y="564"/>
                    <a:pt x="386" y="387"/>
                  </a:cubicBezTo>
                  <a:cubicBezTo>
                    <a:pt x="164" y="23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9" name="Google Shape;5259;p53">
              <a:extLst>
                <a:ext uri="{FF2B5EF4-FFF2-40B4-BE49-F238E27FC236}">
                  <a16:creationId xmlns:a16="http://schemas.microsoft.com/office/drawing/2014/main" id="{8FD2DE67-679D-88B4-3555-2C782BE78863}"/>
                </a:ext>
              </a:extLst>
            </p:cNvPr>
            <p:cNvSpPr/>
            <p:nvPr/>
          </p:nvSpPr>
          <p:spPr>
            <a:xfrm>
              <a:off x="7573575" y="1627500"/>
              <a:ext cx="18000" cy="14475"/>
            </a:xfrm>
            <a:custGeom>
              <a:avLst/>
              <a:gdLst/>
              <a:ahLst/>
              <a:cxnLst/>
              <a:rect l="l" t="t" r="r" b="b"/>
              <a:pathLst>
                <a:path w="720" h="579" extrusionOk="0">
                  <a:moveTo>
                    <a:pt x="719" y="1"/>
                  </a:moveTo>
                  <a:cubicBezTo>
                    <a:pt x="719" y="1"/>
                    <a:pt x="579" y="193"/>
                    <a:pt x="394" y="326"/>
                  </a:cubicBezTo>
                  <a:cubicBezTo>
                    <a:pt x="184" y="472"/>
                    <a:pt x="81" y="497"/>
                    <a:pt x="34" y="497"/>
                  </a:cubicBezTo>
                  <a:cubicBezTo>
                    <a:pt x="10" y="497"/>
                    <a:pt x="1" y="490"/>
                    <a:pt x="1" y="490"/>
                  </a:cubicBezTo>
                  <a:lnTo>
                    <a:pt x="1" y="490"/>
                  </a:lnTo>
                  <a:lnTo>
                    <a:pt x="8" y="579"/>
                  </a:lnTo>
                  <a:cubicBezTo>
                    <a:pt x="8" y="579"/>
                    <a:pt x="9" y="579"/>
                    <a:pt x="10" y="579"/>
                  </a:cubicBezTo>
                  <a:cubicBezTo>
                    <a:pt x="39" y="579"/>
                    <a:pt x="366" y="566"/>
                    <a:pt x="71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0" name="Google Shape;5260;p53">
              <a:extLst>
                <a:ext uri="{FF2B5EF4-FFF2-40B4-BE49-F238E27FC236}">
                  <a16:creationId xmlns:a16="http://schemas.microsoft.com/office/drawing/2014/main" id="{E121FAD3-F964-6319-FF77-5884F0BD1D37}"/>
                </a:ext>
              </a:extLst>
            </p:cNvPr>
            <p:cNvSpPr/>
            <p:nvPr/>
          </p:nvSpPr>
          <p:spPr>
            <a:xfrm>
              <a:off x="7559125" y="1617150"/>
              <a:ext cx="14475" cy="11675"/>
            </a:xfrm>
            <a:custGeom>
              <a:avLst/>
              <a:gdLst/>
              <a:ahLst/>
              <a:cxnLst/>
              <a:rect l="l" t="t" r="r" b="b"/>
              <a:pathLst>
                <a:path w="579" h="467" extrusionOk="0">
                  <a:moveTo>
                    <a:pt x="1" y="0"/>
                  </a:moveTo>
                  <a:lnTo>
                    <a:pt x="1" y="0"/>
                  </a:lnTo>
                  <a:cubicBezTo>
                    <a:pt x="296" y="460"/>
                    <a:pt x="563" y="466"/>
                    <a:pt x="578" y="466"/>
                  </a:cubicBezTo>
                  <a:cubicBezTo>
                    <a:pt x="579" y="466"/>
                    <a:pt x="579" y="466"/>
                    <a:pt x="579" y="466"/>
                  </a:cubicBezTo>
                  <a:lnTo>
                    <a:pt x="579" y="393"/>
                  </a:lnTo>
                  <a:cubicBezTo>
                    <a:pt x="579" y="393"/>
                    <a:pt x="571" y="400"/>
                    <a:pt x="550" y="400"/>
                  </a:cubicBezTo>
                  <a:cubicBezTo>
                    <a:pt x="511" y="400"/>
                    <a:pt x="429" y="379"/>
                    <a:pt x="268" y="260"/>
                  </a:cubicBezTo>
                  <a:cubicBezTo>
                    <a:pt x="118" y="15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1" name="Google Shape;5261;p53">
              <a:extLst>
                <a:ext uri="{FF2B5EF4-FFF2-40B4-BE49-F238E27FC236}">
                  <a16:creationId xmlns:a16="http://schemas.microsoft.com/office/drawing/2014/main" id="{9A7F1486-2870-6982-B142-C8E523D41E4A}"/>
                </a:ext>
              </a:extLst>
            </p:cNvPr>
            <p:cNvSpPr/>
            <p:nvPr/>
          </p:nvSpPr>
          <p:spPr>
            <a:xfrm>
              <a:off x="7639875" y="1540475"/>
              <a:ext cx="120475" cy="117250"/>
            </a:xfrm>
            <a:custGeom>
              <a:avLst/>
              <a:gdLst/>
              <a:ahLst/>
              <a:cxnLst/>
              <a:rect l="l" t="t" r="r" b="b"/>
              <a:pathLst>
                <a:path w="4819" h="4690" extrusionOk="0">
                  <a:moveTo>
                    <a:pt x="2476" y="1"/>
                  </a:moveTo>
                  <a:cubicBezTo>
                    <a:pt x="2391" y="1"/>
                    <a:pt x="2306" y="25"/>
                    <a:pt x="2232" y="73"/>
                  </a:cubicBezTo>
                  <a:cubicBezTo>
                    <a:pt x="1699" y="407"/>
                    <a:pt x="0" y="4689"/>
                    <a:pt x="2476" y="4689"/>
                  </a:cubicBezTo>
                  <a:cubicBezTo>
                    <a:pt x="4818" y="4689"/>
                    <a:pt x="3255" y="407"/>
                    <a:pt x="2721" y="73"/>
                  </a:cubicBezTo>
                  <a:cubicBezTo>
                    <a:pt x="2647" y="25"/>
                    <a:pt x="2561" y="1"/>
                    <a:pt x="2476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2" name="Google Shape;5262;p53">
              <a:extLst>
                <a:ext uri="{FF2B5EF4-FFF2-40B4-BE49-F238E27FC236}">
                  <a16:creationId xmlns:a16="http://schemas.microsoft.com/office/drawing/2014/main" id="{D5A97D42-51FB-ED48-B69F-0D8ED4E83548}"/>
                </a:ext>
              </a:extLst>
            </p:cNvPr>
            <p:cNvSpPr/>
            <p:nvPr/>
          </p:nvSpPr>
          <p:spPr>
            <a:xfrm>
              <a:off x="7641750" y="1545575"/>
              <a:ext cx="56350" cy="111425"/>
            </a:xfrm>
            <a:custGeom>
              <a:avLst/>
              <a:gdLst/>
              <a:ahLst/>
              <a:cxnLst/>
              <a:rect l="l" t="t" r="r" b="b"/>
              <a:pathLst>
                <a:path w="2254" h="4457" extrusionOk="0">
                  <a:moveTo>
                    <a:pt x="2028" y="0"/>
                  </a:moveTo>
                  <a:cubicBezTo>
                    <a:pt x="2027" y="0"/>
                    <a:pt x="2025" y="1"/>
                    <a:pt x="2024" y="2"/>
                  </a:cubicBezTo>
                  <a:cubicBezTo>
                    <a:pt x="1505" y="322"/>
                    <a:pt x="0" y="4457"/>
                    <a:pt x="2253" y="4457"/>
                  </a:cubicBezTo>
                  <a:cubicBezTo>
                    <a:pt x="2253" y="4457"/>
                    <a:pt x="1690" y="4412"/>
                    <a:pt x="1652" y="2796"/>
                  </a:cubicBezTo>
                  <a:cubicBezTo>
                    <a:pt x="1616" y="1200"/>
                    <a:pt x="2077" y="0"/>
                    <a:pt x="202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3" name="Google Shape;5263;p53">
              <a:extLst>
                <a:ext uri="{FF2B5EF4-FFF2-40B4-BE49-F238E27FC236}">
                  <a16:creationId xmlns:a16="http://schemas.microsoft.com/office/drawing/2014/main" id="{33B36FDF-0119-9A05-81EF-661C11B1C1DD}"/>
                </a:ext>
              </a:extLst>
            </p:cNvPr>
            <p:cNvSpPr/>
            <p:nvPr/>
          </p:nvSpPr>
          <p:spPr>
            <a:xfrm>
              <a:off x="7696200" y="1601350"/>
              <a:ext cx="8175" cy="79525"/>
            </a:xfrm>
            <a:custGeom>
              <a:avLst/>
              <a:gdLst/>
              <a:ahLst/>
              <a:cxnLst/>
              <a:rect l="l" t="t" r="r" b="b"/>
              <a:pathLst>
                <a:path w="327" h="3181" extrusionOk="0">
                  <a:moveTo>
                    <a:pt x="166" y="0"/>
                  </a:moveTo>
                  <a:cubicBezTo>
                    <a:pt x="165" y="0"/>
                    <a:pt x="164" y="5"/>
                    <a:pt x="164" y="17"/>
                  </a:cubicBezTo>
                  <a:lnTo>
                    <a:pt x="1" y="3181"/>
                  </a:lnTo>
                  <a:cubicBezTo>
                    <a:pt x="13" y="3178"/>
                    <a:pt x="49" y="3178"/>
                    <a:pt x="94" y="3178"/>
                  </a:cubicBezTo>
                  <a:cubicBezTo>
                    <a:pt x="182" y="3178"/>
                    <a:pt x="302" y="3181"/>
                    <a:pt x="326" y="3181"/>
                  </a:cubicBezTo>
                  <a:cubicBezTo>
                    <a:pt x="319" y="1826"/>
                    <a:pt x="193" y="17"/>
                    <a:pt x="171" y="17"/>
                  </a:cubicBezTo>
                  <a:cubicBezTo>
                    <a:pt x="171" y="17"/>
                    <a:pt x="168" y="0"/>
                    <a:pt x="166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4" name="Google Shape;5264;p53">
              <a:extLst>
                <a:ext uri="{FF2B5EF4-FFF2-40B4-BE49-F238E27FC236}">
                  <a16:creationId xmlns:a16="http://schemas.microsoft.com/office/drawing/2014/main" id="{EA1E8DAB-762F-A392-AD8B-6BA9A315CFB5}"/>
                </a:ext>
              </a:extLst>
            </p:cNvPr>
            <p:cNvSpPr/>
            <p:nvPr/>
          </p:nvSpPr>
          <p:spPr>
            <a:xfrm>
              <a:off x="7677875" y="1629375"/>
              <a:ext cx="22450" cy="18175"/>
            </a:xfrm>
            <a:custGeom>
              <a:avLst/>
              <a:gdLst/>
              <a:ahLst/>
              <a:cxnLst/>
              <a:rect l="l" t="t" r="r" b="b"/>
              <a:pathLst>
                <a:path w="898" h="727" extrusionOk="0">
                  <a:moveTo>
                    <a:pt x="1" y="0"/>
                  </a:moveTo>
                  <a:lnTo>
                    <a:pt x="1" y="0"/>
                  </a:lnTo>
                  <a:cubicBezTo>
                    <a:pt x="433" y="706"/>
                    <a:pt x="840" y="726"/>
                    <a:pt x="886" y="726"/>
                  </a:cubicBezTo>
                  <a:cubicBezTo>
                    <a:pt x="889" y="726"/>
                    <a:pt x="890" y="726"/>
                    <a:pt x="890" y="726"/>
                  </a:cubicBezTo>
                  <a:lnTo>
                    <a:pt x="897" y="623"/>
                  </a:lnTo>
                  <a:lnTo>
                    <a:pt x="897" y="623"/>
                  </a:lnTo>
                  <a:cubicBezTo>
                    <a:pt x="897" y="623"/>
                    <a:pt x="888" y="630"/>
                    <a:pt x="862" y="630"/>
                  </a:cubicBezTo>
                  <a:cubicBezTo>
                    <a:pt x="807" y="630"/>
                    <a:pt x="678" y="600"/>
                    <a:pt x="408" y="415"/>
                  </a:cubicBezTo>
                  <a:cubicBezTo>
                    <a:pt x="179" y="25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5" name="Google Shape;5265;p53">
              <a:extLst>
                <a:ext uri="{FF2B5EF4-FFF2-40B4-BE49-F238E27FC236}">
                  <a16:creationId xmlns:a16="http://schemas.microsoft.com/office/drawing/2014/main" id="{D57937F8-563D-775A-DD61-DE5A2A400210}"/>
                </a:ext>
              </a:extLst>
            </p:cNvPr>
            <p:cNvSpPr/>
            <p:nvPr/>
          </p:nvSpPr>
          <p:spPr>
            <a:xfrm>
              <a:off x="7700300" y="162435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1"/>
                    <a:pt x="615" y="209"/>
                    <a:pt x="415" y="349"/>
                  </a:cubicBezTo>
                  <a:cubicBezTo>
                    <a:pt x="192" y="507"/>
                    <a:pt x="82" y="533"/>
                    <a:pt x="33" y="533"/>
                  </a:cubicBezTo>
                  <a:cubicBezTo>
                    <a:pt x="9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9" y="616"/>
                    <a:pt x="12" y="616"/>
                  </a:cubicBezTo>
                  <a:cubicBezTo>
                    <a:pt x="56" y="616"/>
                    <a:pt x="397" y="596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6" name="Google Shape;5266;p53">
              <a:extLst>
                <a:ext uri="{FF2B5EF4-FFF2-40B4-BE49-F238E27FC236}">
                  <a16:creationId xmlns:a16="http://schemas.microsoft.com/office/drawing/2014/main" id="{EE32DDF7-C22A-4D03-0486-6B540115DCD6}"/>
                </a:ext>
              </a:extLst>
            </p:cNvPr>
            <p:cNvSpPr/>
            <p:nvPr/>
          </p:nvSpPr>
          <p:spPr>
            <a:xfrm>
              <a:off x="7684900" y="1613225"/>
              <a:ext cx="15425" cy="12650"/>
            </a:xfrm>
            <a:custGeom>
              <a:avLst/>
              <a:gdLst/>
              <a:ahLst/>
              <a:cxnLst/>
              <a:rect l="l" t="t" r="r" b="b"/>
              <a:pathLst>
                <a:path w="617" h="506" extrusionOk="0">
                  <a:moveTo>
                    <a:pt x="1" y="1"/>
                  </a:moveTo>
                  <a:lnTo>
                    <a:pt x="1" y="1"/>
                  </a:lnTo>
                  <a:cubicBezTo>
                    <a:pt x="303" y="493"/>
                    <a:pt x="579" y="506"/>
                    <a:pt x="607" y="506"/>
                  </a:cubicBezTo>
                  <a:cubicBezTo>
                    <a:pt x="608" y="506"/>
                    <a:pt x="609" y="506"/>
                    <a:pt x="609" y="506"/>
                  </a:cubicBezTo>
                  <a:lnTo>
                    <a:pt x="616" y="431"/>
                  </a:lnTo>
                  <a:lnTo>
                    <a:pt x="616" y="431"/>
                  </a:lnTo>
                  <a:cubicBezTo>
                    <a:pt x="616" y="431"/>
                    <a:pt x="610" y="436"/>
                    <a:pt x="593" y="436"/>
                  </a:cubicBezTo>
                  <a:cubicBezTo>
                    <a:pt x="557" y="436"/>
                    <a:pt x="469" y="415"/>
                    <a:pt x="282" y="284"/>
                  </a:cubicBezTo>
                  <a:cubicBezTo>
                    <a:pt x="127" y="17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7" name="Google Shape;5267;p53">
              <a:extLst>
                <a:ext uri="{FF2B5EF4-FFF2-40B4-BE49-F238E27FC236}">
                  <a16:creationId xmlns:a16="http://schemas.microsoft.com/office/drawing/2014/main" id="{848F7556-9877-6BC8-B081-119B3E2A6DEC}"/>
                </a:ext>
              </a:extLst>
            </p:cNvPr>
            <p:cNvSpPr/>
            <p:nvPr/>
          </p:nvSpPr>
          <p:spPr>
            <a:xfrm>
              <a:off x="7421675" y="1540075"/>
              <a:ext cx="120425" cy="117100"/>
            </a:xfrm>
            <a:custGeom>
              <a:avLst/>
              <a:gdLst/>
              <a:ahLst/>
              <a:cxnLst/>
              <a:rect l="l" t="t" r="r" b="b"/>
              <a:pathLst>
                <a:path w="4817" h="4684" extrusionOk="0">
                  <a:moveTo>
                    <a:pt x="2475" y="1"/>
                  </a:moveTo>
                  <a:cubicBezTo>
                    <a:pt x="2390" y="1"/>
                    <a:pt x="2305" y="23"/>
                    <a:pt x="2230" y="67"/>
                  </a:cubicBezTo>
                  <a:cubicBezTo>
                    <a:pt x="1704" y="400"/>
                    <a:pt x="0" y="4684"/>
                    <a:pt x="2476" y="4684"/>
                  </a:cubicBezTo>
                  <a:cubicBezTo>
                    <a:pt x="4816" y="4684"/>
                    <a:pt x="3253" y="400"/>
                    <a:pt x="2719" y="67"/>
                  </a:cubicBezTo>
                  <a:cubicBezTo>
                    <a:pt x="2646" y="23"/>
                    <a:pt x="2561" y="1"/>
                    <a:pt x="2475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8" name="Google Shape;5268;p53">
              <a:extLst>
                <a:ext uri="{FF2B5EF4-FFF2-40B4-BE49-F238E27FC236}">
                  <a16:creationId xmlns:a16="http://schemas.microsoft.com/office/drawing/2014/main" id="{96DFEF64-B9EE-31E8-E3C1-98E0931FDBE7}"/>
                </a:ext>
              </a:extLst>
            </p:cNvPr>
            <p:cNvSpPr/>
            <p:nvPr/>
          </p:nvSpPr>
          <p:spPr>
            <a:xfrm>
              <a:off x="7423525" y="1545050"/>
              <a:ext cx="56550" cy="111550"/>
            </a:xfrm>
            <a:custGeom>
              <a:avLst/>
              <a:gdLst/>
              <a:ahLst/>
              <a:cxnLst/>
              <a:rect l="l" t="t" r="r" b="b"/>
              <a:pathLst>
                <a:path w="2262" h="4462" extrusionOk="0">
                  <a:moveTo>
                    <a:pt x="2027" y="0"/>
                  </a:moveTo>
                  <a:cubicBezTo>
                    <a:pt x="2026" y="0"/>
                    <a:pt x="2024" y="1"/>
                    <a:pt x="2023" y="2"/>
                  </a:cubicBezTo>
                  <a:cubicBezTo>
                    <a:pt x="1512" y="327"/>
                    <a:pt x="1" y="4462"/>
                    <a:pt x="2261" y="4462"/>
                  </a:cubicBezTo>
                  <a:cubicBezTo>
                    <a:pt x="2261" y="4462"/>
                    <a:pt x="1690" y="4410"/>
                    <a:pt x="1653" y="2795"/>
                  </a:cubicBezTo>
                  <a:cubicBezTo>
                    <a:pt x="1623" y="1194"/>
                    <a:pt x="2088" y="0"/>
                    <a:pt x="2027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9" name="Google Shape;5269;p53">
              <a:extLst>
                <a:ext uri="{FF2B5EF4-FFF2-40B4-BE49-F238E27FC236}">
                  <a16:creationId xmlns:a16="http://schemas.microsoft.com/office/drawing/2014/main" id="{FBEAF28C-300F-B0D1-50E1-0432C643EF10}"/>
                </a:ext>
              </a:extLst>
            </p:cNvPr>
            <p:cNvSpPr/>
            <p:nvPr/>
          </p:nvSpPr>
          <p:spPr>
            <a:xfrm>
              <a:off x="7478000" y="1600800"/>
              <a:ext cx="8325" cy="79550"/>
            </a:xfrm>
            <a:custGeom>
              <a:avLst/>
              <a:gdLst/>
              <a:ahLst/>
              <a:cxnLst/>
              <a:rect l="l" t="t" r="r" b="b"/>
              <a:pathLst>
                <a:path w="333" h="3182" extrusionOk="0">
                  <a:moveTo>
                    <a:pt x="165" y="0"/>
                  </a:moveTo>
                  <a:cubicBezTo>
                    <a:pt x="163" y="0"/>
                    <a:pt x="162" y="4"/>
                    <a:pt x="162" y="16"/>
                  </a:cubicBezTo>
                  <a:lnTo>
                    <a:pt x="0" y="3181"/>
                  </a:lnTo>
                  <a:lnTo>
                    <a:pt x="333" y="3181"/>
                  </a:lnTo>
                  <a:cubicBezTo>
                    <a:pt x="319" y="1825"/>
                    <a:pt x="200" y="16"/>
                    <a:pt x="171" y="16"/>
                  </a:cubicBezTo>
                  <a:cubicBezTo>
                    <a:pt x="171" y="16"/>
                    <a:pt x="167" y="0"/>
                    <a:pt x="165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0" name="Google Shape;5270;p53">
              <a:extLst>
                <a:ext uri="{FF2B5EF4-FFF2-40B4-BE49-F238E27FC236}">
                  <a16:creationId xmlns:a16="http://schemas.microsoft.com/office/drawing/2014/main" id="{6B917244-3683-4EB3-B0FC-4E6441672D63}"/>
                </a:ext>
              </a:extLst>
            </p:cNvPr>
            <p:cNvSpPr/>
            <p:nvPr/>
          </p:nvSpPr>
          <p:spPr>
            <a:xfrm>
              <a:off x="7459625" y="1628975"/>
              <a:ext cx="22675" cy="18200"/>
            </a:xfrm>
            <a:custGeom>
              <a:avLst/>
              <a:gdLst/>
              <a:ahLst/>
              <a:cxnLst/>
              <a:rect l="l" t="t" r="r" b="b"/>
              <a:pathLst>
                <a:path w="907" h="728" extrusionOk="0">
                  <a:moveTo>
                    <a:pt x="1" y="0"/>
                  </a:moveTo>
                  <a:cubicBezTo>
                    <a:pt x="443" y="709"/>
                    <a:pt x="844" y="728"/>
                    <a:pt x="886" y="728"/>
                  </a:cubicBezTo>
                  <a:cubicBezTo>
                    <a:pt x="889" y="728"/>
                    <a:pt x="890" y="728"/>
                    <a:pt x="890" y="728"/>
                  </a:cubicBezTo>
                  <a:lnTo>
                    <a:pt x="906" y="623"/>
                  </a:lnTo>
                  <a:lnTo>
                    <a:pt x="906" y="623"/>
                  </a:lnTo>
                  <a:cubicBezTo>
                    <a:pt x="906" y="623"/>
                    <a:pt x="896" y="630"/>
                    <a:pt x="868" y="630"/>
                  </a:cubicBezTo>
                  <a:cubicBezTo>
                    <a:pt x="812" y="630"/>
                    <a:pt x="681" y="599"/>
                    <a:pt x="417" y="409"/>
                  </a:cubicBezTo>
                  <a:cubicBezTo>
                    <a:pt x="186" y="246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1" name="Google Shape;5271;p53">
              <a:extLst>
                <a:ext uri="{FF2B5EF4-FFF2-40B4-BE49-F238E27FC236}">
                  <a16:creationId xmlns:a16="http://schemas.microsoft.com/office/drawing/2014/main" id="{25BC2D8B-6084-2357-C498-6FF241DC2A4E}"/>
                </a:ext>
              </a:extLst>
            </p:cNvPr>
            <p:cNvSpPr/>
            <p:nvPr/>
          </p:nvSpPr>
          <p:spPr>
            <a:xfrm>
              <a:off x="7482275" y="162400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0"/>
                    <a:pt x="606" y="208"/>
                    <a:pt x="414" y="342"/>
                  </a:cubicBezTo>
                  <a:cubicBezTo>
                    <a:pt x="184" y="506"/>
                    <a:pt x="76" y="533"/>
                    <a:pt x="30" y="533"/>
                  </a:cubicBezTo>
                  <a:cubicBezTo>
                    <a:pt x="8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8" y="616"/>
                    <a:pt x="9" y="616"/>
                  </a:cubicBezTo>
                  <a:cubicBezTo>
                    <a:pt x="39" y="616"/>
                    <a:pt x="387" y="603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2" name="Google Shape;5272;p53">
              <a:extLst>
                <a:ext uri="{FF2B5EF4-FFF2-40B4-BE49-F238E27FC236}">
                  <a16:creationId xmlns:a16="http://schemas.microsoft.com/office/drawing/2014/main" id="{7C6F56F2-0CD5-31F5-10F5-FF9C6DA2989F}"/>
                </a:ext>
              </a:extLst>
            </p:cNvPr>
            <p:cNvSpPr/>
            <p:nvPr/>
          </p:nvSpPr>
          <p:spPr>
            <a:xfrm>
              <a:off x="7466700" y="1612875"/>
              <a:ext cx="15600" cy="12425"/>
            </a:xfrm>
            <a:custGeom>
              <a:avLst/>
              <a:gdLst/>
              <a:ahLst/>
              <a:cxnLst/>
              <a:rect l="l" t="t" r="r" b="b"/>
              <a:pathLst>
                <a:path w="624" h="497" extrusionOk="0">
                  <a:moveTo>
                    <a:pt x="1" y="1"/>
                  </a:moveTo>
                  <a:cubicBezTo>
                    <a:pt x="302" y="484"/>
                    <a:pt x="583" y="497"/>
                    <a:pt x="612" y="497"/>
                  </a:cubicBezTo>
                  <a:cubicBezTo>
                    <a:pt x="613" y="497"/>
                    <a:pt x="614" y="497"/>
                    <a:pt x="614" y="497"/>
                  </a:cubicBezTo>
                  <a:lnTo>
                    <a:pt x="623" y="422"/>
                  </a:lnTo>
                  <a:lnTo>
                    <a:pt x="623" y="422"/>
                  </a:lnTo>
                  <a:cubicBezTo>
                    <a:pt x="623" y="422"/>
                    <a:pt x="615" y="429"/>
                    <a:pt x="591" y="429"/>
                  </a:cubicBezTo>
                  <a:cubicBezTo>
                    <a:pt x="549" y="429"/>
                    <a:pt x="458" y="407"/>
                    <a:pt x="282" y="282"/>
                  </a:cubicBezTo>
                  <a:cubicBezTo>
                    <a:pt x="125" y="17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3" name="Google Shape;5273;p53">
              <a:extLst>
                <a:ext uri="{FF2B5EF4-FFF2-40B4-BE49-F238E27FC236}">
                  <a16:creationId xmlns:a16="http://schemas.microsoft.com/office/drawing/2014/main" id="{6EBAC1C2-1B54-FCF8-9F0D-90D4DAD193BE}"/>
                </a:ext>
              </a:extLst>
            </p:cNvPr>
            <p:cNvSpPr/>
            <p:nvPr/>
          </p:nvSpPr>
          <p:spPr>
            <a:xfrm>
              <a:off x="7454475" y="1518300"/>
              <a:ext cx="141725" cy="137775"/>
            </a:xfrm>
            <a:custGeom>
              <a:avLst/>
              <a:gdLst/>
              <a:ahLst/>
              <a:cxnLst/>
              <a:rect l="l" t="t" r="r" b="b"/>
              <a:pathLst>
                <a:path w="5669" h="5511" extrusionOk="0">
                  <a:moveTo>
                    <a:pt x="2909" y="1"/>
                  </a:moveTo>
                  <a:cubicBezTo>
                    <a:pt x="2808" y="1"/>
                    <a:pt x="2708" y="27"/>
                    <a:pt x="2624" y="79"/>
                  </a:cubicBezTo>
                  <a:cubicBezTo>
                    <a:pt x="2001" y="471"/>
                    <a:pt x="1" y="5510"/>
                    <a:pt x="2912" y="5510"/>
                  </a:cubicBezTo>
                  <a:cubicBezTo>
                    <a:pt x="5668" y="5510"/>
                    <a:pt x="3824" y="471"/>
                    <a:pt x="3202" y="79"/>
                  </a:cubicBezTo>
                  <a:cubicBezTo>
                    <a:pt x="3113" y="27"/>
                    <a:pt x="3011" y="1"/>
                    <a:pt x="2909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4" name="Google Shape;5274;p53">
              <a:extLst>
                <a:ext uri="{FF2B5EF4-FFF2-40B4-BE49-F238E27FC236}">
                  <a16:creationId xmlns:a16="http://schemas.microsoft.com/office/drawing/2014/main" id="{D75DC087-3240-A0C2-13B7-12610244EB2D}"/>
                </a:ext>
              </a:extLst>
            </p:cNvPr>
            <p:cNvSpPr/>
            <p:nvPr/>
          </p:nvSpPr>
          <p:spPr>
            <a:xfrm>
              <a:off x="7457225" y="1524100"/>
              <a:ext cx="67075" cy="132500"/>
            </a:xfrm>
            <a:custGeom>
              <a:avLst/>
              <a:gdLst/>
              <a:ahLst/>
              <a:cxnLst/>
              <a:rect l="l" t="t" r="r" b="b"/>
              <a:pathLst>
                <a:path w="2683" h="5300" extrusionOk="0">
                  <a:moveTo>
                    <a:pt x="2413" y="1"/>
                  </a:moveTo>
                  <a:cubicBezTo>
                    <a:pt x="2412" y="1"/>
                    <a:pt x="2410" y="1"/>
                    <a:pt x="2409" y="2"/>
                  </a:cubicBezTo>
                  <a:cubicBezTo>
                    <a:pt x="1793" y="388"/>
                    <a:pt x="1" y="5300"/>
                    <a:pt x="2683" y="5300"/>
                  </a:cubicBezTo>
                  <a:cubicBezTo>
                    <a:pt x="2683" y="5300"/>
                    <a:pt x="2009" y="5241"/>
                    <a:pt x="1971" y="3322"/>
                  </a:cubicBezTo>
                  <a:cubicBezTo>
                    <a:pt x="1928" y="1421"/>
                    <a:pt x="2478" y="1"/>
                    <a:pt x="2413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5" name="Google Shape;5275;p53">
              <a:extLst>
                <a:ext uri="{FF2B5EF4-FFF2-40B4-BE49-F238E27FC236}">
                  <a16:creationId xmlns:a16="http://schemas.microsoft.com/office/drawing/2014/main" id="{A6FD33D5-F2B4-20E0-3D76-349CD9ABCA7D}"/>
                </a:ext>
              </a:extLst>
            </p:cNvPr>
            <p:cNvSpPr/>
            <p:nvPr/>
          </p:nvSpPr>
          <p:spPr>
            <a:xfrm>
              <a:off x="7521700" y="1591900"/>
              <a:ext cx="9275" cy="88450"/>
            </a:xfrm>
            <a:custGeom>
              <a:avLst/>
              <a:gdLst/>
              <a:ahLst/>
              <a:cxnLst/>
              <a:rect l="l" t="t" r="r" b="b"/>
              <a:pathLst>
                <a:path w="371" h="3538" extrusionOk="0">
                  <a:moveTo>
                    <a:pt x="187" y="0"/>
                  </a:moveTo>
                  <a:cubicBezTo>
                    <a:pt x="186" y="0"/>
                    <a:pt x="185" y="4"/>
                    <a:pt x="185" y="16"/>
                  </a:cubicBezTo>
                  <a:lnTo>
                    <a:pt x="1" y="3537"/>
                  </a:lnTo>
                  <a:lnTo>
                    <a:pt x="370" y="3537"/>
                  </a:lnTo>
                  <a:cubicBezTo>
                    <a:pt x="356" y="2033"/>
                    <a:pt x="223" y="16"/>
                    <a:pt x="193" y="16"/>
                  </a:cubicBezTo>
                  <a:cubicBezTo>
                    <a:pt x="193" y="16"/>
                    <a:pt x="189" y="0"/>
                    <a:pt x="18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6" name="Google Shape;5276;p53">
              <a:extLst>
                <a:ext uri="{FF2B5EF4-FFF2-40B4-BE49-F238E27FC236}">
                  <a16:creationId xmlns:a16="http://schemas.microsoft.com/office/drawing/2014/main" id="{33BA60A3-5520-E9D9-EDB3-B672B6207DDA}"/>
                </a:ext>
              </a:extLst>
            </p:cNvPr>
            <p:cNvSpPr/>
            <p:nvPr/>
          </p:nvSpPr>
          <p:spPr>
            <a:xfrm>
              <a:off x="7501525" y="1623250"/>
              <a:ext cx="25000" cy="20200"/>
            </a:xfrm>
            <a:custGeom>
              <a:avLst/>
              <a:gdLst/>
              <a:ahLst/>
              <a:cxnLst/>
              <a:rect l="l" t="t" r="r" b="b"/>
              <a:pathLst>
                <a:path w="1000" h="808" extrusionOk="0">
                  <a:moveTo>
                    <a:pt x="0" y="0"/>
                  </a:moveTo>
                  <a:lnTo>
                    <a:pt x="0" y="0"/>
                  </a:lnTo>
                  <a:cubicBezTo>
                    <a:pt x="484" y="787"/>
                    <a:pt x="935" y="807"/>
                    <a:pt x="981" y="807"/>
                  </a:cubicBezTo>
                  <a:cubicBezTo>
                    <a:pt x="984" y="807"/>
                    <a:pt x="985" y="807"/>
                    <a:pt x="985" y="807"/>
                  </a:cubicBezTo>
                  <a:lnTo>
                    <a:pt x="1000" y="690"/>
                  </a:lnTo>
                  <a:lnTo>
                    <a:pt x="1000" y="690"/>
                  </a:lnTo>
                  <a:cubicBezTo>
                    <a:pt x="1000" y="690"/>
                    <a:pt x="989" y="697"/>
                    <a:pt x="960" y="697"/>
                  </a:cubicBezTo>
                  <a:cubicBezTo>
                    <a:pt x="899" y="697"/>
                    <a:pt x="755" y="664"/>
                    <a:pt x="452" y="452"/>
                  </a:cubicBezTo>
                  <a:cubicBezTo>
                    <a:pt x="199" y="27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7" name="Google Shape;5277;p53">
              <a:extLst>
                <a:ext uri="{FF2B5EF4-FFF2-40B4-BE49-F238E27FC236}">
                  <a16:creationId xmlns:a16="http://schemas.microsoft.com/office/drawing/2014/main" id="{79368DE9-8870-A2F6-B29A-0040A87F1D71}"/>
                </a:ext>
              </a:extLst>
            </p:cNvPr>
            <p:cNvSpPr/>
            <p:nvPr/>
          </p:nvSpPr>
          <p:spPr>
            <a:xfrm>
              <a:off x="7526500" y="1617675"/>
              <a:ext cx="21150" cy="17100"/>
            </a:xfrm>
            <a:custGeom>
              <a:avLst/>
              <a:gdLst/>
              <a:ahLst/>
              <a:cxnLst/>
              <a:rect l="l" t="t" r="r" b="b"/>
              <a:pathLst>
                <a:path w="846" h="684" extrusionOk="0">
                  <a:moveTo>
                    <a:pt x="845" y="1"/>
                  </a:moveTo>
                  <a:cubicBezTo>
                    <a:pt x="845" y="1"/>
                    <a:pt x="676" y="230"/>
                    <a:pt x="461" y="387"/>
                  </a:cubicBezTo>
                  <a:cubicBezTo>
                    <a:pt x="210" y="564"/>
                    <a:pt x="89" y="593"/>
                    <a:pt x="37" y="593"/>
                  </a:cubicBezTo>
                  <a:cubicBezTo>
                    <a:pt x="10" y="593"/>
                    <a:pt x="1" y="586"/>
                    <a:pt x="1" y="586"/>
                  </a:cubicBezTo>
                  <a:lnTo>
                    <a:pt x="1" y="586"/>
                  </a:lnTo>
                  <a:lnTo>
                    <a:pt x="9" y="684"/>
                  </a:lnTo>
                  <a:cubicBezTo>
                    <a:pt x="9" y="684"/>
                    <a:pt x="11" y="684"/>
                    <a:pt x="13" y="684"/>
                  </a:cubicBezTo>
                  <a:cubicBezTo>
                    <a:pt x="55" y="684"/>
                    <a:pt x="434" y="665"/>
                    <a:pt x="845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8" name="Google Shape;5278;p53">
              <a:extLst>
                <a:ext uri="{FF2B5EF4-FFF2-40B4-BE49-F238E27FC236}">
                  <a16:creationId xmlns:a16="http://schemas.microsoft.com/office/drawing/2014/main" id="{9DB368CE-4FF6-8DCC-B6B7-8C0151D1A5FF}"/>
                </a:ext>
              </a:extLst>
            </p:cNvPr>
            <p:cNvSpPr/>
            <p:nvPr/>
          </p:nvSpPr>
          <p:spPr>
            <a:xfrm>
              <a:off x="7509300" y="1605275"/>
              <a:ext cx="17225" cy="13950"/>
            </a:xfrm>
            <a:custGeom>
              <a:avLst/>
              <a:gdLst/>
              <a:ahLst/>
              <a:cxnLst/>
              <a:rect l="l" t="t" r="r" b="b"/>
              <a:pathLst>
                <a:path w="689" h="558" extrusionOk="0">
                  <a:moveTo>
                    <a:pt x="0" y="1"/>
                  </a:moveTo>
                  <a:lnTo>
                    <a:pt x="0" y="1"/>
                  </a:lnTo>
                  <a:cubicBezTo>
                    <a:pt x="339" y="544"/>
                    <a:pt x="650" y="557"/>
                    <a:pt x="679" y="557"/>
                  </a:cubicBezTo>
                  <a:cubicBezTo>
                    <a:pt x="681" y="557"/>
                    <a:pt x="681" y="557"/>
                    <a:pt x="681" y="557"/>
                  </a:cubicBezTo>
                  <a:lnTo>
                    <a:pt x="689" y="475"/>
                  </a:lnTo>
                  <a:lnTo>
                    <a:pt x="689" y="475"/>
                  </a:lnTo>
                  <a:cubicBezTo>
                    <a:pt x="689" y="475"/>
                    <a:pt x="681" y="481"/>
                    <a:pt x="660" y="481"/>
                  </a:cubicBezTo>
                  <a:cubicBezTo>
                    <a:pt x="617" y="481"/>
                    <a:pt x="517" y="457"/>
                    <a:pt x="312" y="312"/>
                  </a:cubicBezTo>
                  <a:cubicBezTo>
                    <a:pt x="141" y="193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9" name="Google Shape;5279;p53">
              <a:extLst>
                <a:ext uri="{FF2B5EF4-FFF2-40B4-BE49-F238E27FC236}">
                  <a16:creationId xmlns:a16="http://schemas.microsoft.com/office/drawing/2014/main" id="{96B130E8-E7F7-467C-F57B-721BCEC2DFC7}"/>
                </a:ext>
              </a:extLst>
            </p:cNvPr>
            <p:cNvSpPr/>
            <p:nvPr/>
          </p:nvSpPr>
          <p:spPr>
            <a:xfrm>
              <a:off x="7404450" y="1558600"/>
              <a:ext cx="64675" cy="81525"/>
            </a:xfrm>
            <a:custGeom>
              <a:avLst/>
              <a:gdLst/>
              <a:ahLst/>
              <a:cxnLst/>
              <a:rect l="l" t="t" r="r" b="b"/>
              <a:pathLst>
                <a:path w="2587" h="3261" extrusionOk="0">
                  <a:moveTo>
                    <a:pt x="1290" y="0"/>
                  </a:moveTo>
                  <a:cubicBezTo>
                    <a:pt x="734" y="0"/>
                    <a:pt x="275" y="452"/>
                    <a:pt x="275" y="1016"/>
                  </a:cubicBezTo>
                  <a:cubicBezTo>
                    <a:pt x="275" y="1067"/>
                    <a:pt x="282" y="1112"/>
                    <a:pt x="289" y="1156"/>
                  </a:cubicBezTo>
                  <a:cubicBezTo>
                    <a:pt x="111" y="1379"/>
                    <a:pt x="1" y="1659"/>
                    <a:pt x="1" y="1964"/>
                  </a:cubicBezTo>
                  <a:cubicBezTo>
                    <a:pt x="1" y="2682"/>
                    <a:pt x="579" y="3260"/>
                    <a:pt x="1290" y="3260"/>
                  </a:cubicBezTo>
                  <a:cubicBezTo>
                    <a:pt x="2009" y="3260"/>
                    <a:pt x="2587" y="2682"/>
                    <a:pt x="2587" y="1964"/>
                  </a:cubicBezTo>
                  <a:cubicBezTo>
                    <a:pt x="2587" y="1659"/>
                    <a:pt x="2475" y="1379"/>
                    <a:pt x="2297" y="1156"/>
                  </a:cubicBezTo>
                  <a:cubicBezTo>
                    <a:pt x="2304" y="1112"/>
                    <a:pt x="2313" y="1067"/>
                    <a:pt x="2313" y="1016"/>
                  </a:cubicBezTo>
                  <a:cubicBezTo>
                    <a:pt x="2313" y="452"/>
                    <a:pt x="1852" y="0"/>
                    <a:pt x="1290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0" name="Google Shape;5280;p53">
              <a:extLst>
                <a:ext uri="{FF2B5EF4-FFF2-40B4-BE49-F238E27FC236}">
                  <a16:creationId xmlns:a16="http://schemas.microsoft.com/office/drawing/2014/main" id="{F2046A22-35C2-9B7A-6129-82DE27F20760}"/>
                </a:ext>
              </a:extLst>
            </p:cNvPr>
            <p:cNvSpPr/>
            <p:nvPr/>
          </p:nvSpPr>
          <p:spPr>
            <a:xfrm>
              <a:off x="7436700" y="1583475"/>
              <a:ext cx="2950" cy="96875"/>
            </a:xfrm>
            <a:custGeom>
              <a:avLst/>
              <a:gdLst/>
              <a:ahLst/>
              <a:cxnLst/>
              <a:rect l="l" t="t" r="r" b="b"/>
              <a:pathLst>
                <a:path w="118" h="3875" extrusionOk="0">
                  <a:moveTo>
                    <a:pt x="54" y="0"/>
                  </a:moveTo>
                  <a:cubicBezTo>
                    <a:pt x="53" y="0"/>
                    <a:pt x="52" y="4"/>
                    <a:pt x="52" y="14"/>
                  </a:cubicBezTo>
                  <a:lnTo>
                    <a:pt x="0" y="3821"/>
                  </a:lnTo>
                  <a:cubicBezTo>
                    <a:pt x="0" y="3851"/>
                    <a:pt x="22" y="3874"/>
                    <a:pt x="52" y="3874"/>
                  </a:cubicBezTo>
                  <a:lnTo>
                    <a:pt x="59" y="3874"/>
                  </a:lnTo>
                  <a:cubicBezTo>
                    <a:pt x="96" y="3874"/>
                    <a:pt x="118" y="3851"/>
                    <a:pt x="118" y="3821"/>
                  </a:cubicBezTo>
                  <a:cubicBezTo>
                    <a:pt x="118" y="3821"/>
                    <a:pt x="96" y="14"/>
                    <a:pt x="59" y="14"/>
                  </a:cubicBezTo>
                  <a:cubicBezTo>
                    <a:pt x="59" y="14"/>
                    <a:pt x="56" y="0"/>
                    <a:pt x="54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1" name="Google Shape;5281;p53">
              <a:extLst>
                <a:ext uri="{FF2B5EF4-FFF2-40B4-BE49-F238E27FC236}">
                  <a16:creationId xmlns:a16="http://schemas.microsoft.com/office/drawing/2014/main" id="{CF465D1B-6957-5CC6-A618-E90C4B643639}"/>
                </a:ext>
              </a:extLst>
            </p:cNvPr>
            <p:cNvSpPr/>
            <p:nvPr/>
          </p:nvSpPr>
          <p:spPr>
            <a:xfrm>
              <a:off x="7419800" y="1606975"/>
              <a:ext cx="18375" cy="15000"/>
            </a:xfrm>
            <a:custGeom>
              <a:avLst/>
              <a:gdLst/>
              <a:ahLst/>
              <a:cxnLst/>
              <a:rect l="l" t="t" r="r" b="b"/>
              <a:pathLst>
                <a:path w="735" h="600" extrusionOk="0">
                  <a:moveTo>
                    <a:pt x="0" y="0"/>
                  </a:moveTo>
                  <a:lnTo>
                    <a:pt x="0" y="0"/>
                  </a:lnTo>
                  <a:cubicBezTo>
                    <a:pt x="353" y="580"/>
                    <a:pt x="679" y="600"/>
                    <a:pt x="723" y="600"/>
                  </a:cubicBezTo>
                  <a:cubicBezTo>
                    <a:pt x="726" y="600"/>
                    <a:pt x="728" y="599"/>
                    <a:pt x="728" y="599"/>
                  </a:cubicBezTo>
                  <a:lnTo>
                    <a:pt x="735" y="511"/>
                  </a:lnTo>
                  <a:lnTo>
                    <a:pt x="735" y="511"/>
                  </a:lnTo>
                  <a:cubicBezTo>
                    <a:pt x="735" y="511"/>
                    <a:pt x="726" y="517"/>
                    <a:pt x="702" y="517"/>
                  </a:cubicBezTo>
                  <a:cubicBezTo>
                    <a:pt x="656" y="517"/>
                    <a:pt x="550" y="492"/>
                    <a:pt x="335" y="340"/>
                  </a:cubicBezTo>
                  <a:cubicBezTo>
                    <a:pt x="150" y="199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2" name="Google Shape;5282;p53">
              <a:extLst>
                <a:ext uri="{FF2B5EF4-FFF2-40B4-BE49-F238E27FC236}">
                  <a16:creationId xmlns:a16="http://schemas.microsoft.com/office/drawing/2014/main" id="{F8D0E90E-7725-3684-476D-6A6D6CE122E6}"/>
                </a:ext>
              </a:extLst>
            </p:cNvPr>
            <p:cNvSpPr/>
            <p:nvPr/>
          </p:nvSpPr>
          <p:spPr>
            <a:xfrm>
              <a:off x="7438150" y="1602700"/>
              <a:ext cx="15600" cy="12775"/>
            </a:xfrm>
            <a:custGeom>
              <a:avLst/>
              <a:gdLst/>
              <a:ahLst/>
              <a:cxnLst/>
              <a:rect l="l" t="t" r="r" b="b"/>
              <a:pathLst>
                <a:path w="624" h="511" extrusionOk="0">
                  <a:moveTo>
                    <a:pt x="623" y="0"/>
                  </a:moveTo>
                  <a:cubicBezTo>
                    <a:pt x="623" y="0"/>
                    <a:pt x="497" y="178"/>
                    <a:pt x="342" y="289"/>
                  </a:cubicBezTo>
                  <a:cubicBezTo>
                    <a:pt x="156" y="421"/>
                    <a:pt x="67" y="444"/>
                    <a:pt x="28" y="444"/>
                  </a:cubicBezTo>
                  <a:cubicBezTo>
                    <a:pt x="8" y="444"/>
                    <a:pt x="1" y="438"/>
                    <a:pt x="1" y="438"/>
                  </a:cubicBezTo>
                  <a:lnTo>
                    <a:pt x="1" y="438"/>
                  </a:lnTo>
                  <a:lnTo>
                    <a:pt x="8" y="511"/>
                  </a:lnTo>
                  <a:cubicBezTo>
                    <a:pt x="8" y="511"/>
                    <a:pt x="9" y="511"/>
                    <a:pt x="11" y="511"/>
                  </a:cubicBezTo>
                  <a:cubicBezTo>
                    <a:pt x="42" y="511"/>
                    <a:pt x="323" y="497"/>
                    <a:pt x="62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3" name="Google Shape;5283;p53">
              <a:extLst>
                <a:ext uri="{FF2B5EF4-FFF2-40B4-BE49-F238E27FC236}">
                  <a16:creationId xmlns:a16="http://schemas.microsoft.com/office/drawing/2014/main" id="{D4B0EFDA-5562-7BEE-A546-AA2F3FE49655}"/>
                </a:ext>
              </a:extLst>
            </p:cNvPr>
            <p:cNvSpPr/>
            <p:nvPr/>
          </p:nvSpPr>
          <p:spPr>
            <a:xfrm>
              <a:off x="7425575" y="1593625"/>
              <a:ext cx="12600" cy="10200"/>
            </a:xfrm>
            <a:custGeom>
              <a:avLst/>
              <a:gdLst/>
              <a:ahLst/>
              <a:cxnLst/>
              <a:rect l="l" t="t" r="r" b="b"/>
              <a:pathLst>
                <a:path w="504" h="408" extrusionOk="0">
                  <a:moveTo>
                    <a:pt x="1" y="1"/>
                  </a:moveTo>
                  <a:lnTo>
                    <a:pt x="1" y="1"/>
                  </a:lnTo>
                  <a:cubicBezTo>
                    <a:pt x="242" y="395"/>
                    <a:pt x="467" y="408"/>
                    <a:pt x="494" y="408"/>
                  </a:cubicBezTo>
                  <a:cubicBezTo>
                    <a:pt x="496" y="408"/>
                    <a:pt x="497" y="408"/>
                    <a:pt x="497" y="408"/>
                  </a:cubicBezTo>
                  <a:lnTo>
                    <a:pt x="504" y="347"/>
                  </a:lnTo>
                  <a:lnTo>
                    <a:pt x="504" y="347"/>
                  </a:lnTo>
                  <a:cubicBezTo>
                    <a:pt x="504" y="347"/>
                    <a:pt x="497" y="353"/>
                    <a:pt x="479" y="353"/>
                  </a:cubicBezTo>
                  <a:cubicBezTo>
                    <a:pt x="446" y="353"/>
                    <a:pt x="374" y="334"/>
                    <a:pt x="230" y="230"/>
                  </a:cubicBezTo>
                  <a:cubicBezTo>
                    <a:pt x="104" y="14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4" name="Google Shape;5284;p53">
              <a:extLst>
                <a:ext uri="{FF2B5EF4-FFF2-40B4-BE49-F238E27FC236}">
                  <a16:creationId xmlns:a16="http://schemas.microsoft.com/office/drawing/2014/main" id="{D3B11E01-A1A3-942B-C32F-5F9A2DAD033F}"/>
                </a:ext>
              </a:extLst>
            </p:cNvPr>
            <p:cNvSpPr/>
            <p:nvPr/>
          </p:nvSpPr>
          <p:spPr>
            <a:xfrm>
              <a:off x="7286250" y="1591750"/>
              <a:ext cx="46350" cy="58600"/>
            </a:xfrm>
            <a:custGeom>
              <a:avLst/>
              <a:gdLst/>
              <a:ahLst/>
              <a:cxnLst/>
              <a:rect l="l" t="t" r="r" b="b"/>
              <a:pathLst>
                <a:path w="1854" h="2344" extrusionOk="0">
                  <a:moveTo>
                    <a:pt x="927" y="1"/>
                  </a:moveTo>
                  <a:cubicBezTo>
                    <a:pt x="527" y="1"/>
                    <a:pt x="194" y="326"/>
                    <a:pt x="194" y="734"/>
                  </a:cubicBezTo>
                  <a:cubicBezTo>
                    <a:pt x="194" y="764"/>
                    <a:pt x="201" y="801"/>
                    <a:pt x="208" y="831"/>
                  </a:cubicBezTo>
                  <a:cubicBezTo>
                    <a:pt x="75" y="993"/>
                    <a:pt x="0" y="1194"/>
                    <a:pt x="0" y="1417"/>
                  </a:cubicBezTo>
                  <a:cubicBezTo>
                    <a:pt x="0" y="1927"/>
                    <a:pt x="416" y="2343"/>
                    <a:pt x="927" y="2343"/>
                  </a:cubicBezTo>
                  <a:cubicBezTo>
                    <a:pt x="1439" y="2343"/>
                    <a:pt x="1853" y="1927"/>
                    <a:pt x="1853" y="1417"/>
                  </a:cubicBezTo>
                  <a:cubicBezTo>
                    <a:pt x="1853" y="1194"/>
                    <a:pt x="1772" y="993"/>
                    <a:pt x="1645" y="831"/>
                  </a:cubicBezTo>
                  <a:cubicBezTo>
                    <a:pt x="1652" y="801"/>
                    <a:pt x="1652" y="764"/>
                    <a:pt x="1652" y="734"/>
                  </a:cubicBezTo>
                  <a:cubicBezTo>
                    <a:pt x="1652" y="326"/>
                    <a:pt x="1327" y="1"/>
                    <a:pt x="92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5" name="Google Shape;5285;p53">
              <a:extLst>
                <a:ext uri="{FF2B5EF4-FFF2-40B4-BE49-F238E27FC236}">
                  <a16:creationId xmlns:a16="http://schemas.microsoft.com/office/drawing/2014/main" id="{888A2958-55C1-8686-3BE1-54A6CC83F3AF}"/>
                </a:ext>
              </a:extLst>
            </p:cNvPr>
            <p:cNvSpPr/>
            <p:nvPr/>
          </p:nvSpPr>
          <p:spPr>
            <a:xfrm>
              <a:off x="7309225" y="1609675"/>
              <a:ext cx="2250" cy="69550"/>
            </a:xfrm>
            <a:custGeom>
              <a:avLst/>
              <a:gdLst/>
              <a:ahLst/>
              <a:cxnLst/>
              <a:rect l="l" t="t" r="r" b="b"/>
              <a:pathLst>
                <a:path w="90" h="2782" extrusionOk="0">
                  <a:moveTo>
                    <a:pt x="47" y="0"/>
                  </a:moveTo>
                  <a:cubicBezTo>
                    <a:pt x="46" y="0"/>
                    <a:pt x="45" y="2"/>
                    <a:pt x="45" y="10"/>
                  </a:cubicBezTo>
                  <a:lnTo>
                    <a:pt x="1" y="2738"/>
                  </a:lnTo>
                  <a:cubicBezTo>
                    <a:pt x="1" y="2759"/>
                    <a:pt x="22" y="2782"/>
                    <a:pt x="45" y="2782"/>
                  </a:cubicBezTo>
                  <a:lnTo>
                    <a:pt x="52" y="2782"/>
                  </a:lnTo>
                  <a:cubicBezTo>
                    <a:pt x="75" y="2782"/>
                    <a:pt x="90" y="2759"/>
                    <a:pt x="90" y="2738"/>
                  </a:cubicBezTo>
                  <a:cubicBezTo>
                    <a:pt x="90" y="2738"/>
                    <a:pt x="75" y="10"/>
                    <a:pt x="52" y="10"/>
                  </a:cubicBezTo>
                  <a:cubicBezTo>
                    <a:pt x="52" y="10"/>
                    <a:pt x="49" y="0"/>
                    <a:pt x="4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6" name="Google Shape;5286;p53">
              <a:extLst>
                <a:ext uri="{FF2B5EF4-FFF2-40B4-BE49-F238E27FC236}">
                  <a16:creationId xmlns:a16="http://schemas.microsoft.com/office/drawing/2014/main" id="{6159A373-0C6A-4087-E734-C7AE5599DC6C}"/>
                </a:ext>
              </a:extLst>
            </p:cNvPr>
            <p:cNvSpPr/>
            <p:nvPr/>
          </p:nvSpPr>
          <p:spPr>
            <a:xfrm>
              <a:off x="7297175" y="1626400"/>
              <a:ext cx="13200" cy="10950"/>
            </a:xfrm>
            <a:custGeom>
              <a:avLst/>
              <a:gdLst/>
              <a:ahLst/>
              <a:cxnLst/>
              <a:rect l="l" t="t" r="r" b="b"/>
              <a:pathLst>
                <a:path w="528" h="438" extrusionOk="0">
                  <a:moveTo>
                    <a:pt x="1" y="0"/>
                  </a:moveTo>
                  <a:cubicBezTo>
                    <a:pt x="266" y="431"/>
                    <a:pt x="505" y="438"/>
                    <a:pt x="519" y="438"/>
                  </a:cubicBezTo>
                  <a:cubicBezTo>
                    <a:pt x="520" y="438"/>
                    <a:pt x="520" y="438"/>
                    <a:pt x="520" y="438"/>
                  </a:cubicBezTo>
                  <a:lnTo>
                    <a:pt x="527" y="370"/>
                  </a:lnTo>
                  <a:lnTo>
                    <a:pt x="527" y="370"/>
                  </a:lnTo>
                  <a:cubicBezTo>
                    <a:pt x="527" y="370"/>
                    <a:pt x="521" y="375"/>
                    <a:pt x="504" y="375"/>
                  </a:cubicBezTo>
                  <a:cubicBezTo>
                    <a:pt x="470" y="375"/>
                    <a:pt x="396" y="356"/>
                    <a:pt x="246" y="246"/>
                  </a:cubicBezTo>
                  <a:cubicBezTo>
                    <a:pt x="104" y="148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7" name="Google Shape;5287;p53">
              <a:extLst>
                <a:ext uri="{FF2B5EF4-FFF2-40B4-BE49-F238E27FC236}">
                  <a16:creationId xmlns:a16="http://schemas.microsoft.com/office/drawing/2014/main" id="{F1032F2E-194C-E8A6-9BF5-9620B073E099}"/>
                </a:ext>
              </a:extLst>
            </p:cNvPr>
            <p:cNvSpPr/>
            <p:nvPr/>
          </p:nvSpPr>
          <p:spPr>
            <a:xfrm>
              <a:off x="7310350" y="1623425"/>
              <a:ext cx="11300" cy="9300"/>
            </a:xfrm>
            <a:custGeom>
              <a:avLst/>
              <a:gdLst/>
              <a:ahLst/>
              <a:cxnLst/>
              <a:rect l="l" t="t" r="r" b="b"/>
              <a:pathLst>
                <a:path w="452" h="372" extrusionOk="0">
                  <a:moveTo>
                    <a:pt x="452" y="0"/>
                  </a:moveTo>
                  <a:lnTo>
                    <a:pt x="452" y="0"/>
                  </a:lnTo>
                  <a:cubicBezTo>
                    <a:pt x="452" y="0"/>
                    <a:pt x="356" y="126"/>
                    <a:pt x="244" y="208"/>
                  </a:cubicBezTo>
                  <a:cubicBezTo>
                    <a:pt x="102" y="308"/>
                    <a:pt x="39" y="323"/>
                    <a:pt x="14" y="323"/>
                  </a:cubicBezTo>
                  <a:cubicBezTo>
                    <a:pt x="4" y="323"/>
                    <a:pt x="0" y="320"/>
                    <a:pt x="0" y="320"/>
                  </a:cubicBezTo>
                  <a:lnTo>
                    <a:pt x="0" y="320"/>
                  </a:lnTo>
                  <a:lnTo>
                    <a:pt x="7" y="372"/>
                  </a:lnTo>
                  <a:cubicBezTo>
                    <a:pt x="7" y="372"/>
                    <a:pt x="8" y="372"/>
                    <a:pt x="8" y="372"/>
                  </a:cubicBezTo>
                  <a:cubicBezTo>
                    <a:pt x="22" y="372"/>
                    <a:pt x="224" y="365"/>
                    <a:pt x="452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8" name="Google Shape;5288;p53">
              <a:extLst>
                <a:ext uri="{FF2B5EF4-FFF2-40B4-BE49-F238E27FC236}">
                  <a16:creationId xmlns:a16="http://schemas.microsoft.com/office/drawing/2014/main" id="{9CE06A13-7E8E-544E-6D69-2F77C605AD05}"/>
                </a:ext>
              </a:extLst>
            </p:cNvPr>
            <p:cNvSpPr/>
            <p:nvPr/>
          </p:nvSpPr>
          <p:spPr>
            <a:xfrm>
              <a:off x="7301275" y="1616975"/>
              <a:ext cx="9100" cy="7400"/>
            </a:xfrm>
            <a:custGeom>
              <a:avLst/>
              <a:gdLst/>
              <a:ahLst/>
              <a:cxnLst/>
              <a:rect l="l" t="t" r="r" b="b"/>
              <a:pathLst>
                <a:path w="364" h="296" extrusionOk="0">
                  <a:moveTo>
                    <a:pt x="0" y="0"/>
                  </a:moveTo>
                  <a:cubicBezTo>
                    <a:pt x="184" y="289"/>
                    <a:pt x="348" y="295"/>
                    <a:pt x="362" y="295"/>
                  </a:cubicBezTo>
                  <a:cubicBezTo>
                    <a:pt x="363" y="295"/>
                    <a:pt x="363" y="295"/>
                    <a:pt x="363" y="295"/>
                  </a:cubicBezTo>
                  <a:lnTo>
                    <a:pt x="363" y="251"/>
                  </a:lnTo>
                  <a:cubicBezTo>
                    <a:pt x="363" y="251"/>
                    <a:pt x="359" y="254"/>
                    <a:pt x="347" y="254"/>
                  </a:cubicBezTo>
                  <a:cubicBezTo>
                    <a:pt x="325" y="254"/>
                    <a:pt x="274" y="241"/>
                    <a:pt x="171" y="162"/>
                  </a:cubicBezTo>
                  <a:cubicBezTo>
                    <a:pt x="73" y="9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9" name="Google Shape;5289;p53">
              <a:extLst>
                <a:ext uri="{FF2B5EF4-FFF2-40B4-BE49-F238E27FC236}">
                  <a16:creationId xmlns:a16="http://schemas.microsoft.com/office/drawing/2014/main" id="{1FECBD0D-A37E-1ACB-65B8-97630C28F2DE}"/>
                </a:ext>
              </a:extLst>
            </p:cNvPr>
            <p:cNvSpPr/>
            <p:nvPr/>
          </p:nvSpPr>
          <p:spPr>
            <a:xfrm>
              <a:off x="7200475" y="1642125"/>
              <a:ext cx="91000" cy="37825"/>
            </a:xfrm>
            <a:custGeom>
              <a:avLst/>
              <a:gdLst/>
              <a:ahLst/>
              <a:cxnLst/>
              <a:rect l="l" t="t" r="r" b="b"/>
              <a:pathLst>
                <a:path w="3640" h="1513" extrusionOk="0">
                  <a:moveTo>
                    <a:pt x="1215" y="1"/>
                  </a:moveTo>
                  <a:cubicBezTo>
                    <a:pt x="801" y="1"/>
                    <a:pt x="469" y="335"/>
                    <a:pt x="469" y="750"/>
                  </a:cubicBezTo>
                  <a:lnTo>
                    <a:pt x="469" y="764"/>
                  </a:lnTo>
                  <a:cubicBezTo>
                    <a:pt x="438" y="757"/>
                    <a:pt x="408" y="750"/>
                    <a:pt x="380" y="750"/>
                  </a:cubicBezTo>
                  <a:cubicBezTo>
                    <a:pt x="172" y="750"/>
                    <a:pt x="1" y="920"/>
                    <a:pt x="1" y="1128"/>
                  </a:cubicBezTo>
                  <a:cubicBezTo>
                    <a:pt x="1" y="1335"/>
                    <a:pt x="172" y="1498"/>
                    <a:pt x="380" y="1498"/>
                  </a:cubicBezTo>
                  <a:lnTo>
                    <a:pt x="380" y="1512"/>
                  </a:lnTo>
                  <a:lnTo>
                    <a:pt x="3403" y="1512"/>
                  </a:lnTo>
                  <a:lnTo>
                    <a:pt x="3403" y="1498"/>
                  </a:lnTo>
                  <a:cubicBezTo>
                    <a:pt x="3536" y="1475"/>
                    <a:pt x="3639" y="1365"/>
                    <a:pt x="3639" y="1217"/>
                  </a:cubicBezTo>
                  <a:cubicBezTo>
                    <a:pt x="3639" y="1061"/>
                    <a:pt x="3513" y="934"/>
                    <a:pt x="3358" y="934"/>
                  </a:cubicBezTo>
                  <a:cubicBezTo>
                    <a:pt x="3291" y="934"/>
                    <a:pt x="3232" y="965"/>
                    <a:pt x="3181" y="1002"/>
                  </a:cubicBezTo>
                  <a:lnTo>
                    <a:pt x="3181" y="965"/>
                  </a:lnTo>
                  <a:cubicBezTo>
                    <a:pt x="3181" y="668"/>
                    <a:pt x="2942" y="424"/>
                    <a:pt x="2647" y="424"/>
                  </a:cubicBezTo>
                  <a:cubicBezTo>
                    <a:pt x="2476" y="424"/>
                    <a:pt x="2327" y="497"/>
                    <a:pt x="2224" y="623"/>
                  </a:cubicBezTo>
                  <a:cubicBezTo>
                    <a:pt x="2186" y="609"/>
                    <a:pt x="2149" y="602"/>
                    <a:pt x="2114" y="602"/>
                  </a:cubicBezTo>
                  <a:cubicBezTo>
                    <a:pt x="2053" y="602"/>
                    <a:pt x="2001" y="616"/>
                    <a:pt x="1957" y="639"/>
                  </a:cubicBezTo>
                  <a:cubicBezTo>
                    <a:pt x="1898" y="275"/>
                    <a:pt x="1594" y="1"/>
                    <a:pt x="121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0" name="Google Shape;5290;p53">
              <a:extLst>
                <a:ext uri="{FF2B5EF4-FFF2-40B4-BE49-F238E27FC236}">
                  <a16:creationId xmlns:a16="http://schemas.microsoft.com/office/drawing/2014/main" id="{BB569B76-FC6F-CB66-5F0D-3F2F40DE6178}"/>
                </a:ext>
              </a:extLst>
            </p:cNvPr>
            <p:cNvSpPr/>
            <p:nvPr/>
          </p:nvSpPr>
          <p:spPr>
            <a:xfrm>
              <a:off x="7211775" y="1643250"/>
              <a:ext cx="12425" cy="17975"/>
            </a:xfrm>
            <a:custGeom>
              <a:avLst/>
              <a:gdLst/>
              <a:ahLst/>
              <a:cxnLst/>
              <a:rect l="l" t="t" r="r" b="b"/>
              <a:pathLst>
                <a:path w="497" h="719" extrusionOk="0">
                  <a:moveTo>
                    <a:pt x="497" y="0"/>
                  </a:moveTo>
                  <a:lnTo>
                    <a:pt x="497" y="0"/>
                  </a:lnTo>
                  <a:cubicBezTo>
                    <a:pt x="209" y="82"/>
                    <a:pt x="1" y="349"/>
                    <a:pt x="1" y="667"/>
                  </a:cubicBezTo>
                  <a:lnTo>
                    <a:pt x="1" y="712"/>
                  </a:lnTo>
                  <a:cubicBezTo>
                    <a:pt x="8" y="712"/>
                    <a:pt x="8" y="712"/>
                    <a:pt x="17" y="719"/>
                  </a:cubicBezTo>
                  <a:lnTo>
                    <a:pt x="17" y="705"/>
                  </a:lnTo>
                  <a:cubicBezTo>
                    <a:pt x="17" y="386"/>
                    <a:pt x="216" y="112"/>
                    <a:pt x="497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1" name="Google Shape;5291;p53">
              <a:extLst>
                <a:ext uri="{FF2B5EF4-FFF2-40B4-BE49-F238E27FC236}">
                  <a16:creationId xmlns:a16="http://schemas.microsoft.com/office/drawing/2014/main" id="{2AB5BFB7-0BB4-C17A-61F6-FF6641005942}"/>
                </a:ext>
              </a:extLst>
            </p:cNvPr>
            <p:cNvSpPr/>
            <p:nvPr/>
          </p:nvSpPr>
          <p:spPr>
            <a:xfrm>
              <a:off x="7211775" y="1642700"/>
              <a:ext cx="17100" cy="34325"/>
            </a:xfrm>
            <a:custGeom>
              <a:avLst/>
              <a:gdLst/>
              <a:ahLst/>
              <a:cxnLst/>
              <a:rect l="l" t="t" r="r" b="b"/>
              <a:pathLst>
                <a:path w="684" h="1373" extrusionOk="0">
                  <a:moveTo>
                    <a:pt x="683" y="1"/>
                  </a:moveTo>
                  <a:cubicBezTo>
                    <a:pt x="623" y="1"/>
                    <a:pt x="557" y="8"/>
                    <a:pt x="497" y="22"/>
                  </a:cubicBezTo>
                  <a:cubicBezTo>
                    <a:pt x="216" y="134"/>
                    <a:pt x="17" y="408"/>
                    <a:pt x="17" y="727"/>
                  </a:cubicBezTo>
                  <a:lnTo>
                    <a:pt x="17" y="741"/>
                  </a:lnTo>
                  <a:cubicBezTo>
                    <a:pt x="8" y="734"/>
                    <a:pt x="8" y="734"/>
                    <a:pt x="1" y="734"/>
                  </a:cubicBezTo>
                  <a:cubicBezTo>
                    <a:pt x="24" y="1089"/>
                    <a:pt x="319" y="1372"/>
                    <a:pt x="683" y="1372"/>
                  </a:cubicBezTo>
                  <a:cubicBezTo>
                    <a:pt x="683" y="1372"/>
                    <a:pt x="290" y="1246"/>
                    <a:pt x="260" y="689"/>
                  </a:cubicBezTo>
                  <a:cubicBezTo>
                    <a:pt x="230" y="179"/>
                    <a:pt x="683" y="1"/>
                    <a:pt x="683" y="1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2" name="Google Shape;5292;p53">
              <a:extLst>
                <a:ext uri="{FF2B5EF4-FFF2-40B4-BE49-F238E27FC236}">
                  <a16:creationId xmlns:a16="http://schemas.microsoft.com/office/drawing/2014/main" id="{BF872FFF-5E7A-8DDA-9C77-F5D1FADE1E3F}"/>
                </a:ext>
              </a:extLst>
            </p:cNvPr>
            <p:cNvSpPr/>
            <p:nvPr/>
          </p:nvSpPr>
          <p:spPr>
            <a:xfrm>
              <a:off x="7244575" y="1657350"/>
              <a:ext cx="18000" cy="9075"/>
            </a:xfrm>
            <a:custGeom>
              <a:avLst/>
              <a:gdLst/>
              <a:ahLst/>
              <a:cxnLst/>
              <a:rect l="l" t="t" r="r" b="b"/>
              <a:pathLst>
                <a:path w="720" h="363" extrusionOk="0">
                  <a:moveTo>
                    <a:pt x="357" y="0"/>
                  </a:moveTo>
                  <a:cubicBezTo>
                    <a:pt x="163" y="7"/>
                    <a:pt x="1" y="171"/>
                    <a:pt x="8" y="363"/>
                  </a:cubicBezTo>
                  <a:cubicBezTo>
                    <a:pt x="8" y="363"/>
                    <a:pt x="67" y="164"/>
                    <a:pt x="357" y="141"/>
                  </a:cubicBezTo>
                  <a:lnTo>
                    <a:pt x="385" y="141"/>
                  </a:lnTo>
                  <a:cubicBezTo>
                    <a:pt x="630" y="141"/>
                    <a:pt x="719" y="356"/>
                    <a:pt x="719" y="356"/>
                  </a:cubicBezTo>
                  <a:cubicBezTo>
                    <a:pt x="719" y="164"/>
                    <a:pt x="556" y="0"/>
                    <a:pt x="364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3" name="Google Shape;5293;p53">
              <a:extLst>
                <a:ext uri="{FF2B5EF4-FFF2-40B4-BE49-F238E27FC236}">
                  <a16:creationId xmlns:a16="http://schemas.microsoft.com/office/drawing/2014/main" id="{2B8284BC-1DE1-6364-7A49-4601E37EC3E7}"/>
                </a:ext>
              </a:extLst>
            </p:cNvPr>
            <p:cNvSpPr/>
            <p:nvPr/>
          </p:nvSpPr>
          <p:spPr>
            <a:xfrm>
              <a:off x="7488350" y="1497900"/>
              <a:ext cx="29500" cy="12925"/>
            </a:xfrm>
            <a:custGeom>
              <a:avLst/>
              <a:gdLst/>
              <a:ahLst/>
              <a:cxnLst/>
              <a:rect l="l" t="t" r="r" b="b"/>
              <a:pathLst>
                <a:path w="1180" h="517" extrusionOk="0">
                  <a:moveTo>
                    <a:pt x="1026" y="0"/>
                  </a:moveTo>
                  <a:cubicBezTo>
                    <a:pt x="950" y="0"/>
                    <a:pt x="859" y="34"/>
                    <a:pt x="771" y="102"/>
                  </a:cubicBezTo>
                  <a:cubicBezTo>
                    <a:pt x="698" y="154"/>
                    <a:pt x="637" y="228"/>
                    <a:pt x="609" y="294"/>
                  </a:cubicBezTo>
                  <a:cubicBezTo>
                    <a:pt x="548" y="250"/>
                    <a:pt x="468" y="220"/>
                    <a:pt x="380" y="205"/>
                  </a:cubicBezTo>
                  <a:cubicBezTo>
                    <a:pt x="346" y="200"/>
                    <a:pt x="315" y="198"/>
                    <a:pt x="285" y="198"/>
                  </a:cubicBezTo>
                  <a:cubicBezTo>
                    <a:pt x="128" y="198"/>
                    <a:pt x="20" y="263"/>
                    <a:pt x="1" y="369"/>
                  </a:cubicBezTo>
                  <a:cubicBezTo>
                    <a:pt x="1" y="369"/>
                    <a:pt x="44" y="287"/>
                    <a:pt x="248" y="287"/>
                  </a:cubicBezTo>
                  <a:cubicBezTo>
                    <a:pt x="282" y="287"/>
                    <a:pt x="320" y="289"/>
                    <a:pt x="364" y="294"/>
                  </a:cubicBezTo>
                  <a:cubicBezTo>
                    <a:pt x="460" y="301"/>
                    <a:pt x="534" y="332"/>
                    <a:pt x="586" y="362"/>
                  </a:cubicBezTo>
                  <a:lnTo>
                    <a:pt x="579" y="517"/>
                  </a:lnTo>
                  <a:lnTo>
                    <a:pt x="653" y="502"/>
                  </a:lnTo>
                  <a:lnTo>
                    <a:pt x="742" y="479"/>
                  </a:lnTo>
                  <a:lnTo>
                    <a:pt x="661" y="346"/>
                  </a:lnTo>
                  <a:cubicBezTo>
                    <a:pt x="698" y="294"/>
                    <a:pt x="742" y="236"/>
                    <a:pt x="824" y="168"/>
                  </a:cubicBezTo>
                  <a:cubicBezTo>
                    <a:pt x="938" y="77"/>
                    <a:pt x="1032" y="56"/>
                    <a:pt x="1094" y="56"/>
                  </a:cubicBezTo>
                  <a:cubicBezTo>
                    <a:pt x="1149" y="56"/>
                    <a:pt x="1180" y="72"/>
                    <a:pt x="1180" y="72"/>
                  </a:cubicBezTo>
                  <a:cubicBezTo>
                    <a:pt x="1145" y="25"/>
                    <a:pt x="1091" y="0"/>
                    <a:pt x="1026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4" name="Google Shape;5294;p53">
              <a:extLst>
                <a:ext uri="{FF2B5EF4-FFF2-40B4-BE49-F238E27FC236}">
                  <a16:creationId xmlns:a16="http://schemas.microsoft.com/office/drawing/2014/main" id="{A059AE02-1C87-2183-552D-19E6491AE1DA}"/>
                </a:ext>
              </a:extLst>
            </p:cNvPr>
            <p:cNvSpPr/>
            <p:nvPr/>
          </p:nvSpPr>
          <p:spPr>
            <a:xfrm>
              <a:off x="7313675" y="1413575"/>
              <a:ext cx="24825" cy="12025"/>
            </a:xfrm>
            <a:custGeom>
              <a:avLst/>
              <a:gdLst/>
              <a:ahLst/>
              <a:cxnLst/>
              <a:rect l="l" t="t" r="r" b="b"/>
              <a:pathLst>
                <a:path w="993" h="481" extrusionOk="0">
                  <a:moveTo>
                    <a:pt x="851" y="0"/>
                  </a:moveTo>
                  <a:cubicBezTo>
                    <a:pt x="787" y="0"/>
                    <a:pt x="715" y="30"/>
                    <a:pt x="644" y="89"/>
                  </a:cubicBezTo>
                  <a:cubicBezTo>
                    <a:pt x="578" y="141"/>
                    <a:pt x="534" y="207"/>
                    <a:pt x="511" y="267"/>
                  </a:cubicBezTo>
                  <a:cubicBezTo>
                    <a:pt x="459" y="230"/>
                    <a:pt x="394" y="192"/>
                    <a:pt x="312" y="178"/>
                  </a:cubicBezTo>
                  <a:cubicBezTo>
                    <a:pt x="281" y="173"/>
                    <a:pt x="251" y="170"/>
                    <a:pt x="224" y="170"/>
                  </a:cubicBezTo>
                  <a:cubicBezTo>
                    <a:pt x="93" y="170"/>
                    <a:pt x="6" y="227"/>
                    <a:pt x="1" y="326"/>
                  </a:cubicBezTo>
                  <a:cubicBezTo>
                    <a:pt x="1" y="326"/>
                    <a:pt x="33" y="251"/>
                    <a:pt x="203" y="251"/>
                  </a:cubicBezTo>
                  <a:cubicBezTo>
                    <a:pt x="233" y="251"/>
                    <a:pt x="266" y="253"/>
                    <a:pt x="305" y="258"/>
                  </a:cubicBezTo>
                  <a:cubicBezTo>
                    <a:pt x="386" y="274"/>
                    <a:pt x="445" y="303"/>
                    <a:pt x="490" y="333"/>
                  </a:cubicBezTo>
                  <a:lnTo>
                    <a:pt x="490" y="480"/>
                  </a:lnTo>
                  <a:lnTo>
                    <a:pt x="555" y="466"/>
                  </a:lnTo>
                  <a:lnTo>
                    <a:pt x="630" y="452"/>
                  </a:lnTo>
                  <a:lnTo>
                    <a:pt x="555" y="319"/>
                  </a:lnTo>
                  <a:cubicBezTo>
                    <a:pt x="586" y="274"/>
                    <a:pt x="623" y="214"/>
                    <a:pt x="689" y="162"/>
                  </a:cubicBezTo>
                  <a:cubicBezTo>
                    <a:pt x="782" y="77"/>
                    <a:pt x="862" y="57"/>
                    <a:pt x="916" y="57"/>
                  </a:cubicBezTo>
                  <a:cubicBezTo>
                    <a:pt x="964" y="57"/>
                    <a:pt x="993" y="73"/>
                    <a:pt x="993" y="73"/>
                  </a:cubicBezTo>
                  <a:cubicBezTo>
                    <a:pt x="958" y="24"/>
                    <a:pt x="908" y="0"/>
                    <a:pt x="851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5" name="Google Shape;5295;p53">
              <a:extLst>
                <a:ext uri="{FF2B5EF4-FFF2-40B4-BE49-F238E27FC236}">
                  <a16:creationId xmlns:a16="http://schemas.microsoft.com/office/drawing/2014/main" id="{307E629C-C00B-2AD9-7474-BE10BFC1B3B5}"/>
                </a:ext>
              </a:extLst>
            </p:cNvPr>
            <p:cNvSpPr/>
            <p:nvPr/>
          </p:nvSpPr>
          <p:spPr>
            <a:xfrm>
              <a:off x="7314425" y="1458625"/>
              <a:ext cx="15025" cy="6450"/>
            </a:xfrm>
            <a:custGeom>
              <a:avLst/>
              <a:gdLst/>
              <a:ahLst/>
              <a:cxnLst/>
              <a:rect l="l" t="t" r="r" b="b"/>
              <a:pathLst>
                <a:path w="601" h="258" extrusionOk="0">
                  <a:moveTo>
                    <a:pt x="520" y="1"/>
                  </a:moveTo>
                  <a:cubicBezTo>
                    <a:pt x="482" y="1"/>
                    <a:pt x="437" y="17"/>
                    <a:pt x="392" y="50"/>
                  </a:cubicBezTo>
                  <a:cubicBezTo>
                    <a:pt x="348" y="80"/>
                    <a:pt x="326" y="110"/>
                    <a:pt x="303" y="146"/>
                  </a:cubicBezTo>
                  <a:cubicBezTo>
                    <a:pt x="275" y="124"/>
                    <a:pt x="237" y="110"/>
                    <a:pt x="193" y="101"/>
                  </a:cubicBezTo>
                  <a:cubicBezTo>
                    <a:pt x="178" y="99"/>
                    <a:pt x="164" y="98"/>
                    <a:pt x="150" y="98"/>
                  </a:cubicBezTo>
                  <a:cubicBezTo>
                    <a:pt x="68" y="98"/>
                    <a:pt x="7" y="133"/>
                    <a:pt x="1" y="183"/>
                  </a:cubicBezTo>
                  <a:cubicBezTo>
                    <a:pt x="1" y="183"/>
                    <a:pt x="23" y="143"/>
                    <a:pt x="134" y="143"/>
                  </a:cubicBezTo>
                  <a:cubicBezTo>
                    <a:pt x="150" y="143"/>
                    <a:pt x="167" y="144"/>
                    <a:pt x="186" y="146"/>
                  </a:cubicBezTo>
                  <a:cubicBezTo>
                    <a:pt x="230" y="146"/>
                    <a:pt x="268" y="162"/>
                    <a:pt x="296" y="176"/>
                  </a:cubicBezTo>
                  <a:lnTo>
                    <a:pt x="289" y="258"/>
                  </a:lnTo>
                  <a:lnTo>
                    <a:pt x="333" y="243"/>
                  </a:lnTo>
                  <a:lnTo>
                    <a:pt x="378" y="234"/>
                  </a:lnTo>
                  <a:lnTo>
                    <a:pt x="333" y="169"/>
                  </a:lnTo>
                  <a:cubicBezTo>
                    <a:pt x="348" y="146"/>
                    <a:pt x="378" y="117"/>
                    <a:pt x="415" y="87"/>
                  </a:cubicBezTo>
                  <a:cubicBezTo>
                    <a:pt x="475" y="39"/>
                    <a:pt x="524" y="28"/>
                    <a:pt x="557" y="28"/>
                  </a:cubicBezTo>
                  <a:cubicBezTo>
                    <a:pt x="585" y="28"/>
                    <a:pt x="600" y="35"/>
                    <a:pt x="600" y="35"/>
                  </a:cubicBezTo>
                  <a:cubicBezTo>
                    <a:pt x="580" y="12"/>
                    <a:pt x="552" y="1"/>
                    <a:pt x="520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6" name="Google Shape;5296;p53">
              <a:extLst>
                <a:ext uri="{FF2B5EF4-FFF2-40B4-BE49-F238E27FC236}">
                  <a16:creationId xmlns:a16="http://schemas.microsoft.com/office/drawing/2014/main" id="{6D6732DE-36F7-FF7D-7713-4264009DCC40}"/>
                </a:ext>
              </a:extLst>
            </p:cNvPr>
            <p:cNvSpPr/>
            <p:nvPr/>
          </p:nvSpPr>
          <p:spPr>
            <a:xfrm>
              <a:off x="7228275" y="1437800"/>
              <a:ext cx="20375" cy="8725"/>
            </a:xfrm>
            <a:custGeom>
              <a:avLst/>
              <a:gdLst/>
              <a:ahLst/>
              <a:cxnLst/>
              <a:rect l="l" t="t" r="r" b="b"/>
              <a:pathLst>
                <a:path w="815" h="349" extrusionOk="0">
                  <a:moveTo>
                    <a:pt x="712" y="1"/>
                  </a:moveTo>
                  <a:cubicBezTo>
                    <a:pt x="659" y="1"/>
                    <a:pt x="596" y="23"/>
                    <a:pt x="534" y="68"/>
                  </a:cubicBezTo>
                  <a:cubicBezTo>
                    <a:pt x="482" y="105"/>
                    <a:pt x="445" y="157"/>
                    <a:pt x="424" y="201"/>
                  </a:cubicBezTo>
                  <a:cubicBezTo>
                    <a:pt x="379" y="171"/>
                    <a:pt x="326" y="150"/>
                    <a:pt x="260" y="143"/>
                  </a:cubicBezTo>
                  <a:cubicBezTo>
                    <a:pt x="237" y="139"/>
                    <a:pt x="215" y="137"/>
                    <a:pt x="194" y="137"/>
                  </a:cubicBezTo>
                  <a:cubicBezTo>
                    <a:pt x="88" y="137"/>
                    <a:pt x="12" y="184"/>
                    <a:pt x="0" y="253"/>
                  </a:cubicBezTo>
                  <a:cubicBezTo>
                    <a:pt x="0" y="253"/>
                    <a:pt x="28" y="197"/>
                    <a:pt x="176" y="197"/>
                  </a:cubicBezTo>
                  <a:cubicBezTo>
                    <a:pt x="198" y="197"/>
                    <a:pt x="224" y="198"/>
                    <a:pt x="253" y="201"/>
                  </a:cubicBezTo>
                  <a:cubicBezTo>
                    <a:pt x="319" y="209"/>
                    <a:pt x="370" y="223"/>
                    <a:pt x="400" y="246"/>
                  </a:cubicBezTo>
                  <a:lnTo>
                    <a:pt x="400" y="349"/>
                  </a:lnTo>
                  <a:lnTo>
                    <a:pt x="452" y="342"/>
                  </a:lnTo>
                  <a:lnTo>
                    <a:pt x="512" y="328"/>
                  </a:lnTo>
                  <a:lnTo>
                    <a:pt x="459" y="232"/>
                  </a:lnTo>
                  <a:cubicBezTo>
                    <a:pt x="482" y="201"/>
                    <a:pt x="512" y="157"/>
                    <a:pt x="571" y="120"/>
                  </a:cubicBezTo>
                  <a:cubicBezTo>
                    <a:pt x="656" y="51"/>
                    <a:pt x="723" y="37"/>
                    <a:pt x="766" y="37"/>
                  </a:cubicBezTo>
                  <a:cubicBezTo>
                    <a:pt x="797" y="37"/>
                    <a:pt x="815" y="45"/>
                    <a:pt x="815" y="45"/>
                  </a:cubicBezTo>
                  <a:cubicBezTo>
                    <a:pt x="792" y="15"/>
                    <a:pt x="755" y="1"/>
                    <a:pt x="712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7" name="Google Shape;5297;p53">
              <a:extLst>
                <a:ext uri="{FF2B5EF4-FFF2-40B4-BE49-F238E27FC236}">
                  <a16:creationId xmlns:a16="http://schemas.microsoft.com/office/drawing/2014/main" id="{DF3808B6-7FA2-9AC0-2C7B-06B854A8511F}"/>
                </a:ext>
              </a:extLst>
            </p:cNvPr>
            <p:cNvSpPr/>
            <p:nvPr/>
          </p:nvSpPr>
          <p:spPr>
            <a:xfrm>
              <a:off x="7503925" y="1476125"/>
              <a:ext cx="10950" cy="4700"/>
            </a:xfrm>
            <a:custGeom>
              <a:avLst/>
              <a:gdLst/>
              <a:ahLst/>
              <a:cxnLst/>
              <a:rect l="l" t="t" r="r" b="b"/>
              <a:pathLst>
                <a:path w="438" h="188" extrusionOk="0">
                  <a:moveTo>
                    <a:pt x="385" y="1"/>
                  </a:moveTo>
                  <a:cubicBezTo>
                    <a:pt x="357" y="1"/>
                    <a:pt x="324" y="14"/>
                    <a:pt x="290" y="40"/>
                  </a:cubicBezTo>
                  <a:cubicBezTo>
                    <a:pt x="260" y="54"/>
                    <a:pt x="237" y="84"/>
                    <a:pt x="230" y="105"/>
                  </a:cubicBezTo>
                  <a:cubicBezTo>
                    <a:pt x="208" y="91"/>
                    <a:pt x="178" y="77"/>
                    <a:pt x="141" y="77"/>
                  </a:cubicBezTo>
                  <a:cubicBezTo>
                    <a:pt x="127" y="74"/>
                    <a:pt x="114" y="73"/>
                    <a:pt x="102" y="73"/>
                  </a:cubicBezTo>
                  <a:cubicBezTo>
                    <a:pt x="47" y="73"/>
                    <a:pt x="6" y="99"/>
                    <a:pt x="0" y="136"/>
                  </a:cubicBezTo>
                  <a:cubicBezTo>
                    <a:pt x="0" y="136"/>
                    <a:pt x="17" y="103"/>
                    <a:pt x="93" y="103"/>
                  </a:cubicBezTo>
                  <a:cubicBezTo>
                    <a:pt x="105" y="103"/>
                    <a:pt x="118" y="103"/>
                    <a:pt x="134" y="105"/>
                  </a:cubicBezTo>
                  <a:cubicBezTo>
                    <a:pt x="171" y="105"/>
                    <a:pt x="201" y="121"/>
                    <a:pt x="215" y="128"/>
                  </a:cubicBezTo>
                  <a:lnTo>
                    <a:pt x="215" y="187"/>
                  </a:lnTo>
                  <a:lnTo>
                    <a:pt x="246" y="180"/>
                  </a:lnTo>
                  <a:lnTo>
                    <a:pt x="274" y="173"/>
                  </a:lnTo>
                  <a:lnTo>
                    <a:pt x="246" y="121"/>
                  </a:lnTo>
                  <a:cubicBezTo>
                    <a:pt x="260" y="105"/>
                    <a:pt x="274" y="84"/>
                    <a:pt x="304" y="61"/>
                  </a:cubicBezTo>
                  <a:cubicBezTo>
                    <a:pt x="348" y="26"/>
                    <a:pt x="383" y="17"/>
                    <a:pt x="406" y="17"/>
                  </a:cubicBezTo>
                  <a:cubicBezTo>
                    <a:pt x="427" y="17"/>
                    <a:pt x="438" y="24"/>
                    <a:pt x="438" y="24"/>
                  </a:cubicBezTo>
                  <a:cubicBezTo>
                    <a:pt x="425" y="8"/>
                    <a:pt x="407" y="1"/>
                    <a:pt x="38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8" name="Google Shape;5298;p53">
              <a:extLst>
                <a:ext uri="{FF2B5EF4-FFF2-40B4-BE49-F238E27FC236}">
                  <a16:creationId xmlns:a16="http://schemas.microsoft.com/office/drawing/2014/main" id="{AB68DD2A-0704-4CFB-32EB-17AB04912BB4}"/>
                </a:ext>
              </a:extLst>
            </p:cNvPr>
            <p:cNvSpPr/>
            <p:nvPr/>
          </p:nvSpPr>
          <p:spPr>
            <a:xfrm>
              <a:off x="7717150" y="1657150"/>
              <a:ext cx="58350" cy="24300"/>
            </a:xfrm>
            <a:custGeom>
              <a:avLst/>
              <a:gdLst/>
              <a:ahLst/>
              <a:cxnLst/>
              <a:rect l="l" t="t" r="r" b="b"/>
              <a:pathLst>
                <a:path w="2334" h="972" extrusionOk="0">
                  <a:moveTo>
                    <a:pt x="777" y="1"/>
                  </a:moveTo>
                  <a:cubicBezTo>
                    <a:pt x="511" y="1"/>
                    <a:pt x="297" y="216"/>
                    <a:pt x="297" y="474"/>
                  </a:cubicBezTo>
                  <a:lnTo>
                    <a:pt x="297" y="483"/>
                  </a:lnTo>
                  <a:cubicBezTo>
                    <a:pt x="281" y="483"/>
                    <a:pt x="260" y="474"/>
                    <a:pt x="244" y="474"/>
                  </a:cubicBezTo>
                  <a:cubicBezTo>
                    <a:pt x="110" y="474"/>
                    <a:pt x="0" y="586"/>
                    <a:pt x="0" y="719"/>
                  </a:cubicBezTo>
                  <a:cubicBezTo>
                    <a:pt x="0" y="853"/>
                    <a:pt x="110" y="956"/>
                    <a:pt x="244" y="956"/>
                  </a:cubicBezTo>
                  <a:lnTo>
                    <a:pt x="244" y="972"/>
                  </a:lnTo>
                  <a:lnTo>
                    <a:pt x="2179" y="972"/>
                  </a:lnTo>
                  <a:lnTo>
                    <a:pt x="2179" y="956"/>
                  </a:lnTo>
                  <a:cubicBezTo>
                    <a:pt x="2268" y="949"/>
                    <a:pt x="2333" y="867"/>
                    <a:pt x="2333" y="778"/>
                  </a:cubicBezTo>
                  <a:cubicBezTo>
                    <a:pt x="2333" y="682"/>
                    <a:pt x="2253" y="600"/>
                    <a:pt x="2156" y="600"/>
                  </a:cubicBezTo>
                  <a:cubicBezTo>
                    <a:pt x="2111" y="600"/>
                    <a:pt x="2076" y="616"/>
                    <a:pt x="2038" y="638"/>
                  </a:cubicBezTo>
                  <a:lnTo>
                    <a:pt x="2038" y="616"/>
                  </a:lnTo>
                  <a:cubicBezTo>
                    <a:pt x="2038" y="422"/>
                    <a:pt x="1889" y="268"/>
                    <a:pt x="1697" y="268"/>
                  </a:cubicBezTo>
                  <a:cubicBezTo>
                    <a:pt x="1587" y="268"/>
                    <a:pt x="1489" y="319"/>
                    <a:pt x="1430" y="394"/>
                  </a:cubicBezTo>
                  <a:cubicBezTo>
                    <a:pt x="1409" y="385"/>
                    <a:pt x="1378" y="385"/>
                    <a:pt x="1355" y="385"/>
                  </a:cubicBezTo>
                  <a:cubicBezTo>
                    <a:pt x="1320" y="385"/>
                    <a:pt x="1282" y="394"/>
                    <a:pt x="1252" y="408"/>
                  </a:cubicBezTo>
                  <a:cubicBezTo>
                    <a:pt x="1222" y="172"/>
                    <a:pt x="1023" y="1"/>
                    <a:pt x="77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9" name="Google Shape;5299;p53">
              <a:extLst>
                <a:ext uri="{FF2B5EF4-FFF2-40B4-BE49-F238E27FC236}">
                  <a16:creationId xmlns:a16="http://schemas.microsoft.com/office/drawing/2014/main" id="{B14537BC-68A1-55AE-7D8F-79548FC8D27E}"/>
                </a:ext>
              </a:extLst>
            </p:cNvPr>
            <p:cNvSpPr/>
            <p:nvPr/>
          </p:nvSpPr>
          <p:spPr>
            <a:xfrm>
              <a:off x="7724350" y="1657350"/>
              <a:ext cx="10950" cy="22075"/>
            </a:xfrm>
            <a:custGeom>
              <a:avLst/>
              <a:gdLst/>
              <a:ahLst/>
              <a:cxnLst/>
              <a:rect l="l" t="t" r="r" b="b"/>
              <a:pathLst>
                <a:path w="438" h="883" extrusionOk="0">
                  <a:moveTo>
                    <a:pt x="438" y="0"/>
                  </a:moveTo>
                  <a:cubicBezTo>
                    <a:pt x="201" y="0"/>
                    <a:pt x="0" y="199"/>
                    <a:pt x="0" y="445"/>
                  </a:cubicBezTo>
                  <a:cubicBezTo>
                    <a:pt x="0" y="688"/>
                    <a:pt x="201" y="882"/>
                    <a:pt x="438" y="882"/>
                  </a:cubicBezTo>
                  <a:cubicBezTo>
                    <a:pt x="438" y="882"/>
                    <a:pt x="187" y="800"/>
                    <a:pt x="171" y="445"/>
                  </a:cubicBezTo>
                  <a:cubicBezTo>
                    <a:pt x="150" y="119"/>
                    <a:pt x="438" y="0"/>
                    <a:pt x="43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0" name="Google Shape;5300;p53">
              <a:extLst>
                <a:ext uri="{FF2B5EF4-FFF2-40B4-BE49-F238E27FC236}">
                  <a16:creationId xmlns:a16="http://schemas.microsoft.com/office/drawing/2014/main" id="{46088C12-8EC9-27A1-A26B-390AA40D6058}"/>
                </a:ext>
              </a:extLst>
            </p:cNvPr>
            <p:cNvSpPr/>
            <p:nvPr/>
          </p:nvSpPr>
          <p:spPr>
            <a:xfrm>
              <a:off x="7745475" y="1666775"/>
              <a:ext cx="11525" cy="5975"/>
            </a:xfrm>
            <a:custGeom>
              <a:avLst/>
              <a:gdLst/>
              <a:ahLst/>
              <a:cxnLst/>
              <a:rect l="l" t="t" r="r" b="b"/>
              <a:pathLst>
                <a:path w="461" h="239" extrusionOk="0">
                  <a:moveTo>
                    <a:pt x="231" y="0"/>
                  </a:moveTo>
                  <a:cubicBezTo>
                    <a:pt x="105" y="9"/>
                    <a:pt x="0" y="112"/>
                    <a:pt x="0" y="238"/>
                  </a:cubicBezTo>
                  <a:cubicBezTo>
                    <a:pt x="0" y="238"/>
                    <a:pt x="37" y="105"/>
                    <a:pt x="231" y="89"/>
                  </a:cubicBezTo>
                  <a:cubicBezTo>
                    <a:pt x="235" y="89"/>
                    <a:pt x="239" y="89"/>
                    <a:pt x="243" y="89"/>
                  </a:cubicBezTo>
                  <a:cubicBezTo>
                    <a:pt x="403" y="89"/>
                    <a:pt x="461" y="231"/>
                    <a:pt x="461" y="231"/>
                  </a:cubicBezTo>
                  <a:cubicBezTo>
                    <a:pt x="461" y="105"/>
                    <a:pt x="356" y="0"/>
                    <a:pt x="23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1" name="Google Shape;5301;p53">
              <a:extLst>
                <a:ext uri="{FF2B5EF4-FFF2-40B4-BE49-F238E27FC236}">
                  <a16:creationId xmlns:a16="http://schemas.microsoft.com/office/drawing/2014/main" id="{49FB1189-36A1-0AA6-0F73-FD580FC04807}"/>
                </a:ext>
              </a:extLst>
            </p:cNvPr>
            <p:cNvSpPr/>
            <p:nvPr/>
          </p:nvSpPr>
          <p:spPr>
            <a:xfrm>
              <a:off x="7352750" y="1654925"/>
              <a:ext cx="60225" cy="25025"/>
            </a:xfrm>
            <a:custGeom>
              <a:avLst/>
              <a:gdLst/>
              <a:ahLst/>
              <a:cxnLst/>
              <a:rect l="l" t="t" r="r" b="b"/>
              <a:pathLst>
                <a:path w="2409" h="1001" extrusionOk="0">
                  <a:moveTo>
                    <a:pt x="1608" y="1"/>
                  </a:moveTo>
                  <a:cubicBezTo>
                    <a:pt x="1358" y="1"/>
                    <a:pt x="1150" y="186"/>
                    <a:pt x="1119" y="422"/>
                  </a:cubicBezTo>
                  <a:cubicBezTo>
                    <a:pt x="1082" y="408"/>
                    <a:pt x="1054" y="401"/>
                    <a:pt x="1016" y="401"/>
                  </a:cubicBezTo>
                  <a:cubicBezTo>
                    <a:pt x="986" y="401"/>
                    <a:pt x="965" y="401"/>
                    <a:pt x="934" y="408"/>
                  </a:cubicBezTo>
                  <a:cubicBezTo>
                    <a:pt x="876" y="334"/>
                    <a:pt x="771" y="282"/>
                    <a:pt x="660" y="282"/>
                  </a:cubicBezTo>
                  <a:cubicBezTo>
                    <a:pt x="468" y="282"/>
                    <a:pt x="305" y="438"/>
                    <a:pt x="305" y="638"/>
                  </a:cubicBezTo>
                  <a:lnTo>
                    <a:pt x="305" y="661"/>
                  </a:lnTo>
                  <a:cubicBezTo>
                    <a:pt x="275" y="638"/>
                    <a:pt x="230" y="623"/>
                    <a:pt x="186" y="623"/>
                  </a:cubicBezTo>
                  <a:cubicBezTo>
                    <a:pt x="83" y="623"/>
                    <a:pt x="1" y="705"/>
                    <a:pt x="1" y="808"/>
                  </a:cubicBezTo>
                  <a:cubicBezTo>
                    <a:pt x="1" y="904"/>
                    <a:pt x="68" y="979"/>
                    <a:pt x="164" y="993"/>
                  </a:cubicBezTo>
                  <a:lnTo>
                    <a:pt x="164" y="1000"/>
                  </a:lnTo>
                  <a:lnTo>
                    <a:pt x="2165" y="1000"/>
                  </a:lnTo>
                  <a:lnTo>
                    <a:pt x="2165" y="993"/>
                  </a:lnTo>
                  <a:cubicBezTo>
                    <a:pt x="2298" y="993"/>
                    <a:pt x="2409" y="883"/>
                    <a:pt x="2409" y="750"/>
                  </a:cubicBezTo>
                  <a:cubicBezTo>
                    <a:pt x="2409" y="607"/>
                    <a:pt x="2298" y="497"/>
                    <a:pt x="2165" y="497"/>
                  </a:cubicBezTo>
                  <a:cubicBezTo>
                    <a:pt x="2142" y="497"/>
                    <a:pt x="2121" y="497"/>
                    <a:pt x="2105" y="504"/>
                  </a:cubicBezTo>
                  <a:lnTo>
                    <a:pt x="2105" y="497"/>
                  </a:lnTo>
                  <a:cubicBezTo>
                    <a:pt x="2105" y="223"/>
                    <a:pt x="1882" y="1"/>
                    <a:pt x="1608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2" name="Google Shape;5302;p53">
              <a:extLst>
                <a:ext uri="{FF2B5EF4-FFF2-40B4-BE49-F238E27FC236}">
                  <a16:creationId xmlns:a16="http://schemas.microsoft.com/office/drawing/2014/main" id="{188FE51B-BA37-AD42-6BFA-33C2874996AE}"/>
                </a:ext>
              </a:extLst>
            </p:cNvPr>
            <p:cNvSpPr/>
            <p:nvPr/>
          </p:nvSpPr>
          <p:spPr>
            <a:xfrm>
              <a:off x="7397225" y="1655650"/>
              <a:ext cx="8375" cy="11900"/>
            </a:xfrm>
            <a:custGeom>
              <a:avLst/>
              <a:gdLst/>
              <a:ahLst/>
              <a:cxnLst/>
              <a:rect l="l" t="t" r="r" b="b"/>
              <a:pathLst>
                <a:path w="335" h="476" extrusionOk="0">
                  <a:moveTo>
                    <a:pt x="0" y="0"/>
                  </a:moveTo>
                  <a:lnTo>
                    <a:pt x="0" y="0"/>
                  </a:lnTo>
                  <a:cubicBezTo>
                    <a:pt x="192" y="75"/>
                    <a:pt x="326" y="253"/>
                    <a:pt x="326" y="468"/>
                  </a:cubicBezTo>
                  <a:lnTo>
                    <a:pt x="326" y="475"/>
                  </a:lnTo>
                  <a:lnTo>
                    <a:pt x="334" y="475"/>
                  </a:lnTo>
                  <a:lnTo>
                    <a:pt x="334" y="438"/>
                  </a:lnTo>
                  <a:cubicBezTo>
                    <a:pt x="334" y="232"/>
                    <a:pt x="192" y="61"/>
                    <a:pt x="0" y="0"/>
                  </a:cubicBezTo>
                  <a:close/>
                </a:path>
              </a:pathLst>
            </a:custGeom>
            <a:solidFill>
              <a:srgbClr val="EDED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3" name="Google Shape;5303;p53">
              <a:extLst>
                <a:ext uri="{FF2B5EF4-FFF2-40B4-BE49-F238E27FC236}">
                  <a16:creationId xmlns:a16="http://schemas.microsoft.com/office/drawing/2014/main" id="{72E4F793-5DF0-8636-155A-4E9F23F88E67}"/>
                </a:ext>
              </a:extLst>
            </p:cNvPr>
            <p:cNvSpPr/>
            <p:nvPr/>
          </p:nvSpPr>
          <p:spPr>
            <a:xfrm>
              <a:off x="7394225" y="1655300"/>
              <a:ext cx="11375" cy="22825"/>
            </a:xfrm>
            <a:custGeom>
              <a:avLst/>
              <a:gdLst/>
              <a:ahLst/>
              <a:cxnLst/>
              <a:rect l="l" t="t" r="r" b="b"/>
              <a:pathLst>
                <a:path w="455" h="913" extrusionOk="0">
                  <a:moveTo>
                    <a:pt x="1" y="0"/>
                  </a:moveTo>
                  <a:cubicBezTo>
                    <a:pt x="1" y="0"/>
                    <a:pt x="298" y="119"/>
                    <a:pt x="284" y="452"/>
                  </a:cubicBezTo>
                  <a:cubicBezTo>
                    <a:pt x="261" y="824"/>
                    <a:pt x="1" y="913"/>
                    <a:pt x="1" y="913"/>
                  </a:cubicBezTo>
                  <a:cubicBezTo>
                    <a:pt x="239" y="913"/>
                    <a:pt x="438" y="719"/>
                    <a:pt x="454" y="489"/>
                  </a:cubicBezTo>
                  <a:lnTo>
                    <a:pt x="446" y="489"/>
                  </a:lnTo>
                  <a:lnTo>
                    <a:pt x="446" y="482"/>
                  </a:lnTo>
                  <a:cubicBezTo>
                    <a:pt x="446" y="267"/>
                    <a:pt x="312" y="89"/>
                    <a:pt x="120" y="14"/>
                  </a:cubicBezTo>
                  <a:cubicBezTo>
                    <a:pt x="83" y="7"/>
                    <a:pt x="45" y="0"/>
                    <a:pt x="1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4" name="Google Shape;5304;p53">
              <a:extLst>
                <a:ext uri="{FF2B5EF4-FFF2-40B4-BE49-F238E27FC236}">
                  <a16:creationId xmlns:a16="http://schemas.microsoft.com/office/drawing/2014/main" id="{8BF45904-B619-2FBA-60C9-8BAB2DE2F9A7}"/>
                </a:ext>
              </a:extLst>
            </p:cNvPr>
            <p:cNvSpPr/>
            <p:nvPr/>
          </p:nvSpPr>
          <p:spPr>
            <a:xfrm>
              <a:off x="7371825" y="1665125"/>
              <a:ext cx="11900" cy="5925"/>
            </a:xfrm>
            <a:custGeom>
              <a:avLst/>
              <a:gdLst/>
              <a:ahLst/>
              <a:cxnLst/>
              <a:rect l="l" t="t" r="r" b="b"/>
              <a:pathLst>
                <a:path w="476" h="237" extrusionOk="0">
                  <a:moveTo>
                    <a:pt x="239" y="0"/>
                  </a:moveTo>
                  <a:cubicBezTo>
                    <a:pt x="113" y="0"/>
                    <a:pt x="8" y="103"/>
                    <a:pt x="1" y="230"/>
                  </a:cubicBezTo>
                  <a:cubicBezTo>
                    <a:pt x="1" y="230"/>
                    <a:pt x="61" y="89"/>
                    <a:pt x="223" y="89"/>
                  </a:cubicBezTo>
                  <a:lnTo>
                    <a:pt x="246" y="89"/>
                  </a:lnTo>
                  <a:cubicBezTo>
                    <a:pt x="438" y="103"/>
                    <a:pt x="475" y="237"/>
                    <a:pt x="475" y="237"/>
                  </a:cubicBezTo>
                  <a:cubicBezTo>
                    <a:pt x="475" y="103"/>
                    <a:pt x="372" y="0"/>
                    <a:pt x="246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5" name="Google Shape;5305;p53">
              <a:extLst>
                <a:ext uri="{FF2B5EF4-FFF2-40B4-BE49-F238E27FC236}">
                  <a16:creationId xmlns:a16="http://schemas.microsoft.com/office/drawing/2014/main" id="{45917F48-7E10-0615-8A99-308F46542BB3}"/>
                </a:ext>
              </a:extLst>
            </p:cNvPr>
            <p:cNvSpPr/>
            <p:nvPr/>
          </p:nvSpPr>
          <p:spPr>
            <a:xfrm>
              <a:off x="7309975" y="1567125"/>
              <a:ext cx="59475" cy="74850"/>
            </a:xfrm>
            <a:custGeom>
              <a:avLst/>
              <a:gdLst/>
              <a:ahLst/>
              <a:cxnLst/>
              <a:rect l="l" t="t" r="r" b="b"/>
              <a:pathLst>
                <a:path w="2379" h="2994" extrusionOk="0">
                  <a:moveTo>
                    <a:pt x="1185" y="1"/>
                  </a:moveTo>
                  <a:cubicBezTo>
                    <a:pt x="675" y="1"/>
                    <a:pt x="252" y="415"/>
                    <a:pt x="252" y="934"/>
                  </a:cubicBezTo>
                  <a:cubicBezTo>
                    <a:pt x="252" y="979"/>
                    <a:pt x="259" y="1023"/>
                    <a:pt x="268" y="1068"/>
                  </a:cubicBezTo>
                  <a:cubicBezTo>
                    <a:pt x="104" y="1267"/>
                    <a:pt x="1" y="1527"/>
                    <a:pt x="1" y="1808"/>
                  </a:cubicBezTo>
                  <a:cubicBezTo>
                    <a:pt x="1" y="2467"/>
                    <a:pt x="534" y="2994"/>
                    <a:pt x="1185" y="2994"/>
                  </a:cubicBezTo>
                  <a:cubicBezTo>
                    <a:pt x="1845" y="2994"/>
                    <a:pt x="2379" y="2467"/>
                    <a:pt x="2379" y="1808"/>
                  </a:cubicBezTo>
                  <a:cubicBezTo>
                    <a:pt x="2379" y="1527"/>
                    <a:pt x="2275" y="1267"/>
                    <a:pt x="2112" y="1068"/>
                  </a:cubicBezTo>
                  <a:cubicBezTo>
                    <a:pt x="2119" y="1023"/>
                    <a:pt x="2126" y="979"/>
                    <a:pt x="2126" y="934"/>
                  </a:cubicBezTo>
                  <a:cubicBezTo>
                    <a:pt x="2126" y="415"/>
                    <a:pt x="1705" y="1"/>
                    <a:pt x="118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6" name="Google Shape;5306;p53">
              <a:extLst>
                <a:ext uri="{FF2B5EF4-FFF2-40B4-BE49-F238E27FC236}">
                  <a16:creationId xmlns:a16="http://schemas.microsoft.com/office/drawing/2014/main" id="{D2F93B67-8947-966E-A8CB-DDA617E70449}"/>
                </a:ext>
              </a:extLst>
            </p:cNvPr>
            <p:cNvSpPr/>
            <p:nvPr/>
          </p:nvSpPr>
          <p:spPr>
            <a:xfrm>
              <a:off x="7339600" y="1590125"/>
              <a:ext cx="2825" cy="89100"/>
            </a:xfrm>
            <a:custGeom>
              <a:avLst/>
              <a:gdLst/>
              <a:ahLst/>
              <a:cxnLst/>
              <a:rect l="l" t="t" r="r" b="b"/>
              <a:pathLst>
                <a:path w="113" h="3564" extrusionOk="0">
                  <a:moveTo>
                    <a:pt x="54" y="1"/>
                  </a:moveTo>
                  <a:cubicBezTo>
                    <a:pt x="53" y="1"/>
                    <a:pt x="52" y="4"/>
                    <a:pt x="52" y="14"/>
                  </a:cubicBezTo>
                  <a:lnTo>
                    <a:pt x="0" y="3511"/>
                  </a:lnTo>
                  <a:cubicBezTo>
                    <a:pt x="0" y="3534"/>
                    <a:pt x="23" y="3564"/>
                    <a:pt x="52" y="3564"/>
                  </a:cubicBezTo>
                  <a:lnTo>
                    <a:pt x="61" y="3564"/>
                  </a:lnTo>
                  <a:cubicBezTo>
                    <a:pt x="89" y="3564"/>
                    <a:pt x="112" y="3534"/>
                    <a:pt x="112" y="3511"/>
                  </a:cubicBezTo>
                  <a:cubicBezTo>
                    <a:pt x="112" y="3511"/>
                    <a:pt x="89" y="14"/>
                    <a:pt x="61" y="14"/>
                  </a:cubicBezTo>
                  <a:cubicBezTo>
                    <a:pt x="61" y="14"/>
                    <a:pt x="57" y="1"/>
                    <a:pt x="5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7" name="Google Shape;5307;p53">
              <a:extLst>
                <a:ext uri="{FF2B5EF4-FFF2-40B4-BE49-F238E27FC236}">
                  <a16:creationId xmlns:a16="http://schemas.microsoft.com/office/drawing/2014/main" id="{BAE6FD6C-1CEA-061C-1B87-CE3B7FE23BCE}"/>
                </a:ext>
              </a:extLst>
            </p:cNvPr>
            <p:cNvSpPr/>
            <p:nvPr/>
          </p:nvSpPr>
          <p:spPr>
            <a:xfrm>
              <a:off x="7324025" y="1611600"/>
              <a:ext cx="16875" cy="13875"/>
            </a:xfrm>
            <a:custGeom>
              <a:avLst/>
              <a:gdLst/>
              <a:ahLst/>
              <a:cxnLst/>
              <a:rect l="l" t="t" r="r" b="b"/>
              <a:pathLst>
                <a:path w="675" h="555" extrusionOk="0">
                  <a:moveTo>
                    <a:pt x="1" y="0"/>
                  </a:moveTo>
                  <a:lnTo>
                    <a:pt x="1" y="0"/>
                  </a:lnTo>
                  <a:cubicBezTo>
                    <a:pt x="331" y="541"/>
                    <a:pt x="634" y="555"/>
                    <a:pt x="665" y="555"/>
                  </a:cubicBezTo>
                  <a:cubicBezTo>
                    <a:pt x="667" y="555"/>
                    <a:pt x="668" y="555"/>
                    <a:pt x="668" y="555"/>
                  </a:cubicBezTo>
                  <a:lnTo>
                    <a:pt x="675" y="473"/>
                  </a:lnTo>
                  <a:lnTo>
                    <a:pt x="675" y="473"/>
                  </a:lnTo>
                  <a:cubicBezTo>
                    <a:pt x="675" y="473"/>
                    <a:pt x="668" y="479"/>
                    <a:pt x="647" y="479"/>
                  </a:cubicBezTo>
                  <a:cubicBezTo>
                    <a:pt x="606" y="479"/>
                    <a:pt x="511" y="455"/>
                    <a:pt x="312" y="311"/>
                  </a:cubicBezTo>
                  <a:cubicBezTo>
                    <a:pt x="134" y="18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8" name="Google Shape;5308;p53">
              <a:extLst>
                <a:ext uri="{FF2B5EF4-FFF2-40B4-BE49-F238E27FC236}">
                  <a16:creationId xmlns:a16="http://schemas.microsoft.com/office/drawing/2014/main" id="{2BB4563B-5001-6989-6680-34AF61005E45}"/>
                </a:ext>
              </a:extLst>
            </p:cNvPr>
            <p:cNvSpPr/>
            <p:nvPr/>
          </p:nvSpPr>
          <p:spPr>
            <a:xfrm>
              <a:off x="7340875" y="1607675"/>
              <a:ext cx="14475" cy="11900"/>
            </a:xfrm>
            <a:custGeom>
              <a:avLst/>
              <a:gdLst/>
              <a:ahLst/>
              <a:cxnLst/>
              <a:rect l="l" t="t" r="r" b="b"/>
              <a:pathLst>
                <a:path w="579" h="476" extrusionOk="0">
                  <a:moveTo>
                    <a:pt x="579" y="1"/>
                  </a:moveTo>
                  <a:cubicBezTo>
                    <a:pt x="579" y="1"/>
                    <a:pt x="461" y="164"/>
                    <a:pt x="312" y="267"/>
                  </a:cubicBezTo>
                  <a:cubicBezTo>
                    <a:pt x="143" y="392"/>
                    <a:pt x="60" y="413"/>
                    <a:pt x="24" y="413"/>
                  </a:cubicBezTo>
                  <a:cubicBezTo>
                    <a:pt x="7" y="413"/>
                    <a:pt x="1" y="408"/>
                    <a:pt x="1" y="408"/>
                  </a:cubicBezTo>
                  <a:lnTo>
                    <a:pt x="1" y="408"/>
                  </a:lnTo>
                  <a:lnTo>
                    <a:pt x="10" y="475"/>
                  </a:lnTo>
                  <a:cubicBezTo>
                    <a:pt x="10" y="475"/>
                    <a:pt x="11" y="475"/>
                    <a:pt x="12" y="475"/>
                  </a:cubicBezTo>
                  <a:cubicBezTo>
                    <a:pt x="40" y="475"/>
                    <a:pt x="300" y="463"/>
                    <a:pt x="57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9" name="Google Shape;5309;p53">
              <a:extLst>
                <a:ext uri="{FF2B5EF4-FFF2-40B4-BE49-F238E27FC236}">
                  <a16:creationId xmlns:a16="http://schemas.microsoft.com/office/drawing/2014/main" id="{323BECE6-57D6-9AEA-C604-F4FE392E077C}"/>
                </a:ext>
              </a:extLst>
            </p:cNvPr>
            <p:cNvSpPr/>
            <p:nvPr/>
          </p:nvSpPr>
          <p:spPr>
            <a:xfrm>
              <a:off x="7329425" y="1599375"/>
              <a:ext cx="11475" cy="9450"/>
            </a:xfrm>
            <a:custGeom>
              <a:avLst/>
              <a:gdLst/>
              <a:ahLst/>
              <a:cxnLst/>
              <a:rect l="l" t="t" r="r" b="b"/>
              <a:pathLst>
                <a:path w="459" h="378" extrusionOk="0">
                  <a:moveTo>
                    <a:pt x="0" y="0"/>
                  </a:moveTo>
                  <a:cubicBezTo>
                    <a:pt x="228" y="370"/>
                    <a:pt x="443" y="377"/>
                    <a:pt x="458" y="377"/>
                  </a:cubicBezTo>
                  <a:cubicBezTo>
                    <a:pt x="459" y="377"/>
                    <a:pt x="459" y="377"/>
                    <a:pt x="459" y="377"/>
                  </a:cubicBezTo>
                  <a:lnTo>
                    <a:pt x="459" y="325"/>
                  </a:lnTo>
                  <a:cubicBezTo>
                    <a:pt x="459" y="325"/>
                    <a:pt x="455" y="328"/>
                    <a:pt x="444" y="328"/>
                  </a:cubicBezTo>
                  <a:cubicBezTo>
                    <a:pt x="417" y="328"/>
                    <a:pt x="352" y="313"/>
                    <a:pt x="208" y="215"/>
                  </a:cubicBezTo>
                  <a:cubicBezTo>
                    <a:pt x="89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0" name="Google Shape;5310;p53">
              <a:extLst>
                <a:ext uri="{FF2B5EF4-FFF2-40B4-BE49-F238E27FC236}">
                  <a16:creationId xmlns:a16="http://schemas.microsoft.com/office/drawing/2014/main" id="{7CCE43C1-E0AF-F202-EFFE-9E767CBB30A9}"/>
                </a:ext>
              </a:extLst>
            </p:cNvPr>
            <p:cNvSpPr/>
            <p:nvPr/>
          </p:nvSpPr>
          <p:spPr>
            <a:xfrm>
              <a:off x="7378150" y="1188300"/>
              <a:ext cx="26700" cy="26700"/>
            </a:xfrm>
            <a:custGeom>
              <a:avLst/>
              <a:gdLst/>
              <a:ahLst/>
              <a:cxnLst/>
              <a:rect l="l" t="t" r="r" b="b"/>
              <a:pathLst>
                <a:path w="1068" h="1068" extrusionOk="0">
                  <a:moveTo>
                    <a:pt x="534" y="0"/>
                  </a:moveTo>
                  <a:cubicBezTo>
                    <a:pt x="237" y="0"/>
                    <a:pt x="0" y="237"/>
                    <a:pt x="0" y="534"/>
                  </a:cubicBezTo>
                  <a:cubicBezTo>
                    <a:pt x="0" y="831"/>
                    <a:pt x="237" y="1067"/>
                    <a:pt x="534" y="1067"/>
                  </a:cubicBezTo>
                  <a:cubicBezTo>
                    <a:pt x="831" y="1067"/>
                    <a:pt x="1067" y="831"/>
                    <a:pt x="1067" y="534"/>
                  </a:cubicBezTo>
                  <a:cubicBezTo>
                    <a:pt x="1067" y="237"/>
                    <a:pt x="831" y="0"/>
                    <a:pt x="534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1" name="Google Shape;5311;p53">
              <a:extLst>
                <a:ext uri="{FF2B5EF4-FFF2-40B4-BE49-F238E27FC236}">
                  <a16:creationId xmlns:a16="http://schemas.microsoft.com/office/drawing/2014/main" id="{4C25DE45-136D-CE6E-EF95-289291E55704}"/>
                </a:ext>
              </a:extLst>
            </p:cNvPr>
            <p:cNvSpPr/>
            <p:nvPr/>
          </p:nvSpPr>
          <p:spPr>
            <a:xfrm>
              <a:off x="7314200" y="1224800"/>
              <a:ext cx="9850" cy="9850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2" y="0"/>
                  </a:moveTo>
                  <a:cubicBezTo>
                    <a:pt x="90" y="0"/>
                    <a:pt x="1" y="89"/>
                    <a:pt x="1" y="192"/>
                  </a:cubicBezTo>
                  <a:cubicBezTo>
                    <a:pt x="1" y="304"/>
                    <a:pt x="90" y="393"/>
                    <a:pt x="202" y="393"/>
                  </a:cubicBezTo>
                  <a:cubicBezTo>
                    <a:pt x="312" y="393"/>
                    <a:pt x="394" y="304"/>
                    <a:pt x="394" y="192"/>
                  </a:cubicBezTo>
                  <a:cubicBezTo>
                    <a:pt x="394" y="89"/>
                    <a:pt x="312" y="0"/>
                    <a:pt x="202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2" name="Google Shape;5312;p53">
              <a:extLst>
                <a:ext uri="{FF2B5EF4-FFF2-40B4-BE49-F238E27FC236}">
                  <a16:creationId xmlns:a16="http://schemas.microsoft.com/office/drawing/2014/main" id="{AAA2E19D-DC22-AD5B-7F33-991E43010869}"/>
                </a:ext>
              </a:extLst>
            </p:cNvPr>
            <p:cNvSpPr/>
            <p:nvPr/>
          </p:nvSpPr>
          <p:spPr>
            <a:xfrm>
              <a:off x="7569850" y="1372975"/>
              <a:ext cx="12650" cy="12600"/>
            </a:xfrm>
            <a:custGeom>
              <a:avLst/>
              <a:gdLst/>
              <a:ahLst/>
              <a:cxnLst/>
              <a:rect l="l" t="t" r="r" b="b"/>
              <a:pathLst>
                <a:path w="506" h="504" extrusionOk="0">
                  <a:moveTo>
                    <a:pt x="253" y="1"/>
                  </a:moveTo>
                  <a:cubicBezTo>
                    <a:pt x="113" y="1"/>
                    <a:pt x="0" y="113"/>
                    <a:pt x="0" y="253"/>
                  </a:cubicBezTo>
                  <a:cubicBezTo>
                    <a:pt x="0" y="394"/>
                    <a:pt x="113" y="504"/>
                    <a:pt x="253" y="504"/>
                  </a:cubicBezTo>
                  <a:cubicBezTo>
                    <a:pt x="394" y="504"/>
                    <a:pt x="506" y="394"/>
                    <a:pt x="506" y="253"/>
                  </a:cubicBezTo>
                  <a:cubicBezTo>
                    <a:pt x="506" y="113"/>
                    <a:pt x="394" y="1"/>
                    <a:pt x="253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3" name="Google Shape;5313;p53">
              <a:extLst>
                <a:ext uri="{FF2B5EF4-FFF2-40B4-BE49-F238E27FC236}">
                  <a16:creationId xmlns:a16="http://schemas.microsoft.com/office/drawing/2014/main" id="{ED69C553-CD8D-A2BA-6CE0-38468C90EE49}"/>
                </a:ext>
              </a:extLst>
            </p:cNvPr>
            <p:cNvSpPr/>
            <p:nvPr/>
          </p:nvSpPr>
          <p:spPr>
            <a:xfrm>
              <a:off x="7452975" y="1412050"/>
              <a:ext cx="63550" cy="63775"/>
            </a:xfrm>
            <a:custGeom>
              <a:avLst/>
              <a:gdLst/>
              <a:ahLst/>
              <a:cxnLst/>
              <a:rect l="l" t="t" r="r" b="b"/>
              <a:pathLst>
                <a:path w="2542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1972" y="2551"/>
                    <a:pt x="2541" y="1980"/>
                    <a:pt x="2541" y="1276"/>
                  </a:cubicBezTo>
                  <a:cubicBezTo>
                    <a:pt x="2541" y="572"/>
                    <a:pt x="1972" y="1"/>
                    <a:pt x="1275" y="1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4" name="Google Shape;5314;p53">
              <a:extLst>
                <a:ext uri="{FF2B5EF4-FFF2-40B4-BE49-F238E27FC236}">
                  <a16:creationId xmlns:a16="http://schemas.microsoft.com/office/drawing/2014/main" id="{C772DE17-C418-EACC-2F94-A0A7C97E929F}"/>
                </a:ext>
              </a:extLst>
            </p:cNvPr>
            <p:cNvSpPr/>
            <p:nvPr/>
          </p:nvSpPr>
          <p:spPr>
            <a:xfrm>
              <a:off x="7452800" y="1412050"/>
              <a:ext cx="31900" cy="63775"/>
            </a:xfrm>
            <a:custGeom>
              <a:avLst/>
              <a:gdLst/>
              <a:ahLst/>
              <a:cxnLst/>
              <a:rect l="l" t="t" r="r" b="b"/>
              <a:pathLst>
                <a:path w="1276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571" y="2542"/>
                    <a:pt x="7" y="1980"/>
                    <a:pt x="7" y="1276"/>
                  </a:cubicBezTo>
                  <a:cubicBezTo>
                    <a:pt x="7" y="572"/>
                    <a:pt x="571" y="8"/>
                    <a:pt x="1275" y="1"/>
                  </a:cubicBezTo>
                  <a:close/>
                </a:path>
              </a:pathLst>
            </a:custGeom>
            <a:solidFill>
              <a:srgbClr val="99A0A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5" name="Google Shape;5315;p53">
              <a:extLst>
                <a:ext uri="{FF2B5EF4-FFF2-40B4-BE49-F238E27FC236}">
                  <a16:creationId xmlns:a16="http://schemas.microsoft.com/office/drawing/2014/main" id="{E110FF24-0527-B420-AC6C-7B05EEE9CF54}"/>
                </a:ext>
              </a:extLst>
            </p:cNvPr>
            <p:cNvSpPr/>
            <p:nvPr/>
          </p:nvSpPr>
          <p:spPr>
            <a:xfrm>
              <a:off x="7452975" y="1412050"/>
              <a:ext cx="31725" cy="63775"/>
            </a:xfrm>
            <a:custGeom>
              <a:avLst/>
              <a:gdLst/>
              <a:ahLst/>
              <a:cxnLst/>
              <a:rect l="l" t="t" r="r" b="b"/>
              <a:pathLst>
                <a:path w="1269" h="2551" extrusionOk="0">
                  <a:moveTo>
                    <a:pt x="1268" y="1"/>
                  </a:moveTo>
                  <a:cubicBezTo>
                    <a:pt x="564" y="8"/>
                    <a:pt x="0" y="572"/>
                    <a:pt x="0" y="1276"/>
                  </a:cubicBezTo>
                  <a:cubicBezTo>
                    <a:pt x="0" y="1980"/>
                    <a:pt x="564" y="2542"/>
                    <a:pt x="1268" y="2551"/>
                  </a:cubicBezTo>
                  <a:cubicBezTo>
                    <a:pt x="1268" y="2542"/>
                    <a:pt x="578" y="1913"/>
                    <a:pt x="578" y="1276"/>
                  </a:cubicBezTo>
                  <a:cubicBezTo>
                    <a:pt x="578" y="639"/>
                    <a:pt x="1268" y="8"/>
                    <a:pt x="1268" y="1"/>
                  </a:cubicBezTo>
                  <a:close/>
                </a:path>
              </a:pathLst>
            </a:custGeom>
            <a:solidFill>
              <a:srgbClr val="FFE9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6" name="Google Shape;5316;p53">
              <a:extLst>
                <a:ext uri="{FF2B5EF4-FFF2-40B4-BE49-F238E27FC236}">
                  <a16:creationId xmlns:a16="http://schemas.microsoft.com/office/drawing/2014/main" id="{38EBC2E5-1528-6A0B-51FC-84023CB5F96E}"/>
                </a:ext>
              </a:extLst>
            </p:cNvPr>
            <p:cNvSpPr/>
            <p:nvPr/>
          </p:nvSpPr>
          <p:spPr>
            <a:xfrm>
              <a:off x="7148250" y="1678625"/>
              <a:ext cx="644150" cy="39875"/>
            </a:xfrm>
            <a:custGeom>
              <a:avLst/>
              <a:gdLst/>
              <a:ahLst/>
              <a:cxnLst/>
              <a:rect l="l" t="t" r="r" b="b"/>
              <a:pathLst>
                <a:path w="25766" h="1595" extrusionOk="0">
                  <a:moveTo>
                    <a:pt x="1615" y="1"/>
                  </a:moveTo>
                  <a:cubicBezTo>
                    <a:pt x="0" y="1"/>
                    <a:pt x="141" y="1594"/>
                    <a:pt x="1615" y="1594"/>
                  </a:cubicBezTo>
                  <a:lnTo>
                    <a:pt x="25765" y="1594"/>
                  </a:lnTo>
                  <a:lnTo>
                    <a:pt x="25765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7" name="Google Shape;5317;p53">
              <a:extLst>
                <a:ext uri="{FF2B5EF4-FFF2-40B4-BE49-F238E27FC236}">
                  <a16:creationId xmlns:a16="http://schemas.microsoft.com/office/drawing/2014/main" id="{6CB95582-F552-DDB9-8371-B5D89BD3C70A}"/>
                </a:ext>
              </a:extLst>
            </p:cNvPr>
            <p:cNvSpPr/>
            <p:nvPr/>
          </p:nvSpPr>
          <p:spPr>
            <a:xfrm>
              <a:off x="7095475" y="1718475"/>
              <a:ext cx="696925" cy="39850"/>
            </a:xfrm>
            <a:custGeom>
              <a:avLst/>
              <a:gdLst/>
              <a:ahLst/>
              <a:cxnLst/>
              <a:rect l="l" t="t" r="r" b="b"/>
              <a:pathLst>
                <a:path w="27877" h="1594" extrusionOk="0">
                  <a:moveTo>
                    <a:pt x="1615" y="0"/>
                  </a:moveTo>
                  <a:cubicBezTo>
                    <a:pt x="45" y="0"/>
                    <a:pt x="0" y="1594"/>
                    <a:pt x="1615" y="1594"/>
                  </a:cubicBezTo>
                  <a:lnTo>
                    <a:pt x="27876" y="1594"/>
                  </a:lnTo>
                  <a:lnTo>
                    <a:pt x="2787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" name="Google Shape;5134;p53">
            <a:extLst>
              <a:ext uri="{FF2B5EF4-FFF2-40B4-BE49-F238E27FC236}">
                <a16:creationId xmlns:a16="http://schemas.microsoft.com/office/drawing/2014/main" id="{638045BB-DF14-C043-E8EC-427A8A602F95}"/>
              </a:ext>
            </a:extLst>
          </p:cNvPr>
          <p:cNvSpPr txBox="1">
            <a:spLocks/>
          </p:cNvSpPr>
          <p:nvPr/>
        </p:nvSpPr>
        <p:spPr>
          <a:xfrm>
            <a:off x="0" y="171067"/>
            <a:ext cx="9055382" cy="899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Paytone One"/>
              <a:buNone/>
              <a:defRPr sz="4800" b="0" i="0" u="none" strike="noStrike" cap="none">
                <a:solidFill>
                  <a:schemeClr val="dk2"/>
                </a:solidFill>
                <a:latin typeface="Paytone One"/>
                <a:ea typeface="Paytone One"/>
                <a:cs typeface="Paytone One"/>
                <a:sym typeface="Paytone One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9pPr>
          </a:lstStyle>
          <a:p>
            <a:r>
              <a:rPr lang="en-US" sz="4000" b="1" dirty="0">
                <a:solidFill>
                  <a:srgbClr val="A1E1FD"/>
                </a:solidFill>
              </a:rPr>
              <a:t>2017–2020: The Trump Administration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16476978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634276E-386B-1614-271D-F15D012C4E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34276E-386B-1614-271D-F15D012C4E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10" name="Google Shape;3310;p42"/>
          <p:cNvSpPr txBox="1">
            <a:spLocks noGrp="1"/>
          </p:cNvSpPr>
          <p:nvPr>
            <p:ph type="title"/>
          </p:nvPr>
        </p:nvSpPr>
        <p:spPr>
          <a:xfrm>
            <a:off x="1342874" y="50742"/>
            <a:ext cx="5444700" cy="105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accent1"/>
                </a:solidFill>
              </a:rPr>
              <a:t>Social Cost of Carbon (SSC)</a:t>
            </a:r>
            <a:endParaRPr/>
          </a:p>
        </p:txBody>
      </p:sp>
      <p:sp>
        <p:nvSpPr>
          <p:cNvPr id="3312" name="Google Shape;3312;p42"/>
          <p:cNvSpPr txBox="1">
            <a:spLocks noGrp="1"/>
          </p:cNvSpPr>
          <p:nvPr>
            <p:ph type="subTitle" idx="2"/>
          </p:nvPr>
        </p:nvSpPr>
        <p:spPr>
          <a:xfrm>
            <a:off x="801197" y="871339"/>
            <a:ext cx="7108914" cy="350073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/>
            <a:endParaRPr lang="en-US" sz="1800" i="1" dirty="0"/>
          </a:p>
          <a:p>
            <a:pPr marL="0" lvl="0" indent="0" algn="l"/>
            <a:r>
              <a:rPr lang="en-US" sz="1800" i="1" dirty="0"/>
              <a:t>“Economic measure that estimates the </a:t>
            </a:r>
            <a:r>
              <a:rPr lang="en-US" sz="1800" i="1" dirty="0">
                <a:solidFill>
                  <a:schemeClr val="bg2"/>
                </a:solidFill>
              </a:rPr>
              <a:t>monetary</a:t>
            </a:r>
            <a:r>
              <a:rPr lang="en-US" sz="1800" i="1" dirty="0"/>
              <a:t> value of the damages caused by emitting one additional </a:t>
            </a:r>
            <a:r>
              <a:rPr lang="en-US" sz="1800" i="1" dirty="0">
                <a:solidFill>
                  <a:schemeClr val="bg2"/>
                </a:solidFill>
              </a:rPr>
              <a:t>metric ton of carbon dioxide </a:t>
            </a:r>
            <a:r>
              <a:rPr lang="en-US" sz="1800" i="1" dirty="0"/>
              <a:t>into the atmosphere.” </a:t>
            </a:r>
          </a:p>
          <a:p>
            <a:pPr marL="0" lvl="0" indent="0" algn="l"/>
            <a:endParaRPr lang="en-US" sz="1800" dirty="0"/>
          </a:p>
          <a:p>
            <a:pPr marL="0" lvl="0" indent="0" algn="l"/>
            <a:r>
              <a:rPr lang="en-US" sz="1800" b="1" dirty="0"/>
              <a:t>Introduced by: </a:t>
            </a:r>
            <a:r>
              <a:rPr lang="en-US" sz="1800" dirty="0"/>
              <a:t>Obama administration (2010)</a:t>
            </a:r>
          </a:p>
          <a:p>
            <a:pPr marL="0" lvl="0" indent="0" algn="l"/>
            <a:r>
              <a:rPr lang="en-US" sz="1800" b="1" dirty="0"/>
              <a:t>Developed by:</a:t>
            </a:r>
            <a:r>
              <a:rPr lang="en-US" sz="1800" dirty="0"/>
              <a:t> Interagency Working Group (IWG)</a:t>
            </a:r>
          </a:p>
          <a:p>
            <a:pPr marL="0" lvl="0" indent="0" algn="l"/>
            <a:endParaRPr lang="en-US" sz="1800" dirty="0"/>
          </a:p>
          <a:p>
            <a:pPr marL="0" lvl="0" indent="0" algn="l"/>
            <a:r>
              <a:rPr lang="en-US" sz="1800" dirty="0"/>
              <a:t>It reflects the present value of future costs linked to climate change.</a:t>
            </a:r>
          </a:p>
          <a:p>
            <a:pPr marL="0" lvl="0" indent="0" algn="l"/>
            <a:endParaRPr lang="en-US" sz="18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B02B8E5-E196-AF8E-783B-F013668FE629}"/>
              </a:ext>
            </a:extLst>
          </p:cNvPr>
          <p:cNvGrpSpPr/>
          <p:nvPr/>
        </p:nvGrpSpPr>
        <p:grpSpPr>
          <a:xfrm>
            <a:off x="8362500" y="0"/>
            <a:ext cx="781500" cy="781500"/>
            <a:chOff x="5785183" y="1936801"/>
            <a:chExt cx="781500" cy="781500"/>
          </a:xfrm>
        </p:grpSpPr>
        <p:sp>
          <p:nvSpPr>
            <p:cNvPr id="3309" name="Google Shape;3309;p42"/>
            <p:cNvSpPr/>
            <p:nvPr/>
          </p:nvSpPr>
          <p:spPr>
            <a:xfrm>
              <a:off x="5785183" y="1936801"/>
              <a:ext cx="781500" cy="781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3315" name="Google Shape;3315;p42"/>
            <p:cNvGrpSpPr/>
            <p:nvPr/>
          </p:nvGrpSpPr>
          <p:grpSpPr>
            <a:xfrm>
              <a:off x="5947348" y="2098962"/>
              <a:ext cx="457181" cy="457181"/>
              <a:chOff x="4780446" y="4063623"/>
              <a:chExt cx="382163" cy="382163"/>
            </a:xfrm>
          </p:grpSpPr>
          <p:sp>
            <p:nvSpPr>
              <p:cNvPr id="3316" name="Google Shape;3316;p42"/>
              <p:cNvSpPr/>
              <p:nvPr/>
            </p:nvSpPr>
            <p:spPr>
              <a:xfrm>
                <a:off x="4901133" y="4228295"/>
                <a:ext cx="193607" cy="62870"/>
              </a:xfrm>
              <a:custGeom>
                <a:avLst/>
                <a:gdLst/>
                <a:ahLst/>
                <a:cxnLst/>
                <a:rect l="l" t="t" r="r" b="b"/>
                <a:pathLst>
                  <a:path w="7166" h="2327" extrusionOk="0">
                    <a:moveTo>
                      <a:pt x="0" y="1"/>
                    </a:moveTo>
                    <a:lnTo>
                      <a:pt x="0" y="2327"/>
                    </a:lnTo>
                    <a:lnTo>
                      <a:pt x="7165" y="2327"/>
                    </a:lnTo>
                    <a:lnTo>
                      <a:pt x="5607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17" name="Google Shape;3317;p42"/>
              <p:cNvSpPr/>
              <p:nvPr/>
            </p:nvSpPr>
            <p:spPr>
              <a:xfrm>
                <a:off x="4997910" y="4228295"/>
                <a:ext cx="99343" cy="62870"/>
              </a:xfrm>
              <a:custGeom>
                <a:avLst/>
                <a:gdLst/>
                <a:ahLst/>
                <a:cxnLst/>
                <a:rect l="l" t="t" r="r" b="b"/>
                <a:pathLst>
                  <a:path w="3677" h="2327" extrusionOk="0">
                    <a:moveTo>
                      <a:pt x="1" y="1"/>
                    </a:moveTo>
                    <a:lnTo>
                      <a:pt x="1" y="2327"/>
                    </a:lnTo>
                    <a:lnTo>
                      <a:pt x="3676" y="2327"/>
                    </a:lnTo>
                    <a:lnTo>
                      <a:pt x="2025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18" name="Google Shape;3318;p42"/>
              <p:cNvSpPr/>
              <p:nvPr/>
            </p:nvSpPr>
            <p:spPr>
              <a:xfrm>
                <a:off x="4780446" y="4095045"/>
                <a:ext cx="172858" cy="258990"/>
              </a:xfrm>
              <a:custGeom>
                <a:avLst/>
                <a:gdLst/>
                <a:ahLst/>
                <a:cxnLst/>
                <a:rect l="l" t="t" r="r" b="b"/>
                <a:pathLst>
                  <a:path w="6398" h="9586" extrusionOk="0">
                    <a:moveTo>
                      <a:pt x="1745" y="1"/>
                    </a:moveTo>
                    <a:cubicBezTo>
                      <a:pt x="768" y="1"/>
                      <a:pt x="0" y="768"/>
                      <a:pt x="0" y="1745"/>
                    </a:cubicBezTo>
                    <a:lnTo>
                      <a:pt x="0" y="7841"/>
                    </a:lnTo>
                    <a:cubicBezTo>
                      <a:pt x="0" y="8818"/>
                      <a:pt x="768" y="9585"/>
                      <a:pt x="1745" y="9585"/>
                    </a:cubicBezTo>
                    <a:cubicBezTo>
                      <a:pt x="1931" y="9585"/>
                      <a:pt x="2141" y="9399"/>
                      <a:pt x="2234" y="9190"/>
                    </a:cubicBezTo>
                    <a:cubicBezTo>
                      <a:pt x="2234" y="9004"/>
                      <a:pt x="2024" y="8725"/>
                      <a:pt x="1745" y="8725"/>
                    </a:cubicBezTo>
                    <a:cubicBezTo>
                      <a:pt x="1257" y="8725"/>
                      <a:pt x="861" y="8329"/>
                      <a:pt x="861" y="7841"/>
                    </a:cubicBezTo>
                    <a:lnTo>
                      <a:pt x="861" y="1745"/>
                    </a:lnTo>
                    <a:cubicBezTo>
                      <a:pt x="861" y="1257"/>
                      <a:pt x="1257" y="768"/>
                      <a:pt x="1745" y="768"/>
                    </a:cubicBezTo>
                    <a:lnTo>
                      <a:pt x="5909" y="768"/>
                    </a:lnTo>
                    <a:cubicBezTo>
                      <a:pt x="6212" y="768"/>
                      <a:pt x="6398" y="582"/>
                      <a:pt x="6398" y="373"/>
                    </a:cubicBezTo>
                    <a:cubicBezTo>
                      <a:pt x="6305" y="187"/>
                      <a:pt x="6096" y="1"/>
                      <a:pt x="5909" y="1"/>
                    </a:cubicBez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19" name="Google Shape;3319;p42"/>
              <p:cNvSpPr/>
              <p:nvPr/>
            </p:nvSpPr>
            <p:spPr>
              <a:xfrm>
                <a:off x="4830104" y="4207546"/>
                <a:ext cx="332504" cy="201794"/>
              </a:xfrm>
              <a:custGeom>
                <a:avLst/>
                <a:gdLst/>
                <a:ahLst/>
                <a:cxnLst/>
                <a:rect l="l" t="t" r="r" b="b"/>
                <a:pathLst>
                  <a:path w="12307" h="7469" extrusionOk="0">
                    <a:moveTo>
                      <a:pt x="5723" y="769"/>
                    </a:moveTo>
                    <a:lnTo>
                      <a:pt x="5723" y="3002"/>
                    </a:lnTo>
                    <a:lnTo>
                      <a:pt x="3978" y="3002"/>
                    </a:lnTo>
                    <a:cubicBezTo>
                      <a:pt x="3211" y="3002"/>
                      <a:pt x="2722" y="2420"/>
                      <a:pt x="2722" y="1746"/>
                    </a:cubicBezTo>
                    <a:lnTo>
                      <a:pt x="2722" y="1164"/>
                    </a:lnTo>
                    <a:cubicBezTo>
                      <a:pt x="2722" y="955"/>
                      <a:pt x="2908" y="769"/>
                      <a:pt x="3094" y="769"/>
                    </a:cubicBezTo>
                    <a:close/>
                    <a:moveTo>
                      <a:pt x="6979" y="769"/>
                    </a:moveTo>
                    <a:cubicBezTo>
                      <a:pt x="7375" y="769"/>
                      <a:pt x="7747" y="955"/>
                      <a:pt x="7957" y="1257"/>
                    </a:cubicBezTo>
                    <a:lnTo>
                      <a:pt x="9306" y="3002"/>
                    </a:lnTo>
                    <a:lnTo>
                      <a:pt x="6584" y="3002"/>
                    </a:lnTo>
                    <a:lnTo>
                      <a:pt x="6584" y="769"/>
                    </a:lnTo>
                    <a:close/>
                    <a:moveTo>
                      <a:pt x="3001" y="1"/>
                    </a:moveTo>
                    <a:cubicBezTo>
                      <a:pt x="2327" y="1"/>
                      <a:pt x="1652" y="373"/>
                      <a:pt x="1257" y="955"/>
                    </a:cubicBezTo>
                    <a:lnTo>
                      <a:pt x="303" y="2513"/>
                    </a:lnTo>
                    <a:cubicBezTo>
                      <a:pt x="93" y="2816"/>
                      <a:pt x="0" y="3188"/>
                      <a:pt x="0" y="3583"/>
                    </a:cubicBezTo>
                    <a:lnTo>
                      <a:pt x="0" y="5421"/>
                    </a:lnTo>
                    <a:cubicBezTo>
                      <a:pt x="0" y="6003"/>
                      <a:pt x="186" y="6491"/>
                      <a:pt x="582" y="6887"/>
                    </a:cubicBezTo>
                    <a:cubicBezTo>
                      <a:pt x="977" y="7259"/>
                      <a:pt x="1559" y="7468"/>
                      <a:pt x="2048" y="7468"/>
                    </a:cubicBezTo>
                    <a:lnTo>
                      <a:pt x="11051" y="7468"/>
                    </a:lnTo>
                    <a:cubicBezTo>
                      <a:pt x="11725" y="7468"/>
                      <a:pt x="12307" y="6980"/>
                      <a:pt x="12307" y="6305"/>
                    </a:cubicBezTo>
                    <a:lnTo>
                      <a:pt x="12307" y="5235"/>
                    </a:lnTo>
                    <a:cubicBezTo>
                      <a:pt x="12307" y="4072"/>
                      <a:pt x="11446" y="3095"/>
                      <a:pt x="10376" y="3002"/>
                    </a:cubicBezTo>
                    <a:lnTo>
                      <a:pt x="8631" y="769"/>
                    </a:lnTo>
                    <a:cubicBezTo>
                      <a:pt x="8236" y="280"/>
                      <a:pt x="7654" y="1"/>
                      <a:pt x="6979" y="1"/>
                    </a:cubicBezTo>
                    <a:close/>
                  </a:path>
                </a:pathLst>
              </a:custGeom>
              <a:solidFill>
                <a:srgbClr val="8AC93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0" name="Google Shape;3320;p42"/>
              <p:cNvSpPr/>
              <p:nvPr/>
            </p:nvSpPr>
            <p:spPr>
              <a:xfrm>
                <a:off x="4997910" y="4207546"/>
                <a:ext cx="164699" cy="201794"/>
              </a:xfrm>
              <a:custGeom>
                <a:avLst/>
                <a:gdLst/>
                <a:ahLst/>
                <a:cxnLst/>
                <a:rect l="l" t="t" r="r" b="b"/>
                <a:pathLst>
                  <a:path w="6096" h="7469" extrusionOk="0">
                    <a:moveTo>
                      <a:pt x="768" y="769"/>
                    </a:moveTo>
                    <a:cubicBezTo>
                      <a:pt x="1164" y="769"/>
                      <a:pt x="1536" y="955"/>
                      <a:pt x="1746" y="1257"/>
                    </a:cubicBezTo>
                    <a:lnTo>
                      <a:pt x="3095" y="3002"/>
                    </a:lnTo>
                    <a:lnTo>
                      <a:pt x="373" y="3002"/>
                    </a:lnTo>
                    <a:lnTo>
                      <a:pt x="373" y="769"/>
                    </a:lnTo>
                    <a:close/>
                    <a:moveTo>
                      <a:pt x="1" y="1"/>
                    </a:moveTo>
                    <a:lnTo>
                      <a:pt x="1" y="7468"/>
                    </a:lnTo>
                    <a:lnTo>
                      <a:pt x="4840" y="7468"/>
                    </a:lnTo>
                    <a:cubicBezTo>
                      <a:pt x="5514" y="7468"/>
                      <a:pt x="6096" y="6980"/>
                      <a:pt x="6096" y="6305"/>
                    </a:cubicBezTo>
                    <a:lnTo>
                      <a:pt x="6096" y="5235"/>
                    </a:lnTo>
                    <a:cubicBezTo>
                      <a:pt x="6096" y="4072"/>
                      <a:pt x="5235" y="3095"/>
                      <a:pt x="4165" y="3002"/>
                    </a:cubicBezTo>
                    <a:lnTo>
                      <a:pt x="2420" y="769"/>
                    </a:lnTo>
                    <a:cubicBezTo>
                      <a:pt x="2025" y="280"/>
                      <a:pt x="1443" y="1"/>
                      <a:pt x="768" y="1"/>
                    </a:cubicBezTo>
                    <a:close/>
                  </a:path>
                </a:pathLst>
              </a:custGeom>
              <a:solidFill>
                <a:srgbClr val="00B44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1" name="Google Shape;3321;p42"/>
              <p:cNvSpPr/>
              <p:nvPr/>
            </p:nvSpPr>
            <p:spPr>
              <a:xfrm>
                <a:off x="4987238" y="4071161"/>
                <a:ext cx="47173" cy="23910"/>
              </a:xfrm>
              <a:custGeom>
                <a:avLst/>
                <a:gdLst/>
                <a:ahLst/>
                <a:cxnLst/>
                <a:rect l="l" t="t" r="r" b="b"/>
                <a:pathLst>
                  <a:path w="1746" h="885" extrusionOk="0">
                    <a:moveTo>
                      <a:pt x="396" y="1"/>
                    </a:moveTo>
                    <a:cubicBezTo>
                      <a:pt x="186" y="1"/>
                      <a:pt x="0" y="303"/>
                      <a:pt x="0" y="489"/>
                    </a:cubicBezTo>
                    <a:cubicBezTo>
                      <a:pt x="0" y="675"/>
                      <a:pt x="186" y="885"/>
                      <a:pt x="396" y="885"/>
                    </a:cubicBezTo>
                    <a:lnTo>
                      <a:pt x="1350" y="885"/>
                    </a:lnTo>
                    <a:cubicBezTo>
                      <a:pt x="1559" y="885"/>
                      <a:pt x="1745" y="675"/>
                      <a:pt x="1745" y="396"/>
                    </a:cubicBezTo>
                    <a:cubicBezTo>
                      <a:pt x="1745" y="187"/>
                      <a:pt x="1559" y="1"/>
                      <a:pt x="1257" y="1"/>
                    </a:cubicBez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2" name="Google Shape;3322;p42"/>
              <p:cNvSpPr/>
              <p:nvPr/>
            </p:nvSpPr>
            <p:spPr>
              <a:xfrm>
                <a:off x="4987238" y="4115794"/>
                <a:ext cx="47173" cy="23289"/>
              </a:xfrm>
              <a:custGeom>
                <a:avLst/>
                <a:gdLst/>
                <a:ahLst/>
                <a:cxnLst/>
                <a:rect l="l" t="t" r="r" b="b"/>
                <a:pathLst>
                  <a:path w="1746" h="862" extrusionOk="0">
                    <a:moveTo>
                      <a:pt x="396" y="0"/>
                    </a:moveTo>
                    <a:cubicBezTo>
                      <a:pt x="186" y="0"/>
                      <a:pt x="0" y="280"/>
                      <a:pt x="0" y="489"/>
                    </a:cubicBezTo>
                    <a:cubicBezTo>
                      <a:pt x="0" y="675"/>
                      <a:pt x="186" y="861"/>
                      <a:pt x="396" y="861"/>
                    </a:cubicBezTo>
                    <a:lnTo>
                      <a:pt x="1350" y="861"/>
                    </a:lnTo>
                    <a:cubicBezTo>
                      <a:pt x="1559" y="861"/>
                      <a:pt x="1745" y="675"/>
                      <a:pt x="1745" y="396"/>
                    </a:cubicBezTo>
                    <a:cubicBezTo>
                      <a:pt x="1745" y="186"/>
                      <a:pt x="1559" y="0"/>
                      <a:pt x="1257" y="0"/>
                    </a:cubicBez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3" name="Google Shape;3323;p42"/>
              <p:cNvSpPr/>
              <p:nvPr/>
            </p:nvSpPr>
            <p:spPr>
              <a:xfrm>
                <a:off x="4929393" y="4063623"/>
                <a:ext cx="68543" cy="83619"/>
              </a:xfrm>
              <a:custGeom>
                <a:avLst/>
                <a:gdLst/>
                <a:ahLst/>
                <a:cxnLst/>
                <a:rect l="l" t="t" r="r" b="b"/>
                <a:pathLst>
                  <a:path w="2537" h="3095" extrusionOk="0">
                    <a:moveTo>
                      <a:pt x="1653" y="0"/>
                    </a:moveTo>
                    <a:cubicBezTo>
                      <a:pt x="699" y="0"/>
                      <a:pt x="1" y="768"/>
                      <a:pt x="117" y="1745"/>
                    </a:cubicBezTo>
                    <a:cubicBezTo>
                      <a:pt x="117" y="2513"/>
                      <a:pt x="792" y="3095"/>
                      <a:pt x="1653" y="3095"/>
                    </a:cubicBezTo>
                    <a:lnTo>
                      <a:pt x="2048" y="3095"/>
                    </a:lnTo>
                    <a:cubicBezTo>
                      <a:pt x="2327" y="3095"/>
                      <a:pt x="2537" y="2908"/>
                      <a:pt x="2537" y="2699"/>
                    </a:cubicBezTo>
                    <a:lnTo>
                      <a:pt x="2537" y="466"/>
                    </a:lnTo>
                    <a:cubicBezTo>
                      <a:pt x="2537" y="187"/>
                      <a:pt x="2327" y="0"/>
                      <a:pt x="204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4" name="Google Shape;3324;p42"/>
              <p:cNvSpPr/>
              <p:nvPr/>
            </p:nvSpPr>
            <p:spPr>
              <a:xfrm>
                <a:off x="4877249" y="4367192"/>
                <a:ext cx="71029" cy="70435"/>
              </a:xfrm>
              <a:custGeom>
                <a:avLst/>
                <a:gdLst/>
                <a:ahLst/>
                <a:cxnLst/>
                <a:rect l="l" t="t" r="r" b="b"/>
                <a:pathLst>
                  <a:path w="2629" h="2607" extrusionOk="0">
                    <a:moveTo>
                      <a:pt x="489" y="489"/>
                    </a:moveTo>
                    <a:cubicBezTo>
                      <a:pt x="884" y="1"/>
                      <a:pt x="1652" y="1"/>
                      <a:pt x="2140" y="489"/>
                    </a:cubicBezTo>
                    <a:cubicBezTo>
                      <a:pt x="2629" y="862"/>
                      <a:pt x="2629" y="1653"/>
                      <a:pt x="2140" y="2141"/>
                    </a:cubicBezTo>
                    <a:cubicBezTo>
                      <a:pt x="1652" y="2606"/>
                      <a:pt x="884" y="2606"/>
                      <a:pt x="489" y="2141"/>
                    </a:cubicBezTo>
                    <a:cubicBezTo>
                      <a:pt x="0" y="1653"/>
                      <a:pt x="0" y="862"/>
                      <a:pt x="489" y="489"/>
                    </a:cubicBezTo>
                    <a:close/>
                  </a:path>
                </a:pathLst>
              </a:custGeom>
              <a:solidFill>
                <a:srgbClr val="A1E1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5" name="Google Shape;3325;p42"/>
              <p:cNvSpPr/>
              <p:nvPr/>
            </p:nvSpPr>
            <p:spPr>
              <a:xfrm>
                <a:off x="4869685" y="4359033"/>
                <a:ext cx="86159" cy="86753"/>
              </a:xfrm>
              <a:custGeom>
                <a:avLst/>
                <a:gdLst/>
                <a:ahLst/>
                <a:cxnLst/>
                <a:rect l="l" t="t" r="r" b="b"/>
                <a:pathLst>
                  <a:path w="3189" h="3211" extrusionOk="0">
                    <a:moveTo>
                      <a:pt x="1536" y="791"/>
                    </a:moveTo>
                    <a:cubicBezTo>
                      <a:pt x="2025" y="791"/>
                      <a:pt x="2327" y="1164"/>
                      <a:pt x="2327" y="1559"/>
                    </a:cubicBezTo>
                    <a:cubicBezTo>
                      <a:pt x="2327" y="2048"/>
                      <a:pt x="2025" y="2327"/>
                      <a:pt x="1536" y="2327"/>
                    </a:cubicBezTo>
                    <a:cubicBezTo>
                      <a:pt x="1164" y="2327"/>
                      <a:pt x="769" y="2048"/>
                      <a:pt x="769" y="1559"/>
                    </a:cubicBezTo>
                    <a:cubicBezTo>
                      <a:pt x="769" y="1164"/>
                      <a:pt x="1164" y="791"/>
                      <a:pt x="1536" y="791"/>
                    </a:cubicBezTo>
                    <a:close/>
                    <a:moveTo>
                      <a:pt x="1536" y="0"/>
                    </a:moveTo>
                    <a:cubicBezTo>
                      <a:pt x="676" y="0"/>
                      <a:pt x="1" y="698"/>
                      <a:pt x="1" y="1559"/>
                    </a:cubicBezTo>
                    <a:cubicBezTo>
                      <a:pt x="1" y="2443"/>
                      <a:pt x="676" y="3211"/>
                      <a:pt x="1536" y="3211"/>
                    </a:cubicBezTo>
                    <a:cubicBezTo>
                      <a:pt x="2420" y="3211"/>
                      <a:pt x="3188" y="2443"/>
                      <a:pt x="3188" y="1559"/>
                    </a:cubicBezTo>
                    <a:cubicBezTo>
                      <a:pt x="3188" y="698"/>
                      <a:pt x="2420" y="0"/>
                      <a:pt x="153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6" name="Google Shape;3326;p42"/>
              <p:cNvSpPr/>
              <p:nvPr/>
            </p:nvSpPr>
            <p:spPr>
              <a:xfrm>
                <a:off x="5045055" y="4367192"/>
                <a:ext cx="70435" cy="70435"/>
              </a:xfrm>
              <a:custGeom>
                <a:avLst/>
                <a:gdLst/>
                <a:ahLst/>
                <a:cxnLst/>
                <a:rect l="l" t="t" r="r" b="b"/>
                <a:pathLst>
                  <a:path w="2607" h="2607" extrusionOk="0">
                    <a:moveTo>
                      <a:pt x="489" y="489"/>
                    </a:moveTo>
                    <a:cubicBezTo>
                      <a:pt x="954" y="1"/>
                      <a:pt x="1745" y="1"/>
                      <a:pt x="2118" y="489"/>
                    </a:cubicBezTo>
                    <a:cubicBezTo>
                      <a:pt x="2606" y="862"/>
                      <a:pt x="2606" y="1653"/>
                      <a:pt x="2118" y="2141"/>
                    </a:cubicBezTo>
                    <a:cubicBezTo>
                      <a:pt x="1745" y="2606"/>
                      <a:pt x="954" y="2606"/>
                      <a:pt x="489" y="2141"/>
                    </a:cubicBezTo>
                    <a:cubicBezTo>
                      <a:pt x="1" y="1653"/>
                      <a:pt x="1" y="862"/>
                      <a:pt x="489" y="489"/>
                    </a:cubicBezTo>
                    <a:close/>
                  </a:path>
                </a:pathLst>
              </a:custGeom>
              <a:solidFill>
                <a:srgbClr val="A1E1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7" name="Google Shape;3327;p42"/>
              <p:cNvSpPr/>
              <p:nvPr/>
            </p:nvSpPr>
            <p:spPr>
              <a:xfrm>
                <a:off x="5036896" y="4359033"/>
                <a:ext cx="86753" cy="86753"/>
              </a:xfrm>
              <a:custGeom>
                <a:avLst/>
                <a:gdLst/>
                <a:ahLst/>
                <a:cxnLst/>
                <a:rect l="l" t="t" r="r" b="b"/>
                <a:pathLst>
                  <a:path w="3211" h="3211" extrusionOk="0">
                    <a:moveTo>
                      <a:pt x="1652" y="791"/>
                    </a:moveTo>
                    <a:cubicBezTo>
                      <a:pt x="2047" y="791"/>
                      <a:pt x="2420" y="1164"/>
                      <a:pt x="2420" y="1559"/>
                    </a:cubicBezTo>
                    <a:cubicBezTo>
                      <a:pt x="2420" y="2048"/>
                      <a:pt x="2047" y="2327"/>
                      <a:pt x="1652" y="2327"/>
                    </a:cubicBezTo>
                    <a:cubicBezTo>
                      <a:pt x="1163" y="2327"/>
                      <a:pt x="884" y="2048"/>
                      <a:pt x="884" y="1559"/>
                    </a:cubicBezTo>
                    <a:cubicBezTo>
                      <a:pt x="884" y="1164"/>
                      <a:pt x="1163" y="791"/>
                      <a:pt x="1652" y="791"/>
                    </a:cubicBezTo>
                    <a:close/>
                    <a:moveTo>
                      <a:pt x="1652" y="0"/>
                    </a:moveTo>
                    <a:cubicBezTo>
                      <a:pt x="791" y="0"/>
                      <a:pt x="0" y="698"/>
                      <a:pt x="0" y="1559"/>
                    </a:cubicBezTo>
                    <a:cubicBezTo>
                      <a:pt x="0" y="2443"/>
                      <a:pt x="791" y="3211"/>
                      <a:pt x="1652" y="3211"/>
                    </a:cubicBezTo>
                    <a:cubicBezTo>
                      <a:pt x="2536" y="3211"/>
                      <a:pt x="3211" y="2443"/>
                      <a:pt x="3211" y="1559"/>
                    </a:cubicBezTo>
                    <a:cubicBezTo>
                      <a:pt x="3211" y="698"/>
                      <a:pt x="2536" y="0"/>
                      <a:pt x="165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8" name="Google Shape;3328;p42"/>
              <p:cNvSpPr/>
              <p:nvPr/>
            </p:nvSpPr>
            <p:spPr>
              <a:xfrm>
                <a:off x="5133673" y="4327611"/>
                <a:ext cx="28936" cy="21398"/>
              </a:xfrm>
              <a:custGeom>
                <a:avLst/>
                <a:gdLst/>
                <a:ahLst/>
                <a:cxnLst/>
                <a:rect l="l" t="t" r="r" b="b"/>
                <a:pathLst>
                  <a:path w="1071" h="792" extrusionOk="0">
                    <a:moveTo>
                      <a:pt x="396" y="0"/>
                    </a:moveTo>
                    <a:cubicBezTo>
                      <a:pt x="210" y="0"/>
                      <a:pt x="1" y="210"/>
                      <a:pt x="1" y="396"/>
                    </a:cubicBezTo>
                    <a:cubicBezTo>
                      <a:pt x="1" y="582"/>
                      <a:pt x="210" y="791"/>
                      <a:pt x="396" y="791"/>
                    </a:cubicBezTo>
                    <a:lnTo>
                      <a:pt x="1071" y="791"/>
                    </a:lnTo>
                    <a:lnTo>
                      <a:pt x="1071" y="698"/>
                    </a:lnTo>
                    <a:cubicBezTo>
                      <a:pt x="1071" y="489"/>
                      <a:pt x="1071" y="210"/>
                      <a:pt x="978" y="0"/>
                    </a:cubicBez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9" name="Google Shape;3329;p42"/>
              <p:cNvSpPr/>
              <p:nvPr/>
            </p:nvSpPr>
            <p:spPr>
              <a:xfrm>
                <a:off x="4830104" y="4327611"/>
                <a:ext cx="31448" cy="21398"/>
              </a:xfrm>
              <a:custGeom>
                <a:avLst/>
                <a:gdLst/>
                <a:ahLst/>
                <a:cxnLst/>
                <a:rect l="l" t="t" r="r" b="b"/>
                <a:pathLst>
                  <a:path w="1164" h="792" extrusionOk="0">
                    <a:moveTo>
                      <a:pt x="0" y="0"/>
                    </a:moveTo>
                    <a:lnTo>
                      <a:pt x="0" y="791"/>
                    </a:lnTo>
                    <a:lnTo>
                      <a:pt x="675" y="791"/>
                    </a:lnTo>
                    <a:cubicBezTo>
                      <a:pt x="884" y="791"/>
                      <a:pt x="1070" y="698"/>
                      <a:pt x="1163" y="489"/>
                    </a:cubicBezTo>
                    <a:cubicBezTo>
                      <a:pt x="1163" y="210"/>
                      <a:pt x="977" y="0"/>
                      <a:pt x="675" y="0"/>
                    </a:cubicBezTo>
                    <a:close/>
                  </a:path>
                </a:pathLst>
              </a:custGeom>
              <a:solidFill>
                <a:srgbClr val="B3766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25B04FC-BB73-CD0A-6229-CE9CAFDE2F69}"/>
              </a:ext>
            </a:extLst>
          </p:cNvPr>
          <p:cNvGrpSpPr/>
          <p:nvPr/>
        </p:nvGrpSpPr>
        <p:grpSpPr>
          <a:xfrm>
            <a:off x="0" y="4362000"/>
            <a:ext cx="781500" cy="781500"/>
            <a:chOff x="2577308" y="1936801"/>
            <a:chExt cx="781500" cy="781500"/>
          </a:xfrm>
        </p:grpSpPr>
        <p:sp>
          <p:nvSpPr>
            <p:cNvPr id="3308" name="Google Shape;3308;p42"/>
            <p:cNvSpPr/>
            <p:nvPr/>
          </p:nvSpPr>
          <p:spPr>
            <a:xfrm>
              <a:off x="2577308" y="1936801"/>
              <a:ext cx="781500" cy="781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3330" name="Google Shape;3330;p42"/>
            <p:cNvGrpSpPr/>
            <p:nvPr/>
          </p:nvGrpSpPr>
          <p:grpSpPr>
            <a:xfrm>
              <a:off x="2798193" y="2106939"/>
              <a:ext cx="457207" cy="464811"/>
              <a:chOff x="1527782" y="4063623"/>
              <a:chExt cx="379677" cy="383603"/>
            </a:xfrm>
          </p:grpSpPr>
          <p:sp>
            <p:nvSpPr>
              <p:cNvPr id="3331" name="Google Shape;3331;p42"/>
              <p:cNvSpPr/>
              <p:nvPr/>
            </p:nvSpPr>
            <p:spPr>
              <a:xfrm>
                <a:off x="1527782" y="4063623"/>
                <a:ext cx="123227" cy="57223"/>
              </a:xfrm>
              <a:custGeom>
                <a:avLst/>
                <a:gdLst/>
                <a:ahLst/>
                <a:cxnLst/>
                <a:rect l="l" t="t" r="r" b="b"/>
                <a:pathLst>
                  <a:path w="4561" h="2118" extrusionOk="0">
                    <a:moveTo>
                      <a:pt x="396" y="0"/>
                    </a:moveTo>
                    <a:cubicBezTo>
                      <a:pt x="187" y="0"/>
                      <a:pt x="1" y="187"/>
                      <a:pt x="1" y="466"/>
                    </a:cubicBezTo>
                    <a:lnTo>
                      <a:pt x="1" y="1745"/>
                    </a:lnTo>
                    <a:cubicBezTo>
                      <a:pt x="1" y="2024"/>
                      <a:pt x="187" y="2117"/>
                      <a:pt x="396" y="2117"/>
                    </a:cubicBezTo>
                    <a:lnTo>
                      <a:pt x="3491" y="2117"/>
                    </a:lnTo>
                    <a:cubicBezTo>
                      <a:pt x="3677" y="2117"/>
                      <a:pt x="3770" y="2117"/>
                      <a:pt x="3770" y="2024"/>
                    </a:cubicBezTo>
                    <a:lnTo>
                      <a:pt x="4351" y="1443"/>
                    </a:lnTo>
                    <a:cubicBezTo>
                      <a:pt x="4561" y="1257"/>
                      <a:pt x="4561" y="1047"/>
                      <a:pt x="4468" y="861"/>
                    </a:cubicBezTo>
                    <a:lnTo>
                      <a:pt x="3886" y="187"/>
                    </a:lnTo>
                    <a:cubicBezTo>
                      <a:pt x="3770" y="94"/>
                      <a:pt x="3677" y="0"/>
                      <a:pt x="3491" y="0"/>
                    </a:cubicBezTo>
                    <a:close/>
                  </a:path>
                </a:pathLst>
              </a:custGeom>
              <a:solidFill>
                <a:srgbClr val="00B44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2" name="Google Shape;3332;p42"/>
              <p:cNvSpPr/>
              <p:nvPr/>
            </p:nvSpPr>
            <p:spPr>
              <a:xfrm>
                <a:off x="1527782" y="4144703"/>
                <a:ext cx="191122" cy="57223"/>
              </a:xfrm>
              <a:custGeom>
                <a:avLst/>
                <a:gdLst/>
                <a:ahLst/>
                <a:cxnLst/>
                <a:rect l="l" t="t" r="r" b="b"/>
                <a:pathLst>
                  <a:path w="7074" h="2118" extrusionOk="0">
                    <a:moveTo>
                      <a:pt x="396" y="1"/>
                    </a:moveTo>
                    <a:cubicBezTo>
                      <a:pt x="187" y="1"/>
                      <a:pt x="1" y="187"/>
                      <a:pt x="1" y="373"/>
                    </a:cubicBezTo>
                    <a:lnTo>
                      <a:pt x="1" y="1745"/>
                    </a:lnTo>
                    <a:cubicBezTo>
                      <a:pt x="1" y="1931"/>
                      <a:pt x="187" y="2117"/>
                      <a:pt x="396" y="2117"/>
                    </a:cubicBezTo>
                    <a:lnTo>
                      <a:pt x="6003" y="2117"/>
                    </a:lnTo>
                    <a:cubicBezTo>
                      <a:pt x="6212" y="2117"/>
                      <a:pt x="6305" y="2117"/>
                      <a:pt x="6399" y="2024"/>
                    </a:cubicBezTo>
                    <a:lnTo>
                      <a:pt x="6887" y="1350"/>
                    </a:lnTo>
                    <a:cubicBezTo>
                      <a:pt x="7073" y="1257"/>
                      <a:pt x="7073" y="954"/>
                      <a:pt x="6980" y="861"/>
                    </a:cubicBezTo>
                    <a:lnTo>
                      <a:pt x="6399" y="187"/>
                    </a:lnTo>
                    <a:cubicBezTo>
                      <a:pt x="6305" y="94"/>
                      <a:pt x="6212" y="1"/>
                      <a:pt x="6003" y="1"/>
                    </a:cubicBezTo>
                    <a:close/>
                  </a:path>
                </a:pathLst>
              </a:custGeom>
              <a:solidFill>
                <a:srgbClr val="8AC93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3" name="Google Shape;3333;p42"/>
              <p:cNvSpPr/>
              <p:nvPr/>
            </p:nvSpPr>
            <p:spPr>
              <a:xfrm>
                <a:off x="1527782" y="4225782"/>
                <a:ext cx="253964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9400" h="2141" extrusionOk="0">
                    <a:moveTo>
                      <a:pt x="396" y="1"/>
                    </a:moveTo>
                    <a:cubicBezTo>
                      <a:pt x="187" y="1"/>
                      <a:pt x="1" y="187"/>
                      <a:pt x="1" y="396"/>
                    </a:cubicBezTo>
                    <a:lnTo>
                      <a:pt x="1" y="1745"/>
                    </a:lnTo>
                    <a:cubicBezTo>
                      <a:pt x="1" y="1931"/>
                      <a:pt x="187" y="2141"/>
                      <a:pt x="396" y="2141"/>
                    </a:cubicBezTo>
                    <a:lnTo>
                      <a:pt x="8329" y="2141"/>
                    </a:lnTo>
                    <a:cubicBezTo>
                      <a:pt x="8539" y="2141"/>
                      <a:pt x="8632" y="2141"/>
                      <a:pt x="8725" y="2024"/>
                    </a:cubicBezTo>
                    <a:lnTo>
                      <a:pt x="9307" y="1350"/>
                    </a:lnTo>
                    <a:cubicBezTo>
                      <a:pt x="9400" y="1257"/>
                      <a:pt x="9400" y="978"/>
                      <a:pt x="9307" y="861"/>
                    </a:cubicBezTo>
                    <a:lnTo>
                      <a:pt x="8725" y="187"/>
                    </a:lnTo>
                    <a:cubicBezTo>
                      <a:pt x="8632" y="94"/>
                      <a:pt x="8539" y="1"/>
                      <a:pt x="8329" y="1"/>
                    </a:cubicBezTo>
                    <a:close/>
                  </a:path>
                </a:pathLst>
              </a:custGeom>
              <a:solidFill>
                <a:srgbClr val="FFD65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4" name="Google Shape;3334;p42"/>
              <p:cNvSpPr/>
              <p:nvPr/>
            </p:nvSpPr>
            <p:spPr>
              <a:xfrm>
                <a:off x="1527782" y="4306862"/>
                <a:ext cx="314295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11633" h="2141" extrusionOk="0">
                    <a:moveTo>
                      <a:pt x="396" y="1"/>
                    </a:moveTo>
                    <a:cubicBezTo>
                      <a:pt x="187" y="1"/>
                      <a:pt x="1" y="187"/>
                      <a:pt x="1" y="396"/>
                    </a:cubicBezTo>
                    <a:lnTo>
                      <a:pt x="1" y="1745"/>
                    </a:lnTo>
                    <a:cubicBezTo>
                      <a:pt x="1" y="1931"/>
                      <a:pt x="187" y="2141"/>
                      <a:pt x="396" y="2141"/>
                    </a:cubicBezTo>
                    <a:lnTo>
                      <a:pt x="10563" y="2141"/>
                    </a:lnTo>
                    <a:cubicBezTo>
                      <a:pt x="10749" y="2141"/>
                      <a:pt x="10865" y="2048"/>
                      <a:pt x="10958" y="2048"/>
                    </a:cubicBezTo>
                    <a:lnTo>
                      <a:pt x="11447" y="1350"/>
                    </a:lnTo>
                    <a:cubicBezTo>
                      <a:pt x="11633" y="1164"/>
                      <a:pt x="11633" y="978"/>
                      <a:pt x="11540" y="768"/>
                    </a:cubicBezTo>
                    <a:lnTo>
                      <a:pt x="10958" y="94"/>
                    </a:lnTo>
                    <a:cubicBezTo>
                      <a:pt x="10865" y="1"/>
                      <a:pt x="10749" y="1"/>
                      <a:pt x="10563" y="1"/>
                    </a:cubicBezTo>
                    <a:close/>
                  </a:path>
                </a:pathLst>
              </a:custGeom>
              <a:solidFill>
                <a:srgbClr val="A1E1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5" name="Google Shape;3335;p42"/>
              <p:cNvSpPr/>
              <p:nvPr/>
            </p:nvSpPr>
            <p:spPr>
              <a:xfrm>
                <a:off x="1527782" y="4387941"/>
                <a:ext cx="379677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14053" h="2141" extrusionOk="0">
                    <a:moveTo>
                      <a:pt x="396" y="1"/>
                    </a:moveTo>
                    <a:cubicBezTo>
                      <a:pt x="187" y="1"/>
                      <a:pt x="1" y="94"/>
                      <a:pt x="1" y="396"/>
                    </a:cubicBezTo>
                    <a:lnTo>
                      <a:pt x="1" y="1652"/>
                    </a:lnTo>
                    <a:cubicBezTo>
                      <a:pt x="1" y="1955"/>
                      <a:pt x="187" y="2141"/>
                      <a:pt x="396" y="2141"/>
                    </a:cubicBezTo>
                    <a:lnTo>
                      <a:pt x="13075" y="2141"/>
                    </a:lnTo>
                    <a:cubicBezTo>
                      <a:pt x="13192" y="2141"/>
                      <a:pt x="13285" y="2048"/>
                      <a:pt x="13378" y="1955"/>
                    </a:cubicBezTo>
                    <a:lnTo>
                      <a:pt x="13959" y="1373"/>
                    </a:lnTo>
                    <a:cubicBezTo>
                      <a:pt x="14052" y="1164"/>
                      <a:pt x="14052" y="978"/>
                      <a:pt x="13959" y="791"/>
                    </a:cubicBezTo>
                    <a:lnTo>
                      <a:pt x="13378" y="94"/>
                    </a:lnTo>
                    <a:cubicBezTo>
                      <a:pt x="13285" y="1"/>
                      <a:pt x="13192" y="1"/>
                      <a:pt x="13075" y="1"/>
                    </a:cubicBez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6" name="Google Shape;3336;p42"/>
              <p:cNvSpPr/>
              <p:nvPr/>
            </p:nvSpPr>
            <p:spPr>
              <a:xfrm>
                <a:off x="1752811" y="4225782"/>
                <a:ext cx="10699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396" h="2141" extrusionOk="0">
                    <a:moveTo>
                      <a:pt x="0" y="1"/>
                    </a:moveTo>
                    <a:cubicBezTo>
                      <a:pt x="210" y="1"/>
                      <a:pt x="303" y="94"/>
                      <a:pt x="396" y="187"/>
                    </a:cubicBezTo>
                    <a:cubicBezTo>
                      <a:pt x="303" y="94"/>
                      <a:pt x="210" y="1"/>
                      <a:pt x="93" y="1"/>
                    </a:cubicBezTo>
                    <a:close/>
                    <a:moveTo>
                      <a:pt x="395" y="2026"/>
                    </a:moveTo>
                    <a:cubicBezTo>
                      <a:pt x="302" y="2141"/>
                      <a:pt x="209" y="2141"/>
                      <a:pt x="0" y="2141"/>
                    </a:cubicBezTo>
                    <a:lnTo>
                      <a:pt x="93" y="2141"/>
                    </a:lnTo>
                    <a:cubicBezTo>
                      <a:pt x="209" y="2141"/>
                      <a:pt x="302" y="2141"/>
                      <a:pt x="395" y="20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7" name="Google Shape;3337;p42"/>
              <p:cNvSpPr/>
              <p:nvPr/>
            </p:nvSpPr>
            <p:spPr>
              <a:xfrm>
                <a:off x="1718877" y="4225782"/>
                <a:ext cx="62870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2327" h="2141" extrusionOk="0">
                    <a:moveTo>
                      <a:pt x="0" y="1"/>
                    </a:moveTo>
                    <a:lnTo>
                      <a:pt x="0" y="2141"/>
                    </a:lnTo>
                    <a:lnTo>
                      <a:pt x="1256" y="2141"/>
                    </a:lnTo>
                    <a:cubicBezTo>
                      <a:pt x="1466" y="2141"/>
                      <a:pt x="1559" y="2141"/>
                      <a:pt x="1652" y="2024"/>
                    </a:cubicBezTo>
                    <a:lnTo>
                      <a:pt x="2234" y="1350"/>
                    </a:lnTo>
                    <a:cubicBezTo>
                      <a:pt x="2327" y="1257"/>
                      <a:pt x="2327" y="978"/>
                      <a:pt x="2234" y="861"/>
                    </a:cubicBezTo>
                    <a:lnTo>
                      <a:pt x="1652" y="187"/>
                    </a:lnTo>
                    <a:cubicBezTo>
                      <a:pt x="1559" y="94"/>
                      <a:pt x="1466" y="1"/>
                      <a:pt x="1256" y="1"/>
                    </a:cubicBezTo>
                    <a:close/>
                  </a:path>
                </a:pathLst>
              </a:custGeom>
              <a:solidFill>
                <a:srgbClr val="FFE69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8" name="Google Shape;3338;p42"/>
              <p:cNvSpPr/>
              <p:nvPr/>
            </p:nvSpPr>
            <p:spPr>
              <a:xfrm>
                <a:off x="1813141" y="4306862"/>
                <a:ext cx="28936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1071" h="2141" extrusionOk="0">
                    <a:moveTo>
                      <a:pt x="1" y="1"/>
                    </a:moveTo>
                    <a:cubicBezTo>
                      <a:pt x="187" y="1"/>
                      <a:pt x="303" y="1"/>
                      <a:pt x="396" y="94"/>
                    </a:cubicBezTo>
                    <a:cubicBezTo>
                      <a:pt x="303" y="1"/>
                      <a:pt x="187" y="1"/>
                      <a:pt x="94" y="1"/>
                    </a:cubicBezTo>
                    <a:close/>
                    <a:moveTo>
                      <a:pt x="979" y="771"/>
                    </a:moveTo>
                    <a:cubicBezTo>
                      <a:pt x="1071" y="979"/>
                      <a:pt x="1070" y="1164"/>
                      <a:pt x="885" y="1350"/>
                    </a:cubicBezTo>
                    <a:lnTo>
                      <a:pt x="396" y="2048"/>
                    </a:lnTo>
                    <a:lnTo>
                      <a:pt x="978" y="1350"/>
                    </a:lnTo>
                    <a:cubicBezTo>
                      <a:pt x="1071" y="1164"/>
                      <a:pt x="1071" y="979"/>
                      <a:pt x="979" y="771"/>
                    </a:cubicBezTo>
                    <a:close/>
                    <a:moveTo>
                      <a:pt x="395" y="2048"/>
                    </a:moveTo>
                    <a:lnTo>
                      <a:pt x="395" y="2048"/>
                    </a:lnTo>
                    <a:cubicBezTo>
                      <a:pt x="302" y="2048"/>
                      <a:pt x="186" y="2141"/>
                      <a:pt x="1" y="2141"/>
                    </a:cubicBezTo>
                    <a:lnTo>
                      <a:pt x="94" y="2141"/>
                    </a:lnTo>
                    <a:cubicBezTo>
                      <a:pt x="187" y="2141"/>
                      <a:pt x="302" y="2048"/>
                      <a:pt x="395" y="2048"/>
                    </a:cubicBezTo>
                    <a:close/>
                  </a:path>
                </a:pathLst>
              </a:custGeom>
              <a:solidFill>
                <a:srgbClr val="DADBD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9" name="Google Shape;3339;p42"/>
              <p:cNvSpPr/>
              <p:nvPr/>
            </p:nvSpPr>
            <p:spPr>
              <a:xfrm>
                <a:off x="1718877" y="4306862"/>
                <a:ext cx="123200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4560" h="2141" extrusionOk="0">
                    <a:moveTo>
                      <a:pt x="0" y="1"/>
                    </a:moveTo>
                    <a:lnTo>
                      <a:pt x="0" y="2141"/>
                    </a:lnTo>
                    <a:lnTo>
                      <a:pt x="3490" y="2141"/>
                    </a:lnTo>
                    <a:cubicBezTo>
                      <a:pt x="3676" y="2141"/>
                      <a:pt x="3792" y="2048"/>
                      <a:pt x="3885" y="2048"/>
                    </a:cubicBezTo>
                    <a:lnTo>
                      <a:pt x="4374" y="1350"/>
                    </a:lnTo>
                    <a:cubicBezTo>
                      <a:pt x="4560" y="1164"/>
                      <a:pt x="4560" y="978"/>
                      <a:pt x="4467" y="768"/>
                    </a:cubicBezTo>
                    <a:lnTo>
                      <a:pt x="3885" y="94"/>
                    </a:lnTo>
                    <a:cubicBezTo>
                      <a:pt x="3792" y="1"/>
                      <a:pt x="3676" y="1"/>
                      <a:pt x="3490" y="1"/>
                    </a:cubicBezTo>
                    <a:close/>
                  </a:path>
                </a:pathLst>
              </a:custGeom>
              <a:solidFill>
                <a:srgbClr val="A5CAD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40" name="Google Shape;3340;p42"/>
              <p:cNvSpPr/>
              <p:nvPr/>
            </p:nvSpPr>
            <p:spPr>
              <a:xfrm>
                <a:off x="1718877" y="4389382"/>
                <a:ext cx="188582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6980" h="2141" extrusionOk="0">
                    <a:moveTo>
                      <a:pt x="0" y="1"/>
                    </a:moveTo>
                    <a:lnTo>
                      <a:pt x="0" y="2141"/>
                    </a:lnTo>
                    <a:lnTo>
                      <a:pt x="6002" y="2141"/>
                    </a:lnTo>
                    <a:cubicBezTo>
                      <a:pt x="6119" y="2141"/>
                      <a:pt x="6212" y="2048"/>
                      <a:pt x="6305" y="1955"/>
                    </a:cubicBezTo>
                    <a:lnTo>
                      <a:pt x="6886" y="1373"/>
                    </a:lnTo>
                    <a:cubicBezTo>
                      <a:pt x="6979" y="1164"/>
                      <a:pt x="6979" y="978"/>
                      <a:pt x="6886" y="791"/>
                    </a:cubicBezTo>
                    <a:lnTo>
                      <a:pt x="6305" y="94"/>
                    </a:lnTo>
                    <a:cubicBezTo>
                      <a:pt x="6212" y="1"/>
                      <a:pt x="6119" y="1"/>
                      <a:pt x="6002" y="1"/>
                    </a:cubicBezTo>
                    <a:close/>
                  </a:path>
                </a:pathLst>
              </a:custGeom>
              <a:solidFill>
                <a:srgbClr val="BA847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32">
          <a:extLst>
            <a:ext uri="{FF2B5EF4-FFF2-40B4-BE49-F238E27FC236}">
              <a16:creationId xmlns:a16="http://schemas.microsoft.com/office/drawing/2014/main" id="{028154CB-5D9B-30FB-ECE4-4EBAE4AFBB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C442538-5040-5046-77E4-0B40F2AB7F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2597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442538-5040-5046-77E4-0B40F2AB7F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221" name="Google Shape;5221;p53">
            <a:extLst>
              <a:ext uri="{FF2B5EF4-FFF2-40B4-BE49-F238E27FC236}">
                <a16:creationId xmlns:a16="http://schemas.microsoft.com/office/drawing/2014/main" id="{CB39EB23-7ECA-DE36-6200-CF12B6511742}"/>
              </a:ext>
            </a:extLst>
          </p:cNvPr>
          <p:cNvGrpSpPr/>
          <p:nvPr/>
        </p:nvGrpSpPr>
        <p:grpSpPr>
          <a:xfrm>
            <a:off x="8026936" y="3198019"/>
            <a:ext cx="2520565" cy="1945481"/>
            <a:chOff x="7095475" y="1127208"/>
            <a:chExt cx="817675" cy="631117"/>
          </a:xfrm>
        </p:grpSpPr>
        <p:sp>
          <p:nvSpPr>
            <p:cNvPr id="5222" name="Google Shape;5222;p53">
              <a:extLst>
                <a:ext uri="{FF2B5EF4-FFF2-40B4-BE49-F238E27FC236}">
                  <a16:creationId xmlns:a16="http://schemas.microsoft.com/office/drawing/2014/main" id="{CE4B9A13-EA11-AF1B-6899-6057377D7D97}"/>
                </a:ext>
              </a:extLst>
            </p:cNvPr>
            <p:cNvSpPr/>
            <p:nvPr/>
          </p:nvSpPr>
          <p:spPr>
            <a:xfrm>
              <a:off x="7137300" y="1488925"/>
              <a:ext cx="169725" cy="73950"/>
            </a:xfrm>
            <a:custGeom>
              <a:avLst/>
              <a:gdLst/>
              <a:ahLst/>
              <a:cxnLst/>
              <a:rect l="l" t="t" r="r" b="b"/>
              <a:pathLst>
                <a:path w="6789" h="2958" extrusionOk="0">
                  <a:moveTo>
                    <a:pt x="3232" y="0"/>
                  </a:moveTo>
                  <a:cubicBezTo>
                    <a:pt x="2690" y="0"/>
                    <a:pt x="2239" y="391"/>
                    <a:pt x="2135" y="906"/>
                  </a:cubicBezTo>
                  <a:cubicBezTo>
                    <a:pt x="2097" y="899"/>
                    <a:pt x="2062" y="899"/>
                    <a:pt x="2017" y="890"/>
                  </a:cubicBezTo>
                  <a:cubicBezTo>
                    <a:pt x="1550" y="890"/>
                    <a:pt x="1157" y="1261"/>
                    <a:pt x="1135" y="1727"/>
                  </a:cubicBezTo>
                  <a:cubicBezTo>
                    <a:pt x="586" y="1868"/>
                    <a:pt x="150" y="2305"/>
                    <a:pt x="1" y="2855"/>
                  </a:cubicBezTo>
                  <a:lnTo>
                    <a:pt x="6789" y="2958"/>
                  </a:lnTo>
                  <a:cubicBezTo>
                    <a:pt x="6625" y="2268"/>
                    <a:pt x="6241" y="1743"/>
                    <a:pt x="5499" y="1734"/>
                  </a:cubicBezTo>
                  <a:lnTo>
                    <a:pt x="5432" y="1734"/>
                  </a:lnTo>
                  <a:cubicBezTo>
                    <a:pt x="5441" y="1210"/>
                    <a:pt x="5025" y="772"/>
                    <a:pt x="4498" y="765"/>
                  </a:cubicBezTo>
                  <a:cubicBezTo>
                    <a:pt x="4425" y="765"/>
                    <a:pt x="4358" y="772"/>
                    <a:pt x="4292" y="787"/>
                  </a:cubicBezTo>
                  <a:cubicBezTo>
                    <a:pt x="4159" y="335"/>
                    <a:pt x="3742" y="9"/>
                    <a:pt x="3246" y="1"/>
                  </a:cubicBezTo>
                  <a:cubicBezTo>
                    <a:pt x="3241" y="1"/>
                    <a:pt x="3237" y="0"/>
                    <a:pt x="3232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3" name="Google Shape;5223;p53">
              <a:extLst>
                <a:ext uri="{FF2B5EF4-FFF2-40B4-BE49-F238E27FC236}">
                  <a16:creationId xmlns:a16="http://schemas.microsoft.com/office/drawing/2014/main" id="{09F5837D-6D4D-295B-AE4C-7F0B2C6764D1}"/>
                </a:ext>
              </a:extLst>
            </p:cNvPr>
            <p:cNvSpPr/>
            <p:nvPr/>
          </p:nvSpPr>
          <p:spPr>
            <a:xfrm>
              <a:off x="7191050" y="1511725"/>
              <a:ext cx="18700" cy="37475"/>
            </a:xfrm>
            <a:custGeom>
              <a:avLst/>
              <a:gdLst/>
              <a:ahLst/>
              <a:cxnLst/>
              <a:rect l="l" t="t" r="r" b="b"/>
              <a:pathLst>
                <a:path w="748" h="1499" extrusionOk="0">
                  <a:moveTo>
                    <a:pt x="1" y="1"/>
                  </a:moveTo>
                  <a:cubicBezTo>
                    <a:pt x="1" y="1"/>
                    <a:pt x="593" y="193"/>
                    <a:pt x="563" y="750"/>
                  </a:cubicBezTo>
                  <a:cubicBezTo>
                    <a:pt x="534" y="1365"/>
                    <a:pt x="1" y="1498"/>
                    <a:pt x="1" y="1498"/>
                  </a:cubicBezTo>
                  <a:cubicBezTo>
                    <a:pt x="415" y="1498"/>
                    <a:pt x="748" y="1164"/>
                    <a:pt x="748" y="750"/>
                  </a:cubicBezTo>
                  <a:cubicBezTo>
                    <a:pt x="748" y="333"/>
                    <a:pt x="415" y="1"/>
                    <a:pt x="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4" name="Google Shape;5224;p53">
              <a:extLst>
                <a:ext uri="{FF2B5EF4-FFF2-40B4-BE49-F238E27FC236}">
                  <a16:creationId xmlns:a16="http://schemas.microsoft.com/office/drawing/2014/main" id="{4DB70FCD-ACF5-7361-25FB-6E98C272FC29}"/>
                </a:ext>
              </a:extLst>
            </p:cNvPr>
            <p:cNvSpPr/>
            <p:nvPr/>
          </p:nvSpPr>
          <p:spPr>
            <a:xfrm>
              <a:off x="7286250" y="1534500"/>
              <a:ext cx="11300" cy="7100"/>
            </a:xfrm>
            <a:custGeom>
              <a:avLst/>
              <a:gdLst/>
              <a:ahLst/>
              <a:cxnLst/>
              <a:rect l="l" t="t" r="r" b="b"/>
              <a:pathLst>
                <a:path w="452" h="284" extrusionOk="0">
                  <a:moveTo>
                    <a:pt x="0" y="0"/>
                  </a:moveTo>
                  <a:lnTo>
                    <a:pt x="0" y="0"/>
                  </a:lnTo>
                  <a:cubicBezTo>
                    <a:pt x="164" y="61"/>
                    <a:pt x="297" y="157"/>
                    <a:pt x="416" y="283"/>
                  </a:cubicBezTo>
                  <a:lnTo>
                    <a:pt x="452" y="232"/>
                  </a:lnTo>
                  <a:cubicBezTo>
                    <a:pt x="319" y="120"/>
                    <a:pt x="171" y="38"/>
                    <a:pt x="0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5" name="Google Shape;5225;p53">
              <a:extLst>
                <a:ext uri="{FF2B5EF4-FFF2-40B4-BE49-F238E27FC236}">
                  <a16:creationId xmlns:a16="http://schemas.microsoft.com/office/drawing/2014/main" id="{97EB9784-7AFA-AC5C-0119-A3A76F09476E}"/>
                </a:ext>
              </a:extLst>
            </p:cNvPr>
            <p:cNvSpPr/>
            <p:nvPr/>
          </p:nvSpPr>
          <p:spPr>
            <a:xfrm>
              <a:off x="7251975" y="1533600"/>
              <a:ext cx="44700" cy="27250"/>
            </a:xfrm>
            <a:custGeom>
              <a:avLst/>
              <a:gdLst/>
              <a:ahLst/>
              <a:cxnLst/>
              <a:rect l="l" t="t" r="r" b="b"/>
              <a:pathLst>
                <a:path w="1788" h="1090" extrusionOk="0">
                  <a:moveTo>
                    <a:pt x="1105" y="1"/>
                  </a:moveTo>
                  <a:cubicBezTo>
                    <a:pt x="505" y="1"/>
                    <a:pt x="16" y="481"/>
                    <a:pt x="0" y="1089"/>
                  </a:cubicBezTo>
                  <a:cubicBezTo>
                    <a:pt x="0" y="1089"/>
                    <a:pt x="283" y="214"/>
                    <a:pt x="1046" y="214"/>
                  </a:cubicBezTo>
                  <a:lnTo>
                    <a:pt x="1121" y="214"/>
                  </a:lnTo>
                  <a:cubicBezTo>
                    <a:pt x="1364" y="237"/>
                    <a:pt x="1565" y="312"/>
                    <a:pt x="1713" y="415"/>
                  </a:cubicBezTo>
                  <a:lnTo>
                    <a:pt x="1787" y="319"/>
                  </a:lnTo>
                  <a:cubicBezTo>
                    <a:pt x="1668" y="193"/>
                    <a:pt x="1535" y="97"/>
                    <a:pt x="1371" y="36"/>
                  </a:cubicBezTo>
                  <a:cubicBezTo>
                    <a:pt x="1298" y="15"/>
                    <a:pt x="1209" y="1"/>
                    <a:pt x="112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6" name="Google Shape;5226;p53">
              <a:extLst>
                <a:ext uri="{FF2B5EF4-FFF2-40B4-BE49-F238E27FC236}">
                  <a16:creationId xmlns:a16="http://schemas.microsoft.com/office/drawing/2014/main" id="{4250A7E1-7B25-40DA-30E8-DCD5400D7865}"/>
                </a:ext>
              </a:extLst>
            </p:cNvPr>
            <p:cNvSpPr/>
            <p:nvPr/>
          </p:nvSpPr>
          <p:spPr>
            <a:xfrm>
              <a:off x="7457400" y="1303300"/>
              <a:ext cx="214200" cy="93225"/>
            </a:xfrm>
            <a:custGeom>
              <a:avLst/>
              <a:gdLst/>
              <a:ahLst/>
              <a:cxnLst/>
              <a:rect l="l" t="t" r="r" b="b"/>
              <a:pathLst>
                <a:path w="8568" h="3729" extrusionOk="0">
                  <a:moveTo>
                    <a:pt x="4485" y="1"/>
                  </a:moveTo>
                  <a:cubicBezTo>
                    <a:pt x="4480" y="1"/>
                    <a:pt x="4475" y="1"/>
                    <a:pt x="4470" y="1"/>
                  </a:cubicBezTo>
                  <a:cubicBezTo>
                    <a:pt x="3848" y="17"/>
                    <a:pt x="3328" y="424"/>
                    <a:pt x="3150" y="995"/>
                  </a:cubicBezTo>
                  <a:cubicBezTo>
                    <a:pt x="3069" y="972"/>
                    <a:pt x="2987" y="965"/>
                    <a:pt x="2898" y="965"/>
                  </a:cubicBezTo>
                  <a:cubicBezTo>
                    <a:pt x="2231" y="979"/>
                    <a:pt x="1706" y="1521"/>
                    <a:pt x="1714" y="2188"/>
                  </a:cubicBezTo>
                  <a:lnTo>
                    <a:pt x="1632" y="2188"/>
                  </a:lnTo>
                  <a:cubicBezTo>
                    <a:pt x="698" y="2202"/>
                    <a:pt x="209" y="2862"/>
                    <a:pt x="1" y="3728"/>
                  </a:cubicBezTo>
                  <a:lnTo>
                    <a:pt x="8567" y="3602"/>
                  </a:lnTo>
                  <a:cubicBezTo>
                    <a:pt x="8382" y="2907"/>
                    <a:pt x="7826" y="2357"/>
                    <a:pt x="7130" y="2179"/>
                  </a:cubicBezTo>
                  <a:cubicBezTo>
                    <a:pt x="7108" y="1592"/>
                    <a:pt x="6626" y="1128"/>
                    <a:pt x="6033" y="1128"/>
                  </a:cubicBezTo>
                  <a:cubicBezTo>
                    <a:pt x="6028" y="1128"/>
                    <a:pt x="6024" y="1128"/>
                    <a:pt x="6019" y="1128"/>
                  </a:cubicBezTo>
                  <a:cubicBezTo>
                    <a:pt x="5975" y="1128"/>
                    <a:pt x="5921" y="1135"/>
                    <a:pt x="5877" y="1143"/>
                  </a:cubicBezTo>
                  <a:cubicBezTo>
                    <a:pt x="5744" y="488"/>
                    <a:pt x="5174" y="1"/>
                    <a:pt x="4485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7" name="Google Shape;5227;p53">
              <a:extLst>
                <a:ext uri="{FF2B5EF4-FFF2-40B4-BE49-F238E27FC236}">
                  <a16:creationId xmlns:a16="http://schemas.microsoft.com/office/drawing/2014/main" id="{29DE55E2-13EA-BA53-351F-9783419DBBF7}"/>
                </a:ext>
              </a:extLst>
            </p:cNvPr>
            <p:cNvSpPr/>
            <p:nvPr/>
          </p:nvSpPr>
          <p:spPr>
            <a:xfrm>
              <a:off x="7580250" y="1332200"/>
              <a:ext cx="23550" cy="47125"/>
            </a:xfrm>
            <a:custGeom>
              <a:avLst/>
              <a:gdLst/>
              <a:ahLst/>
              <a:cxnLst/>
              <a:rect l="l" t="t" r="r" b="b"/>
              <a:pathLst>
                <a:path w="942" h="1885" extrusionOk="0">
                  <a:moveTo>
                    <a:pt x="941" y="1"/>
                  </a:moveTo>
                  <a:cubicBezTo>
                    <a:pt x="422" y="1"/>
                    <a:pt x="1" y="424"/>
                    <a:pt x="1" y="943"/>
                  </a:cubicBezTo>
                  <a:cubicBezTo>
                    <a:pt x="1" y="1461"/>
                    <a:pt x="422" y="1884"/>
                    <a:pt x="941" y="1884"/>
                  </a:cubicBezTo>
                  <a:cubicBezTo>
                    <a:pt x="941" y="1884"/>
                    <a:pt x="274" y="1713"/>
                    <a:pt x="230" y="943"/>
                  </a:cubicBezTo>
                  <a:cubicBezTo>
                    <a:pt x="193" y="246"/>
                    <a:pt x="941" y="1"/>
                    <a:pt x="94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8" name="Google Shape;5228;p53">
              <a:extLst>
                <a:ext uri="{FF2B5EF4-FFF2-40B4-BE49-F238E27FC236}">
                  <a16:creationId xmlns:a16="http://schemas.microsoft.com/office/drawing/2014/main" id="{35E9EE73-CE94-7497-FF65-CDF596BBF164}"/>
                </a:ext>
              </a:extLst>
            </p:cNvPr>
            <p:cNvSpPr/>
            <p:nvPr/>
          </p:nvSpPr>
          <p:spPr>
            <a:xfrm>
              <a:off x="7457050" y="1360750"/>
              <a:ext cx="26525" cy="34300"/>
            </a:xfrm>
            <a:custGeom>
              <a:avLst/>
              <a:gdLst/>
              <a:ahLst/>
              <a:cxnLst/>
              <a:rect l="l" t="t" r="r" b="b"/>
              <a:pathLst>
                <a:path w="1061" h="1372" extrusionOk="0">
                  <a:moveTo>
                    <a:pt x="1061" y="1"/>
                  </a:moveTo>
                  <a:cubicBezTo>
                    <a:pt x="452" y="157"/>
                    <a:pt x="1" y="712"/>
                    <a:pt x="8" y="1372"/>
                  </a:cubicBezTo>
                  <a:cubicBezTo>
                    <a:pt x="8" y="1372"/>
                    <a:pt x="38" y="1245"/>
                    <a:pt x="120" y="1082"/>
                  </a:cubicBezTo>
                  <a:cubicBezTo>
                    <a:pt x="305" y="579"/>
                    <a:pt x="600" y="185"/>
                    <a:pt x="1061" y="1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9" name="Google Shape;5229;p53">
              <a:extLst>
                <a:ext uri="{FF2B5EF4-FFF2-40B4-BE49-F238E27FC236}">
                  <a16:creationId xmlns:a16="http://schemas.microsoft.com/office/drawing/2014/main" id="{25B6FB4A-AC43-CAFA-807A-F0F8D9913333}"/>
                </a:ext>
              </a:extLst>
            </p:cNvPr>
            <p:cNvSpPr/>
            <p:nvPr/>
          </p:nvSpPr>
          <p:spPr>
            <a:xfrm>
              <a:off x="7460025" y="1359825"/>
              <a:ext cx="66900" cy="34125"/>
            </a:xfrm>
            <a:custGeom>
              <a:avLst/>
              <a:gdLst/>
              <a:ahLst/>
              <a:cxnLst/>
              <a:rect l="l" t="t" r="r" b="b"/>
              <a:pathLst>
                <a:path w="2676" h="1365" extrusionOk="0">
                  <a:moveTo>
                    <a:pt x="1260" y="0"/>
                  </a:moveTo>
                  <a:cubicBezTo>
                    <a:pt x="1148" y="0"/>
                    <a:pt x="1045" y="16"/>
                    <a:pt x="942" y="38"/>
                  </a:cubicBezTo>
                  <a:cubicBezTo>
                    <a:pt x="481" y="222"/>
                    <a:pt x="186" y="616"/>
                    <a:pt x="1" y="1119"/>
                  </a:cubicBezTo>
                  <a:cubicBezTo>
                    <a:pt x="163" y="800"/>
                    <a:pt x="518" y="319"/>
                    <a:pt x="1267" y="267"/>
                  </a:cubicBezTo>
                  <a:lnTo>
                    <a:pt x="1356" y="267"/>
                  </a:lnTo>
                  <a:cubicBezTo>
                    <a:pt x="2320" y="267"/>
                    <a:pt x="2676" y="1364"/>
                    <a:pt x="2676" y="1364"/>
                  </a:cubicBezTo>
                  <a:cubicBezTo>
                    <a:pt x="2660" y="608"/>
                    <a:pt x="2037" y="0"/>
                    <a:pt x="1281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0" name="Google Shape;5230;p53">
              <a:extLst>
                <a:ext uri="{FF2B5EF4-FFF2-40B4-BE49-F238E27FC236}">
                  <a16:creationId xmlns:a16="http://schemas.microsoft.com/office/drawing/2014/main" id="{8E1F9BFE-3D8F-2A6C-BDAB-15F158D4DD5C}"/>
                </a:ext>
              </a:extLst>
            </p:cNvPr>
            <p:cNvSpPr/>
            <p:nvPr/>
          </p:nvSpPr>
          <p:spPr>
            <a:xfrm>
              <a:off x="7364800" y="1192375"/>
              <a:ext cx="181725" cy="65975"/>
            </a:xfrm>
            <a:custGeom>
              <a:avLst/>
              <a:gdLst/>
              <a:ahLst/>
              <a:cxnLst/>
              <a:rect l="l" t="t" r="r" b="b"/>
              <a:pathLst>
                <a:path w="7269" h="2639" extrusionOk="0">
                  <a:moveTo>
                    <a:pt x="3113" y="1"/>
                  </a:moveTo>
                  <a:cubicBezTo>
                    <a:pt x="2305" y="1"/>
                    <a:pt x="1615" y="497"/>
                    <a:pt x="1334" y="1192"/>
                  </a:cubicBezTo>
                  <a:cubicBezTo>
                    <a:pt x="1283" y="1185"/>
                    <a:pt x="1238" y="1185"/>
                    <a:pt x="1187" y="1185"/>
                  </a:cubicBezTo>
                  <a:cubicBezTo>
                    <a:pt x="534" y="1185"/>
                    <a:pt x="1" y="1712"/>
                    <a:pt x="1" y="2371"/>
                  </a:cubicBezTo>
                  <a:cubicBezTo>
                    <a:pt x="1" y="2460"/>
                    <a:pt x="15" y="2549"/>
                    <a:pt x="38" y="2638"/>
                  </a:cubicBezTo>
                  <a:lnTo>
                    <a:pt x="5876" y="2638"/>
                  </a:lnTo>
                  <a:cubicBezTo>
                    <a:pt x="5891" y="2624"/>
                    <a:pt x="5907" y="2615"/>
                    <a:pt x="5921" y="2601"/>
                  </a:cubicBezTo>
                  <a:cubicBezTo>
                    <a:pt x="5921" y="2615"/>
                    <a:pt x="5928" y="2624"/>
                    <a:pt x="5935" y="2638"/>
                  </a:cubicBezTo>
                  <a:lnTo>
                    <a:pt x="7217" y="2638"/>
                  </a:lnTo>
                  <a:cubicBezTo>
                    <a:pt x="7248" y="2556"/>
                    <a:pt x="7269" y="2467"/>
                    <a:pt x="7269" y="2371"/>
                  </a:cubicBezTo>
                  <a:cubicBezTo>
                    <a:pt x="7269" y="1986"/>
                    <a:pt x="6958" y="1674"/>
                    <a:pt x="6573" y="1674"/>
                  </a:cubicBezTo>
                  <a:cubicBezTo>
                    <a:pt x="6440" y="1674"/>
                    <a:pt x="6314" y="1712"/>
                    <a:pt x="6202" y="1779"/>
                  </a:cubicBezTo>
                  <a:cubicBezTo>
                    <a:pt x="6136" y="1335"/>
                    <a:pt x="5750" y="993"/>
                    <a:pt x="5291" y="993"/>
                  </a:cubicBezTo>
                  <a:cubicBezTo>
                    <a:pt x="5128" y="993"/>
                    <a:pt x="4980" y="1038"/>
                    <a:pt x="4854" y="1103"/>
                  </a:cubicBezTo>
                  <a:cubicBezTo>
                    <a:pt x="4543" y="453"/>
                    <a:pt x="3883" y="1"/>
                    <a:pt x="3113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1" name="Google Shape;5231;p53">
              <a:extLst>
                <a:ext uri="{FF2B5EF4-FFF2-40B4-BE49-F238E27FC236}">
                  <a16:creationId xmlns:a16="http://schemas.microsoft.com/office/drawing/2014/main" id="{ACDE9DDB-61BA-55A9-E59B-F0EA5FD67828}"/>
                </a:ext>
              </a:extLst>
            </p:cNvPr>
            <p:cNvSpPr/>
            <p:nvPr/>
          </p:nvSpPr>
          <p:spPr>
            <a:xfrm>
              <a:off x="7506267" y="1127208"/>
              <a:ext cx="100825" cy="36700"/>
            </a:xfrm>
            <a:custGeom>
              <a:avLst/>
              <a:gdLst/>
              <a:ahLst/>
              <a:cxnLst/>
              <a:rect l="l" t="t" r="r" b="b"/>
              <a:pathLst>
                <a:path w="4033" h="1468" extrusionOk="0">
                  <a:moveTo>
                    <a:pt x="2306" y="0"/>
                  </a:moveTo>
                  <a:cubicBezTo>
                    <a:pt x="1875" y="0"/>
                    <a:pt x="1512" y="253"/>
                    <a:pt x="1342" y="616"/>
                  </a:cubicBezTo>
                  <a:cubicBezTo>
                    <a:pt x="1267" y="578"/>
                    <a:pt x="1187" y="557"/>
                    <a:pt x="1098" y="557"/>
                  </a:cubicBezTo>
                  <a:cubicBezTo>
                    <a:pt x="838" y="557"/>
                    <a:pt x="623" y="742"/>
                    <a:pt x="586" y="986"/>
                  </a:cubicBezTo>
                  <a:cubicBezTo>
                    <a:pt x="527" y="950"/>
                    <a:pt x="460" y="927"/>
                    <a:pt x="387" y="927"/>
                  </a:cubicBezTo>
                  <a:cubicBezTo>
                    <a:pt x="171" y="927"/>
                    <a:pt x="1" y="1105"/>
                    <a:pt x="1" y="1320"/>
                  </a:cubicBezTo>
                  <a:cubicBezTo>
                    <a:pt x="1" y="1372"/>
                    <a:pt x="8" y="1416"/>
                    <a:pt x="31" y="1468"/>
                  </a:cubicBezTo>
                  <a:lnTo>
                    <a:pt x="742" y="1468"/>
                  </a:lnTo>
                  <a:cubicBezTo>
                    <a:pt x="742" y="1460"/>
                    <a:pt x="742" y="1453"/>
                    <a:pt x="749" y="1446"/>
                  </a:cubicBezTo>
                  <a:cubicBezTo>
                    <a:pt x="757" y="1453"/>
                    <a:pt x="764" y="1460"/>
                    <a:pt x="771" y="1468"/>
                  </a:cubicBezTo>
                  <a:lnTo>
                    <a:pt x="4009" y="1468"/>
                  </a:lnTo>
                  <a:cubicBezTo>
                    <a:pt x="4023" y="1416"/>
                    <a:pt x="4032" y="1364"/>
                    <a:pt x="4032" y="1320"/>
                  </a:cubicBezTo>
                  <a:cubicBezTo>
                    <a:pt x="4032" y="957"/>
                    <a:pt x="3735" y="660"/>
                    <a:pt x="3373" y="660"/>
                  </a:cubicBezTo>
                  <a:cubicBezTo>
                    <a:pt x="3342" y="660"/>
                    <a:pt x="3321" y="660"/>
                    <a:pt x="3291" y="667"/>
                  </a:cubicBezTo>
                  <a:cubicBezTo>
                    <a:pt x="3134" y="274"/>
                    <a:pt x="2750" y="0"/>
                    <a:pt x="230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2" name="Google Shape;5232;p53">
              <a:extLst>
                <a:ext uri="{FF2B5EF4-FFF2-40B4-BE49-F238E27FC236}">
                  <a16:creationId xmlns:a16="http://schemas.microsoft.com/office/drawing/2014/main" id="{87DD4ED1-724E-8E84-4441-0F601F99207D}"/>
                </a:ext>
              </a:extLst>
            </p:cNvPr>
            <p:cNvSpPr/>
            <p:nvPr/>
          </p:nvSpPr>
          <p:spPr>
            <a:xfrm>
              <a:off x="7210300" y="1305925"/>
              <a:ext cx="123225" cy="60400"/>
            </a:xfrm>
            <a:custGeom>
              <a:avLst/>
              <a:gdLst/>
              <a:ahLst/>
              <a:cxnLst/>
              <a:rect l="l" t="t" r="r" b="b"/>
              <a:pathLst>
                <a:path w="4929" h="2416" extrusionOk="0">
                  <a:moveTo>
                    <a:pt x="2165" y="1"/>
                  </a:moveTo>
                  <a:cubicBezTo>
                    <a:pt x="1290" y="1"/>
                    <a:pt x="579" y="682"/>
                    <a:pt x="527" y="1541"/>
                  </a:cubicBezTo>
                  <a:cubicBezTo>
                    <a:pt x="223" y="1601"/>
                    <a:pt x="1" y="1868"/>
                    <a:pt x="1" y="2186"/>
                  </a:cubicBezTo>
                  <a:cubicBezTo>
                    <a:pt x="1" y="2261"/>
                    <a:pt x="15" y="2341"/>
                    <a:pt x="45" y="2416"/>
                  </a:cubicBezTo>
                  <a:lnTo>
                    <a:pt x="4922" y="2416"/>
                  </a:lnTo>
                  <a:cubicBezTo>
                    <a:pt x="4922" y="2394"/>
                    <a:pt x="4929" y="2371"/>
                    <a:pt x="4929" y="2357"/>
                  </a:cubicBezTo>
                  <a:cubicBezTo>
                    <a:pt x="4929" y="1889"/>
                    <a:pt x="4550" y="1512"/>
                    <a:pt x="4084" y="1512"/>
                  </a:cubicBezTo>
                  <a:cubicBezTo>
                    <a:pt x="3988" y="1512"/>
                    <a:pt x="3890" y="1534"/>
                    <a:pt x="3810" y="1564"/>
                  </a:cubicBezTo>
                  <a:cubicBezTo>
                    <a:pt x="3766" y="696"/>
                    <a:pt x="3045" y="1"/>
                    <a:pt x="216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3" name="Google Shape;5233;p53">
              <a:extLst>
                <a:ext uri="{FF2B5EF4-FFF2-40B4-BE49-F238E27FC236}">
                  <a16:creationId xmlns:a16="http://schemas.microsoft.com/office/drawing/2014/main" id="{E66F5590-7B96-FEAB-2049-FE3DCFE56C41}"/>
                </a:ext>
              </a:extLst>
            </p:cNvPr>
            <p:cNvSpPr/>
            <p:nvPr/>
          </p:nvSpPr>
          <p:spPr>
            <a:xfrm>
              <a:off x="7267000" y="1159750"/>
              <a:ext cx="166575" cy="81575"/>
            </a:xfrm>
            <a:custGeom>
              <a:avLst/>
              <a:gdLst/>
              <a:ahLst/>
              <a:cxnLst/>
              <a:rect l="l" t="t" r="r" b="b"/>
              <a:pathLst>
                <a:path w="6663" h="3263" extrusionOk="0">
                  <a:moveTo>
                    <a:pt x="3742" y="1"/>
                  </a:moveTo>
                  <a:cubicBezTo>
                    <a:pt x="2549" y="1"/>
                    <a:pt x="1578" y="934"/>
                    <a:pt x="1519" y="2113"/>
                  </a:cubicBezTo>
                  <a:cubicBezTo>
                    <a:pt x="1400" y="2069"/>
                    <a:pt x="1275" y="2046"/>
                    <a:pt x="1142" y="2046"/>
                  </a:cubicBezTo>
                  <a:cubicBezTo>
                    <a:pt x="511" y="2046"/>
                    <a:pt x="0" y="2551"/>
                    <a:pt x="0" y="3180"/>
                  </a:cubicBezTo>
                  <a:cubicBezTo>
                    <a:pt x="0" y="3209"/>
                    <a:pt x="0" y="3232"/>
                    <a:pt x="7" y="3262"/>
                  </a:cubicBezTo>
                  <a:lnTo>
                    <a:pt x="6610" y="3262"/>
                  </a:lnTo>
                  <a:cubicBezTo>
                    <a:pt x="6646" y="3164"/>
                    <a:pt x="6662" y="3061"/>
                    <a:pt x="6662" y="2951"/>
                  </a:cubicBezTo>
                  <a:cubicBezTo>
                    <a:pt x="6662" y="2520"/>
                    <a:pt x="6365" y="2165"/>
                    <a:pt x="5958" y="2076"/>
                  </a:cubicBezTo>
                  <a:cubicBezTo>
                    <a:pt x="5883" y="920"/>
                    <a:pt x="4921" y="1"/>
                    <a:pt x="3742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4" name="Google Shape;5234;p53">
              <a:extLst>
                <a:ext uri="{FF2B5EF4-FFF2-40B4-BE49-F238E27FC236}">
                  <a16:creationId xmlns:a16="http://schemas.microsoft.com/office/drawing/2014/main" id="{01034499-1554-1BD1-5412-C48064E38698}"/>
                </a:ext>
              </a:extLst>
            </p:cNvPr>
            <p:cNvSpPr/>
            <p:nvPr/>
          </p:nvSpPr>
          <p:spPr>
            <a:xfrm>
              <a:off x="7225125" y="1603800"/>
              <a:ext cx="228450" cy="75025"/>
            </a:xfrm>
            <a:custGeom>
              <a:avLst/>
              <a:gdLst/>
              <a:ahLst/>
              <a:cxnLst/>
              <a:rect l="l" t="t" r="r" b="b"/>
              <a:pathLst>
                <a:path w="9138" h="3001" extrusionOk="0">
                  <a:moveTo>
                    <a:pt x="1104" y="1"/>
                  </a:moveTo>
                  <a:lnTo>
                    <a:pt x="0" y="1571"/>
                  </a:lnTo>
                  <a:cubicBezTo>
                    <a:pt x="75" y="1550"/>
                    <a:pt x="149" y="1534"/>
                    <a:pt x="229" y="1534"/>
                  </a:cubicBezTo>
                  <a:cubicBezTo>
                    <a:pt x="608" y="1534"/>
                    <a:pt x="912" y="1808"/>
                    <a:pt x="971" y="2172"/>
                  </a:cubicBezTo>
                  <a:cubicBezTo>
                    <a:pt x="1015" y="2149"/>
                    <a:pt x="1067" y="2135"/>
                    <a:pt x="1128" y="2135"/>
                  </a:cubicBezTo>
                  <a:cubicBezTo>
                    <a:pt x="1163" y="2135"/>
                    <a:pt x="1200" y="2142"/>
                    <a:pt x="1238" y="2156"/>
                  </a:cubicBezTo>
                  <a:cubicBezTo>
                    <a:pt x="1341" y="2030"/>
                    <a:pt x="1490" y="1957"/>
                    <a:pt x="1661" y="1957"/>
                  </a:cubicBezTo>
                  <a:cubicBezTo>
                    <a:pt x="1956" y="1957"/>
                    <a:pt x="2195" y="2201"/>
                    <a:pt x="2195" y="2498"/>
                  </a:cubicBezTo>
                  <a:lnTo>
                    <a:pt x="2195" y="2535"/>
                  </a:lnTo>
                  <a:cubicBezTo>
                    <a:pt x="2246" y="2498"/>
                    <a:pt x="2305" y="2467"/>
                    <a:pt x="2372" y="2467"/>
                  </a:cubicBezTo>
                  <a:cubicBezTo>
                    <a:pt x="2527" y="2467"/>
                    <a:pt x="2653" y="2594"/>
                    <a:pt x="2653" y="2750"/>
                  </a:cubicBezTo>
                  <a:cubicBezTo>
                    <a:pt x="2653" y="2860"/>
                    <a:pt x="2595" y="2957"/>
                    <a:pt x="2497" y="3001"/>
                  </a:cubicBezTo>
                  <a:lnTo>
                    <a:pt x="5188" y="3001"/>
                  </a:lnTo>
                  <a:cubicBezTo>
                    <a:pt x="5136" y="2973"/>
                    <a:pt x="5106" y="2912"/>
                    <a:pt x="5106" y="2853"/>
                  </a:cubicBezTo>
                  <a:cubicBezTo>
                    <a:pt x="5106" y="2750"/>
                    <a:pt x="5188" y="2668"/>
                    <a:pt x="5291" y="2668"/>
                  </a:cubicBezTo>
                  <a:cubicBezTo>
                    <a:pt x="5335" y="2668"/>
                    <a:pt x="5380" y="2683"/>
                    <a:pt x="5410" y="2706"/>
                  </a:cubicBezTo>
                  <a:lnTo>
                    <a:pt x="5410" y="2683"/>
                  </a:lnTo>
                  <a:cubicBezTo>
                    <a:pt x="5410" y="2483"/>
                    <a:pt x="5573" y="2327"/>
                    <a:pt x="5765" y="2327"/>
                  </a:cubicBezTo>
                  <a:cubicBezTo>
                    <a:pt x="5876" y="2327"/>
                    <a:pt x="5981" y="2379"/>
                    <a:pt x="6039" y="2453"/>
                  </a:cubicBezTo>
                  <a:cubicBezTo>
                    <a:pt x="6070" y="2446"/>
                    <a:pt x="6091" y="2446"/>
                    <a:pt x="6121" y="2446"/>
                  </a:cubicBezTo>
                  <a:cubicBezTo>
                    <a:pt x="6159" y="2446"/>
                    <a:pt x="6187" y="2453"/>
                    <a:pt x="6224" y="2467"/>
                  </a:cubicBezTo>
                  <a:cubicBezTo>
                    <a:pt x="6240" y="2357"/>
                    <a:pt x="6292" y="2261"/>
                    <a:pt x="6365" y="2186"/>
                  </a:cubicBezTo>
                  <a:lnTo>
                    <a:pt x="6388" y="734"/>
                  </a:lnTo>
                  <a:cubicBezTo>
                    <a:pt x="6402" y="734"/>
                    <a:pt x="6409" y="1505"/>
                    <a:pt x="6418" y="2142"/>
                  </a:cubicBezTo>
                  <a:cubicBezTo>
                    <a:pt x="6498" y="2083"/>
                    <a:pt x="6603" y="2046"/>
                    <a:pt x="6713" y="2046"/>
                  </a:cubicBezTo>
                  <a:cubicBezTo>
                    <a:pt x="6774" y="2046"/>
                    <a:pt x="6833" y="2060"/>
                    <a:pt x="6884" y="2074"/>
                  </a:cubicBezTo>
                  <a:cubicBezTo>
                    <a:pt x="7076" y="2135"/>
                    <a:pt x="7218" y="2306"/>
                    <a:pt x="7218" y="2512"/>
                  </a:cubicBezTo>
                  <a:lnTo>
                    <a:pt x="7218" y="2549"/>
                  </a:lnTo>
                  <a:cubicBezTo>
                    <a:pt x="7233" y="2542"/>
                    <a:pt x="7247" y="2542"/>
                    <a:pt x="7270" y="2542"/>
                  </a:cubicBezTo>
                  <a:lnTo>
                    <a:pt x="7284" y="2542"/>
                  </a:lnTo>
                  <a:cubicBezTo>
                    <a:pt x="7441" y="2386"/>
                    <a:pt x="7626" y="2245"/>
                    <a:pt x="7832" y="2112"/>
                  </a:cubicBezTo>
                  <a:cubicBezTo>
                    <a:pt x="7841" y="1934"/>
                    <a:pt x="7900" y="1756"/>
                    <a:pt x="8010" y="1601"/>
                  </a:cubicBezTo>
                  <a:lnTo>
                    <a:pt x="9137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5" name="Google Shape;5235;p53">
              <a:extLst>
                <a:ext uri="{FF2B5EF4-FFF2-40B4-BE49-F238E27FC236}">
                  <a16:creationId xmlns:a16="http://schemas.microsoft.com/office/drawing/2014/main" id="{1556C361-9F02-CD46-11D8-523721EA9DF3}"/>
                </a:ext>
              </a:extLst>
            </p:cNvPr>
            <p:cNvSpPr/>
            <p:nvPr/>
          </p:nvSpPr>
          <p:spPr>
            <a:xfrm>
              <a:off x="7415350" y="1386900"/>
              <a:ext cx="497800" cy="293450"/>
            </a:xfrm>
            <a:custGeom>
              <a:avLst/>
              <a:gdLst/>
              <a:ahLst/>
              <a:cxnLst/>
              <a:rect l="l" t="t" r="r" b="b"/>
              <a:pathLst>
                <a:path w="19912" h="11738" extrusionOk="0">
                  <a:moveTo>
                    <a:pt x="8752" y="0"/>
                  </a:moveTo>
                  <a:cubicBezTo>
                    <a:pt x="8604" y="0"/>
                    <a:pt x="8471" y="59"/>
                    <a:pt x="8368" y="155"/>
                  </a:cubicBezTo>
                  <a:cubicBezTo>
                    <a:pt x="8270" y="251"/>
                    <a:pt x="8211" y="391"/>
                    <a:pt x="8211" y="541"/>
                  </a:cubicBezTo>
                  <a:lnTo>
                    <a:pt x="8211" y="770"/>
                  </a:lnTo>
                  <a:lnTo>
                    <a:pt x="8211" y="3512"/>
                  </a:lnTo>
                  <a:lnTo>
                    <a:pt x="8211" y="3742"/>
                  </a:lnTo>
                  <a:cubicBezTo>
                    <a:pt x="8211" y="3890"/>
                    <a:pt x="8153" y="4023"/>
                    <a:pt x="8048" y="4126"/>
                  </a:cubicBezTo>
                  <a:cubicBezTo>
                    <a:pt x="7952" y="4224"/>
                    <a:pt x="7818" y="4283"/>
                    <a:pt x="7664" y="4283"/>
                  </a:cubicBezTo>
                  <a:cubicBezTo>
                    <a:pt x="7367" y="4283"/>
                    <a:pt x="7123" y="4037"/>
                    <a:pt x="7123" y="3742"/>
                  </a:cubicBezTo>
                  <a:lnTo>
                    <a:pt x="7123" y="770"/>
                  </a:lnTo>
                  <a:lnTo>
                    <a:pt x="7123" y="756"/>
                  </a:lnTo>
                  <a:lnTo>
                    <a:pt x="401" y="10277"/>
                  </a:lnTo>
                  <a:cubicBezTo>
                    <a:pt x="1" y="10848"/>
                    <a:pt x="328" y="11693"/>
                    <a:pt x="979" y="11737"/>
                  </a:cubicBezTo>
                  <a:lnTo>
                    <a:pt x="18933" y="11737"/>
                  </a:lnTo>
                  <a:cubicBezTo>
                    <a:pt x="19586" y="11693"/>
                    <a:pt x="19911" y="10839"/>
                    <a:pt x="19511" y="10277"/>
                  </a:cubicBezTo>
                  <a:lnTo>
                    <a:pt x="12561" y="496"/>
                  </a:lnTo>
                  <a:lnTo>
                    <a:pt x="12561" y="3393"/>
                  </a:lnTo>
                  <a:cubicBezTo>
                    <a:pt x="12561" y="3541"/>
                    <a:pt x="12494" y="3674"/>
                    <a:pt x="12398" y="3770"/>
                  </a:cubicBezTo>
                  <a:cubicBezTo>
                    <a:pt x="12302" y="3875"/>
                    <a:pt x="12161" y="3934"/>
                    <a:pt x="12014" y="3934"/>
                  </a:cubicBezTo>
                  <a:cubicBezTo>
                    <a:pt x="11717" y="3934"/>
                    <a:pt x="11471" y="3690"/>
                    <a:pt x="11471" y="3393"/>
                  </a:cubicBezTo>
                  <a:lnTo>
                    <a:pt x="11471" y="1592"/>
                  </a:lnTo>
                  <a:cubicBezTo>
                    <a:pt x="11471" y="1290"/>
                    <a:pt x="11227" y="1044"/>
                    <a:pt x="10923" y="1044"/>
                  </a:cubicBezTo>
                  <a:cubicBezTo>
                    <a:pt x="10776" y="1044"/>
                    <a:pt x="10642" y="1112"/>
                    <a:pt x="10537" y="1208"/>
                  </a:cubicBezTo>
                  <a:cubicBezTo>
                    <a:pt x="10441" y="1304"/>
                    <a:pt x="10383" y="1444"/>
                    <a:pt x="10383" y="1592"/>
                  </a:cubicBezTo>
                  <a:lnTo>
                    <a:pt x="10383" y="2734"/>
                  </a:lnTo>
                  <a:cubicBezTo>
                    <a:pt x="10383" y="2890"/>
                    <a:pt x="10324" y="3023"/>
                    <a:pt x="10219" y="3119"/>
                  </a:cubicBezTo>
                  <a:cubicBezTo>
                    <a:pt x="10123" y="3223"/>
                    <a:pt x="9990" y="3281"/>
                    <a:pt x="9835" y="3281"/>
                  </a:cubicBezTo>
                  <a:cubicBezTo>
                    <a:pt x="9538" y="3281"/>
                    <a:pt x="9293" y="3038"/>
                    <a:pt x="9293" y="2734"/>
                  </a:cubicBezTo>
                  <a:lnTo>
                    <a:pt x="9302" y="2734"/>
                  </a:lnTo>
                  <a:lnTo>
                    <a:pt x="9302" y="541"/>
                  </a:lnTo>
                  <a:cubicBezTo>
                    <a:pt x="9302" y="244"/>
                    <a:pt x="9056" y="0"/>
                    <a:pt x="875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6" name="Google Shape;5236;p53">
              <a:extLst>
                <a:ext uri="{FF2B5EF4-FFF2-40B4-BE49-F238E27FC236}">
                  <a16:creationId xmlns:a16="http://schemas.microsoft.com/office/drawing/2014/main" id="{E0027EC4-C527-7963-5D27-0D851F0596FF}"/>
                </a:ext>
              </a:extLst>
            </p:cNvPr>
            <p:cNvSpPr/>
            <p:nvPr/>
          </p:nvSpPr>
          <p:spPr>
            <a:xfrm>
              <a:off x="7593425" y="1342600"/>
              <a:ext cx="135975" cy="151375"/>
            </a:xfrm>
            <a:custGeom>
              <a:avLst/>
              <a:gdLst/>
              <a:ahLst/>
              <a:cxnLst/>
              <a:rect l="l" t="t" r="r" b="b"/>
              <a:pathLst>
                <a:path w="5439" h="6055" extrusionOk="0">
                  <a:moveTo>
                    <a:pt x="2815" y="1"/>
                  </a:moveTo>
                  <a:cubicBezTo>
                    <a:pt x="2163" y="1"/>
                    <a:pt x="1547" y="334"/>
                    <a:pt x="1147" y="897"/>
                  </a:cubicBezTo>
                  <a:lnTo>
                    <a:pt x="0" y="2528"/>
                  </a:lnTo>
                  <a:lnTo>
                    <a:pt x="0" y="2542"/>
                  </a:lnTo>
                  <a:lnTo>
                    <a:pt x="0" y="5514"/>
                  </a:lnTo>
                  <a:cubicBezTo>
                    <a:pt x="0" y="5809"/>
                    <a:pt x="244" y="6055"/>
                    <a:pt x="541" y="6055"/>
                  </a:cubicBezTo>
                  <a:cubicBezTo>
                    <a:pt x="695" y="6055"/>
                    <a:pt x="829" y="5996"/>
                    <a:pt x="925" y="5898"/>
                  </a:cubicBezTo>
                  <a:cubicBezTo>
                    <a:pt x="1030" y="5795"/>
                    <a:pt x="1088" y="5662"/>
                    <a:pt x="1088" y="5514"/>
                  </a:cubicBezTo>
                  <a:lnTo>
                    <a:pt x="1088" y="5284"/>
                  </a:lnTo>
                  <a:lnTo>
                    <a:pt x="1088" y="2542"/>
                  </a:lnTo>
                  <a:lnTo>
                    <a:pt x="1088" y="2313"/>
                  </a:lnTo>
                  <a:cubicBezTo>
                    <a:pt x="1088" y="2163"/>
                    <a:pt x="1147" y="2023"/>
                    <a:pt x="1245" y="1927"/>
                  </a:cubicBezTo>
                  <a:cubicBezTo>
                    <a:pt x="1348" y="1831"/>
                    <a:pt x="1481" y="1772"/>
                    <a:pt x="1629" y="1772"/>
                  </a:cubicBezTo>
                  <a:cubicBezTo>
                    <a:pt x="1933" y="1772"/>
                    <a:pt x="2179" y="2016"/>
                    <a:pt x="2179" y="2313"/>
                  </a:cubicBezTo>
                  <a:lnTo>
                    <a:pt x="2179" y="4506"/>
                  </a:lnTo>
                  <a:lnTo>
                    <a:pt x="2170" y="4506"/>
                  </a:lnTo>
                  <a:cubicBezTo>
                    <a:pt x="2170" y="4810"/>
                    <a:pt x="2415" y="5053"/>
                    <a:pt x="2712" y="5053"/>
                  </a:cubicBezTo>
                  <a:cubicBezTo>
                    <a:pt x="2867" y="5053"/>
                    <a:pt x="3000" y="4995"/>
                    <a:pt x="3096" y="4891"/>
                  </a:cubicBezTo>
                  <a:cubicBezTo>
                    <a:pt x="3201" y="4795"/>
                    <a:pt x="3260" y="4662"/>
                    <a:pt x="3260" y="4506"/>
                  </a:cubicBezTo>
                  <a:lnTo>
                    <a:pt x="3260" y="3364"/>
                  </a:lnTo>
                  <a:cubicBezTo>
                    <a:pt x="3260" y="3216"/>
                    <a:pt x="3318" y="3076"/>
                    <a:pt x="3414" y="2980"/>
                  </a:cubicBezTo>
                  <a:cubicBezTo>
                    <a:pt x="3519" y="2884"/>
                    <a:pt x="3653" y="2816"/>
                    <a:pt x="3800" y="2816"/>
                  </a:cubicBezTo>
                  <a:cubicBezTo>
                    <a:pt x="4104" y="2816"/>
                    <a:pt x="4348" y="3062"/>
                    <a:pt x="4348" y="3364"/>
                  </a:cubicBezTo>
                  <a:lnTo>
                    <a:pt x="4348" y="5165"/>
                  </a:lnTo>
                  <a:cubicBezTo>
                    <a:pt x="4348" y="5462"/>
                    <a:pt x="4594" y="5706"/>
                    <a:pt x="4891" y="5706"/>
                  </a:cubicBezTo>
                  <a:cubicBezTo>
                    <a:pt x="5038" y="5706"/>
                    <a:pt x="5179" y="5647"/>
                    <a:pt x="5275" y="5542"/>
                  </a:cubicBezTo>
                  <a:cubicBezTo>
                    <a:pt x="5371" y="5446"/>
                    <a:pt x="5438" y="5313"/>
                    <a:pt x="5438" y="5165"/>
                  </a:cubicBezTo>
                  <a:lnTo>
                    <a:pt x="5438" y="2268"/>
                  </a:lnTo>
                  <a:lnTo>
                    <a:pt x="4437" y="867"/>
                  </a:lnTo>
                  <a:cubicBezTo>
                    <a:pt x="4053" y="326"/>
                    <a:pt x="3452" y="1"/>
                    <a:pt x="281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7" name="Google Shape;5237;p53">
              <a:extLst>
                <a:ext uri="{FF2B5EF4-FFF2-40B4-BE49-F238E27FC236}">
                  <a16:creationId xmlns:a16="http://schemas.microsoft.com/office/drawing/2014/main" id="{3253ED98-1350-EF9B-F8A9-EF7192B64D15}"/>
                </a:ext>
              </a:extLst>
            </p:cNvPr>
            <p:cNvSpPr/>
            <p:nvPr/>
          </p:nvSpPr>
          <p:spPr>
            <a:xfrm>
              <a:off x="7437400" y="1679925"/>
              <a:ext cx="3375" cy="425"/>
            </a:xfrm>
            <a:custGeom>
              <a:avLst/>
              <a:gdLst/>
              <a:ahLst/>
              <a:cxnLst/>
              <a:rect l="l" t="t" r="r" b="b"/>
              <a:pathLst>
                <a:path w="135" h="17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8"/>
                    <a:pt x="61" y="16"/>
                    <a:pt x="97" y="16"/>
                  </a:cubicBezTo>
                  <a:lnTo>
                    <a:pt x="134" y="16"/>
                  </a:lnTo>
                  <a:lnTo>
                    <a:pt x="97" y="16"/>
                  </a:lnTo>
                  <a:cubicBezTo>
                    <a:pt x="61" y="16"/>
                    <a:pt x="31" y="8"/>
                    <a:pt x="1" y="0"/>
                  </a:cubicBezTo>
                  <a:close/>
                </a:path>
              </a:pathLst>
            </a:custGeom>
            <a:solidFill>
              <a:srgbClr val="67717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8" name="Google Shape;5238;p53">
              <a:extLst>
                <a:ext uri="{FF2B5EF4-FFF2-40B4-BE49-F238E27FC236}">
                  <a16:creationId xmlns:a16="http://schemas.microsoft.com/office/drawing/2014/main" id="{38C336F7-DA9E-2977-0C4F-F557519CC7BD}"/>
                </a:ext>
              </a:extLst>
            </p:cNvPr>
            <p:cNvSpPr/>
            <p:nvPr/>
          </p:nvSpPr>
          <p:spPr>
            <a:xfrm>
              <a:off x="7420900" y="1576550"/>
              <a:ext cx="371275" cy="103800"/>
            </a:xfrm>
            <a:custGeom>
              <a:avLst/>
              <a:gdLst/>
              <a:ahLst/>
              <a:cxnLst/>
              <a:rect l="l" t="t" r="r" b="b"/>
              <a:pathLst>
                <a:path w="14851" h="4152" extrusionOk="0">
                  <a:moveTo>
                    <a:pt x="661" y="4135"/>
                  </a:moveTo>
                  <a:cubicBezTo>
                    <a:pt x="691" y="4143"/>
                    <a:pt x="721" y="4151"/>
                    <a:pt x="757" y="4151"/>
                  </a:cubicBezTo>
                  <a:lnTo>
                    <a:pt x="6101" y="4151"/>
                  </a:lnTo>
                  <a:cubicBezTo>
                    <a:pt x="6101" y="4151"/>
                    <a:pt x="6101" y="4143"/>
                    <a:pt x="6108" y="4135"/>
                  </a:cubicBezTo>
                  <a:close/>
                  <a:moveTo>
                    <a:pt x="2076" y="1"/>
                  </a:moveTo>
                  <a:lnTo>
                    <a:pt x="179" y="2691"/>
                  </a:lnTo>
                  <a:cubicBezTo>
                    <a:pt x="69" y="2846"/>
                    <a:pt x="10" y="3024"/>
                    <a:pt x="1" y="3202"/>
                  </a:cubicBezTo>
                  <a:cubicBezTo>
                    <a:pt x="862" y="2661"/>
                    <a:pt x="2121" y="2313"/>
                    <a:pt x="3522" y="2313"/>
                  </a:cubicBezTo>
                  <a:cubicBezTo>
                    <a:pt x="4811" y="2313"/>
                    <a:pt x="5982" y="2602"/>
                    <a:pt x="6826" y="3068"/>
                  </a:cubicBezTo>
                  <a:cubicBezTo>
                    <a:pt x="7664" y="2231"/>
                    <a:pt x="8982" y="1683"/>
                    <a:pt x="10472" y="1683"/>
                  </a:cubicBezTo>
                  <a:cubicBezTo>
                    <a:pt x="12524" y="1683"/>
                    <a:pt x="14265" y="2720"/>
                    <a:pt x="14843" y="4151"/>
                  </a:cubicBezTo>
                  <a:lnTo>
                    <a:pt x="14850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9" name="Google Shape;5239;p53">
              <a:extLst>
                <a:ext uri="{FF2B5EF4-FFF2-40B4-BE49-F238E27FC236}">
                  <a16:creationId xmlns:a16="http://schemas.microsoft.com/office/drawing/2014/main" id="{75E37EB4-A994-7F1A-5E76-E147780ADBA7}"/>
                </a:ext>
              </a:extLst>
            </p:cNvPr>
            <p:cNvSpPr/>
            <p:nvPr/>
          </p:nvSpPr>
          <p:spPr>
            <a:xfrm>
              <a:off x="7697125" y="1146225"/>
              <a:ext cx="96725" cy="77300"/>
            </a:xfrm>
            <a:custGeom>
              <a:avLst/>
              <a:gdLst/>
              <a:ahLst/>
              <a:cxnLst/>
              <a:rect l="l" t="t" r="r" b="b"/>
              <a:pathLst>
                <a:path w="3869" h="3092" extrusionOk="0">
                  <a:moveTo>
                    <a:pt x="3647" y="1"/>
                  </a:moveTo>
                  <a:cubicBezTo>
                    <a:pt x="2706" y="1"/>
                    <a:pt x="1898" y="579"/>
                    <a:pt x="1557" y="1393"/>
                  </a:cubicBezTo>
                  <a:cubicBezTo>
                    <a:pt x="1505" y="1386"/>
                    <a:pt x="1445" y="1386"/>
                    <a:pt x="1393" y="1386"/>
                  </a:cubicBezTo>
                  <a:cubicBezTo>
                    <a:pt x="623" y="1386"/>
                    <a:pt x="1" y="2009"/>
                    <a:pt x="1" y="2772"/>
                  </a:cubicBezTo>
                  <a:cubicBezTo>
                    <a:pt x="1" y="2884"/>
                    <a:pt x="15" y="2987"/>
                    <a:pt x="38" y="3092"/>
                  </a:cubicBezTo>
                  <a:lnTo>
                    <a:pt x="3869" y="3092"/>
                  </a:lnTo>
                  <a:lnTo>
                    <a:pt x="3869" y="2217"/>
                  </a:lnTo>
                  <a:lnTo>
                    <a:pt x="3869" y="8"/>
                  </a:lnTo>
                  <a:cubicBezTo>
                    <a:pt x="3794" y="1"/>
                    <a:pt x="3721" y="1"/>
                    <a:pt x="3647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0" name="Google Shape;5240;p53">
              <a:extLst>
                <a:ext uri="{FF2B5EF4-FFF2-40B4-BE49-F238E27FC236}">
                  <a16:creationId xmlns:a16="http://schemas.microsoft.com/office/drawing/2014/main" id="{93A607CA-FE6D-36A2-B624-AD4F464510D6}"/>
                </a:ext>
              </a:extLst>
            </p:cNvPr>
            <p:cNvSpPr/>
            <p:nvPr/>
          </p:nvSpPr>
          <p:spPr>
            <a:xfrm>
              <a:off x="7397400" y="1634350"/>
              <a:ext cx="223250" cy="45600"/>
            </a:xfrm>
            <a:custGeom>
              <a:avLst/>
              <a:gdLst/>
              <a:ahLst/>
              <a:cxnLst/>
              <a:rect l="l" t="t" r="r" b="b"/>
              <a:pathLst>
                <a:path w="8930" h="1824" extrusionOk="0">
                  <a:moveTo>
                    <a:pt x="4462" y="1"/>
                  </a:moveTo>
                  <a:cubicBezTo>
                    <a:pt x="2364" y="1"/>
                    <a:pt x="585" y="772"/>
                    <a:pt x="0" y="1823"/>
                  </a:cubicBezTo>
                  <a:lnTo>
                    <a:pt x="8929" y="1823"/>
                  </a:lnTo>
                  <a:cubicBezTo>
                    <a:pt x="8344" y="772"/>
                    <a:pt x="6566" y="1"/>
                    <a:pt x="4462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1" name="Google Shape;5241;p53">
              <a:extLst>
                <a:ext uri="{FF2B5EF4-FFF2-40B4-BE49-F238E27FC236}">
                  <a16:creationId xmlns:a16="http://schemas.microsoft.com/office/drawing/2014/main" id="{E403D14C-4E3F-5CEA-5A47-52C1E2917C9F}"/>
                </a:ext>
              </a:extLst>
            </p:cNvPr>
            <p:cNvSpPr/>
            <p:nvPr/>
          </p:nvSpPr>
          <p:spPr>
            <a:xfrm>
              <a:off x="7573175" y="1618625"/>
              <a:ext cx="218825" cy="62075"/>
            </a:xfrm>
            <a:custGeom>
              <a:avLst/>
              <a:gdLst/>
              <a:ahLst/>
              <a:cxnLst/>
              <a:rect l="l" t="t" r="r" b="b"/>
              <a:pathLst>
                <a:path w="8753" h="2483" extrusionOk="0">
                  <a:moveTo>
                    <a:pt x="4381" y="0"/>
                  </a:moveTo>
                  <a:cubicBezTo>
                    <a:pt x="2322" y="0"/>
                    <a:pt x="572" y="1046"/>
                    <a:pt x="1" y="2483"/>
                  </a:cubicBezTo>
                  <a:lnTo>
                    <a:pt x="8752" y="2483"/>
                  </a:lnTo>
                  <a:cubicBezTo>
                    <a:pt x="8181" y="1046"/>
                    <a:pt x="6440" y="0"/>
                    <a:pt x="438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2" name="Google Shape;5242;p53">
              <a:extLst>
                <a:ext uri="{FF2B5EF4-FFF2-40B4-BE49-F238E27FC236}">
                  <a16:creationId xmlns:a16="http://schemas.microsoft.com/office/drawing/2014/main" id="{E0C95443-7A88-D239-ABB7-7F40428E4229}"/>
                </a:ext>
              </a:extLst>
            </p:cNvPr>
            <p:cNvSpPr/>
            <p:nvPr/>
          </p:nvSpPr>
          <p:spPr>
            <a:xfrm>
              <a:off x="7615425" y="1633075"/>
              <a:ext cx="37450" cy="20775"/>
            </a:xfrm>
            <a:custGeom>
              <a:avLst/>
              <a:gdLst/>
              <a:ahLst/>
              <a:cxnLst/>
              <a:rect l="l" t="t" r="r" b="b"/>
              <a:pathLst>
                <a:path w="1498" h="831" extrusionOk="0">
                  <a:moveTo>
                    <a:pt x="978" y="0"/>
                  </a:moveTo>
                  <a:cubicBezTo>
                    <a:pt x="882" y="0"/>
                    <a:pt x="772" y="14"/>
                    <a:pt x="660" y="52"/>
                  </a:cubicBezTo>
                  <a:cubicBezTo>
                    <a:pt x="246" y="171"/>
                    <a:pt x="0" y="475"/>
                    <a:pt x="89" y="660"/>
                  </a:cubicBezTo>
                  <a:cubicBezTo>
                    <a:pt x="143" y="779"/>
                    <a:pt x="290" y="831"/>
                    <a:pt x="475" y="831"/>
                  </a:cubicBezTo>
                  <a:cubicBezTo>
                    <a:pt x="594" y="831"/>
                    <a:pt x="735" y="807"/>
                    <a:pt x="868" y="770"/>
                  </a:cubicBezTo>
                  <a:cubicBezTo>
                    <a:pt x="1224" y="667"/>
                    <a:pt x="1498" y="459"/>
                    <a:pt x="1467" y="260"/>
                  </a:cubicBezTo>
                  <a:cubicBezTo>
                    <a:pt x="1446" y="112"/>
                    <a:pt x="1245" y="0"/>
                    <a:pt x="978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3" name="Google Shape;5243;p53">
              <a:extLst>
                <a:ext uri="{FF2B5EF4-FFF2-40B4-BE49-F238E27FC236}">
                  <a16:creationId xmlns:a16="http://schemas.microsoft.com/office/drawing/2014/main" id="{F38792BA-BAE3-0A74-DB1C-E6786B91DAEF}"/>
                </a:ext>
              </a:extLst>
            </p:cNvPr>
            <p:cNvSpPr/>
            <p:nvPr/>
          </p:nvSpPr>
          <p:spPr>
            <a:xfrm>
              <a:off x="7658600" y="1636225"/>
              <a:ext cx="19500" cy="10025"/>
            </a:xfrm>
            <a:custGeom>
              <a:avLst/>
              <a:gdLst/>
              <a:ahLst/>
              <a:cxnLst/>
              <a:rect l="l" t="t" r="r" b="b"/>
              <a:pathLst>
                <a:path w="780" h="401" extrusionOk="0">
                  <a:moveTo>
                    <a:pt x="393" y="0"/>
                  </a:moveTo>
                  <a:cubicBezTo>
                    <a:pt x="171" y="0"/>
                    <a:pt x="0" y="103"/>
                    <a:pt x="16" y="215"/>
                  </a:cubicBezTo>
                  <a:cubicBezTo>
                    <a:pt x="23" y="326"/>
                    <a:pt x="185" y="400"/>
                    <a:pt x="386" y="400"/>
                  </a:cubicBezTo>
                  <a:lnTo>
                    <a:pt x="393" y="400"/>
                  </a:lnTo>
                  <a:cubicBezTo>
                    <a:pt x="594" y="400"/>
                    <a:pt x="763" y="319"/>
                    <a:pt x="772" y="215"/>
                  </a:cubicBezTo>
                  <a:cubicBezTo>
                    <a:pt x="779" y="103"/>
                    <a:pt x="608" y="0"/>
                    <a:pt x="393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4" name="Google Shape;5244;p53">
              <a:extLst>
                <a:ext uri="{FF2B5EF4-FFF2-40B4-BE49-F238E27FC236}">
                  <a16:creationId xmlns:a16="http://schemas.microsoft.com/office/drawing/2014/main" id="{5D4C9A40-EDBE-0421-7621-5666DF19EE21}"/>
                </a:ext>
              </a:extLst>
            </p:cNvPr>
            <p:cNvSpPr/>
            <p:nvPr/>
          </p:nvSpPr>
          <p:spPr>
            <a:xfrm>
              <a:off x="7362400" y="1596950"/>
              <a:ext cx="43375" cy="54675"/>
            </a:xfrm>
            <a:custGeom>
              <a:avLst/>
              <a:gdLst/>
              <a:ahLst/>
              <a:cxnLst/>
              <a:rect l="l" t="t" r="r" b="b"/>
              <a:pathLst>
                <a:path w="1735" h="2187" extrusionOk="0">
                  <a:moveTo>
                    <a:pt x="867" y="1"/>
                  </a:moveTo>
                  <a:cubicBezTo>
                    <a:pt x="490" y="1"/>
                    <a:pt x="178" y="303"/>
                    <a:pt x="178" y="682"/>
                  </a:cubicBezTo>
                  <a:cubicBezTo>
                    <a:pt x="178" y="712"/>
                    <a:pt x="186" y="741"/>
                    <a:pt x="193" y="778"/>
                  </a:cubicBezTo>
                  <a:cubicBezTo>
                    <a:pt x="66" y="926"/>
                    <a:pt x="1" y="1112"/>
                    <a:pt x="1" y="1319"/>
                  </a:cubicBezTo>
                  <a:cubicBezTo>
                    <a:pt x="1" y="1801"/>
                    <a:pt x="385" y="2187"/>
                    <a:pt x="867" y="2187"/>
                  </a:cubicBezTo>
                  <a:cubicBezTo>
                    <a:pt x="1342" y="2187"/>
                    <a:pt x="1735" y="1801"/>
                    <a:pt x="1735" y="1319"/>
                  </a:cubicBezTo>
                  <a:cubicBezTo>
                    <a:pt x="1735" y="1112"/>
                    <a:pt x="1660" y="926"/>
                    <a:pt x="1541" y="778"/>
                  </a:cubicBezTo>
                  <a:cubicBezTo>
                    <a:pt x="1541" y="741"/>
                    <a:pt x="1550" y="712"/>
                    <a:pt x="1550" y="682"/>
                  </a:cubicBezTo>
                  <a:cubicBezTo>
                    <a:pt x="1550" y="303"/>
                    <a:pt x="1245" y="1"/>
                    <a:pt x="86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5" name="Google Shape;5245;p53">
              <a:extLst>
                <a:ext uri="{FF2B5EF4-FFF2-40B4-BE49-F238E27FC236}">
                  <a16:creationId xmlns:a16="http://schemas.microsoft.com/office/drawing/2014/main" id="{1658CA10-A6EF-0C2C-56CB-773A9A722DFC}"/>
                </a:ext>
              </a:extLst>
            </p:cNvPr>
            <p:cNvSpPr/>
            <p:nvPr/>
          </p:nvSpPr>
          <p:spPr>
            <a:xfrm>
              <a:off x="7383875" y="1622125"/>
              <a:ext cx="1900" cy="57100"/>
            </a:xfrm>
            <a:custGeom>
              <a:avLst/>
              <a:gdLst/>
              <a:ahLst/>
              <a:cxnLst/>
              <a:rect l="l" t="t" r="r" b="b"/>
              <a:pathLst>
                <a:path w="76" h="2284" extrusionOk="0">
                  <a:moveTo>
                    <a:pt x="38" y="1"/>
                  </a:moveTo>
                  <a:lnTo>
                    <a:pt x="1" y="2247"/>
                  </a:lnTo>
                  <a:cubicBezTo>
                    <a:pt x="1" y="2268"/>
                    <a:pt x="15" y="2284"/>
                    <a:pt x="38" y="2284"/>
                  </a:cubicBezTo>
                  <a:cubicBezTo>
                    <a:pt x="59" y="2284"/>
                    <a:pt x="75" y="2268"/>
                    <a:pt x="75" y="2247"/>
                  </a:cubicBezTo>
                  <a:cubicBezTo>
                    <a:pt x="75" y="2247"/>
                    <a:pt x="59" y="1"/>
                    <a:pt x="38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6" name="Google Shape;5246;p53">
              <a:extLst>
                <a:ext uri="{FF2B5EF4-FFF2-40B4-BE49-F238E27FC236}">
                  <a16:creationId xmlns:a16="http://schemas.microsoft.com/office/drawing/2014/main" id="{D8E6219E-C523-3875-6647-4E72946F0374}"/>
                </a:ext>
              </a:extLst>
            </p:cNvPr>
            <p:cNvSpPr/>
            <p:nvPr/>
          </p:nvSpPr>
          <p:spPr>
            <a:xfrm>
              <a:off x="7373875" y="1635650"/>
              <a:ext cx="10950" cy="8900"/>
            </a:xfrm>
            <a:custGeom>
              <a:avLst/>
              <a:gdLst/>
              <a:ahLst/>
              <a:cxnLst/>
              <a:rect l="l" t="t" r="r" b="b"/>
              <a:pathLst>
                <a:path w="438" h="356" extrusionOk="0">
                  <a:moveTo>
                    <a:pt x="0" y="0"/>
                  </a:moveTo>
                  <a:cubicBezTo>
                    <a:pt x="205" y="342"/>
                    <a:pt x="404" y="356"/>
                    <a:pt x="434" y="356"/>
                  </a:cubicBezTo>
                  <a:cubicBezTo>
                    <a:pt x="437" y="356"/>
                    <a:pt x="438" y="356"/>
                    <a:pt x="438" y="356"/>
                  </a:cubicBezTo>
                  <a:lnTo>
                    <a:pt x="438" y="311"/>
                  </a:lnTo>
                  <a:cubicBezTo>
                    <a:pt x="438" y="311"/>
                    <a:pt x="434" y="314"/>
                    <a:pt x="422" y="314"/>
                  </a:cubicBezTo>
                  <a:cubicBezTo>
                    <a:pt x="396" y="314"/>
                    <a:pt x="334" y="300"/>
                    <a:pt x="201" y="208"/>
                  </a:cubicBezTo>
                  <a:cubicBezTo>
                    <a:pt x="82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7" name="Google Shape;5247;p53">
              <a:extLst>
                <a:ext uri="{FF2B5EF4-FFF2-40B4-BE49-F238E27FC236}">
                  <a16:creationId xmlns:a16="http://schemas.microsoft.com/office/drawing/2014/main" id="{CC981133-0ED3-A8CB-8AF6-120CF805691A}"/>
                </a:ext>
              </a:extLst>
            </p:cNvPr>
            <p:cNvSpPr/>
            <p:nvPr/>
          </p:nvSpPr>
          <p:spPr>
            <a:xfrm>
              <a:off x="7384800" y="1633250"/>
              <a:ext cx="9450" cy="7625"/>
            </a:xfrm>
            <a:custGeom>
              <a:avLst/>
              <a:gdLst/>
              <a:ahLst/>
              <a:cxnLst/>
              <a:rect l="l" t="t" r="r" b="b"/>
              <a:pathLst>
                <a:path w="378" h="305" extrusionOk="0">
                  <a:moveTo>
                    <a:pt x="378" y="0"/>
                  </a:moveTo>
                  <a:cubicBezTo>
                    <a:pt x="378" y="0"/>
                    <a:pt x="305" y="105"/>
                    <a:pt x="209" y="171"/>
                  </a:cubicBezTo>
                  <a:cubicBezTo>
                    <a:pt x="96" y="250"/>
                    <a:pt x="41" y="263"/>
                    <a:pt x="17" y="263"/>
                  </a:cubicBezTo>
                  <a:cubicBezTo>
                    <a:pt x="5" y="263"/>
                    <a:pt x="1" y="260"/>
                    <a:pt x="1" y="260"/>
                  </a:cubicBezTo>
                  <a:lnTo>
                    <a:pt x="1" y="260"/>
                  </a:lnTo>
                  <a:lnTo>
                    <a:pt x="8" y="304"/>
                  </a:lnTo>
                  <a:cubicBezTo>
                    <a:pt x="8" y="304"/>
                    <a:pt x="8" y="304"/>
                    <a:pt x="9" y="304"/>
                  </a:cubicBezTo>
                  <a:cubicBezTo>
                    <a:pt x="24" y="304"/>
                    <a:pt x="194" y="298"/>
                    <a:pt x="378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8" name="Google Shape;5248;p53">
              <a:extLst>
                <a:ext uri="{FF2B5EF4-FFF2-40B4-BE49-F238E27FC236}">
                  <a16:creationId xmlns:a16="http://schemas.microsoft.com/office/drawing/2014/main" id="{9C6780DD-1F15-E7D7-5530-B8A181CABABA}"/>
                </a:ext>
              </a:extLst>
            </p:cNvPr>
            <p:cNvSpPr/>
            <p:nvPr/>
          </p:nvSpPr>
          <p:spPr>
            <a:xfrm>
              <a:off x="7377200" y="1627850"/>
              <a:ext cx="7625" cy="6175"/>
            </a:xfrm>
            <a:custGeom>
              <a:avLst/>
              <a:gdLst/>
              <a:ahLst/>
              <a:cxnLst/>
              <a:rect l="l" t="t" r="r" b="b"/>
              <a:pathLst>
                <a:path w="305" h="247" extrusionOk="0">
                  <a:moveTo>
                    <a:pt x="1" y="1"/>
                  </a:moveTo>
                  <a:cubicBezTo>
                    <a:pt x="149" y="240"/>
                    <a:pt x="289" y="246"/>
                    <a:pt x="304" y="246"/>
                  </a:cubicBezTo>
                  <a:cubicBezTo>
                    <a:pt x="304" y="246"/>
                    <a:pt x="305" y="246"/>
                    <a:pt x="305" y="246"/>
                  </a:cubicBezTo>
                  <a:lnTo>
                    <a:pt x="305" y="209"/>
                  </a:lnTo>
                  <a:cubicBezTo>
                    <a:pt x="305" y="209"/>
                    <a:pt x="302" y="211"/>
                    <a:pt x="293" y="211"/>
                  </a:cubicBezTo>
                  <a:cubicBezTo>
                    <a:pt x="275" y="211"/>
                    <a:pt x="232" y="201"/>
                    <a:pt x="141" y="134"/>
                  </a:cubicBezTo>
                  <a:cubicBezTo>
                    <a:pt x="60" y="8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9" name="Google Shape;5249;p53">
              <a:extLst>
                <a:ext uri="{FF2B5EF4-FFF2-40B4-BE49-F238E27FC236}">
                  <a16:creationId xmlns:a16="http://schemas.microsoft.com/office/drawing/2014/main" id="{7BC8D4E4-C5E0-4DCA-D1F7-3E5008E3E3B8}"/>
                </a:ext>
              </a:extLst>
            </p:cNvPr>
            <p:cNvSpPr/>
            <p:nvPr/>
          </p:nvSpPr>
          <p:spPr>
            <a:xfrm>
              <a:off x="7673450" y="1502475"/>
              <a:ext cx="158950" cy="154700"/>
            </a:xfrm>
            <a:custGeom>
              <a:avLst/>
              <a:gdLst/>
              <a:ahLst/>
              <a:cxnLst/>
              <a:rect l="l" t="t" r="r" b="b"/>
              <a:pathLst>
                <a:path w="6358" h="6188" extrusionOk="0">
                  <a:moveTo>
                    <a:pt x="3090" y="1"/>
                  </a:moveTo>
                  <a:cubicBezTo>
                    <a:pt x="2978" y="1"/>
                    <a:pt x="2867" y="30"/>
                    <a:pt x="2771" y="90"/>
                  </a:cubicBezTo>
                  <a:cubicBezTo>
                    <a:pt x="2067" y="534"/>
                    <a:pt x="0" y="6188"/>
                    <a:pt x="3089" y="6188"/>
                  </a:cubicBezTo>
                  <a:cubicBezTo>
                    <a:pt x="6358" y="6188"/>
                    <a:pt x="4112" y="534"/>
                    <a:pt x="3415" y="90"/>
                  </a:cubicBezTo>
                  <a:cubicBezTo>
                    <a:pt x="3315" y="30"/>
                    <a:pt x="3202" y="1"/>
                    <a:pt x="3090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0" name="Google Shape;5250;p53">
              <a:extLst>
                <a:ext uri="{FF2B5EF4-FFF2-40B4-BE49-F238E27FC236}">
                  <a16:creationId xmlns:a16="http://schemas.microsoft.com/office/drawing/2014/main" id="{D65BBBB5-C5FF-FD20-242C-D11711AF553D}"/>
                </a:ext>
              </a:extLst>
            </p:cNvPr>
            <p:cNvSpPr/>
            <p:nvPr/>
          </p:nvSpPr>
          <p:spPr>
            <a:xfrm>
              <a:off x="7673450" y="1504650"/>
              <a:ext cx="77250" cy="152525"/>
            </a:xfrm>
            <a:custGeom>
              <a:avLst/>
              <a:gdLst/>
              <a:ahLst/>
              <a:cxnLst/>
              <a:rect l="l" t="t" r="r" b="b"/>
              <a:pathLst>
                <a:path w="3090" h="6101" extrusionOk="0">
                  <a:moveTo>
                    <a:pt x="2776" y="1"/>
                  </a:moveTo>
                  <a:cubicBezTo>
                    <a:pt x="2775" y="1"/>
                    <a:pt x="2773" y="2"/>
                    <a:pt x="2771" y="3"/>
                  </a:cubicBezTo>
                  <a:cubicBezTo>
                    <a:pt x="2067" y="447"/>
                    <a:pt x="0" y="6101"/>
                    <a:pt x="3089" y="6101"/>
                  </a:cubicBezTo>
                  <a:cubicBezTo>
                    <a:pt x="3089" y="6101"/>
                    <a:pt x="2312" y="6033"/>
                    <a:pt x="2268" y="3826"/>
                  </a:cubicBezTo>
                  <a:cubicBezTo>
                    <a:pt x="2215" y="1638"/>
                    <a:pt x="2848" y="1"/>
                    <a:pt x="2776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1" name="Google Shape;5251;p53">
              <a:extLst>
                <a:ext uri="{FF2B5EF4-FFF2-40B4-BE49-F238E27FC236}">
                  <a16:creationId xmlns:a16="http://schemas.microsoft.com/office/drawing/2014/main" id="{353A658C-8CE7-1C60-E984-B13921E5A586}"/>
                </a:ext>
              </a:extLst>
            </p:cNvPr>
            <p:cNvSpPr/>
            <p:nvPr/>
          </p:nvSpPr>
          <p:spPr>
            <a:xfrm>
              <a:off x="7748275" y="1572725"/>
              <a:ext cx="11125" cy="107050"/>
            </a:xfrm>
            <a:custGeom>
              <a:avLst/>
              <a:gdLst/>
              <a:ahLst/>
              <a:cxnLst/>
              <a:rect l="l" t="t" r="r" b="b"/>
              <a:pathLst>
                <a:path w="445" h="4282" extrusionOk="0">
                  <a:moveTo>
                    <a:pt x="224" y="1"/>
                  </a:moveTo>
                  <a:cubicBezTo>
                    <a:pt x="223" y="1"/>
                    <a:pt x="222" y="6"/>
                    <a:pt x="222" y="20"/>
                  </a:cubicBezTo>
                  <a:lnTo>
                    <a:pt x="0" y="4281"/>
                  </a:lnTo>
                  <a:lnTo>
                    <a:pt x="445" y="4281"/>
                  </a:lnTo>
                  <a:cubicBezTo>
                    <a:pt x="430" y="2458"/>
                    <a:pt x="267" y="20"/>
                    <a:pt x="229" y="20"/>
                  </a:cubicBezTo>
                  <a:cubicBezTo>
                    <a:pt x="229" y="20"/>
                    <a:pt x="226" y="1"/>
                    <a:pt x="22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2" name="Google Shape;5252;p53">
              <a:extLst>
                <a:ext uri="{FF2B5EF4-FFF2-40B4-BE49-F238E27FC236}">
                  <a16:creationId xmlns:a16="http://schemas.microsoft.com/office/drawing/2014/main" id="{035DD8AC-4C1E-5C90-461D-948C9C12869F}"/>
                </a:ext>
              </a:extLst>
            </p:cNvPr>
            <p:cNvSpPr/>
            <p:nvPr/>
          </p:nvSpPr>
          <p:spPr>
            <a:xfrm>
              <a:off x="7723625" y="1610650"/>
              <a:ext cx="30400" cy="24475"/>
            </a:xfrm>
            <a:custGeom>
              <a:avLst/>
              <a:gdLst/>
              <a:ahLst/>
              <a:cxnLst/>
              <a:rect l="l" t="t" r="r" b="b"/>
              <a:pathLst>
                <a:path w="1216" h="979" extrusionOk="0">
                  <a:moveTo>
                    <a:pt x="1" y="1"/>
                  </a:moveTo>
                  <a:cubicBezTo>
                    <a:pt x="595" y="952"/>
                    <a:pt x="1136" y="979"/>
                    <a:pt x="1196" y="979"/>
                  </a:cubicBezTo>
                  <a:cubicBezTo>
                    <a:pt x="1199" y="979"/>
                    <a:pt x="1201" y="979"/>
                    <a:pt x="1201" y="979"/>
                  </a:cubicBezTo>
                  <a:lnTo>
                    <a:pt x="1215" y="838"/>
                  </a:lnTo>
                  <a:lnTo>
                    <a:pt x="1215" y="838"/>
                  </a:lnTo>
                  <a:cubicBezTo>
                    <a:pt x="1215" y="838"/>
                    <a:pt x="1203" y="847"/>
                    <a:pt x="1168" y="847"/>
                  </a:cubicBezTo>
                  <a:cubicBezTo>
                    <a:pt x="1093" y="847"/>
                    <a:pt x="919" y="806"/>
                    <a:pt x="556" y="548"/>
                  </a:cubicBezTo>
                  <a:cubicBezTo>
                    <a:pt x="245" y="33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3" name="Google Shape;5253;p53">
              <a:extLst>
                <a:ext uri="{FF2B5EF4-FFF2-40B4-BE49-F238E27FC236}">
                  <a16:creationId xmlns:a16="http://schemas.microsoft.com/office/drawing/2014/main" id="{B017926F-F4B0-FF91-6AE1-844672824D01}"/>
                </a:ext>
              </a:extLst>
            </p:cNvPr>
            <p:cNvSpPr/>
            <p:nvPr/>
          </p:nvSpPr>
          <p:spPr>
            <a:xfrm>
              <a:off x="7754000" y="1603800"/>
              <a:ext cx="25600" cy="20750"/>
            </a:xfrm>
            <a:custGeom>
              <a:avLst/>
              <a:gdLst/>
              <a:ahLst/>
              <a:cxnLst/>
              <a:rect l="l" t="t" r="r" b="b"/>
              <a:pathLst>
                <a:path w="1024" h="830" extrusionOk="0">
                  <a:moveTo>
                    <a:pt x="1023" y="1"/>
                  </a:moveTo>
                  <a:lnTo>
                    <a:pt x="1023" y="1"/>
                  </a:lnTo>
                  <a:cubicBezTo>
                    <a:pt x="1023" y="1"/>
                    <a:pt x="824" y="282"/>
                    <a:pt x="557" y="467"/>
                  </a:cubicBezTo>
                  <a:cubicBezTo>
                    <a:pt x="255" y="685"/>
                    <a:pt x="108" y="721"/>
                    <a:pt x="44" y="721"/>
                  </a:cubicBezTo>
                  <a:cubicBezTo>
                    <a:pt x="12" y="721"/>
                    <a:pt x="0" y="712"/>
                    <a:pt x="0" y="712"/>
                  </a:cubicBezTo>
                  <a:lnTo>
                    <a:pt x="0" y="712"/>
                  </a:lnTo>
                  <a:lnTo>
                    <a:pt x="8" y="830"/>
                  </a:lnTo>
                  <a:cubicBezTo>
                    <a:pt x="8" y="830"/>
                    <a:pt x="10" y="830"/>
                    <a:pt x="14" y="830"/>
                  </a:cubicBezTo>
                  <a:cubicBezTo>
                    <a:pt x="72" y="830"/>
                    <a:pt x="531" y="803"/>
                    <a:pt x="1023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4" name="Google Shape;5254;p53">
              <a:extLst>
                <a:ext uri="{FF2B5EF4-FFF2-40B4-BE49-F238E27FC236}">
                  <a16:creationId xmlns:a16="http://schemas.microsoft.com/office/drawing/2014/main" id="{B23FA7CC-DFE8-C6BE-303C-B1879683B9A2}"/>
                </a:ext>
              </a:extLst>
            </p:cNvPr>
            <p:cNvSpPr/>
            <p:nvPr/>
          </p:nvSpPr>
          <p:spPr>
            <a:xfrm>
              <a:off x="7733225" y="1588950"/>
              <a:ext cx="20800" cy="16700"/>
            </a:xfrm>
            <a:custGeom>
              <a:avLst/>
              <a:gdLst/>
              <a:ahLst/>
              <a:cxnLst/>
              <a:rect l="l" t="t" r="r" b="b"/>
              <a:pathLst>
                <a:path w="832" h="668" extrusionOk="0">
                  <a:moveTo>
                    <a:pt x="1" y="1"/>
                  </a:moveTo>
                  <a:lnTo>
                    <a:pt x="1" y="1"/>
                  </a:lnTo>
                  <a:cubicBezTo>
                    <a:pt x="398" y="648"/>
                    <a:pt x="774" y="668"/>
                    <a:pt x="820" y="668"/>
                  </a:cubicBezTo>
                  <a:cubicBezTo>
                    <a:pt x="823" y="668"/>
                    <a:pt x="824" y="668"/>
                    <a:pt x="824" y="668"/>
                  </a:cubicBezTo>
                  <a:lnTo>
                    <a:pt x="831" y="572"/>
                  </a:lnTo>
                  <a:lnTo>
                    <a:pt x="831" y="572"/>
                  </a:lnTo>
                  <a:cubicBezTo>
                    <a:pt x="831" y="572"/>
                    <a:pt x="821" y="580"/>
                    <a:pt x="793" y="580"/>
                  </a:cubicBezTo>
                  <a:cubicBezTo>
                    <a:pt x="739" y="580"/>
                    <a:pt x="618" y="550"/>
                    <a:pt x="380" y="380"/>
                  </a:cubicBezTo>
                  <a:cubicBezTo>
                    <a:pt x="165" y="23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5" name="Google Shape;5255;p53">
              <a:extLst>
                <a:ext uri="{FF2B5EF4-FFF2-40B4-BE49-F238E27FC236}">
                  <a16:creationId xmlns:a16="http://schemas.microsoft.com/office/drawing/2014/main" id="{F4A43D01-2004-5C20-C0D3-4969F90404AA}"/>
                </a:ext>
              </a:extLst>
            </p:cNvPr>
            <p:cNvSpPr/>
            <p:nvPr/>
          </p:nvSpPr>
          <p:spPr>
            <a:xfrm>
              <a:off x="7517600" y="1556875"/>
              <a:ext cx="110650" cy="107700"/>
            </a:xfrm>
            <a:custGeom>
              <a:avLst/>
              <a:gdLst/>
              <a:ahLst/>
              <a:cxnLst/>
              <a:rect l="l" t="t" r="r" b="b"/>
              <a:pathLst>
                <a:path w="4426" h="4308" extrusionOk="0">
                  <a:moveTo>
                    <a:pt x="2151" y="1"/>
                  </a:moveTo>
                  <a:cubicBezTo>
                    <a:pt x="2073" y="1"/>
                    <a:pt x="1995" y="21"/>
                    <a:pt x="1929" y="62"/>
                  </a:cubicBezTo>
                  <a:cubicBezTo>
                    <a:pt x="1440" y="366"/>
                    <a:pt x="1" y="4307"/>
                    <a:pt x="2151" y="4307"/>
                  </a:cubicBezTo>
                  <a:cubicBezTo>
                    <a:pt x="4425" y="4307"/>
                    <a:pt x="2862" y="366"/>
                    <a:pt x="2373" y="62"/>
                  </a:cubicBezTo>
                  <a:cubicBezTo>
                    <a:pt x="2307" y="21"/>
                    <a:pt x="2229" y="1"/>
                    <a:pt x="2151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6" name="Google Shape;5256;p53">
              <a:extLst>
                <a:ext uri="{FF2B5EF4-FFF2-40B4-BE49-F238E27FC236}">
                  <a16:creationId xmlns:a16="http://schemas.microsoft.com/office/drawing/2014/main" id="{C1B5C1B1-884A-258B-2EC9-37220465D292}"/>
                </a:ext>
              </a:extLst>
            </p:cNvPr>
            <p:cNvSpPr/>
            <p:nvPr/>
          </p:nvSpPr>
          <p:spPr>
            <a:xfrm>
              <a:off x="7517600" y="1558375"/>
              <a:ext cx="53775" cy="106200"/>
            </a:xfrm>
            <a:custGeom>
              <a:avLst/>
              <a:gdLst/>
              <a:ahLst/>
              <a:cxnLst/>
              <a:rect l="l" t="t" r="r" b="b"/>
              <a:pathLst>
                <a:path w="2151" h="4248" extrusionOk="0">
                  <a:moveTo>
                    <a:pt x="1932" y="1"/>
                  </a:moveTo>
                  <a:cubicBezTo>
                    <a:pt x="1931" y="1"/>
                    <a:pt x="1930" y="1"/>
                    <a:pt x="1929" y="2"/>
                  </a:cubicBezTo>
                  <a:cubicBezTo>
                    <a:pt x="1440" y="306"/>
                    <a:pt x="1" y="4247"/>
                    <a:pt x="2151" y="4247"/>
                  </a:cubicBezTo>
                  <a:cubicBezTo>
                    <a:pt x="2151" y="4247"/>
                    <a:pt x="1610" y="4203"/>
                    <a:pt x="1580" y="2663"/>
                  </a:cubicBezTo>
                  <a:cubicBezTo>
                    <a:pt x="1543" y="1142"/>
                    <a:pt x="1985" y="1"/>
                    <a:pt x="1932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7" name="Google Shape;5257;p53">
              <a:extLst>
                <a:ext uri="{FF2B5EF4-FFF2-40B4-BE49-F238E27FC236}">
                  <a16:creationId xmlns:a16="http://schemas.microsoft.com/office/drawing/2014/main" id="{374139F2-0C5E-C01D-209E-25904FCF8088}"/>
                </a:ext>
              </a:extLst>
            </p:cNvPr>
            <p:cNvSpPr/>
            <p:nvPr/>
          </p:nvSpPr>
          <p:spPr>
            <a:xfrm>
              <a:off x="7569675" y="1605800"/>
              <a:ext cx="7800" cy="74550"/>
            </a:xfrm>
            <a:custGeom>
              <a:avLst/>
              <a:gdLst/>
              <a:ahLst/>
              <a:cxnLst/>
              <a:rect l="l" t="t" r="r" b="b"/>
              <a:pathLst>
                <a:path w="312" h="2982" extrusionOk="0">
                  <a:moveTo>
                    <a:pt x="159" y="0"/>
                  </a:moveTo>
                  <a:cubicBezTo>
                    <a:pt x="158" y="0"/>
                    <a:pt x="157" y="4"/>
                    <a:pt x="157" y="17"/>
                  </a:cubicBezTo>
                  <a:lnTo>
                    <a:pt x="0" y="2981"/>
                  </a:lnTo>
                  <a:lnTo>
                    <a:pt x="312" y="2981"/>
                  </a:lnTo>
                  <a:cubicBezTo>
                    <a:pt x="304" y="1713"/>
                    <a:pt x="185" y="17"/>
                    <a:pt x="164" y="17"/>
                  </a:cubicBezTo>
                  <a:cubicBezTo>
                    <a:pt x="164" y="17"/>
                    <a:pt x="161" y="0"/>
                    <a:pt x="159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8" name="Google Shape;5258;p53">
              <a:extLst>
                <a:ext uri="{FF2B5EF4-FFF2-40B4-BE49-F238E27FC236}">
                  <a16:creationId xmlns:a16="http://schemas.microsoft.com/office/drawing/2014/main" id="{0AFB89A2-EBAE-CAC2-B20E-C615009F8641}"/>
                </a:ext>
              </a:extLst>
            </p:cNvPr>
            <p:cNvSpPr/>
            <p:nvPr/>
          </p:nvSpPr>
          <p:spPr>
            <a:xfrm>
              <a:off x="7552650" y="1632125"/>
              <a:ext cx="20950" cy="17100"/>
            </a:xfrm>
            <a:custGeom>
              <a:avLst/>
              <a:gdLst/>
              <a:ahLst/>
              <a:cxnLst/>
              <a:rect l="l" t="t" r="r" b="b"/>
              <a:pathLst>
                <a:path w="838" h="684" extrusionOk="0">
                  <a:moveTo>
                    <a:pt x="0" y="1"/>
                  </a:moveTo>
                  <a:lnTo>
                    <a:pt x="0" y="1"/>
                  </a:lnTo>
                  <a:cubicBezTo>
                    <a:pt x="406" y="665"/>
                    <a:pt x="785" y="684"/>
                    <a:pt x="827" y="684"/>
                  </a:cubicBezTo>
                  <a:cubicBezTo>
                    <a:pt x="829" y="684"/>
                    <a:pt x="831" y="684"/>
                    <a:pt x="831" y="684"/>
                  </a:cubicBezTo>
                  <a:lnTo>
                    <a:pt x="838" y="586"/>
                  </a:lnTo>
                  <a:lnTo>
                    <a:pt x="838" y="586"/>
                  </a:lnTo>
                  <a:cubicBezTo>
                    <a:pt x="838" y="586"/>
                    <a:pt x="830" y="592"/>
                    <a:pt x="806" y="592"/>
                  </a:cubicBezTo>
                  <a:cubicBezTo>
                    <a:pt x="757" y="592"/>
                    <a:pt x="639" y="564"/>
                    <a:pt x="386" y="387"/>
                  </a:cubicBezTo>
                  <a:cubicBezTo>
                    <a:pt x="164" y="23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9" name="Google Shape;5259;p53">
              <a:extLst>
                <a:ext uri="{FF2B5EF4-FFF2-40B4-BE49-F238E27FC236}">
                  <a16:creationId xmlns:a16="http://schemas.microsoft.com/office/drawing/2014/main" id="{B7BECDBD-E12A-9ECF-436A-14489E4D2C5F}"/>
                </a:ext>
              </a:extLst>
            </p:cNvPr>
            <p:cNvSpPr/>
            <p:nvPr/>
          </p:nvSpPr>
          <p:spPr>
            <a:xfrm>
              <a:off x="7573575" y="1627500"/>
              <a:ext cx="18000" cy="14475"/>
            </a:xfrm>
            <a:custGeom>
              <a:avLst/>
              <a:gdLst/>
              <a:ahLst/>
              <a:cxnLst/>
              <a:rect l="l" t="t" r="r" b="b"/>
              <a:pathLst>
                <a:path w="720" h="579" extrusionOk="0">
                  <a:moveTo>
                    <a:pt x="719" y="1"/>
                  </a:moveTo>
                  <a:cubicBezTo>
                    <a:pt x="719" y="1"/>
                    <a:pt x="579" y="193"/>
                    <a:pt x="394" y="326"/>
                  </a:cubicBezTo>
                  <a:cubicBezTo>
                    <a:pt x="184" y="472"/>
                    <a:pt x="81" y="497"/>
                    <a:pt x="34" y="497"/>
                  </a:cubicBezTo>
                  <a:cubicBezTo>
                    <a:pt x="10" y="497"/>
                    <a:pt x="1" y="490"/>
                    <a:pt x="1" y="490"/>
                  </a:cubicBezTo>
                  <a:lnTo>
                    <a:pt x="1" y="490"/>
                  </a:lnTo>
                  <a:lnTo>
                    <a:pt x="8" y="579"/>
                  </a:lnTo>
                  <a:cubicBezTo>
                    <a:pt x="8" y="579"/>
                    <a:pt x="9" y="579"/>
                    <a:pt x="10" y="579"/>
                  </a:cubicBezTo>
                  <a:cubicBezTo>
                    <a:pt x="39" y="579"/>
                    <a:pt x="366" y="566"/>
                    <a:pt x="71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0" name="Google Shape;5260;p53">
              <a:extLst>
                <a:ext uri="{FF2B5EF4-FFF2-40B4-BE49-F238E27FC236}">
                  <a16:creationId xmlns:a16="http://schemas.microsoft.com/office/drawing/2014/main" id="{61497DCD-1AB2-53BF-B47A-3103A8A27113}"/>
                </a:ext>
              </a:extLst>
            </p:cNvPr>
            <p:cNvSpPr/>
            <p:nvPr/>
          </p:nvSpPr>
          <p:spPr>
            <a:xfrm>
              <a:off x="7559125" y="1617150"/>
              <a:ext cx="14475" cy="11675"/>
            </a:xfrm>
            <a:custGeom>
              <a:avLst/>
              <a:gdLst/>
              <a:ahLst/>
              <a:cxnLst/>
              <a:rect l="l" t="t" r="r" b="b"/>
              <a:pathLst>
                <a:path w="579" h="467" extrusionOk="0">
                  <a:moveTo>
                    <a:pt x="1" y="0"/>
                  </a:moveTo>
                  <a:lnTo>
                    <a:pt x="1" y="0"/>
                  </a:lnTo>
                  <a:cubicBezTo>
                    <a:pt x="296" y="460"/>
                    <a:pt x="563" y="466"/>
                    <a:pt x="578" y="466"/>
                  </a:cubicBezTo>
                  <a:cubicBezTo>
                    <a:pt x="579" y="466"/>
                    <a:pt x="579" y="466"/>
                    <a:pt x="579" y="466"/>
                  </a:cubicBezTo>
                  <a:lnTo>
                    <a:pt x="579" y="393"/>
                  </a:lnTo>
                  <a:cubicBezTo>
                    <a:pt x="579" y="393"/>
                    <a:pt x="571" y="400"/>
                    <a:pt x="550" y="400"/>
                  </a:cubicBezTo>
                  <a:cubicBezTo>
                    <a:pt x="511" y="400"/>
                    <a:pt x="429" y="379"/>
                    <a:pt x="268" y="260"/>
                  </a:cubicBezTo>
                  <a:cubicBezTo>
                    <a:pt x="118" y="15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1" name="Google Shape;5261;p53">
              <a:extLst>
                <a:ext uri="{FF2B5EF4-FFF2-40B4-BE49-F238E27FC236}">
                  <a16:creationId xmlns:a16="http://schemas.microsoft.com/office/drawing/2014/main" id="{85469643-7B48-90C1-F6E8-B5AE12423D86}"/>
                </a:ext>
              </a:extLst>
            </p:cNvPr>
            <p:cNvSpPr/>
            <p:nvPr/>
          </p:nvSpPr>
          <p:spPr>
            <a:xfrm>
              <a:off x="7639875" y="1540475"/>
              <a:ext cx="120475" cy="117250"/>
            </a:xfrm>
            <a:custGeom>
              <a:avLst/>
              <a:gdLst/>
              <a:ahLst/>
              <a:cxnLst/>
              <a:rect l="l" t="t" r="r" b="b"/>
              <a:pathLst>
                <a:path w="4819" h="4690" extrusionOk="0">
                  <a:moveTo>
                    <a:pt x="2476" y="1"/>
                  </a:moveTo>
                  <a:cubicBezTo>
                    <a:pt x="2391" y="1"/>
                    <a:pt x="2306" y="25"/>
                    <a:pt x="2232" y="73"/>
                  </a:cubicBezTo>
                  <a:cubicBezTo>
                    <a:pt x="1699" y="407"/>
                    <a:pt x="0" y="4689"/>
                    <a:pt x="2476" y="4689"/>
                  </a:cubicBezTo>
                  <a:cubicBezTo>
                    <a:pt x="4818" y="4689"/>
                    <a:pt x="3255" y="407"/>
                    <a:pt x="2721" y="73"/>
                  </a:cubicBezTo>
                  <a:cubicBezTo>
                    <a:pt x="2647" y="25"/>
                    <a:pt x="2561" y="1"/>
                    <a:pt x="2476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2" name="Google Shape;5262;p53">
              <a:extLst>
                <a:ext uri="{FF2B5EF4-FFF2-40B4-BE49-F238E27FC236}">
                  <a16:creationId xmlns:a16="http://schemas.microsoft.com/office/drawing/2014/main" id="{02BB30BD-3973-7F12-4377-D69B6F549A86}"/>
                </a:ext>
              </a:extLst>
            </p:cNvPr>
            <p:cNvSpPr/>
            <p:nvPr/>
          </p:nvSpPr>
          <p:spPr>
            <a:xfrm>
              <a:off x="7641750" y="1545575"/>
              <a:ext cx="56350" cy="111425"/>
            </a:xfrm>
            <a:custGeom>
              <a:avLst/>
              <a:gdLst/>
              <a:ahLst/>
              <a:cxnLst/>
              <a:rect l="l" t="t" r="r" b="b"/>
              <a:pathLst>
                <a:path w="2254" h="4457" extrusionOk="0">
                  <a:moveTo>
                    <a:pt x="2028" y="0"/>
                  </a:moveTo>
                  <a:cubicBezTo>
                    <a:pt x="2027" y="0"/>
                    <a:pt x="2025" y="1"/>
                    <a:pt x="2024" y="2"/>
                  </a:cubicBezTo>
                  <a:cubicBezTo>
                    <a:pt x="1505" y="322"/>
                    <a:pt x="0" y="4457"/>
                    <a:pt x="2253" y="4457"/>
                  </a:cubicBezTo>
                  <a:cubicBezTo>
                    <a:pt x="2253" y="4457"/>
                    <a:pt x="1690" y="4412"/>
                    <a:pt x="1652" y="2796"/>
                  </a:cubicBezTo>
                  <a:cubicBezTo>
                    <a:pt x="1616" y="1200"/>
                    <a:pt x="2077" y="0"/>
                    <a:pt x="202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3" name="Google Shape;5263;p53">
              <a:extLst>
                <a:ext uri="{FF2B5EF4-FFF2-40B4-BE49-F238E27FC236}">
                  <a16:creationId xmlns:a16="http://schemas.microsoft.com/office/drawing/2014/main" id="{CD2E151A-537A-198C-131C-4F8552121C58}"/>
                </a:ext>
              </a:extLst>
            </p:cNvPr>
            <p:cNvSpPr/>
            <p:nvPr/>
          </p:nvSpPr>
          <p:spPr>
            <a:xfrm>
              <a:off x="7696200" y="1601350"/>
              <a:ext cx="8175" cy="79525"/>
            </a:xfrm>
            <a:custGeom>
              <a:avLst/>
              <a:gdLst/>
              <a:ahLst/>
              <a:cxnLst/>
              <a:rect l="l" t="t" r="r" b="b"/>
              <a:pathLst>
                <a:path w="327" h="3181" extrusionOk="0">
                  <a:moveTo>
                    <a:pt x="166" y="0"/>
                  </a:moveTo>
                  <a:cubicBezTo>
                    <a:pt x="165" y="0"/>
                    <a:pt x="164" y="5"/>
                    <a:pt x="164" y="17"/>
                  </a:cubicBezTo>
                  <a:lnTo>
                    <a:pt x="1" y="3181"/>
                  </a:lnTo>
                  <a:cubicBezTo>
                    <a:pt x="13" y="3178"/>
                    <a:pt x="49" y="3178"/>
                    <a:pt x="94" y="3178"/>
                  </a:cubicBezTo>
                  <a:cubicBezTo>
                    <a:pt x="182" y="3178"/>
                    <a:pt x="302" y="3181"/>
                    <a:pt x="326" y="3181"/>
                  </a:cubicBezTo>
                  <a:cubicBezTo>
                    <a:pt x="319" y="1826"/>
                    <a:pt x="193" y="17"/>
                    <a:pt x="171" y="17"/>
                  </a:cubicBezTo>
                  <a:cubicBezTo>
                    <a:pt x="171" y="17"/>
                    <a:pt x="168" y="0"/>
                    <a:pt x="166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4" name="Google Shape;5264;p53">
              <a:extLst>
                <a:ext uri="{FF2B5EF4-FFF2-40B4-BE49-F238E27FC236}">
                  <a16:creationId xmlns:a16="http://schemas.microsoft.com/office/drawing/2014/main" id="{8094AAB1-5F78-71C5-96E6-11915BC9FE07}"/>
                </a:ext>
              </a:extLst>
            </p:cNvPr>
            <p:cNvSpPr/>
            <p:nvPr/>
          </p:nvSpPr>
          <p:spPr>
            <a:xfrm>
              <a:off x="7677875" y="1629375"/>
              <a:ext cx="22450" cy="18175"/>
            </a:xfrm>
            <a:custGeom>
              <a:avLst/>
              <a:gdLst/>
              <a:ahLst/>
              <a:cxnLst/>
              <a:rect l="l" t="t" r="r" b="b"/>
              <a:pathLst>
                <a:path w="898" h="727" extrusionOk="0">
                  <a:moveTo>
                    <a:pt x="1" y="0"/>
                  </a:moveTo>
                  <a:lnTo>
                    <a:pt x="1" y="0"/>
                  </a:lnTo>
                  <a:cubicBezTo>
                    <a:pt x="433" y="706"/>
                    <a:pt x="840" y="726"/>
                    <a:pt x="886" y="726"/>
                  </a:cubicBezTo>
                  <a:cubicBezTo>
                    <a:pt x="889" y="726"/>
                    <a:pt x="890" y="726"/>
                    <a:pt x="890" y="726"/>
                  </a:cubicBezTo>
                  <a:lnTo>
                    <a:pt x="897" y="623"/>
                  </a:lnTo>
                  <a:lnTo>
                    <a:pt x="897" y="623"/>
                  </a:lnTo>
                  <a:cubicBezTo>
                    <a:pt x="897" y="623"/>
                    <a:pt x="888" y="630"/>
                    <a:pt x="862" y="630"/>
                  </a:cubicBezTo>
                  <a:cubicBezTo>
                    <a:pt x="807" y="630"/>
                    <a:pt x="678" y="600"/>
                    <a:pt x="408" y="415"/>
                  </a:cubicBezTo>
                  <a:cubicBezTo>
                    <a:pt x="179" y="25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5" name="Google Shape;5265;p53">
              <a:extLst>
                <a:ext uri="{FF2B5EF4-FFF2-40B4-BE49-F238E27FC236}">
                  <a16:creationId xmlns:a16="http://schemas.microsoft.com/office/drawing/2014/main" id="{60EFBD2C-0B1E-E58E-927F-FC10DC8C741D}"/>
                </a:ext>
              </a:extLst>
            </p:cNvPr>
            <p:cNvSpPr/>
            <p:nvPr/>
          </p:nvSpPr>
          <p:spPr>
            <a:xfrm>
              <a:off x="7700300" y="162435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1"/>
                    <a:pt x="615" y="209"/>
                    <a:pt x="415" y="349"/>
                  </a:cubicBezTo>
                  <a:cubicBezTo>
                    <a:pt x="192" y="507"/>
                    <a:pt x="82" y="533"/>
                    <a:pt x="33" y="533"/>
                  </a:cubicBezTo>
                  <a:cubicBezTo>
                    <a:pt x="9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9" y="616"/>
                    <a:pt x="12" y="616"/>
                  </a:cubicBezTo>
                  <a:cubicBezTo>
                    <a:pt x="56" y="616"/>
                    <a:pt x="397" y="596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6" name="Google Shape;5266;p53">
              <a:extLst>
                <a:ext uri="{FF2B5EF4-FFF2-40B4-BE49-F238E27FC236}">
                  <a16:creationId xmlns:a16="http://schemas.microsoft.com/office/drawing/2014/main" id="{C7FBE7C0-40FD-5DC2-F6F9-F409DB986C65}"/>
                </a:ext>
              </a:extLst>
            </p:cNvPr>
            <p:cNvSpPr/>
            <p:nvPr/>
          </p:nvSpPr>
          <p:spPr>
            <a:xfrm>
              <a:off x="7684900" y="1613225"/>
              <a:ext cx="15425" cy="12650"/>
            </a:xfrm>
            <a:custGeom>
              <a:avLst/>
              <a:gdLst/>
              <a:ahLst/>
              <a:cxnLst/>
              <a:rect l="l" t="t" r="r" b="b"/>
              <a:pathLst>
                <a:path w="617" h="506" extrusionOk="0">
                  <a:moveTo>
                    <a:pt x="1" y="1"/>
                  </a:moveTo>
                  <a:lnTo>
                    <a:pt x="1" y="1"/>
                  </a:lnTo>
                  <a:cubicBezTo>
                    <a:pt x="303" y="493"/>
                    <a:pt x="579" y="506"/>
                    <a:pt x="607" y="506"/>
                  </a:cubicBezTo>
                  <a:cubicBezTo>
                    <a:pt x="608" y="506"/>
                    <a:pt x="609" y="506"/>
                    <a:pt x="609" y="506"/>
                  </a:cubicBezTo>
                  <a:lnTo>
                    <a:pt x="616" y="431"/>
                  </a:lnTo>
                  <a:lnTo>
                    <a:pt x="616" y="431"/>
                  </a:lnTo>
                  <a:cubicBezTo>
                    <a:pt x="616" y="431"/>
                    <a:pt x="610" y="436"/>
                    <a:pt x="593" y="436"/>
                  </a:cubicBezTo>
                  <a:cubicBezTo>
                    <a:pt x="557" y="436"/>
                    <a:pt x="469" y="415"/>
                    <a:pt x="282" y="284"/>
                  </a:cubicBezTo>
                  <a:cubicBezTo>
                    <a:pt x="127" y="17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7" name="Google Shape;5267;p53">
              <a:extLst>
                <a:ext uri="{FF2B5EF4-FFF2-40B4-BE49-F238E27FC236}">
                  <a16:creationId xmlns:a16="http://schemas.microsoft.com/office/drawing/2014/main" id="{91A993D5-27FD-3B1D-9B82-DBB1ACC5BFA7}"/>
                </a:ext>
              </a:extLst>
            </p:cNvPr>
            <p:cNvSpPr/>
            <p:nvPr/>
          </p:nvSpPr>
          <p:spPr>
            <a:xfrm>
              <a:off x="7421675" y="1540075"/>
              <a:ext cx="120425" cy="117100"/>
            </a:xfrm>
            <a:custGeom>
              <a:avLst/>
              <a:gdLst/>
              <a:ahLst/>
              <a:cxnLst/>
              <a:rect l="l" t="t" r="r" b="b"/>
              <a:pathLst>
                <a:path w="4817" h="4684" extrusionOk="0">
                  <a:moveTo>
                    <a:pt x="2475" y="1"/>
                  </a:moveTo>
                  <a:cubicBezTo>
                    <a:pt x="2390" y="1"/>
                    <a:pt x="2305" y="23"/>
                    <a:pt x="2230" y="67"/>
                  </a:cubicBezTo>
                  <a:cubicBezTo>
                    <a:pt x="1704" y="400"/>
                    <a:pt x="0" y="4684"/>
                    <a:pt x="2476" y="4684"/>
                  </a:cubicBezTo>
                  <a:cubicBezTo>
                    <a:pt x="4816" y="4684"/>
                    <a:pt x="3253" y="400"/>
                    <a:pt x="2719" y="67"/>
                  </a:cubicBezTo>
                  <a:cubicBezTo>
                    <a:pt x="2646" y="23"/>
                    <a:pt x="2561" y="1"/>
                    <a:pt x="2475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8" name="Google Shape;5268;p53">
              <a:extLst>
                <a:ext uri="{FF2B5EF4-FFF2-40B4-BE49-F238E27FC236}">
                  <a16:creationId xmlns:a16="http://schemas.microsoft.com/office/drawing/2014/main" id="{AD471961-8053-7DD3-47C7-BBB592B985C3}"/>
                </a:ext>
              </a:extLst>
            </p:cNvPr>
            <p:cNvSpPr/>
            <p:nvPr/>
          </p:nvSpPr>
          <p:spPr>
            <a:xfrm>
              <a:off x="7423525" y="1545050"/>
              <a:ext cx="56550" cy="111550"/>
            </a:xfrm>
            <a:custGeom>
              <a:avLst/>
              <a:gdLst/>
              <a:ahLst/>
              <a:cxnLst/>
              <a:rect l="l" t="t" r="r" b="b"/>
              <a:pathLst>
                <a:path w="2262" h="4462" extrusionOk="0">
                  <a:moveTo>
                    <a:pt x="2027" y="0"/>
                  </a:moveTo>
                  <a:cubicBezTo>
                    <a:pt x="2026" y="0"/>
                    <a:pt x="2024" y="1"/>
                    <a:pt x="2023" y="2"/>
                  </a:cubicBezTo>
                  <a:cubicBezTo>
                    <a:pt x="1512" y="327"/>
                    <a:pt x="1" y="4462"/>
                    <a:pt x="2261" y="4462"/>
                  </a:cubicBezTo>
                  <a:cubicBezTo>
                    <a:pt x="2261" y="4462"/>
                    <a:pt x="1690" y="4410"/>
                    <a:pt x="1653" y="2795"/>
                  </a:cubicBezTo>
                  <a:cubicBezTo>
                    <a:pt x="1623" y="1194"/>
                    <a:pt x="2088" y="0"/>
                    <a:pt x="2027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9" name="Google Shape;5269;p53">
              <a:extLst>
                <a:ext uri="{FF2B5EF4-FFF2-40B4-BE49-F238E27FC236}">
                  <a16:creationId xmlns:a16="http://schemas.microsoft.com/office/drawing/2014/main" id="{DACF8FC1-661F-6A81-7D55-6F71107019C5}"/>
                </a:ext>
              </a:extLst>
            </p:cNvPr>
            <p:cNvSpPr/>
            <p:nvPr/>
          </p:nvSpPr>
          <p:spPr>
            <a:xfrm>
              <a:off x="7478000" y="1600800"/>
              <a:ext cx="8325" cy="79550"/>
            </a:xfrm>
            <a:custGeom>
              <a:avLst/>
              <a:gdLst/>
              <a:ahLst/>
              <a:cxnLst/>
              <a:rect l="l" t="t" r="r" b="b"/>
              <a:pathLst>
                <a:path w="333" h="3182" extrusionOk="0">
                  <a:moveTo>
                    <a:pt x="165" y="0"/>
                  </a:moveTo>
                  <a:cubicBezTo>
                    <a:pt x="163" y="0"/>
                    <a:pt x="162" y="4"/>
                    <a:pt x="162" y="16"/>
                  </a:cubicBezTo>
                  <a:lnTo>
                    <a:pt x="0" y="3181"/>
                  </a:lnTo>
                  <a:lnTo>
                    <a:pt x="333" y="3181"/>
                  </a:lnTo>
                  <a:cubicBezTo>
                    <a:pt x="319" y="1825"/>
                    <a:pt x="200" y="16"/>
                    <a:pt x="171" y="16"/>
                  </a:cubicBezTo>
                  <a:cubicBezTo>
                    <a:pt x="171" y="16"/>
                    <a:pt x="167" y="0"/>
                    <a:pt x="165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0" name="Google Shape;5270;p53">
              <a:extLst>
                <a:ext uri="{FF2B5EF4-FFF2-40B4-BE49-F238E27FC236}">
                  <a16:creationId xmlns:a16="http://schemas.microsoft.com/office/drawing/2014/main" id="{884645A4-F0A2-755F-D19B-5BEBFCC7E10F}"/>
                </a:ext>
              </a:extLst>
            </p:cNvPr>
            <p:cNvSpPr/>
            <p:nvPr/>
          </p:nvSpPr>
          <p:spPr>
            <a:xfrm>
              <a:off x="7459625" y="1628975"/>
              <a:ext cx="22675" cy="18200"/>
            </a:xfrm>
            <a:custGeom>
              <a:avLst/>
              <a:gdLst/>
              <a:ahLst/>
              <a:cxnLst/>
              <a:rect l="l" t="t" r="r" b="b"/>
              <a:pathLst>
                <a:path w="907" h="728" extrusionOk="0">
                  <a:moveTo>
                    <a:pt x="1" y="0"/>
                  </a:moveTo>
                  <a:cubicBezTo>
                    <a:pt x="443" y="709"/>
                    <a:pt x="844" y="728"/>
                    <a:pt x="886" y="728"/>
                  </a:cubicBezTo>
                  <a:cubicBezTo>
                    <a:pt x="889" y="728"/>
                    <a:pt x="890" y="728"/>
                    <a:pt x="890" y="728"/>
                  </a:cubicBezTo>
                  <a:lnTo>
                    <a:pt x="906" y="623"/>
                  </a:lnTo>
                  <a:lnTo>
                    <a:pt x="906" y="623"/>
                  </a:lnTo>
                  <a:cubicBezTo>
                    <a:pt x="906" y="623"/>
                    <a:pt x="896" y="630"/>
                    <a:pt x="868" y="630"/>
                  </a:cubicBezTo>
                  <a:cubicBezTo>
                    <a:pt x="812" y="630"/>
                    <a:pt x="681" y="599"/>
                    <a:pt x="417" y="409"/>
                  </a:cubicBezTo>
                  <a:cubicBezTo>
                    <a:pt x="186" y="246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1" name="Google Shape;5271;p53">
              <a:extLst>
                <a:ext uri="{FF2B5EF4-FFF2-40B4-BE49-F238E27FC236}">
                  <a16:creationId xmlns:a16="http://schemas.microsoft.com/office/drawing/2014/main" id="{D524CEB8-BEE7-8D78-5139-E806559E8792}"/>
                </a:ext>
              </a:extLst>
            </p:cNvPr>
            <p:cNvSpPr/>
            <p:nvPr/>
          </p:nvSpPr>
          <p:spPr>
            <a:xfrm>
              <a:off x="7482275" y="162400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0"/>
                    <a:pt x="606" y="208"/>
                    <a:pt x="414" y="342"/>
                  </a:cubicBezTo>
                  <a:cubicBezTo>
                    <a:pt x="184" y="506"/>
                    <a:pt x="76" y="533"/>
                    <a:pt x="30" y="533"/>
                  </a:cubicBezTo>
                  <a:cubicBezTo>
                    <a:pt x="8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8" y="616"/>
                    <a:pt x="9" y="616"/>
                  </a:cubicBezTo>
                  <a:cubicBezTo>
                    <a:pt x="39" y="616"/>
                    <a:pt x="387" y="603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2" name="Google Shape;5272;p53">
              <a:extLst>
                <a:ext uri="{FF2B5EF4-FFF2-40B4-BE49-F238E27FC236}">
                  <a16:creationId xmlns:a16="http://schemas.microsoft.com/office/drawing/2014/main" id="{55A5689A-A5FC-EB8E-1C88-786C041E52EB}"/>
                </a:ext>
              </a:extLst>
            </p:cNvPr>
            <p:cNvSpPr/>
            <p:nvPr/>
          </p:nvSpPr>
          <p:spPr>
            <a:xfrm>
              <a:off x="7466700" y="1612875"/>
              <a:ext cx="15600" cy="12425"/>
            </a:xfrm>
            <a:custGeom>
              <a:avLst/>
              <a:gdLst/>
              <a:ahLst/>
              <a:cxnLst/>
              <a:rect l="l" t="t" r="r" b="b"/>
              <a:pathLst>
                <a:path w="624" h="497" extrusionOk="0">
                  <a:moveTo>
                    <a:pt x="1" y="1"/>
                  </a:moveTo>
                  <a:cubicBezTo>
                    <a:pt x="302" y="484"/>
                    <a:pt x="583" y="497"/>
                    <a:pt x="612" y="497"/>
                  </a:cubicBezTo>
                  <a:cubicBezTo>
                    <a:pt x="613" y="497"/>
                    <a:pt x="614" y="497"/>
                    <a:pt x="614" y="497"/>
                  </a:cubicBezTo>
                  <a:lnTo>
                    <a:pt x="623" y="422"/>
                  </a:lnTo>
                  <a:lnTo>
                    <a:pt x="623" y="422"/>
                  </a:lnTo>
                  <a:cubicBezTo>
                    <a:pt x="623" y="422"/>
                    <a:pt x="615" y="429"/>
                    <a:pt x="591" y="429"/>
                  </a:cubicBezTo>
                  <a:cubicBezTo>
                    <a:pt x="549" y="429"/>
                    <a:pt x="458" y="407"/>
                    <a:pt x="282" y="282"/>
                  </a:cubicBezTo>
                  <a:cubicBezTo>
                    <a:pt x="125" y="17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3" name="Google Shape;5273;p53">
              <a:extLst>
                <a:ext uri="{FF2B5EF4-FFF2-40B4-BE49-F238E27FC236}">
                  <a16:creationId xmlns:a16="http://schemas.microsoft.com/office/drawing/2014/main" id="{CC7BD073-82DE-08E0-8098-E96FB37AA257}"/>
                </a:ext>
              </a:extLst>
            </p:cNvPr>
            <p:cNvSpPr/>
            <p:nvPr/>
          </p:nvSpPr>
          <p:spPr>
            <a:xfrm>
              <a:off x="7454475" y="1518300"/>
              <a:ext cx="141725" cy="137775"/>
            </a:xfrm>
            <a:custGeom>
              <a:avLst/>
              <a:gdLst/>
              <a:ahLst/>
              <a:cxnLst/>
              <a:rect l="l" t="t" r="r" b="b"/>
              <a:pathLst>
                <a:path w="5669" h="5511" extrusionOk="0">
                  <a:moveTo>
                    <a:pt x="2909" y="1"/>
                  </a:moveTo>
                  <a:cubicBezTo>
                    <a:pt x="2808" y="1"/>
                    <a:pt x="2708" y="27"/>
                    <a:pt x="2624" y="79"/>
                  </a:cubicBezTo>
                  <a:cubicBezTo>
                    <a:pt x="2001" y="471"/>
                    <a:pt x="1" y="5510"/>
                    <a:pt x="2912" y="5510"/>
                  </a:cubicBezTo>
                  <a:cubicBezTo>
                    <a:pt x="5668" y="5510"/>
                    <a:pt x="3824" y="471"/>
                    <a:pt x="3202" y="79"/>
                  </a:cubicBezTo>
                  <a:cubicBezTo>
                    <a:pt x="3113" y="27"/>
                    <a:pt x="3011" y="1"/>
                    <a:pt x="2909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4" name="Google Shape;5274;p53">
              <a:extLst>
                <a:ext uri="{FF2B5EF4-FFF2-40B4-BE49-F238E27FC236}">
                  <a16:creationId xmlns:a16="http://schemas.microsoft.com/office/drawing/2014/main" id="{748A3D2E-C3B9-96B2-FF77-90FB249DF258}"/>
                </a:ext>
              </a:extLst>
            </p:cNvPr>
            <p:cNvSpPr/>
            <p:nvPr/>
          </p:nvSpPr>
          <p:spPr>
            <a:xfrm>
              <a:off x="7457225" y="1524100"/>
              <a:ext cx="67075" cy="132500"/>
            </a:xfrm>
            <a:custGeom>
              <a:avLst/>
              <a:gdLst/>
              <a:ahLst/>
              <a:cxnLst/>
              <a:rect l="l" t="t" r="r" b="b"/>
              <a:pathLst>
                <a:path w="2683" h="5300" extrusionOk="0">
                  <a:moveTo>
                    <a:pt x="2413" y="1"/>
                  </a:moveTo>
                  <a:cubicBezTo>
                    <a:pt x="2412" y="1"/>
                    <a:pt x="2410" y="1"/>
                    <a:pt x="2409" y="2"/>
                  </a:cubicBezTo>
                  <a:cubicBezTo>
                    <a:pt x="1793" y="388"/>
                    <a:pt x="1" y="5300"/>
                    <a:pt x="2683" y="5300"/>
                  </a:cubicBezTo>
                  <a:cubicBezTo>
                    <a:pt x="2683" y="5300"/>
                    <a:pt x="2009" y="5241"/>
                    <a:pt x="1971" y="3322"/>
                  </a:cubicBezTo>
                  <a:cubicBezTo>
                    <a:pt x="1928" y="1421"/>
                    <a:pt x="2478" y="1"/>
                    <a:pt x="2413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5" name="Google Shape;5275;p53">
              <a:extLst>
                <a:ext uri="{FF2B5EF4-FFF2-40B4-BE49-F238E27FC236}">
                  <a16:creationId xmlns:a16="http://schemas.microsoft.com/office/drawing/2014/main" id="{12B0796A-593B-440E-5688-47EBAA36D8BA}"/>
                </a:ext>
              </a:extLst>
            </p:cNvPr>
            <p:cNvSpPr/>
            <p:nvPr/>
          </p:nvSpPr>
          <p:spPr>
            <a:xfrm>
              <a:off x="7521700" y="1591900"/>
              <a:ext cx="9275" cy="88450"/>
            </a:xfrm>
            <a:custGeom>
              <a:avLst/>
              <a:gdLst/>
              <a:ahLst/>
              <a:cxnLst/>
              <a:rect l="l" t="t" r="r" b="b"/>
              <a:pathLst>
                <a:path w="371" h="3538" extrusionOk="0">
                  <a:moveTo>
                    <a:pt x="187" y="0"/>
                  </a:moveTo>
                  <a:cubicBezTo>
                    <a:pt x="186" y="0"/>
                    <a:pt x="185" y="4"/>
                    <a:pt x="185" y="16"/>
                  </a:cubicBezTo>
                  <a:lnTo>
                    <a:pt x="1" y="3537"/>
                  </a:lnTo>
                  <a:lnTo>
                    <a:pt x="370" y="3537"/>
                  </a:lnTo>
                  <a:cubicBezTo>
                    <a:pt x="356" y="2033"/>
                    <a:pt x="223" y="16"/>
                    <a:pt x="193" y="16"/>
                  </a:cubicBezTo>
                  <a:cubicBezTo>
                    <a:pt x="193" y="16"/>
                    <a:pt x="189" y="0"/>
                    <a:pt x="18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6" name="Google Shape;5276;p53">
              <a:extLst>
                <a:ext uri="{FF2B5EF4-FFF2-40B4-BE49-F238E27FC236}">
                  <a16:creationId xmlns:a16="http://schemas.microsoft.com/office/drawing/2014/main" id="{B6FD514F-9E20-CD40-1FA6-4F6243A2C990}"/>
                </a:ext>
              </a:extLst>
            </p:cNvPr>
            <p:cNvSpPr/>
            <p:nvPr/>
          </p:nvSpPr>
          <p:spPr>
            <a:xfrm>
              <a:off x="7501525" y="1623250"/>
              <a:ext cx="25000" cy="20200"/>
            </a:xfrm>
            <a:custGeom>
              <a:avLst/>
              <a:gdLst/>
              <a:ahLst/>
              <a:cxnLst/>
              <a:rect l="l" t="t" r="r" b="b"/>
              <a:pathLst>
                <a:path w="1000" h="808" extrusionOk="0">
                  <a:moveTo>
                    <a:pt x="0" y="0"/>
                  </a:moveTo>
                  <a:lnTo>
                    <a:pt x="0" y="0"/>
                  </a:lnTo>
                  <a:cubicBezTo>
                    <a:pt x="484" y="787"/>
                    <a:pt x="935" y="807"/>
                    <a:pt x="981" y="807"/>
                  </a:cubicBezTo>
                  <a:cubicBezTo>
                    <a:pt x="984" y="807"/>
                    <a:pt x="985" y="807"/>
                    <a:pt x="985" y="807"/>
                  </a:cubicBezTo>
                  <a:lnTo>
                    <a:pt x="1000" y="690"/>
                  </a:lnTo>
                  <a:lnTo>
                    <a:pt x="1000" y="690"/>
                  </a:lnTo>
                  <a:cubicBezTo>
                    <a:pt x="1000" y="690"/>
                    <a:pt x="989" y="697"/>
                    <a:pt x="960" y="697"/>
                  </a:cubicBezTo>
                  <a:cubicBezTo>
                    <a:pt x="899" y="697"/>
                    <a:pt x="755" y="664"/>
                    <a:pt x="452" y="452"/>
                  </a:cubicBezTo>
                  <a:cubicBezTo>
                    <a:pt x="199" y="27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7" name="Google Shape;5277;p53">
              <a:extLst>
                <a:ext uri="{FF2B5EF4-FFF2-40B4-BE49-F238E27FC236}">
                  <a16:creationId xmlns:a16="http://schemas.microsoft.com/office/drawing/2014/main" id="{CA87FA3C-097D-E386-25AC-AAD706CD5AC0}"/>
                </a:ext>
              </a:extLst>
            </p:cNvPr>
            <p:cNvSpPr/>
            <p:nvPr/>
          </p:nvSpPr>
          <p:spPr>
            <a:xfrm>
              <a:off x="7526500" y="1617675"/>
              <a:ext cx="21150" cy="17100"/>
            </a:xfrm>
            <a:custGeom>
              <a:avLst/>
              <a:gdLst/>
              <a:ahLst/>
              <a:cxnLst/>
              <a:rect l="l" t="t" r="r" b="b"/>
              <a:pathLst>
                <a:path w="846" h="684" extrusionOk="0">
                  <a:moveTo>
                    <a:pt x="845" y="1"/>
                  </a:moveTo>
                  <a:cubicBezTo>
                    <a:pt x="845" y="1"/>
                    <a:pt x="676" y="230"/>
                    <a:pt x="461" y="387"/>
                  </a:cubicBezTo>
                  <a:cubicBezTo>
                    <a:pt x="210" y="564"/>
                    <a:pt x="89" y="593"/>
                    <a:pt x="37" y="593"/>
                  </a:cubicBezTo>
                  <a:cubicBezTo>
                    <a:pt x="10" y="593"/>
                    <a:pt x="1" y="586"/>
                    <a:pt x="1" y="586"/>
                  </a:cubicBezTo>
                  <a:lnTo>
                    <a:pt x="1" y="586"/>
                  </a:lnTo>
                  <a:lnTo>
                    <a:pt x="9" y="684"/>
                  </a:lnTo>
                  <a:cubicBezTo>
                    <a:pt x="9" y="684"/>
                    <a:pt x="11" y="684"/>
                    <a:pt x="13" y="684"/>
                  </a:cubicBezTo>
                  <a:cubicBezTo>
                    <a:pt x="55" y="684"/>
                    <a:pt x="434" y="665"/>
                    <a:pt x="845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8" name="Google Shape;5278;p53">
              <a:extLst>
                <a:ext uri="{FF2B5EF4-FFF2-40B4-BE49-F238E27FC236}">
                  <a16:creationId xmlns:a16="http://schemas.microsoft.com/office/drawing/2014/main" id="{3A75F3A8-B466-51ED-7516-B2F17474CBE9}"/>
                </a:ext>
              </a:extLst>
            </p:cNvPr>
            <p:cNvSpPr/>
            <p:nvPr/>
          </p:nvSpPr>
          <p:spPr>
            <a:xfrm>
              <a:off x="7509300" y="1605275"/>
              <a:ext cx="17225" cy="13950"/>
            </a:xfrm>
            <a:custGeom>
              <a:avLst/>
              <a:gdLst/>
              <a:ahLst/>
              <a:cxnLst/>
              <a:rect l="l" t="t" r="r" b="b"/>
              <a:pathLst>
                <a:path w="689" h="558" extrusionOk="0">
                  <a:moveTo>
                    <a:pt x="0" y="1"/>
                  </a:moveTo>
                  <a:lnTo>
                    <a:pt x="0" y="1"/>
                  </a:lnTo>
                  <a:cubicBezTo>
                    <a:pt x="339" y="544"/>
                    <a:pt x="650" y="557"/>
                    <a:pt x="679" y="557"/>
                  </a:cubicBezTo>
                  <a:cubicBezTo>
                    <a:pt x="681" y="557"/>
                    <a:pt x="681" y="557"/>
                    <a:pt x="681" y="557"/>
                  </a:cubicBezTo>
                  <a:lnTo>
                    <a:pt x="689" y="475"/>
                  </a:lnTo>
                  <a:lnTo>
                    <a:pt x="689" y="475"/>
                  </a:lnTo>
                  <a:cubicBezTo>
                    <a:pt x="689" y="475"/>
                    <a:pt x="681" y="481"/>
                    <a:pt x="660" y="481"/>
                  </a:cubicBezTo>
                  <a:cubicBezTo>
                    <a:pt x="617" y="481"/>
                    <a:pt x="517" y="457"/>
                    <a:pt x="312" y="312"/>
                  </a:cubicBezTo>
                  <a:cubicBezTo>
                    <a:pt x="141" y="193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9" name="Google Shape;5279;p53">
              <a:extLst>
                <a:ext uri="{FF2B5EF4-FFF2-40B4-BE49-F238E27FC236}">
                  <a16:creationId xmlns:a16="http://schemas.microsoft.com/office/drawing/2014/main" id="{AD515693-23F3-9389-C727-C64A710AA773}"/>
                </a:ext>
              </a:extLst>
            </p:cNvPr>
            <p:cNvSpPr/>
            <p:nvPr/>
          </p:nvSpPr>
          <p:spPr>
            <a:xfrm>
              <a:off x="7404450" y="1558600"/>
              <a:ext cx="64675" cy="81525"/>
            </a:xfrm>
            <a:custGeom>
              <a:avLst/>
              <a:gdLst/>
              <a:ahLst/>
              <a:cxnLst/>
              <a:rect l="l" t="t" r="r" b="b"/>
              <a:pathLst>
                <a:path w="2587" h="3261" extrusionOk="0">
                  <a:moveTo>
                    <a:pt x="1290" y="0"/>
                  </a:moveTo>
                  <a:cubicBezTo>
                    <a:pt x="734" y="0"/>
                    <a:pt x="275" y="452"/>
                    <a:pt x="275" y="1016"/>
                  </a:cubicBezTo>
                  <a:cubicBezTo>
                    <a:pt x="275" y="1067"/>
                    <a:pt x="282" y="1112"/>
                    <a:pt x="289" y="1156"/>
                  </a:cubicBezTo>
                  <a:cubicBezTo>
                    <a:pt x="111" y="1379"/>
                    <a:pt x="1" y="1659"/>
                    <a:pt x="1" y="1964"/>
                  </a:cubicBezTo>
                  <a:cubicBezTo>
                    <a:pt x="1" y="2682"/>
                    <a:pt x="579" y="3260"/>
                    <a:pt x="1290" y="3260"/>
                  </a:cubicBezTo>
                  <a:cubicBezTo>
                    <a:pt x="2009" y="3260"/>
                    <a:pt x="2587" y="2682"/>
                    <a:pt x="2587" y="1964"/>
                  </a:cubicBezTo>
                  <a:cubicBezTo>
                    <a:pt x="2587" y="1659"/>
                    <a:pt x="2475" y="1379"/>
                    <a:pt x="2297" y="1156"/>
                  </a:cubicBezTo>
                  <a:cubicBezTo>
                    <a:pt x="2304" y="1112"/>
                    <a:pt x="2313" y="1067"/>
                    <a:pt x="2313" y="1016"/>
                  </a:cubicBezTo>
                  <a:cubicBezTo>
                    <a:pt x="2313" y="452"/>
                    <a:pt x="1852" y="0"/>
                    <a:pt x="1290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0" name="Google Shape;5280;p53">
              <a:extLst>
                <a:ext uri="{FF2B5EF4-FFF2-40B4-BE49-F238E27FC236}">
                  <a16:creationId xmlns:a16="http://schemas.microsoft.com/office/drawing/2014/main" id="{C311CAD9-BC0F-A3FE-8F76-AACFB8650829}"/>
                </a:ext>
              </a:extLst>
            </p:cNvPr>
            <p:cNvSpPr/>
            <p:nvPr/>
          </p:nvSpPr>
          <p:spPr>
            <a:xfrm>
              <a:off x="7436700" y="1583475"/>
              <a:ext cx="2950" cy="96875"/>
            </a:xfrm>
            <a:custGeom>
              <a:avLst/>
              <a:gdLst/>
              <a:ahLst/>
              <a:cxnLst/>
              <a:rect l="l" t="t" r="r" b="b"/>
              <a:pathLst>
                <a:path w="118" h="3875" extrusionOk="0">
                  <a:moveTo>
                    <a:pt x="54" y="0"/>
                  </a:moveTo>
                  <a:cubicBezTo>
                    <a:pt x="53" y="0"/>
                    <a:pt x="52" y="4"/>
                    <a:pt x="52" y="14"/>
                  </a:cubicBezTo>
                  <a:lnTo>
                    <a:pt x="0" y="3821"/>
                  </a:lnTo>
                  <a:cubicBezTo>
                    <a:pt x="0" y="3851"/>
                    <a:pt x="22" y="3874"/>
                    <a:pt x="52" y="3874"/>
                  </a:cubicBezTo>
                  <a:lnTo>
                    <a:pt x="59" y="3874"/>
                  </a:lnTo>
                  <a:cubicBezTo>
                    <a:pt x="96" y="3874"/>
                    <a:pt x="118" y="3851"/>
                    <a:pt x="118" y="3821"/>
                  </a:cubicBezTo>
                  <a:cubicBezTo>
                    <a:pt x="118" y="3821"/>
                    <a:pt x="96" y="14"/>
                    <a:pt x="59" y="14"/>
                  </a:cubicBezTo>
                  <a:cubicBezTo>
                    <a:pt x="59" y="14"/>
                    <a:pt x="56" y="0"/>
                    <a:pt x="54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1" name="Google Shape;5281;p53">
              <a:extLst>
                <a:ext uri="{FF2B5EF4-FFF2-40B4-BE49-F238E27FC236}">
                  <a16:creationId xmlns:a16="http://schemas.microsoft.com/office/drawing/2014/main" id="{8AD7027C-927F-1FEA-691C-51B5182FC2DB}"/>
                </a:ext>
              </a:extLst>
            </p:cNvPr>
            <p:cNvSpPr/>
            <p:nvPr/>
          </p:nvSpPr>
          <p:spPr>
            <a:xfrm>
              <a:off x="7419800" y="1606975"/>
              <a:ext cx="18375" cy="15000"/>
            </a:xfrm>
            <a:custGeom>
              <a:avLst/>
              <a:gdLst/>
              <a:ahLst/>
              <a:cxnLst/>
              <a:rect l="l" t="t" r="r" b="b"/>
              <a:pathLst>
                <a:path w="735" h="600" extrusionOk="0">
                  <a:moveTo>
                    <a:pt x="0" y="0"/>
                  </a:moveTo>
                  <a:lnTo>
                    <a:pt x="0" y="0"/>
                  </a:lnTo>
                  <a:cubicBezTo>
                    <a:pt x="353" y="580"/>
                    <a:pt x="679" y="600"/>
                    <a:pt x="723" y="600"/>
                  </a:cubicBezTo>
                  <a:cubicBezTo>
                    <a:pt x="726" y="600"/>
                    <a:pt x="728" y="599"/>
                    <a:pt x="728" y="599"/>
                  </a:cubicBezTo>
                  <a:lnTo>
                    <a:pt x="735" y="511"/>
                  </a:lnTo>
                  <a:lnTo>
                    <a:pt x="735" y="511"/>
                  </a:lnTo>
                  <a:cubicBezTo>
                    <a:pt x="735" y="511"/>
                    <a:pt x="726" y="517"/>
                    <a:pt x="702" y="517"/>
                  </a:cubicBezTo>
                  <a:cubicBezTo>
                    <a:pt x="656" y="517"/>
                    <a:pt x="550" y="492"/>
                    <a:pt x="335" y="340"/>
                  </a:cubicBezTo>
                  <a:cubicBezTo>
                    <a:pt x="150" y="199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2" name="Google Shape;5282;p53">
              <a:extLst>
                <a:ext uri="{FF2B5EF4-FFF2-40B4-BE49-F238E27FC236}">
                  <a16:creationId xmlns:a16="http://schemas.microsoft.com/office/drawing/2014/main" id="{F32BBE23-D7ED-4977-4258-6FF81883954D}"/>
                </a:ext>
              </a:extLst>
            </p:cNvPr>
            <p:cNvSpPr/>
            <p:nvPr/>
          </p:nvSpPr>
          <p:spPr>
            <a:xfrm>
              <a:off x="7438150" y="1602700"/>
              <a:ext cx="15600" cy="12775"/>
            </a:xfrm>
            <a:custGeom>
              <a:avLst/>
              <a:gdLst/>
              <a:ahLst/>
              <a:cxnLst/>
              <a:rect l="l" t="t" r="r" b="b"/>
              <a:pathLst>
                <a:path w="624" h="511" extrusionOk="0">
                  <a:moveTo>
                    <a:pt x="623" y="0"/>
                  </a:moveTo>
                  <a:cubicBezTo>
                    <a:pt x="623" y="0"/>
                    <a:pt x="497" y="178"/>
                    <a:pt x="342" y="289"/>
                  </a:cubicBezTo>
                  <a:cubicBezTo>
                    <a:pt x="156" y="421"/>
                    <a:pt x="67" y="444"/>
                    <a:pt x="28" y="444"/>
                  </a:cubicBezTo>
                  <a:cubicBezTo>
                    <a:pt x="8" y="444"/>
                    <a:pt x="1" y="438"/>
                    <a:pt x="1" y="438"/>
                  </a:cubicBezTo>
                  <a:lnTo>
                    <a:pt x="1" y="438"/>
                  </a:lnTo>
                  <a:lnTo>
                    <a:pt x="8" y="511"/>
                  </a:lnTo>
                  <a:cubicBezTo>
                    <a:pt x="8" y="511"/>
                    <a:pt x="9" y="511"/>
                    <a:pt x="11" y="511"/>
                  </a:cubicBezTo>
                  <a:cubicBezTo>
                    <a:pt x="42" y="511"/>
                    <a:pt x="323" y="497"/>
                    <a:pt x="62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3" name="Google Shape;5283;p53">
              <a:extLst>
                <a:ext uri="{FF2B5EF4-FFF2-40B4-BE49-F238E27FC236}">
                  <a16:creationId xmlns:a16="http://schemas.microsoft.com/office/drawing/2014/main" id="{A22845AD-B735-6F87-CEAA-EE754D7535C8}"/>
                </a:ext>
              </a:extLst>
            </p:cNvPr>
            <p:cNvSpPr/>
            <p:nvPr/>
          </p:nvSpPr>
          <p:spPr>
            <a:xfrm>
              <a:off x="7425575" y="1593625"/>
              <a:ext cx="12600" cy="10200"/>
            </a:xfrm>
            <a:custGeom>
              <a:avLst/>
              <a:gdLst/>
              <a:ahLst/>
              <a:cxnLst/>
              <a:rect l="l" t="t" r="r" b="b"/>
              <a:pathLst>
                <a:path w="504" h="408" extrusionOk="0">
                  <a:moveTo>
                    <a:pt x="1" y="1"/>
                  </a:moveTo>
                  <a:lnTo>
                    <a:pt x="1" y="1"/>
                  </a:lnTo>
                  <a:cubicBezTo>
                    <a:pt x="242" y="395"/>
                    <a:pt x="467" y="408"/>
                    <a:pt x="494" y="408"/>
                  </a:cubicBezTo>
                  <a:cubicBezTo>
                    <a:pt x="496" y="408"/>
                    <a:pt x="497" y="408"/>
                    <a:pt x="497" y="408"/>
                  </a:cubicBezTo>
                  <a:lnTo>
                    <a:pt x="504" y="347"/>
                  </a:lnTo>
                  <a:lnTo>
                    <a:pt x="504" y="347"/>
                  </a:lnTo>
                  <a:cubicBezTo>
                    <a:pt x="504" y="347"/>
                    <a:pt x="497" y="353"/>
                    <a:pt x="479" y="353"/>
                  </a:cubicBezTo>
                  <a:cubicBezTo>
                    <a:pt x="446" y="353"/>
                    <a:pt x="374" y="334"/>
                    <a:pt x="230" y="230"/>
                  </a:cubicBezTo>
                  <a:cubicBezTo>
                    <a:pt x="104" y="14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4" name="Google Shape;5284;p53">
              <a:extLst>
                <a:ext uri="{FF2B5EF4-FFF2-40B4-BE49-F238E27FC236}">
                  <a16:creationId xmlns:a16="http://schemas.microsoft.com/office/drawing/2014/main" id="{6331CF19-2176-3C3F-B800-53BEEEB7B252}"/>
                </a:ext>
              </a:extLst>
            </p:cNvPr>
            <p:cNvSpPr/>
            <p:nvPr/>
          </p:nvSpPr>
          <p:spPr>
            <a:xfrm>
              <a:off x="7286250" y="1591750"/>
              <a:ext cx="46350" cy="58600"/>
            </a:xfrm>
            <a:custGeom>
              <a:avLst/>
              <a:gdLst/>
              <a:ahLst/>
              <a:cxnLst/>
              <a:rect l="l" t="t" r="r" b="b"/>
              <a:pathLst>
                <a:path w="1854" h="2344" extrusionOk="0">
                  <a:moveTo>
                    <a:pt x="927" y="1"/>
                  </a:moveTo>
                  <a:cubicBezTo>
                    <a:pt x="527" y="1"/>
                    <a:pt x="194" y="326"/>
                    <a:pt x="194" y="734"/>
                  </a:cubicBezTo>
                  <a:cubicBezTo>
                    <a:pt x="194" y="764"/>
                    <a:pt x="201" y="801"/>
                    <a:pt x="208" y="831"/>
                  </a:cubicBezTo>
                  <a:cubicBezTo>
                    <a:pt x="75" y="993"/>
                    <a:pt x="0" y="1194"/>
                    <a:pt x="0" y="1417"/>
                  </a:cubicBezTo>
                  <a:cubicBezTo>
                    <a:pt x="0" y="1927"/>
                    <a:pt x="416" y="2343"/>
                    <a:pt x="927" y="2343"/>
                  </a:cubicBezTo>
                  <a:cubicBezTo>
                    <a:pt x="1439" y="2343"/>
                    <a:pt x="1853" y="1927"/>
                    <a:pt x="1853" y="1417"/>
                  </a:cubicBezTo>
                  <a:cubicBezTo>
                    <a:pt x="1853" y="1194"/>
                    <a:pt x="1772" y="993"/>
                    <a:pt x="1645" y="831"/>
                  </a:cubicBezTo>
                  <a:cubicBezTo>
                    <a:pt x="1652" y="801"/>
                    <a:pt x="1652" y="764"/>
                    <a:pt x="1652" y="734"/>
                  </a:cubicBezTo>
                  <a:cubicBezTo>
                    <a:pt x="1652" y="326"/>
                    <a:pt x="1327" y="1"/>
                    <a:pt x="92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5" name="Google Shape;5285;p53">
              <a:extLst>
                <a:ext uri="{FF2B5EF4-FFF2-40B4-BE49-F238E27FC236}">
                  <a16:creationId xmlns:a16="http://schemas.microsoft.com/office/drawing/2014/main" id="{B2C4681D-9057-980F-F59E-0DACCC775803}"/>
                </a:ext>
              </a:extLst>
            </p:cNvPr>
            <p:cNvSpPr/>
            <p:nvPr/>
          </p:nvSpPr>
          <p:spPr>
            <a:xfrm>
              <a:off x="7309225" y="1609675"/>
              <a:ext cx="2250" cy="69550"/>
            </a:xfrm>
            <a:custGeom>
              <a:avLst/>
              <a:gdLst/>
              <a:ahLst/>
              <a:cxnLst/>
              <a:rect l="l" t="t" r="r" b="b"/>
              <a:pathLst>
                <a:path w="90" h="2782" extrusionOk="0">
                  <a:moveTo>
                    <a:pt x="47" y="0"/>
                  </a:moveTo>
                  <a:cubicBezTo>
                    <a:pt x="46" y="0"/>
                    <a:pt x="45" y="2"/>
                    <a:pt x="45" y="10"/>
                  </a:cubicBezTo>
                  <a:lnTo>
                    <a:pt x="1" y="2738"/>
                  </a:lnTo>
                  <a:cubicBezTo>
                    <a:pt x="1" y="2759"/>
                    <a:pt x="22" y="2782"/>
                    <a:pt x="45" y="2782"/>
                  </a:cubicBezTo>
                  <a:lnTo>
                    <a:pt x="52" y="2782"/>
                  </a:lnTo>
                  <a:cubicBezTo>
                    <a:pt x="75" y="2782"/>
                    <a:pt x="90" y="2759"/>
                    <a:pt x="90" y="2738"/>
                  </a:cubicBezTo>
                  <a:cubicBezTo>
                    <a:pt x="90" y="2738"/>
                    <a:pt x="75" y="10"/>
                    <a:pt x="52" y="10"/>
                  </a:cubicBezTo>
                  <a:cubicBezTo>
                    <a:pt x="52" y="10"/>
                    <a:pt x="49" y="0"/>
                    <a:pt x="4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6" name="Google Shape;5286;p53">
              <a:extLst>
                <a:ext uri="{FF2B5EF4-FFF2-40B4-BE49-F238E27FC236}">
                  <a16:creationId xmlns:a16="http://schemas.microsoft.com/office/drawing/2014/main" id="{E3F10B79-97D5-B7CF-1DB3-CE6FC1E10BFB}"/>
                </a:ext>
              </a:extLst>
            </p:cNvPr>
            <p:cNvSpPr/>
            <p:nvPr/>
          </p:nvSpPr>
          <p:spPr>
            <a:xfrm>
              <a:off x="7297175" y="1626400"/>
              <a:ext cx="13200" cy="10950"/>
            </a:xfrm>
            <a:custGeom>
              <a:avLst/>
              <a:gdLst/>
              <a:ahLst/>
              <a:cxnLst/>
              <a:rect l="l" t="t" r="r" b="b"/>
              <a:pathLst>
                <a:path w="528" h="438" extrusionOk="0">
                  <a:moveTo>
                    <a:pt x="1" y="0"/>
                  </a:moveTo>
                  <a:cubicBezTo>
                    <a:pt x="266" y="431"/>
                    <a:pt x="505" y="438"/>
                    <a:pt x="519" y="438"/>
                  </a:cubicBezTo>
                  <a:cubicBezTo>
                    <a:pt x="520" y="438"/>
                    <a:pt x="520" y="438"/>
                    <a:pt x="520" y="438"/>
                  </a:cubicBezTo>
                  <a:lnTo>
                    <a:pt x="527" y="370"/>
                  </a:lnTo>
                  <a:lnTo>
                    <a:pt x="527" y="370"/>
                  </a:lnTo>
                  <a:cubicBezTo>
                    <a:pt x="527" y="370"/>
                    <a:pt x="521" y="375"/>
                    <a:pt x="504" y="375"/>
                  </a:cubicBezTo>
                  <a:cubicBezTo>
                    <a:pt x="470" y="375"/>
                    <a:pt x="396" y="356"/>
                    <a:pt x="246" y="246"/>
                  </a:cubicBezTo>
                  <a:cubicBezTo>
                    <a:pt x="104" y="148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7" name="Google Shape;5287;p53">
              <a:extLst>
                <a:ext uri="{FF2B5EF4-FFF2-40B4-BE49-F238E27FC236}">
                  <a16:creationId xmlns:a16="http://schemas.microsoft.com/office/drawing/2014/main" id="{C9B82D54-D408-D31E-E810-ADC9C146013F}"/>
                </a:ext>
              </a:extLst>
            </p:cNvPr>
            <p:cNvSpPr/>
            <p:nvPr/>
          </p:nvSpPr>
          <p:spPr>
            <a:xfrm>
              <a:off x="7310350" y="1623425"/>
              <a:ext cx="11300" cy="9300"/>
            </a:xfrm>
            <a:custGeom>
              <a:avLst/>
              <a:gdLst/>
              <a:ahLst/>
              <a:cxnLst/>
              <a:rect l="l" t="t" r="r" b="b"/>
              <a:pathLst>
                <a:path w="452" h="372" extrusionOk="0">
                  <a:moveTo>
                    <a:pt x="452" y="0"/>
                  </a:moveTo>
                  <a:lnTo>
                    <a:pt x="452" y="0"/>
                  </a:lnTo>
                  <a:cubicBezTo>
                    <a:pt x="452" y="0"/>
                    <a:pt x="356" y="126"/>
                    <a:pt x="244" y="208"/>
                  </a:cubicBezTo>
                  <a:cubicBezTo>
                    <a:pt x="102" y="308"/>
                    <a:pt x="39" y="323"/>
                    <a:pt x="14" y="323"/>
                  </a:cubicBezTo>
                  <a:cubicBezTo>
                    <a:pt x="4" y="323"/>
                    <a:pt x="0" y="320"/>
                    <a:pt x="0" y="320"/>
                  </a:cubicBezTo>
                  <a:lnTo>
                    <a:pt x="0" y="320"/>
                  </a:lnTo>
                  <a:lnTo>
                    <a:pt x="7" y="372"/>
                  </a:lnTo>
                  <a:cubicBezTo>
                    <a:pt x="7" y="372"/>
                    <a:pt x="8" y="372"/>
                    <a:pt x="8" y="372"/>
                  </a:cubicBezTo>
                  <a:cubicBezTo>
                    <a:pt x="22" y="372"/>
                    <a:pt x="224" y="365"/>
                    <a:pt x="452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8" name="Google Shape;5288;p53">
              <a:extLst>
                <a:ext uri="{FF2B5EF4-FFF2-40B4-BE49-F238E27FC236}">
                  <a16:creationId xmlns:a16="http://schemas.microsoft.com/office/drawing/2014/main" id="{B39ED790-3C76-560A-7F95-F3CB0B487B84}"/>
                </a:ext>
              </a:extLst>
            </p:cNvPr>
            <p:cNvSpPr/>
            <p:nvPr/>
          </p:nvSpPr>
          <p:spPr>
            <a:xfrm>
              <a:off x="7301275" y="1616975"/>
              <a:ext cx="9100" cy="7400"/>
            </a:xfrm>
            <a:custGeom>
              <a:avLst/>
              <a:gdLst/>
              <a:ahLst/>
              <a:cxnLst/>
              <a:rect l="l" t="t" r="r" b="b"/>
              <a:pathLst>
                <a:path w="364" h="296" extrusionOk="0">
                  <a:moveTo>
                    <a:pt x="0" y="0"/>
                  </a:moveTo>
                  <a:cubicBezTo>
                    <a:pt x="184" y="289"/>
                    <a:pt x="348" y="295"/>
                    <a:pt x="362" y="295"/>
                  </a:cubicBezTo>
                  <a:cubicBezTo>
                    <a:pt x="363" y="295"/>
                    <a:pt x="363" y="295"/>
                    <a:pt x="363" y="295"/>
                  </a:cubicBezTo>
                  <a:lnTo>
                    <a:pt x="363" y="251"/>
                  </a:lnTo>
                  <a:cubicBezTo>
                    <a:pt x="363" y="251"/>
                    <a:pt x="359" y="254"/>
                    <a:pt x="347" y="254"/>
                  </a:cubicBezTo>
                  <a:cubicBezTo>
                    <a:pt x="325" y="254"/>
                    <a:pt x="274" y="241"/>
                    <a:pt x="171" y="162"/>
                  </a:cubicBezTo>
                  <a:cubicBezTo>
                    <a:pt x="73" y="9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9" name="Google Shape;5289;p53">
              <a:extLst>
                <a:ext uri="{FF2B5EF4-FFF2-40B4-BE49-F238E27FC236}">
                  <a16:creationId xmlns:a16="http://schemas.microsoft.com/office/drawing/2014/main" id="{84E96200-38AE-1445-00C7-4C1C3B714115}"/>
                </a:ext>
              </a:extLst>
            </p:cNvPr>
            <p:cNvSpPr/>
            <p:nvPr/>
          </p:nvSpPr>
          <p:spPr>
            <a:xfrm>
              <a:off x="7200475" y="1642125"/>
              <a:ext cx="91000" cy="37825"/>
            </a:xfrm>
            <a:custGeom>
              <a:avLst/>
              <a:gdLst/>
              <a:ahLst/>
              <a:cxnLst/>
              <a:rect l="l" t="t" r="r" b="b"/>
              <a:pathLst>
                <a:path w="3640" h="1513" extrusionOk="0">
                  <a:moveTo>
                    <a:pt x="1215" y="1"/>
                  </a:moveTo>
                  <a:cubicBezTo>
                    <a:pt x="801" y="1"/>
                    <a:pt x="469" y="335"/>
                    <a:pt x="469" y="750"/>
                  </a:cubicBezTo>
                  <a:lnTo>
                    <a:pt x="469" y="764"/>
                  </a:lnTo>
                  <a:cubicBezTo>
                    <a:pt x="438" y="757"/>
                    <a:pt x="408" y="750"/>
                    <a:pt x="380" y="750"/>
                  </a:cubicBezTo>
                  <a:cubicBezTo>
                    <a:pt x="172" y="750"/>
                    <a:pt x="1" y="920"/>
                    <a:pt x="1" y="1128"/>
                  </a:cubicBezTo>
                  <a:cubicBezTo>
                    <a:pt x="1" y="1335"/>
                    <a:pt x="172" y="1498"/>
                    <a:pt x="380" y="1498"/>
                  </a:cubicBezTo>
                  <a:lnTo>
                    <a:pt x="380" y="1512"/>
                  </a:lnTo>
                  <a:lnTo>
                    <a:pt x="3403" y="1512"/>
                  </a:lnTo>
                  <a:lnTo>
                    <a:pt x="3403" y="1498"/>
                  </a:lnTo>
                  <a:cubicBezTo>
                    <a:pt x="3536" y="1475"/>
                    <a:pt x="3639" y="1365"/>
                    <a:pt x="3639" y="1217"/>
                  </a:cubicBezTo>
                  <a:cubicBezTo>
                    <a:pt x="3639" y="1061"/>
                    <a:pt x="3513" y="934"/>
                    <a:pt x="3358" y="934"/>
                  </a:cubicBezTo>
                  <a:cubicBezTo>
                    <a:pt x="3291" y="934"/>
                    <a:pt x="3232" y="965"/>
                    <a:pt x="3181" y="1002"/>
                  </a:cubicBezTo>
                  <a:lnTo>
                    <a:pt x="3181" y="965"/>
                  </a:lnTo>
                  <a:cubicBezTo>
                    <a:pt x="3181" y="668"/>
                    <a:pt x="2942" y="424"/>
                    <a:pt x="2647" y="424"/>
                  </a:cubicBezTo>
                  <a:cubicBezTo>
                    <a:pt x="2476" y="424"/>
                    <a:pt x="2327" y="497"/>
                    <a:pt x="2224" y="623"/>
                  </a:cubicBezTo>
                  <a:cubicBezTo>
                    <a:pt x="2186" y="609"/>
                    <a:pt x="2149" y="602"/>
                    <a:pt x="2114" y="602"/>
                  </a:cubicBezTo>
                  <a:cubicBezTo>
                    <a:pt x="2053" y="602"/>
                    <a:pt x="2001" y="616"/>
                    <a:pt x="1957" y="639"/>
                  </a:cubicBezTo>
                  <a:cubicBezTo>
                    <a:pt x="1898" y="275"/>
                    <a:pt x="1594" y="1"/>
                    <a:pt x="121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0" name="Google Shape;5290;p53">
              <a:extLst>
                <a:ext uri="{FF2B5EF4-FFF2-40B4-BE49-F238E27FC236}">
                  <a16:creationId xmlns:a16="http://schemas.microsoft.com/office/drawing/2014/main" id="{89BA97AE-6461-0C77-FE8C-EA2CA1600A5B}"/>
                </a:ext>
              </a:extLst>
            </p:cNvPr>
            <p:cNvSpPr/>
            <p:nvPr/>
          </p:nvSpPr>
          <p:spPr>
            <a:xfrm>
              <a:off x="7211775" y="1643250"/>
              <a:ext cx="12425" cy="17975"/>
            </a:xfrm>
            <a:custGeom>
              <a:avLst/>
              <a:gdLst/>
              <a:ahLst/>
              <a:cxnLst/>
              <a:rect l="l" t="t" r="r" b="b"/>
              <a:pathLst>
                <a:path w="497" h="719" extrusionOk="0">
                  <a:moveTo>
                    <a:pt x="497" y="0"/>
                  </a:moveTo>
                  <a:lnTo>
                    <a:pt x="497" y="0"/>
                  </a:lnTo>
                  <a:cubicBezTo>
                    <a:pt x="209" y="82"/>
                    <a:pt x="1" y="349"/>
                    <a:pt x="1" y="667"/>
                  </a:cubicBezTo>
                  <a:lnTo>
                    <a:pt x="1" y="712"/>
                  </a:lnTo>
                  <a:cubicBezTo>
                    <a:pt x="8" y="712"/>
                    <a:pt x="8" y="712"/>
                    <a:pt x="17" y="719"/>
                  </a:cubicBezTo>
                  <a:lnTo>
                    <a:pt x="17" y="705"/>
                  </a:lnTo>
                  <a:cubicBezTo>
                    <a:pt x="17" y="386"/>
                    <a:pt x="216" y="112"/>
                    <a:pt x="497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1" name="Google Shape;5291;p53">
              <a:extLst>
                <a:ext uri="{FF2B5EF4-FFF2-40B4-BE49-F238E27FC236}">
                  <a16:creationId xmlns:a16="http://schemas.microsoft.com/office/drawing/2014/main" id="{672D4C14-C7B0-B0CF-A1C5-9543B0ACE8A6}"/>
                </a:ext>
              </a:extLst>
            </p:cNvPr>
            <p:cNvSpPr/>
            <p:nvPr/>
          </p:nvSpPr>
          <p:spPr>
            <a:xfrm>
              <a:off x="7211775" y="1642700"/>
              <a:ext cx="17100" cy="34325"/>
            </a:xfrm>
            <a:custGeom>
              <a:avLst/>
              <a:gdLst/>
              <a:ahLst/>
              <a:cxnLst/>
              <a:rect l="l" t="t" r="r" b="b"/>
              <a:pathLst>
                <a:path w="684" h="1373" extrusionOk="0">
                  <a:moveTo>
                    <a:pt x="683" y="1"/>
                  </a:moveTo>
                  <a:cubicBezTo>
                    <a:pt x="623" y="1"/>
                    <a:pt x="557" y="8"/>
                    <a:pt x="497" y="22"/>
                  </a:cubicBezTo>
                  <a:cubicBezTo>
                    <a:pt x="216" y="134"/>
                    <a:pt x="17" y="408"/>
                    <a:pt x="17" y="727"/>
                  </a:cubicBezTo>
                  <a:lnTo>
                    <a:pt x="17" y="741"/>
                  </a:lnTo>
                  <a:cubicBezTo>
                    <a:pt x="8" y="734"/>
                    <a:pt x="8" y="734"/>
                    <a:pt x="1" y="734"/>
                  </a:cubicBezTo>
                  <a:cubicBezTo>
                    <a:pt x="24" y="1089"/>
                    <a:pt x="319" y="1372"/>
                    <a:pt x="683" y="1372"/>
                  </a:cubicBezTo>
                  <a:cubicBezTo>
                    <a:pt x="683" y="1372"/>
                    <a:pt x="290" y="1246"/>
                    <a:pt x="260" y="689"/>
                  </a:cubicBezTo>
                  <a:cubicBezTo>
                    <a:pt x="230" y="179"/>
                    <a:pt x="683" y="1"/>
                    <a:pt x="683" y="1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2" name="Google Shape;5292;p53">
              <a:extLst>
                <a:ext uri="{FF2B5EF4-FFF2-40B4-BE49-F238E27FC236}">
                  <a16:creationId xmlns:a16="http://schemas.microsoft.com/office/drawing/2014/main" id="{A2A1966E-4F04-2337-2900-E54954CA07CA}"/>
                </a:ext>
              </a:extLst>
            </p:cNvPr>
            <p:cNvSpPr/>
            <p:nvPr/>
          </p:nvSpPr>
          <p:spPr>
            <a:xfrm>
              <a:off x="7244575" y="1657350"/>
              <a:ext cx="18000" cy="9075"/>
            </a:xfrm>
            <a:custGeom>
              <a:avLst/>
              <a:gdLst/>
              <a:ahLst/>
              <a:cxnLst/>
              <a:rect l="l" t="t" r="r" b="b"/>
              <a:pathLst>
                <a:path w="720" h="363" extrusionOk="0">
                  <a:moveTo>
                    <a:pt x="357" y="0"/>
                  </a:moveTo>
                  <a:cubicBezTo>
                    <a:pt x="163" y="7"/>
                    <a:pt x="1" y="171"/>
                    <a:pt x="8" y="363"/>
                  </a:cubicBezTo>
                  <a:cubicBezTo>
                    <a:pt x="8" y="363"/>
                    <a:pt x="67" y="164"/>
                    <a:pt x="357" y="141"/>
                  </a:cubicBezTo>
                  <a:lnTo>
                    <a:pt x="385" y="141"/>
                  </a:lnTo>
                  <a:cubicBezTo>
                    <a:pt x="630" y="141"/>
                    <a:pt x="719" y="356"/>
                    <a:pt x="719" y="356"/>
                  </a:cubicBezTo>
                  <a:cubicBezTo>
                    <a:pt x="719" y="164"/>
                    <a:pt x="556" y="0"/>
                    <a:pt x="364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3" name="Google Shape;5293;p53">
              <a:extLst>
                <a:ext uri="{FF2B5EF4-FFF2-40B4-BE49-F238E27FC236}">
                  <a16:creationId xmlns:a16="http://schemas.microsoft.com/office/drawing/2014/main" id="{AA4F8F38-4438-B75E-61DA-14A67B46B347}"/>
                </a:ext>
              </a:extLst>
            </p:cNvPr>
            <p:cNvSpPr/>
            <p:nvPr/>
          </p:nvSpPr>
          <p:spPr>
            <a:xfrm>
              <a:off x="7488350" y="1497900"/>
              <a:ext cx="29500" cy="12925"/>
            </a:xfrm>
            <a:custGeom>
              <a:avLst/>
              <a:gdLst/>
              <a:ahLst/>
              <a:cxnLst/>
              <a:rect l="l" t="t" r="r" b="b"/>
              <a:pathLst>
                <a:path w="1180" h="517" extrusionOk="0">
                  <a:moveTo>
                    <a:pt x="1026" y="0"/>
                  </a:moveTo>
                  <a:cubicBezTo>
                    <a:pt x="950" y="0"/>
                    <a:pt x="859" y="34"/>
                    <a:pt x="771" y="102"/>
                  </a:cubicBezTo>
                  <a:cubicBezTo>
                    <a:pt x="698" y="154"/>
                    <a:pt x="637" y="228"/>
                    <a:pt x="609" y="294"/>
                  </a:cubicBezTo>
                  <a:cubicBezTo>
                    <a:pt x="548" y="250"/>
                    <a:pt x="468" y="220"/>
                    <a:pt x="380" y="205"/>
                  </a:cubicBezTo>
                  <a:cubicBezTo>
                    <a:pt x="346" y="200"/>
                    <a:pt x="315" y="198"/>
                    <a:pt x="285" y="198"/>
                  </a:cubicBezTo>
                  <a:cubicBezTo>
                    <a:pt x="128" y="198"/>
                    <a:pt x="20" y="263"/>
                    <a:pt x="1" y="369"/>
                  </a:cubicBezTo>
                  <a:cubicBezTo>
                    <a:pt x="1" y="369"/>
                    <a:pt x="44" y="287"/>
                    <a:pt x="248" y="287"/>
                  </a:cubicBezTo>
                  <a:cubicBezTo>
                    <a:pt x="282" y="287"/>
                    <a:pt x="320" y="289"/>
                    <a:pt x="364" y="294"/>
                  </a:cubicBezTo>
                  <a:cubicBezTo>
                    <a:pt x="460" y="301"/>
                    <a:pt x="534" y="332"/>
                    <a:pt x="586" y="362"/>
                  </a:cubicBezTo>
                  <a:lnTo>
                    <a:pt x="579" y="517"/>
                  </a:lnTo>
                  <a:lnTo>
                    <a:pt x="653" y="502"/>
                  </a:lnTo>
                  <a:lnTo>
                    <a:pt x="742" y="479"/>
                  </a:lnTo>
                  <a:lnTo>
                    <a:pt x="661" y="346"/>
                  </a:lnTo>
                  <a:cubicBezTo>
                    <a:pt x="698" y="294"/>
                    <a:pt x="742" y="236"/>
                    <a:pt x="824" y="168"/>
                  </a:cubicBezTo>
                  <a:cubicBezTo>
                    <a:pt x="938" y="77"/>
                    <a:pt x="1032" y="56"/>
                    <a:pt x="1094" y="56"/>
                  </a:cubicBezTo>
                  <a:cubicBezTo>
                    <a:pt x="1149" y="56"/>
                    <a:pt x="1180" y="72"/>
                    <a:pt x="1180" y="72"/>
                  </a:cubicBezTo>
                  <a:cubicBezTo>
                    <a:pt x="1145" y="25"/>
                    <a:pt x="1091" y="0"/>
                    <a:pt x="1026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4" name="Google Shape;5294;p53">
              <a:extLst>
                <a:ext uri="{FF2B5EF4-FFF2-40B4-BE49-F238E27FC236}">
                  <a16:creationId xmlns:a16="http://schemas.microsoft.com/office/drawing/2014/main" id="{551BEA18-37C8-A019-FBB2-B1DBB8F5B1BA}"/>
                </a:ext>
              </a:extLst>
            </p:cNvPr>
            <p:cNvSpPr/>
            <p:nvPr/>
          </p:nvSpPr>
          <p:spPr>
            <a:xfrm>
              <a:off x="7313675" y="1413575"/>
              <a:ext cx="24825" cy="12025"/>
            </a:xfrm>
            <a:custGeom>
              <a:avLst/>
              <a:gdLst/>
              <a:ahLst/>
              <a:cxnLst/>
              <a:rect l="l" t="t" r="r" b="b"/>
              <a:pathLst>
                <a:path w="993" h="481" extrusionOk="0">
                  <a:moveTo>
                    <a:pt x="851" y="0"/>
                  </a:moveTo>
                  <a:cubicBezTo>
                    <a:pt x="787" y="0"/>
                    <a:pt x="715" y="30"/>
                    <a:pt x="644" y="89"/>
                  </a:cubicBezTo>
                  <a:cubicBezTo>
                    <a:pt x="578" y="141"/>
                    <a:pt x="534" y="207"/>
                    <a:pt x="511" y="267"/>
                  </a:cubicBezTo>
                  <a:cubicBezTo>
                    <a:pt x="459" y="230"/>
                    <a:pt x="394" y="192"/>
                    <a:pt x="312" y="178"/>
                  </a:cubicBezTo>
                  <a:cubicBezTo>
                    <a:pt x="281" y="173"/>
                    <a:pt x="251" y="170"/>
                    <a:pt x="224" y="170"/>
                  </a:cubicBezTo>
                  <a:cubicBezTo>
                    <a:pt x="93" y="170"/>
                    <a:pt x="6" y="227"/>
                    <a:pt x="1" y="326"/>
                  </a:cubicBezTo>
                  <a:cubicBezTo>
                    <a:pt x="1" y="326"/>
                    <a:pt x="33" y="251"/>
                    <a:pt x="203" y="251"/>
                  </a:cubicBezTo>
                  <a:cubicBezTo>
                    <a:pt x="233" y="251"/>
                    <a:pt x="266" y="253"/>
                    <a:pt x="305" y="258"/>
                  </a:cubicBezTo>
                  <a:cubicBezTo>
                    <a:pt x="386" y="274"/>
                    <a:pt x="445" y="303"/>
                    <a:pt x="490" y="333"/>
                  </a:cubicBezTo>
                  <a:lnTo>
                    <a:pt x="490" y="480"/>
                  </a:lnTo>
                  <a:lnTo>
                    <a:pt x="555" y="466"/>
                  </a:lnTo>
                  <a:lnTo>
                    <a:pt x="630" y="452"/>
                  </a:lnTo>
                  <a:lnTo>
                    <a:pt x="555" y="319"/>
                  </a:lnTo>
                  <a:cubicBezTo>
                    <a:pt x="586" y="274"/>
                    <a:pt x="623" y="214"/>
                    <a:pt x="689" y="162"/>
                  </a:cubicBezTo>
                  <a:cubicBezTo>
                    <a:pt x="782" y="77"/>
                    <a:pt x="862" y="57"/>
                    <a:pt x="916" y="57"/>
                  </a:cubicBezTo>
                  <a:cubicBezTo>
                    <a:pt x="964" y="57"/>
                    <a:pt x="993" y="73"/>
                    <a:pt x="993" y="73"/>
                  </a:cubicBezTo>
                  <a:cubicBezTo>
                    <a:pt x="958" y="24"/>
                    <a:pt x="908" y="0"/>
                    <a:pt x="851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5" name="Google Shape;5295;p53">
              <a:extLst>
                <a:ext uri="{FF2B5EF4-FFF2-40B4-BE49-F238E27FC236}">
                  <a16:creationId xmlns:a16="http://schemas.microsoft.com/office/drawing/2014/main" id="{29D99CAE-B4ED-6515-8021-90608E409D59}"/>
                </a:ext>
              </a:extLst>
            </p:cNvPr>
            <p:cNvSpPr/>
            <p:nvPr/>
          </p:nvSpPr>
          <p:spPr>
            <a:xfrm>
              <a:off x="7314425" y="1458625"/>
              <a:ext cx="15025" cy="6450"/>
            </a:xfrm>
            <a:custGeom>
              <a:avLst/>
              <a:gdLst/>
              <a:ahLst/>
              <a:cxnLst/>
              <a:rect l="l" t="t" r="r" b="b"/>
              <a:pathLst>
                <a:path w="601" h="258" extrusionOk="0">
                  <a:moveTo>
                    <a:pt x="520" y="1"/>
                  </a:moveTo>
                  <a:cubicBezTo>
                    <a:pt x="482" y="1"/>
                    <a:pt x="437" y="17"/>
                    <a:pt x="392" y="50"/>
                  </a:cubicBezTo>
                  <a:cubicBezTo>
                    <a:pt x="348" y="80"/>
                    <a:pt x="326" y="110"/>
                    <a:pt x="303" y="146"/>
                  </a:cubicBezTo>
                  <a:cubicBezTo>
                    <a:pt x="275" y="124"/>
                    <a:pt x="237" y="110"/>
                    <a:pt x="193" y="101"/>
                  </a:cubicBezTo>
                  <a:cubicBezTo>
                    <a:pt x="178" y="99"/>
                    <a:pt x="164" y="98"/>
                    <a:pt x="150" y="98"/>
                  </a:cubicBezTo>
                  <a:cubicBezTo>
                    <a:pt x="68" y="98"/>
                    <a:pt x="7" y="133"/>
                    <a:pt x="1" y="183"/>
                  </a:cubicBezTo>
                  <a:cubicBezTo>
                    <a:pt x="1" y="183"/>
                    <a:pt x="23" y="143"/>
                    <a:pt x="134" y="143"/>
                  </a:cubicBezTo>
                  <a:cubicBezTo>
                    <a:pt x="150" y="143"/>
                    <a:pt x="167" y="144"/>
                    <a:pt x="186" y="146"/>
                  </a:cubicBezTo>
                  <a:cubicBezTo>
                    <a:pt x="230" y="146"/>
                    <a:pt x="268" y="162"/>
                    <a:pt x="296" y="176"/>
                  </a:cubicBezTo>
                  <a:lnTo>
                    <a:pt x="289" y="258"/>
                  </a:lnTo>
                  <a:lnTo>
                    <a:pt x="333" y="243"/>
                  </a:lnTo>
                  <a:lnTo>
                    <a:pt x="378" y="234"/>
                  </a:lnTo>
                  <a:lnTo>
                    <a:pt x="333" y="169"/>
                  </a:lnTo>
                  <a:cubicBezTo>
                    <a:pt x="348" y="146"/>
                    <a:pt x="378" y="117"/>
                    <a:pt x="415" y="87"/>
                  </a:cubicBezTo>
                  <a:cubicBezTo>
                    <a:pt x="475" y="39"/>
                    <a:pt x="524" y="28"/>
                    <a:pt x="557" y="28"/>
                  </a:cubicBezTo>
                  <a:cubicBezTo>
                    <a:pt x="585" y="28"/>
                    <a:pt x="600" y="35"/>
                    <a:pt x="600" y="35"/>
                  </a:cubicBezTo>
                  <a:cubicBezTo>
                    <a:pt x="580" y="12"/>
                    <a:pt x="552" y="1"/>
                    <a:pt x="520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6" name="Google Shape;5296;p53">
              <a:extLst>
                <a:ext uri="{FF2B5EF4-FFF2-40B4-BE49-F238E27FC236}">
                  <a16:creationId xmlns:a16="http://schemas.microsoft.com/office/drawing/2014/main" id="{6F9FB344-532F-98A1-FD3F-C97E9CD08355}"/>
                </a:ext>
              </a:extLst>
            </p:cNvPr>
            <p:cNvSpPr/>
            <p:nvPr/>
          </p:nvSpPr>
          <p:spPr>
            <a:xfrm>
              <a:off x="7228275" y="1437800"/>
              <a:ext cx="20375" cy="8725"/>
            </a:xfrm>
            <a:custGeom>
              <a:avLst/>
              <a:gdLst/>
              <a:ahLst/>
              <a:cxnLst/>
              <a:rect l="l" t="t" r="r" b="b"/>
              <a:pathLst>
                <a:path w="815" h="349" extrusionOk="0">
                  <a:moveTo>
                    <a:pt x="712" y="1"/>
                  </a:moveTo>
                  <a:cubicBezTo>
                    <a:pt x="659" y="1"/>
                    <a:pt x="596" y="23"/>
                    <a:pt x="534" y="68"/>
                  </a:cubicBezTo>
                  <a:cubicBezTo>
                    <a:pt x="482" y="105"/>
                    <a:pt x="445" y="157"/>
                    <a:pt x="424" y="201"/>
                  </a:cubicBezTo>
                  <a:cubicBezTo>
                    <a:pt x="379" y="171"/>
                    <a:pt x="326" y="150"/>
                    <a:pt x="260" y="143"/>
                  </a:cubicBezTo>
                  <a:cubicBezTo>
                    <a:pt x="237" y="139"/>
                    <a:pt x="215" y="137"/>
                    <a:pt x="194" y="137"/>
                  </a:cubicBezTo>
                  <a:cubicBezTo>
                    <a:pt x="88" y="137"/>
                    <a:pt x="12" y="184"/>
                    <a:pt x="0" y="253"/>
                  </a:cubicBezTo>
                  <a:cubicBezTo>
                    <a:pt x="0" y="253"/>
                    <a:pt x="28" y="197"/>
                    <a:pt x="176" y="197"/>
                  </a:cubicBezTo>
                  <a:cubicBezTo>
                    <a:pt x="198" y="197"/>
                    <a:pt x="224" y="198"/>
                    <a:pt x="253" y="201"/>
                  </a:cubicBezTo>
                  <a:cubicBezTo>
                    <a:pt x="319" y="209"/>
                    <a:pt x="370" y="223"/>
                    <a:pt x="400" y="246"/>
                  </a:cubicBezTo>
                  <a:lnTo>
                    <a:pt x="400" y="349"/>
                  </a:lnTo>
                  <a:lnTo>
                    <a:pt x="452" y="342"/>
                  </a:lnTo>
                  <a:lnTo>
                    <a:pt x="512" y="328"/>
                  </a:lnTo>
                  <a:lnTo>
                    <a:pt x="459" y="232"/>
                  </a:lnTo>
                  <a:cubicBezTo>
                    <a:pt x="482" y="201"/>
                    <a:pt x="512" y="157"/>
                    <a:pt x="571" y="120"/>
                  </a:cubicBezTo>
                  <a:cubicBezTo>
                    <a:pt x="656" y="51"/>
                    <a:pt x="723" y="37"/>
                    <a:pt x="766" y="37"/>
                  </a:cubicBezTo>
                  <a:cubicBezTo>
                    <a:pt x="797" y="37"/>
                    <a:pt x="815" y="45"/>
                    <a:pt x="815" y="45"/>
                  </a:cubicBezTo>
                  <a:cubicBezTo>
                    <a:pt x="792" y="15"/>
                    <a:pt x="755" y="1"/>
                    <a:pt x="712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7" name="Google Shape;5297;p53">
              <a:extLst>
                <a:ext uri="{FF2B5EF4-FFF2-40B4-BE49-F238E27FC236}">
                  <a16:creationId xmlns:a16="http://schemas.microsoft.com/office/drawing/2014/main" id="{13F3D376-08C0-E5D4-D40F-FBBDA9B13AF5}"/>
                </a:ext>
              </a:extLst>
            </p:cNvPr>
            <p:cNvSpPr/>
            <p:nvPr/>
          </p:nvSpPr>
          <p:spPr>
            <a:xfrm>
              <a:off x="7503925" y="1476125"/>
              <a:ext cx="10950" cy="4700"/>
            </a:xfrm>
            <a:custGeom>
              <a:avLst/>
              <a:gdLst/>
              <a:ahLst/>
              <a:cxnLst/>
              <a:rect l="l" t="t" r="r" b="b"/>
              <a:pathLst>
                <a:path w="438" h="188" extrusionOk="0">
                  <a:moveTo>
                    <a:pt x="385" y="1"/>
                  </a:moveTo>
                  <a:cubicBezTo>
                    <a:pt x="357" y="1"/>
                    <a:pt x="324" y="14"/>
                    <a:pt x="290" y="40"/>
                  </a:cubicBezTo>
                  <a:cubicBezTo>
                    <a:pt x="260" y="54"/>
                    <a:pt x="237" y="84"/>
                    <a:pt x="230" y="105"/>
                  </a:cubicBezTo>
                  <a:cubicBezTo>
                    <a:pt x="208" y="91"/>
                    <a:pt x="178" y="77"/>
                    <a:pt x="141" y="77"/>
                  </a:cubicBezTo>
                  <a:cubicBezTo>
                    <a:pt x="127" y="74"/>
                    <a:pt x="114" y="73"/>
                    <a:pt x="102" y="73"/>
                  </a:cubicBezTo>
                  <a:cubicBezTo>
                    <a:pt x="47" y="73"/>
                    <a:pt x="6" y="99"/>
                    <a:pt x="0" y="136"/>
                  </a:cubicBezTo>
                  <a:cubicBezTo>
                    <a:pt x="0" y="136"/>
                    <a:pt x="17" y="103"/>
                    <a:pt x="93" y="103"/>
                  </a:cubicBezTo>
                  <a:cubicBezTo>
                    <a:pt x="105" y="103"/>
                    <a:pt x="118" y="103"/>
                    <a:pt x="134" y="105"/>
                  </a:cubicBezTo>
                  <a:cubicBezTo>
                    <a:pt x="171" y="105"/>
                    <a:pt x="201" y="121"/>
                    <a:pt x="215" y="128"/>
                  </a:cubicBezTo>
                  <a:lnTo>
                    <a:pt x="215" y="187"/>
                  </a:lnTo>
                  <a:lnTo>
                    <a:pt x="246" y="180"/>
                  </a:lnTo>
                  <a:lnTo>
                    <a:pt x="274" y="173"/>
                  </a:lnTo>
                  <a:lnTo>
                    <a:pt x="246" y="121"/>
                  </a:lnTo>
                  <a:cubicBezTo>
                    <a:pt x="260" y="105"/>
                    <a:pt x="274" y="84"/>
                    <a:pt x="304" y="61"/>
                  </a:cubicBezTo>
                  <a:cubicBezTo>
                    <a:pt x="348" y="26"/>
                    <a:pt x="383" y="17"/>
                    <a:pt x="406" y="17"/>
                  </a:cubicBezTo>
                  <a:cubicBezTo>
                    <a:pt x="427" y="17"/>
                    <a:pt x="438" y="24"/>
                    <a:pt x="438" y="24"/>
                  </a:cubicBezTo>
                  <a:cubicBezTo>
                    <a:pt x="425" y="8"/>
                    <a:pt x="407" y="1"/>
                    <a:pt x="38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8" name="Google Shape;5298;p53">
              <a:extLst>
                <a:ext uri="{FF2B5EF4-FFF2-40B4-BE49-F238E27FC236}">
                  <a16:creationId xmlns:a16="http://schemas.microsoft.com/office/drawing/2014/main" id="{187E168E-1B40-BD34-DF22-9DE3B0A633C7}"/>
                </a:ext>
              </a:extLst>
            </p:cNvPr>
            <p:cNvSpPr/>
            <p:nvPr/>
          </p:nvSpPr>
          <p:spPr>
            <a:xfrm>
              <a:off x="7717150" y="1657150"/>
              <a:ext cx="58350" cy="24300"/>
            </a:xfrm>
            <a:custGeom>
              <a:avLst/>
              <a:gdLst/>
              <a:ahLst/>
              <a:cxnLst/>
              <a:rect l="l" t="t" r="r" b="b"/>
              <a:pathLst>
                <a:path w="2334" h="972" extrusionOk="0">
                  <a:moveTo>
                    <a:pt x="777" y="1"/>
                  </a:moveTo>
                  <a:cubicBezTo>
                    <a:pt x="511" y="1"/>
                    <a:pt x="297" y="216"/>
                    <a:pt x="297" y="474"/>
                  </a:cubicBezTo>
                  <a:lnTo>
                    <a:pt x="297" y="483"/>
                  </a:lnTo>
                  <a:cubicBezTo>
                    <a:pt x="281" y="483"/>
                    <a:pt x="260" y="474"/>
                    <a:pt x="244" y="474"/>
                  </a:cubicBezTo>
                  <a:cubicBezTo>
                    <a:pt x="110" y="474"/>
                    <a:pt x="0" y="586"/>
                    <a:pt x="0" y="719"/>
                  </a:cubicBezTo>
                  <a:cubicBezTo>
                    <a:pt x="0" y="853"/>
                    <a:pt x="110" y="956"/>
                    <a:pt x="244" y="956"/>
                  </a:cubicBezTo>
                  <a:lnTo>
                    <a:pt x="244" y="972"/>
                  </a:lnTo>
                  <a:lnTo>
                    <a:pt x="2179" y="972"/>
                  </a:lnTo>
                  <a:lnTo>
                    <a:pt x="2179" y="956"/>
                  </a:lnTo>
                  <a:cubicBezTo>
                    <a:pt x="2268" y="949"/>
                    <a:pt x="2333" y="867"/>
                    <a:pt x="2333" y="778"/>
                  </a:cubicBezTo>
                  <a:cubicBezTo>
                    <a:pt x="2333" y="682"/>
                    <a:pt x="2253" y="600"/>
                    <a:pt x="2156" y="600"/>
                  </a:cubicBezTo>
                  <a:cubicBezTo>
                    <a:pt x="2111" y="600"/>
                    <a:pt x="2076" y="616"/>
                    <a:pt x="2038" y="638"/>
                  </a:cubicBezTo>
                  <a:lnTo>
                    <a:pt x="2038" y="616"/>
                  </a:lnTo>
                  <a:cubicBezTo>
                    <a:pt x="2038" y="422"/>
                    <a:pt x="1889" y="268"/>
                    <a:pt x="1697" y="268"/>
                  </a:cubicBezTo>
                  <a:cubicBezTo>
                    <a:pt x="1587" y="268"/>
                    <a:pt x="1489" y="319"/>
                    <a:pt x="1430" y="394"/>
                  </a:cubicBezTo>
                  <a:cubicBezTo>
                    <a:pt x="1409" y="385"/>
                    <a:pt x="1378" y="385"/>
                    <a:pt x="1355" y="385"/>
                  </a:cubicBezTo>
                  <a:cubicBezTo>
                    <a:pt x="1320" y="385"/>
                    <a:pt x="1282" y="394"/>
                    <a:pt x="1252" y="408"/>
                  </a:cubicBezTo>
                  <a:cubicBezTo>
                    <a:pt x="1222" y="172"/>
                    <a:pt x="1023" y="1"/>
                    <a:pt x="77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9" name="Google Shape;5299;p53">
              <a:extLst>
                <a:ext uri="{FF2B5EF4-FFF2-40B4-BE49-F238E27FC236}">
                  <a16:creationId xmlns:a16="http://schemas.microsoft.com/office/drawing/2014/main" id="{054DFCC2-591A-FF7E-9468-A65D53BA8559}"/>
                </a:ext>
              </a:extLst>
            </p:cNvPr>
            <p:cNvSpPr/>
            <p:nvPr/>
          </p:nvSpPr>
          <p:spPr>
            <a:xfrm>
              <a:off x="7724350" y="1657350"/>
              <a:ext cx="10950" cy="22075"/>
            </a:xfrm>
            <a:custGeom>
              <a:avLst/>
              <a:gdLst/>
              <a:ahLst/>
              <a:cxnLst/>
              <a:rect l="l" t="t" r="r" b="b"/>
              <a:pathLst>
                <a:path w="438" h="883" extrusionOk="0">
                  <a:moveTo>
                    <a:pt x="438" y="0"/>
                  </a:moveTo>
                  <a:cubicBezTo>
                    <a:pt x="201" y="0"/>
                    <a:pt x="0" y="199"/>
                    <a:pt x="0" y="445"/>
                  </a:cubicBezTo>
                  <a:cubicBezTo>
                    <a:pt x="0" y="688"/>
                    <a:pt x="201" y="882"/>
                    <a:pt x="438" y="882"/>
                  </a:cubicBezTo>
                  <a:cubicBezTo>
                    <a:pt x="438" y="882"/>
                    <a:pt x="187" y="800"/>
                    <a:pt x="171" y="445"/>
                  </a:cubicBezTo>
                  <a:cubicBezTo>
                    <a:pt x="150" y="119"/>
                    <a:pt x="438" y="0"/>
                    <a:pt x="43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0" name="Google Shape;5300;p53">
              <a:extLst>
                <a:ext uri="{FF2B5EF4-FFF2-40B4-BE49-F238E27FC236}">
                  <a16:creationId xmlns:a16="http://schemas.microsoft.com/office/drawing/2014/main" id="{4EB0A54D-6311-C11D-8FB6-FC3DCE7A17A9}"/>
                </a:ext>
              </a:extLst>
            </p:cNvPr>
            <p:cNvSpPr/>
            <p:nvPr/>
          </p:nvSpPr>
          <p:spPr>
            <a:xfrm>
              <a:off x="7745475" y="1666775"/>
              <a:ext cx="11525" cy="5975"/>
            </a:xfrm>
            <a:custGeom>
              <a:avLst/>
              <a:gdLst/>
              <a:ahLst/>
              <a:cxnLst/>
              <a:rect l="l" t="t" r="r" b="b"/>
              <a:pathLst>
                <a:path w="461" h="239" extrusionOk="0">
                  <a:moveTo>
                    <a:pt x="231" y="0"/>
                  </a:moveTo>
                  <a:cubicBezTo>
                    <a:pt x="105" y="9"/>
                    <a:pt x="0" y="112"/>
                    <a:pt x="0" y="238"/>
                  </a:cubicBezTo>
                  <a:cubicBezTo>
                    <a:pt x="0" y="238"/>
                    <a:pt x="37" y="105"/>
                    <a:pt x="231" y="89"/>
                  </a:cubicBezTo>
                  <a:cubicBezTo>
                    <a:pt x="235" y="89"/>
                    <a:pt x="239" y="89"/>
                    <a:pt x="243" y="89"/>
                  </a:cubicBezTo>
                  <a:cubicBezTo>
                    <a:pt x="403" y="89"/>
                    <a:pt x="461" y="231"/>
                    <a:pt x="461" y="231"/>
                  </a:cubicBezTo>
                  <a:cubicBezTo>
                    <a:pt x="461" y="105"/>
                    <a:pt x="356" y="0"/>
                    <a:pt x="23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1" name="Google Shape;5301;p53">
              <a:extLst>
                <a:ext uri="{FF2B5EF4-FFF2-40B4-BE49-F238E27FC236}">
                  <a16:creationId xmlns:a16="http://schemas.microsoft.com/office/drawing/2014/main" id="{7AA90151-B551-98EB-B59A-D1E53517F35A}"/>
                </a:ext>
              </a:extLst>
            </p:cNvPr>
            <p:cNvSpPr/>
            <p:nvPr/>
          </p:nvSpPr>
          <p:spPr>
            <a:xfrm>
              <a:off x="7352750" y="1654925"/>
              <a:ext cx="60225" cy="25025"/>
            </a:xfrm>
            <a:custGeom>
              <a:avLst/>
              <a:gdLst/>
              <a:ahLst/>
              <a:cxnLst/>
              <a:rect l="l" t="t" r="r" b="b"/>
              <a:pathLst>
                <a:path w="2409" h="1001" extrusionOk="0">
                  <a:moveTo>
                    <a:pt x="1608" y="1"/>
                  </a:moveTo>
                  <a:cubicBezTo>
                    <a:pt x="1358" y="1"/>
                    <a:pt x="1150" y="186"/>
                    <a:pt x="1119" y="422"/>
                  </a:cubicBezTo>
                  <a:cubicBezTo>
                    <a:pt x="1082" y="408"/>
                    <a:pt x="1054" y="401"/>
                    <a:pt x="1016" y="401"/>
                  </a:cubicBezTo>
                  <a:cubicBezTo>
                    <a:pt x="986" y="401"/>
                    <a:pt x="965" y="401"/>
                    <a:pt x="934" y="408"/>
                  </a:cubicBezTo>
                  <a:cubicBezTo>
                    <a:pt x="876" y="334"/>
                    <a:pt x="771" y="282"/>
                    <a:pt x="660" y="282"/>
                  </a:cubicBezTo>
                  <a:cubicBezTo>
                    <a:pt x="468" y="282"/>
                    <a:pt x="305" y="438"/>
                    <a:pt x="305" y="638"/>
                  </a:cubicBezTo>
                  <a:lnTo>
                    <a:pt x="305" y="661"/>
                  </a:lnTo>
                  <a:cubicBezTo>
                    <a:pt x="275" y="638"/>
                    <a:pt x="230" y="623"/>
                    <a:pt x="186" y="623"/>
                  </a:cubicBezTo>
                  <a:cubicBezTo>
                    <a:pt x="83" y="623"/>
                    <a:pt x="1" y="705"/>
                    <a:pt x="1" y="808"/>
                  </a:cubicBezTo>
                  <a:cubicBezTo>
                    <a:pt x="1" y="904"/>
                    <a:pt x="68" y="979"/>
                    <a:pt x="164" y="993"/>
                  </a:cubicBezTo>
                  <a:lnTo>
                    <a:pt x="164" y="1000"/>
                  </a:lnTo>
                  <a:lnTo>
                    <a:pt x="2165" y="1000"/>
                  </a:lnTo>
                  <a:lnTo>
                    <a:pt x="2165" y="993"/>
                  </a:lnTo>
                  <a:cubicBezTo>
                    <a:pt x="2298" y="993"/>
                    <a:pt x="2409" y="883"/>
                    <a:pt x="2409" y="750"/>
                  </a:cubicBezTo>
                  <a:cubicBezTo>
                    <a:pt x="2409" y="607"/>
                    <a:pt x="2298" y="497"/>
                    <a:pt x="2165" y="497"/>
                  </a:cubicBezTo>
                  <a:cubicBezTo>
                    <a:pt x="2142" y="497"/>
                    <a:pt x="2121" y="497"/>
                    <a:pt x="2105" y="504"/>
                  </a:cubicBezTo>
                  <a:lnTo>
                    <a:pt x="2105" y="497"/>
                  </a:lnTo>
                  <a:cubicBezTo>
                    <a:pt x="2105" y="223"/>
                    <a:pt x="1882" y="1"/>
                    <a:pt x="1608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2" name="Google Shape;5302;p53">
              <a:extLst>
                <a:ext uri="{FF2B5EF4-FFF2-40B4-BE49-F238E27FC236}">
                  <a16:creationId xmlns:a16="http://schemas.microsoft.com/office/drawing/2014/main" id="{F6AB4A30-1F35-F4C5-61F7-EC6A857A7B37}"/>
                </a:ext>
              </a:extLst>
            </p:cNvPr>
            <p:cNvSpPr/>
            <p:nvPr/>
          </p:nvSpPr>
          <p:spPr>
            <a:xfrm>
              <a:off x="7397225" y="1655650"/>
              <a:ext cx="8375" cy="11900"/>
            </a:xfrm>
            <a:custGeom>
              <a:avLst/>
              <a:gdLst/>
              <a:ahLst/>
              <a:cxnLst/>
              <a:rect l="l" t="t" r="r" b="b"/>
              <a:pathLst>
                <a:path w="335" h="476" extrusionOk="0">
                  <a:moveTo>
                    <a:pt x="0" y="0"/>
                  </a:moveTo>
                  <a:lnTo>
                    <a:pt x="0" y="0"/>
                  </a:lnTo>
                  <a:cubicBezTo>
                    <a:pt x="192" y="75"/>
                    <a:pt x="326" y="253"/>
                    <a:pt x="326" y="468"/>
                  </a:cubicBezTo>
                  <a:lnTo>
                    <a:pt x="326" y="475"/>
                  </a:lnTo>
                  <a:lnTo>
                    <a:pt x="334" y="475"/>
                  </a:lnTo>
                  <a:lnTo>
                    <a:pt x="334" y="438"/>
                  </a:lnTo>
                  <a:cubicBezTo>
                    <a:pt x="334" y="232"/>
                    <a:pt x="192" y="61"/>
                    <a:pt x="0" y="0"/>
                  </a:cubicBezTo>
                  <a:close/>
                </a:path>
              </a:pathLst>
            </a:custGeom>
            <a:solidFill>
              <a:srgbClr val="EDED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3" name="Google Shape;5303;p53">
              <a:extLst>
                <a:ext uri="{FF2B5EF4-FFF2-40B4-BE49-F238E27FC236}">
                  <a16:creationId xmlns:a16="http://schemas.microsoft.com/office/drawing/2014/main" id="{A7CBD10B-5B46-87D8-5C0D-EA3A692EC08D}"/>
                </a:ext>
              </a:extLst>
            </p:cNvPr>
            <p:cNvSpPr/>
            <p:nvPr/>
          </p:nvSpPr>
          <p:spPr>
            <a:xfrm>
              <a:off x="7394225" y="1655300"/>
              <a:ext cx="11375" cy="22825"/>
            </a:xfrm>
            <a:custGeom>
              <a:avLst/>
              <a:gdLst/>
              <a:ahLst/>
              <a:cxnLst/>
              <a:rect l="l" t="t" r="r" b="b"/>
              <a:pathLst>
                <a:path w="455" h="913" extrusionOk="0">
                  <a:moveTo>
                    <a:pt x="1" y="0"/>
                  </a:moveTo>
                  <a:cubicBezTo>
                    <a:pt x="1" y="0"/>
                    <a:pt x="298" y="119"/>
                    <a:pt x="284" y="452"/>
                  </a:cubicBezTo>
                  <a:cubicBezTo>
                    <a:pt x="261" y="824"/>
                    <a:pt x="1" y="913"/>
                    <a:pt x="1" y="913"/>
                  </a:cubicBezTo>
                  <a:cubicBezTo>
                    <a:pt x="239" y="913"/>
                    <a:pt x="438" y="719"/>
                    <a:pt x="454" y="489"/>
                  </a:cubicBezTo>
                  <a:lnTo>
                    <a:pt x="446" y="489"/>
                  </a:lnTo>
                  <a:lnTo>
                    <a:pt x="446" y="482"/>
                  </a:lnTo>
                  <a:cubicBezTo>
                    <a:pt x="446" y="267"/>
                    <a:pt x="312" y="89"/>
                    <a:pt x="120" y="14"/>
                  </a:cubicBezTo>
                  <a:cubicBezTo>
                    <a:pt x="83" y="7"/>
                    <a:pt x="45" y="0"/>
                    <a:pt x="1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4" name="Google Shape;5304;p53">
              <a:extLst>
                <a:ext uri="{FF2B5EF4-FFF2-40B4-BE49-F238E27FC236}">
                  <a16:creationId xmlns:a16="http://schemas.microsoft.com/office/drawing/2014/main" id="{3707DAD8-E478-6F82-A75E-EAB9BCB0BFDB}"/>
                </a:ext>
              </a:extLst>
            </p:cNvPr>
            <p:cNvSpPr/>
            <p:nvPr/>
          </p:nvSpPr>
          <p:spPr>
            <a:xfrm>
              <a:off x="7371825" y="1665125"/>
              <a:ext cx="11900" cy="5925"/>
            </a:xfrm>
            <a:custGeom>
              <a:avLst/>
              <a:gdLst/>
              <a:ahLst/>
              <a:cxnLst/>
              <a:rect l="l" t="t" r="r" b="b"/>
              <a:pathLst>
                <a:path w="476" h="237" extrusionOk="0">
                  <a:moveTo>
                    <a:pt x="239" y="0"/>
                  </a:moveTo>
                  <a:cubicBezTo>
                    <a:pt x="113" y="0"/>
                    <a:pt x="8" y="103"/>
                    <a:pt x="1" y="230"/>
                  </a:cubicBezTo>
                  <a:cubicBezTo>
                    <a:pt x="1" y="230"/>
                    <a:pt x="61" y="89"/>
                    <a:pt x="223" y="89"/>
                  </a:cubicBezTo>
                  <a:lnTo>
                    <a:pt x="246" y="89"/>
                  </a:lnTo>
                  <a:cubicBezTo>
                    <a:pt x="438" y="103"/>
                    <a:pt x="475" y="237"/>
                    <a:pt x="475" y="237"/>
                  </a:cubicBezTo>
                  <a:cubicBezTo>
                    <a:pt x="475" y="103"/>
                    <a:pt x="372" y="0"/>
                    <a:pt x="246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5" name="Google Shape;5305;p53">
              <a:extLst>
                <a:ext uri="{FF2B5EF4-FFF2-40B4-BE49-F238E27FC236}">
                  <a16:creationId xmlns:a16="http://schemas.microsoft.com/office/drawing/2014/main" id="{C617D7EE-590D-3D47-5A1C-6DC0C88260D7}"/>
                </a:ext>
              </a:extLst>
            </p:cNvPr>
            <p:cNvSpPr/>
            <p:nvPr/>
          </p:nvSpPr>
          <p:spPr>
            <a:xfrm>
              <a:off x="7309975" y="1567125"/>
              <a:ext cx="59475" cy="74850"/>
            </a:xfrm>
            <a:custGeom>
              <a:avLst/>
              <a:gdLst/>
              <a:ahLst/>
              <a:cxnLst/>
              <a:rect l="l" t="t" r="r" b="b"/>
              <a:pathLst>
                <a:path w="2379" h="2994" extrusionOk="0">
                  <a:moveTo>
                    <a:pt x="1185" y="1"/>
                  </a:moveTo>
                  <a:cubicBezTo>
                    <a:pt x="675" y="1"/>
                    <a:pt x="252" y="415"/>
                    <a:pt x="252" y="934"/>
                  </a:cubicBezTo>
                  <a:cubicBezTo>
                    <a:pt x="252" y="979"/>
                    <a:pt x="259" y="1023"/>
                    <a:pt x="268" y="1068"/>
                  </a:cubicBezTo>
                  <a:cubicBezTo>
                    <a:pt x="104" y="1267"/>
                    <a:pt x="1" y="1527"/>
                    <a:pt x="1" y="1808"/>
                  </a:cubicBezTo>
                  <a:cubicBezTo>
                    <a:pt x="1" y="2467"/>
                    <a:pt x="534" y="2994"/>
                    <a:pt x="1185" y="2994"/>
                  </a:cubicBezTo>
                  <a:cubicBezTo>
                    <a:pt x="1845" y="2994"/>
                    <a:pt x="2379" y="2467"/>
                    <a:pt x="2379" y="1808"/>
                  </a:cubicBezTo>
                  <a:cubicBezTo>
                    <a:pt x="2379" y="1527"/>
                    <a:pt x="2275" y="1267"/>
                    <a:pt x="2112" y="1068"/>
                  </a:cubicBezTo>
                  <a:cubicBezTo>
                    <a:pt x="2119" y="1023"/>
                    <a:pt x="2126" y="979"/>
                    <a:pt x="2126" y="934"/>
                  </a:cubicBezTo>
                  <a:cubicBezTo>
                    <a:pt x="2126" y="415"/>
                    <a:pt x="1705" y="1"/>
                    <a:pt x="118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6" name="Google Shape;5306;p53">
              <a:extLst>
                <a:ext uri="{FF2B5EF4-FFF2-40B4-BE49-F238E27FC236}">
                  <a16:creationId xmlns:a16="http://schemas.microsoft.com/office/drawing/2014/main" id="{7A6D9A17-FFDF-ECAF-3376-CA2C0541D724}"/>
                </a:ext>
              </a:extLst>
            </p:cNvPr>
            <p:cNvSpPr/>
            <p:nvPr/>
          </p:nvSpPr>
          <p:spPr>
            <a:xfrm>
              <a:off x="7339600" y="1590125"/>
              <a:ext cx="2825" cy="89100"/>
            </a:xfrm>
            <a:custGeom>
              <a:avLst/>
              <a:gdLst/>
              <a:ahLst/>
              <a:cxnLst/>
              <a:rect l="l" t="t" r="r" b="b"/>
              <a:pathLst>
                <a:path w="113" h="3564" extrusionOk="0">
                  <a:moveTo>
                    <a:pt x="54" y="1"/>
                  </a:moveTo>
                  <a:cubicBezTo>
                    <a:pt x="53" y="1"/>
                    <a:pt x="52" y="4"/>
                    <a:pt x="52" y="14"/>
                  </a:cubicBezTo>
                  <a:lnTo>
                    <a:pt x="0" y="3511"/>
                  </a:lnTo>
                  <a:cubicBezTo>
                    <a:pt x="0" y="3534"/>
                    <a:pt x="23" y="3564"/>
                    <a:pt x="52" y="3564"/>
                  </a:cubicBezTo>
                  <a:lnTo>
                    <a:pt x="61" y="3564"/>
                  </a:lnTo>
                  <a:cubicBezTo>
                    <a:pt x="89" y="3564"/>
                    <a:pt x="112" y="3534"/>
                    <a:pt x="112" y="3511"/>
                  </a:cubicBezTo>
                  <a:cubicBezTo>
                    <a:pt x="112" y="3511"/>
                    <a:pt x="89" y="14"/>
                    <a:pt x="61" y="14"/>
                  </a:cubicBezTo>
                  <a:cubicBezTo>
                    <a:pt x="61" y="14"/>
                    <a:pt x="57" y="1"/>
                    <a:pt x="5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7" name="Google Shape;5307;p53">
              <a:extLst>
                <a:ext uri="{FF2B5EF4-FFF2-40B4-BE49-F238E27FC236}">
                  <a16:creationId xmlns:a16="http://schemas.microsoft.com/office/drawing/2014/main" id="{67716D32-BA58-D46C-3B56-588EB101AE40}"/>
                </a:ext>
              </a:extLst>
            </p:cNvPr>
            <p:cNvSpPr/>
            <p:nvPr/>
          </p:nvSpPr>
          <p:spPr>
            <a:xfrm>
              <a:off x="7324025" y="1611600"/>
              <a:ext cx="16875" cy="13875"/>
            </a:xfrm>
            <a:custGeom>
              <a:avLst/>
              <a:gdLst/>
              <a:ahLst/>
              <a:cxnLst/>
              <a:rect l="l" t="t" r="r" b="b"/>
              <a:pathLst>
                <a:path w="675" h="555" extrusionOk="0">
                  <a:moveTo>
                    <a:pt x="1" y="0"/>
                  </a:moveTo>
                  <a:lnTo>
                    <a:pt x="1" y="0"/>
                  </a:lnTo>
                  <a:cubicBezTo>
                    <a:pt x="331" y="541"/>
                    <a:pt x="634" y="555"/>
                    <a:pt x="665" y="555"/>
                  </a:cubicBezTo>
                  <a:cubicBezTo>
                    <a:pt x="667" y="555"/>
                    <a:pt x="668" y="555"/>
                    <a:pt x="668" y="555"/>
                  </a:cubicBezTo>
                  <a:lnTo>
                    <a:pt x="675" y="473"/>
                  </a:lnTo>
                  <a:lnTo>
                    <a:pt x="675" y="473"/>
                  </a:lnTo>
                  <a:cubicBezTo>
                    <a:pt x="675" y="473"/>
                    <a:pt x="668" y="479"/>
                    <a:pt x="647" y="479"/>
                  </a:cubicBezTo>
                  <a:cubicBezTo>
                    <a:pt x="606" y="479"/>
                    <a:pt x="511" y="455"/>
                    <a:pt x="312" y="311"/>
                  </a:cubicBezTo>
                  <a:cubicBezTo>
                    <a:pt x="134" y="18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8" name="Google Shape;5308;p53">
              <a:extLst>
                <a:ext uri="{FF2B5EF4-FFF2-40B4-BE49-F238E27FC236}">
                  <a16:creationId xmlns:a16="http://schemas.microsoft.com/office/drawing/2014/main" id="{F649591E-85C6-7933-53EC-7617EC2E2697}"/>
                </a:ext>
              </a:extLst>
            </p:cNvPr>
            <p:cNvSpPr/>
            <p:nvPr/>
          </p:nvSpPr>
          <p:spPr>
            <a:xfrm>
              <a:off x="7340875" y="1607675"/>
              <a:ext cx="14475" cy="11900"/>
            </a:xfrm>
            <a:custGeom>
              <a:avLst/>
              <a:gdLst/>
              <a:ahLst/>
              <a:cxnLst/>
              <a:rect l="l" t="t" r="r" b="b"/>
              <a:pathLst>
                <a:path w="579" h="476" extrusionOk="0">
                  <a:moveTo>
                    <a:pt x="579" y="1"/>
                  </a:moveTo>
                  <a:cubicBezTo>
                    <a:pt x="579" y="1"/>
                    <a:pt x="461" y="164"/>
                    <a:pt x="312" y="267"/>
                  </a:cubicBezTo>
                  <a:cubicBezTo>
                    <a:pt x="143" y="392"/>
                    <a:pt x="60" y="413"/>
                    <a:pt x="24" y="413"/>
                  </a:cubicBezTo>
                  <a:cubicBezTo>
                    <a:pt x="7" y="413"/>
                    <a:pt x="1" y="408"/>
                    <a:pt x="1" y="408"/>
                  </a:cubicBezTo>
                  <a:lnTo>
                    <a:pt x="1" y="408"/>
                  </a:lnTo>
                  <a:lnTo>
                    <a:pt x="10" y="475"/>
                  </a:lnTo>
                  <a:cubicBezTo>
                    <a:pt x="10" y="475"/>
                    <a:pt x="11" y="475"/>
                    <a:pt x="12" y="475"/>
                  </a:cubicBezTo>
                  <a:cubicBezTo>
                    <a:pt x="40" y="475"/>
                    <a:pt x="300" y="463"/>
                    <a:pt x="57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9" name="Google Shape;5309;p53">
              <a:extLst>
                <a:ext uri="{FF2B5EF4-FFF2-40B4-BE49-F238E27FC236}">
                  <a16:creationId xmlns:a16="http://schemas.microsoft.com/office/drawing/2014/main" id="{3B060D69-70F7-08FD-99FC-676F4D94DC50}"/>
                </a:ext>
              </a:extLst>
            </p:cNvPr>
            <p:cNvSpPr/>
            <p:nvPr/>
          </p:nvSpPr>
          <p:spPr>
            <a:xfrm>
              <a:off x="7329425" y="1599375"/>
              <a:ext cx="11475" cy="9450"/>
            </a:xfrm>
            <a:custGeom>
              <a:avLst/>
              <a:gdLst/>
              <a:ahLst/>
              <a:cxnLst/>
              <a:rect l="l" t="t" r="r" b="b"/>
              <a:pathLst>
                <a:path w="459" h="378" extrusionOk="0">
                  <a:moveTo>
                    <a:pt x="0" y="0"/>
                  </a:moveTo>
                  <a:cubicBezTo>
                    <a:pt x="228" y="370"/>
                    <a:pt x="443" y="377"/>
                    <a:pt x="458" y="377"/>
                  </a:cubicBezTo>
                  <a:cubicBezTo>
                    <a:pt x="459" y="377"/>
                    <a:pt x="459" y="377"/>
                    <a:pt x="459" y="377"/>
                  </a:cubicBezTo>
                  <a:lnTo>
                    <a:pt x="459" y="325"/>
                  </a:lnTo>
                  <a:cubicBezTo>
                    <a:pt x="459" y="325"/>
                    <a:pt x="455" y="328"/>
                    <a:pt x="444" y="328"/>
                  </a:cubicBezTo>
                  <a:cubicBezTo>
                    <a:pt x="417" y="328"/>
                    <a:pt x="352" y="313"/>
                    <a:pt x="208" y="215"/>
                  </a:cubicBezTo>
                  <a:cubicBezTo>
                    <a:pt x="89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0" name="Google Shape;5310;p53">
              <a:extLst>
                <a:ext uri="{FF2B5EF4-FFF2-40B4-BE49-F238E27FC236}">
                  <a16:creationId xmlns:a16="http://schemas.microsoft.com/office/drawing/2014/main" id="{9BDD6BEC-8658-B259-5EF9-C2F1DC7DEE2C}"/>
                </a:ext>
              </a:extLst>
            </p:cNvPr>
            <p:cNvSpPr/>
            <p:nvPr/>
          </p:nvSpPr>
          <p:spPr>
            <a:xfrm>
              <a:off x="7378150" y="1188300"/>
              <a:ext cx="26700" cy="26700"/>
            </a:xfrm>
            <a:custGeom>
              <a:avLst/>
              <a:gdLst/>
              <a:ahLst/>
              <a:cxnLst/>
              <a:rect l="l" t="t" r="r" b="b"/>
              <a:pathLst>
                <a:path w="1068" h="1068" extrusionOk="0">
                  <a:moveTo>
                    <a:pt x="534" y="0"/>
                  </a:moveTo>
                  <a:cubicBezTo>
                    <a:pt x="237" y="0"/>
                    <a:pt x="0" y="237"/>
                    <a:pt x="0" y="534"/>
                  </a:cubicBezTo>
                  <a:cubicBezTo>
                    <a:pt x="0" y="831"/>
                    <a:pt x="237" y="1067"/>
                    <a:pt x="534" y="1067"/>
                  </a:cubicBezTo>
                  <a:cubicBezTo>
                    <a:pt x="831" y="1067"/>
                    <a:pt x="1067" y="831"/>
                    <a:pt x="1067" y="534"/>
                  </a:cubicBezTo>
                  <a:cubicBezTo>
                    <a:pt x="1067" y="237"/>
                    <a:pt x="831" y="0"/>
                    <a:pt x="534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1" name="Google Shape;5311;p53">
              <a:extLst>
                <a:ext uri="{FF2B5EF4-FFF2-40B4-BE49-F238E27FC236}">
                  <a16:creationId xmlns:a16="http://schemas.microsoft.com/office/drawing/2014/main" id="{F47529CF-CF81-3B89-F828-9D799055D7C0}"/>
                </a:ext>
              </a:extLst>
            </p:cNvPr>
            <p:cNvSpPr/>
            <p:nvPr/>
          </p:nvSpPr>
          <p:spPr>
            <a:xfrm>
              <a:off x="7314200" y="1224800"/>
              <a:ext cx="9850" cy="9850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2" y="0"/>
                  </a:moveTo>
                  <a:cubicBezTo>
                    <a:pt x="90" y="0"/>
                    <a:pt x="1" y="89"/>
                    <a:pt x="1" y="192"/>
                  </a:cubicBezTo>
                  <a:cubicBezTo>
                    <a:pt x="1" y="304"/>
                    <a:pt x="90" y="393"/>
                    <a:pt x="202" y="393"/>
                  </a:cubicBezTo>
                  <a:cubicBezTo>
                    <a:pt x="312" y="393"/>
                    <a:pt x="394" y="304"/>
                    <a:pt x="394" y="192"/>
                  </a:cubicBezTo>
                  <a:cubicBezTo>
                    <a:pt x="394" y="89"/>
                    <a:pt x="312" y="0"/>
                    <a:pt x="202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2" name="Google Shape;5312;p53">
              <a:extLst>
                <a:ext uri="{FF2B5EF4-FFF2-40B4-BE49-F238E27FC236}">
                  <a16:creationId xmlns:a16="http://schemas.microsoft.com/office/drawing/2014/main" id="{AE5C36B8-022A-E977-2F1E-B626F2034619}"/>
                </a:ext>
              </a:extLst>
            </p:cNvPr>
            <p:cNvSpPr/>
            <p:nvPr/>
          </p:nvSpPr>
          <p:spPr>
            <a:xfrm>
              <a:off x="7569850" y="1372975"/>
              <a:ext cx="12650" cy="12600"/>
            </a:xfrm>
            <a:custGeom>
              <a:avLst/>
              <a:gdLst/>
              <a:ahLst/>
              <a:cxnLst/>
              <a:rect l="l" t="t" r="r" b="b"/>
              <a:pathLst>
                <a:path w="506" h="504" extrusionOk="0">
                  <a:moveTo>
                    <a:pt x="253" y="1"/>
                  </a:moveTo>
                  <a:cubicBezTo>
                    <a:pt x="113" y="1"/>
                    <a:pt x="0" y="113"/>
                    <a:pt x="0" y="253"/>
                  </a:cubicBezTo>
                  <a:cubicBezTo>
                    <a:pt x="0" y="394"/>
                    <a:pt x="113" y="504"/>
                    <a:pt x="253" y="504"/>
                  </a:cubicBezTo>
                  <a:cubicBezTo>
                    <a:pt x="394" y="504"/>
                    <a:pt x="506" y="394"/>
                    <a:pt x="506" y="253"/>
                  </a:cubicBezTo>
                  <a:cubicBezTo>
                    <a:pt x="506" y="113"/>
                    <a:pt x="394" y="1"/>
                    <a:pt x="253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3" name="Google Shape;5313;p53">
              <a:extLst>
                <a:ext uri="{FF2B5EF4-FFF2-40B4-BE49-F238E27FC236}">
                  <a16:creationId xmlns:a16="http://schemas.microsoft.com/office/drawing/2014/main" id="{746883B5-4293-2608-89BD-09AB7ACC26FC}"/>
                </a:ext>
              </a:extLst>
            </p:cNvPr>
            <p:cNvSpPr/>
            <p:nvPr/>
          </p:nvSpPr>
          <p:spPr>
            <a:xfrm>
              <a:off x="7452975" y="1412050"/>
              <a:ext cx="63550" cy="63775"/>
            </a:xfrm>
            <a:custGeom>
              <a:avLst/>
              <a:gdLst/>
              <a:ahLst/>
              <a:cxnLst/>
              <a:rect l="l" t="t" r="r" b="b"/>
              <a:pathLst>
                <a:path w="2542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1972" y="2551"/>
                    <a:pt x="2541" y="1980"/>
                    <a:pt x="2541" y="1276"/>
                  </a:cubicBezTo>
                  <a:cubicBezTo>
                    <a:pt x="2541" y="572"/>
                    <a:pt x="1972" y="1"/>
                    <a:pt x="1275" y="1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4" name="Google Shape;5314;p53">
              <a:extLst>
                <a:ext uri="{FF2B5EF4-FFF2-40B4-BE49-F238E27FC236}">
                  <a16:creationId xmlns:a16="http://schemas.microsoft.com/office/drawing/2014/main" id="{98F4F975-F460-2E55-619B-B2DE884BBF19}"/>
                </a:ext>
              </a:extLst>
            </p:cNvPr>
            <p:cNvSpPr/>
            <p:nvPr/>
          </p:nvSpPr>
          <p:spPr>
            <a:xfrm>
              <a:off x="7452800" y="1412050"/>
              <a:ext cx="31900" cy="63775"/>
            </a:xfrm>
            <a:custGeom>
              <a:avLst/>
              <a:gdLst/>
              <a:ahLst/>
              <a:cxnLst/>
              <a:rect l="l" t="t" r="r" b="b"/>
              <a:pathLst>
                <a:path w="1276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571" y="2542"/>
                    <a:pt x="7" y="1980"/>
                    <a:pt x="7" y="1276"/>
                  </a:cubicBezTo>
                  <a:cubicBezTo>
                    <a:pt x="7" y="572"/>
                    <a:pt x="571" y="8"/>
                    <a:pt x="1275" y="1"/>
                  </a:cubicBezTo>
                  <a:close/>
                </a:path>
              </a:pathLst>
            </a:custGeom>
            <a:solidFill>
              <a:srgbClr val="99A0A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5" name="Google Shape;5315;p53">
              <a:extLst>
                <a:ext uri="{FF2B5EF4-FFF2-40B4-BE49-F238E27FC236}">
                  <a16:creationId xmlns:a16="http://schemas.microsoft.com/office/drawing/2014/main" id="{BFB7E2C8-F296-819F-096D-9A105E9DE6AB}"/>
                </a:ext>
              </a:extLst>
            </p:cNvPr>
            <p:cNvSpPr/>
            <p:nvPr/>
          </p:nvSpPr>
          <p:spPr>
            <a:xfrm>
              <a:off x="7452975" y="1412050"/>
              <a:ext cx="31725" cy="63775"/>
            </a:xfrm>
            <a:custGeom>
              <a:avLst/>
              <a:gdLst/>
              <a:ahLst/>
              <a:cxnLst/>
              <a:rect l="l" t="t" r="r" b="b"/>
              <a:pathLst>
                <a:path w="1269" h="2551" extrusionOk="0">
                  <a:moveTo>
                    <a:pt x="1268" y="1"/>
                  </a:moveTo>
                  <a:cubicBezTo>
                    <a:pt x="564" y="8"/>
                    <a:pt x="0" y="572"/>
                    <a:pt x="0" y="1276"/>
                  </a:cubicBezTo>
                  <a:cubicBezTo>
                    <a:pt x="0" y="1980"/>
                    <a:pt x="564" y="2542"/>
                    <a:pt x="1268" y="2551"/>
                  </a:cubicBezTo>
                  <a:cubicBezTo>
                    <a:pt x="1268" y="2542"/>
                    <a:pt x="578" y="1913"/>
                    <a:pt x="578" y="1276"/>
                  </a:cubicBezTo>
                  <a:cubicBezTo>
                    <a:pt x="578" y="639"/>
                    <a:pt x="1268" y="8"/>
                    <a:pt x="1268" y="1"/>
                  </a:cubicBezTo>
                  <a:close/>
                </a:path>
              </a:pathLst>
            </a:custGeom>
            <a:solidFill>
              <a:srgbClr val="FFE9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6" name="Google Shape;5316;p53">
              <a:extLst>
                <a:ext uri="{FF2B5EF4-FFF2-40B4-BE49-F238E27FC236}">
                  <a16:creationId xmlns:a16="http://schemas.microsoft.com/office/drawing/2014/main" id="{CFDEDF61-BF20-6C19-50A7-60F9736A6958}"/>
                </a:ext>
              </a:extLst>
            </p:cNvPr>
            <p:cNvSpPr/>
            <p:nvPr/>
          </p:nvSpPr>
          <p:spPr>
            <a:xfrm>
              <a:off x="7148250" y="1678625"/>
              <a:ext cx="644150" cy="39875"/>
            </a:xfrm>
            <a:custGeom>
              <a:avLst/>
              <a:gdLst/>
              <a:ahLst/>
              <a:cxnLst/>
              <a:rect l="l" t="t" r="r" b="b"/>
              <a:pathLst>
                <a:path w="25766" h="1595" extrusionOk="0">
                  <a:moveTo>
                    <a:pt x="1615" y="1"/>
                  </a:moveTo>
                  <a:cubicBezTo>
                    <a:pt x="0" y="1"/>
                    <a:pt x="141" y="1594"/>
                    <a:pt x="1615" y="1594"/>
                  </a:cubicBezTo>
                  <a:lnTo>
                    <a:pt x="25765" y="1594"/>
                  </a:lnTo>
                  <a:lnTo>
                    <a:pt x="25765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7" name="Google Shape;5317;p53">
              <a:extLst>
                <a:ext uri="{FF2B5EF4-FFF2-40B4-BE49-F238E27FC236}">
                  <a16:creationId xmlns:a16="http://schemas.microsoft.com/office/drawing/2014/main" id="{81AC5252-4C8E-2B12-75B2-F712E1227462}"/>
                </a:ext>
              </a:extLst>
            </p:cNvPr>
            <p:cNvSpPr/>
            <p:nvPr/>
          </p:nvSpPr>
          <p:spPr>
            <a:xfrm>
              <a:off x="7095475" y="1718475"/>
              <a:ext cx="696925" cy="39850"/>
            </a:xfrm>
            <a:custGeom>
              <a:avLst/>
              <a:gdLst/>
              <a:ahLst/>
              <a:cxnLst/>
              <a:rect l="l" t="t" r="r" b="b"/>
              <a:pathLst>
                <a:path w="27877" h="1594" extrusionOk="0">
                  <a:moveTo>
                    <a:pt x="1615" y="0"/>
                  </a:moveTo>
                  <a:cubicBezTo>
                    <a:pt x="45" y="0"/>
                    <a:pt x="0" y="1594"/>
                    <a:pt x="1615" y="1594"/>
                  </a:cubicBezTo>
                  <a:lnTo>
                    <a:pt x="27876" y="1594"/>
                  </a:lnTo>
                  <a:lnTo>
                    <a:pt x="2787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" name="Google Shape;5221;p53">
            <a:extLst>
              <a:ext uri="{FF2B5EF4-FFF2-40B4-BE49-F238E27FC236}">
                <a16:creationId xmlns:a16="http://schemas.microsoft.com/office/drawing/2014/main" id="{D7BE9359-0F10-2E14-382C-EE58C663B2A8}"/>
              </a:ext>
            </a:extLst>
          </p:cNvPr>
          <p:cNvGrpSpPr/>
          <p:nvPr/>
        </p:nvGrpSpPr>
        <p:grpSpPr>
          <a:xfrm>
            <a:off x="-1746062" y="-869871"/>
            <a:ext cx="2520565" cy="1945481"/>
            <a:chOff x="7095475" y="1127208"/>
            <a:chExt cx="817675" cy="631117"/>
          </a:xfrm>
        </p:grpSpPr>
        <p:sp>
          <p:nvSpPr>
            <p:cNvPr id="12" name="Google Shape;5222;p53">
              <a:extLst>
                <a:ext uri="{FF2B5EF4-FFF2-40B4-BE49-F238E27FC236}">
                  <a16:creationId xmlns:a16="http://schemas.microsoft.com/office/drawing/2014/main" id="{8944BB35-BC10-CA42-0A0E-A5A02739385C}"/>
                </a:ext>
              </a:extLst>
            </p:cNvPr>
            <p:cNvSpPr/>
            <p:nvPr/>
          </p:nvSpPr>
          <p:spPr>
            <a:xfrm>
              <a:off x="7137300" y="1488925"/>
              <a:ext cx="169725" cy="73950"/>
            </a:xfrm>
            <a:custGeom>
              <a:avLst/>
              <a:gdLst/>
              <a:ahLst/>
              <a:cxnLst/>
              <a:rect l="l" t="t" r="r" b="b"/>
              <a:pathLst>
                <a:path w="6789" h="2958" extrusionOk="0">
                  <a:moveTo>
                    <a:pt x="3232" y="0"/>
                  </a:moveTo>
                  <a:cubicBezTo>
                    <a:pt x="2690" y="0"/>
                    <a:pt x="2239" y="391"/>
                    <a:pt x="2135" y="906"/>
                  </a:cubicBezTo>
                  <a:cubicBezTo>
                    <a:pt x="2097" y="899"/>
                    <a:pt x="2062" y="899"/>
                    <a:pt x="2017" y="890"/>
                  </a:cubicBezTo>
                  <a:cubicBezTo>
                    <a:pt x="1550" y="890"/>
                    <a:pt x="1157" y="1261"/>
                    <a:pt x="1135" y="1727"/>
                  </a:cubicBezTo>
                  <a:cubicBezTo>
                    <a:pt x="586" y="1868"/>
                    <a:pt x="150" y="2305"/>
                    <a:pt x="1" y="2855"/>
                  </a:cubicBezTo>
                  <a:lnTo>
                    <a:pt x="6789" y="2958"/>
                  </a:lnTo>
                  <a:cubicBezTo>
                    <a:pt x="6625" y="2268"/>
                    <a:pt x="6241" y="1743"/>
                    <a:pt x="5499" y="1734"/>
                  </a:cubicBezTo>
                  <a:lnTo>
                    <a:pt x="5432" y="1734"/>
                  </a:lnTo>
                  <a:cubicBezTo>
                    <a:pt x="5441" y="1210"/>
                    <a:pt x="5025" y="772"/>
                    <a:pt x="4498" y="765"/>
                  </a:cubicBezTo>
                  <a:cubicBezTo>
                    <a:pt x="4425" y="765"/>
                    <a:pt x="4358" y="772"/>
                    <a:pt x="4292" y="787"/>
                  </a:cubicBezTo>
                  <a:cubicBezTo>
                    <a:pt x="4159" y="335"/>
                    <a:pt x="3742" y="9"/>
                    <a:pt x="3246" y="1"/>
                  </a:cubicBezTo>
                  <a:cubicBezTo>
                    <a:pt x="3241" y="1"/>
                    <a:pt x="3237" y="0"/>
                    <a:pt x="3232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5223;p53">
              <a:extLst>
                <a:ext uri="{FF2B5EF4-FFF2-40B4-BE49-F238E27FC236}">
                  <a16:creationId xmlns:a16="http://schemas.microsoft.com/office/drawing/2014/main" id="{71B4FBB9-A1ED-512D-FDD5-A29CBCB1FEBC}"/>
                </a:ext>
              </a:extLst>
            </p:cNvPr>
            <p:cNvSpPr/>
            <p:nvPr/>
          </p:nvSpPr>
          <p:spPr>
            <a:xfrm>
              <a:off x="7191050" y="1511725"/>
              <a:ext cx="18700" cy="37475"/>
            </a:xfrm>
            <a:custGeom>
              <a:avLst/>
              <a:gdLst/>
              <a:ahLst/>
              <a:cxnLst/>
              <a:rect l="l" t="t" r="r" b="b"/>
              <a:pathLst>
                <a:path w="748" h="1499" extrusionOk="0">
                  <a:moveTo>
                    <a:pt x="1" y="1"/>
                  </a:moveTo>
                  <a:cubicBezTo>
                    <a:pt x="1" y="1"/>
                    <a:pt x="593" y="193"/>
                    <a:pt x="563" y="750"/>
                  </a:cubicBezTo>
                  <a:cubicBezTo>
                    <a:pt x="534" y="1365"/>
                    <a:pt x="1" y="1498"/>
                    <a:pt x="1" y="1498"/>
                  </a:cubicBezTo>
                  <a:cubicBezTo>
                    <a:pt x="415" y="1498"/>
                    <a:pt x="748" y="1164"/>
                    <a:pt x="748" y="750"/>
                  </a:cubicBezTo>
                  <a:cubicBezTo>
                    <a:pt x="748" y="333"/>
                    <a:pt x="415" y="1"/>
                    <a:pt x="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5224;p53">
              <a:extLst>
                <a:ext uri="{FF2B5EF4-FFF2-40B4-BE49-F238E27FC236}">
                  <a16:creationId xmlns:a16="http://schemas.microsoft.com/office/drawing/2014/main" id="{B7DD9521-34D7-13F7-253D-D8F0527EE91C}"/>
                </a:ext>
              </a:extLst>
            </p:cNvPr>
            <p:cNvSpPr/>
            <p:nvPr/>
          </p:nvSpPr>
          <p:spPr>
            <a:xfrm>
              <a:off x="7286250" y="1534500"/>
              <a:ext cx="11300" cy="7100"/>
            </a:xfrm>
            <a:custGeom>
              <a:avLst/>
              <a:gdLst/>
              <a:ahLst/>
              <a:cxnLst/>
              <a:rect l="l" t="t" r="r" b="b"/>
              <a:pathLst>
                <a:path w="452" h="284" extrusionOk="0">
                  <a:moveTo>
                    <a:pt x="0" y="0"/>
                  </a:moveTo>
                  <a:lnTo>
                    <a:pt x="0" y="0"/>
                  </a:lnTo>
                  <a:cubicBezTo>
                    <a:pt x="164" y="61"/>
                    <a:pt x="297" y="157"/>
                    <a:pt x="416" y="283"/>
                  </a:cubicBezTo>
                  <a:lnTo>
                    <a:pt x="452" y="232"/>
                  </a:lnTo>
                  <a:cubicBezTo>
                    <a:pt x="319" y="120"/>
                    <a:pt x="171" y="38"/>
                    <a:pt x="0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5225;p53">
              <a:extLst>
                <a:ext uri="{FF2B5EF4-FFF2-40B4-BE49-F238E27FC236}">
                  <a16:creationId xmlns:a16="http://schemas.microsoft.com/office/drawing/2014/main" id="{F1F076BC-5D3C-71FB-5504-E2788778A780}"/>
                </a:ext>
              </a:extLst>
            </p:cNvPr>
            <p:cNvSpPr/>
            <p:nvPr/>
          </p:nvSpPr>
          <p:spPr>
            <a:xfrm>
              <a:off x="7251975" y="1533600"/>
              <a:ext cx="44700" cy="27250"/>
            </a:xfrm>
            <a:custGeom>
              <a:avLst/>
              <a:gdLst/>
              <a:ahLst/>
              <a:cxnLst/>
              <a:rect l="l" t="t" r="r" b="b"/>
              <a:pathLst>
                <a:path w="1788" h="1090" extrusionOk="0">
                  <a:moveTo>
                    <a:pt x="1105" y="1"/>
                  </a:moveTo>
                  <a:cubicBezTo>
                    <a:pt x="505" y="1"/>
                    <a:pt x="16" y="481"/>
                    <a:pt x="0" y="1089"/>
                  </a:cubicBezTo>
                  <a:cubicBezTo>
                    <a:pt x="0" y="1089"/>
                    <a:pt x="283" y="214"/>
                    <a:pt x="1046" y="214"/>
                  </a:cubicBezTo>
                  <a:lnTo>
                    <a:pt x="1121" y="214"/>
                  </a:lnTo>
                  <a:cubicBezTo>
                    <a:pt x="1364" y="237"/>
                    <a:pt x="1565" y="312"/>
                    <a:pt x="1713" y="415"/>
                  </a:cubicBezTo>
                  <a:lnTo>
                    <a:pt x="1787" y="319"/>
                  </a:lnTo>
                  <a:cubicBezTo>
                    <a:pt x="1668" y="193"/>
                    <a:pt x="1535" y="97"/>
                    <a:pt x="1371" y="36"/>
                  </a:cubicBezTo>
                  <a:cubicBezTo>
                    <a:pt x="1298" y="15"/>
                    <a:pt x="1209" y="1"/>
                    <a:pt x="112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5226;p53">
              <a:extLst>
                <a:ext uri="{FF2B5EF4-FFF2-40B4-BE49-F238E27FC236}">
                  <a16:creationId xmlns:a16="http://schemas.microsoft.com/office/drawing/2014/main" id="{7A1F1555-BF00-440A-1835-471D2CB14D6B}"/>
                </a:ext>
              </a:extLst>
            </p:cNvPr>
            <p:cNvSpPr/>
            <p:nvPr/>
          </p:nvSpPr>
          <p:spPr>
            <a:xfrm>
              <a:off x="7457400" y="1303300"/>
              <a:ext cx="214200" cy="93225"/>
            </a:xfrm>
            <a:custGeom>
              <a:avLst/>
              <a:gdLst/>
              <a:ahLst/>
              <a:cxnLst/>
              <a:rect l="l" t="t" r="r" b="b"/>
              <a:pathLst>
                <a:path w="8568" h="3729" extrusionOk="0">
                  <a:moveTo>
                    <a:pt x="4485" y="1"/>
                  </a:moveTo>
                  <a:cubicBezTo>
                    <a:pt x="4480" y="1"/>
                    <a:pt x="4475" y="1"/>
                    <a:pt x="4470" y="1"/>
                  </a:cubicBezTo>
                  <a:cubicBezTo>
                    <a:pt x="3848" y="17"/>
                    <a:pt x="3328" y="424"/>
                    <a:pt x="3150" y="995"/>
                  </a:cubicBezTo>
                  <a:cubicBezTo>
                    <a:pt x="3069" y="972"/>
                    <a:pt x="2987" y="965"/>
                    <a:pt x="2898" y="965"/>
                  </a:cubicBezTo>
                  <a:cubicBezTo>
                    <a:pt x="2231" y="979"/>
                    <a:pt x="1706" y="1521"/>
                    <a:pt x="1714" y="2188"/>
                  </a:cubicBezTo>
                  <a:lnTo>
                    <a:pt x="1632" y="2188"/>
                  </a:lnTo>
                  <a:cubicBezTo>
                    <a:pt x="698" y="2202"/>
                    <a:pt x="209" y="2862"/>
                    <a:pt x="1" y="3728"/>
                  </a:cubicBezTo>
                  <a:lnTo>
                    <a:pt x="8567" y="3602"/>
                  </a:lnTo>
                  <a:cubicBezTo>
                    <a:pt x="8382" y="2907"/>
                    <a:pt x="7826" y="2357"/>
                    <a:pt x="7130" y="2179"/>
                  </a:cubicBezTo>
                  <a:cubicBezTo>
                    <a:pt x="7108" y="1592"/>
                    <a:pt x="6626" y="1128"/>
                    <a:pt x="6033" y="1128"/>
                  </a:cubicBezTo>
                  <a:cubicBezTo>
                    <a:pt x="6028" y="1128"/>
                    <a:pt x="6024" y="1128"/>
                    <a:pt x="6019" y="1128"/>
                  </a:cubicBezTo>
                  <a:cubicBezTo>
                    <a:pt x="5975" y="1128"/>
                    <a:pt x="5921" y="1135"/>
                    <a:pt x="5877" y="1143"/>
                  </a:cubicBezTo>
                  <a:cubicBezTo>
                    <a:pt x="5744" y="488"/>
                    <a:pt x="5174" y="1"/>
                    <a:pt x="4485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5227;p53">
              <a:extLst>
                <a:ext uri="{FF2B5EF4-FFF2-40B4-BE49-F238E27FC236}">
                  <a16:creationId xmlns:a16="http://schemas.microsoft.com/office/drawing/2014/main" id="{5027881A-20A3-70EE-64BD-8820075CEC96}"/>
                </a:ext>
              </a:extLst>
            </p:cNvPr>
            <p:cNvSpPr/>
            <p:nvPr/>
          </p:nvSpPr>
          <p:spPr>
            <a:xfrm>
              <a:off x="7580250" y="1332200"/>
              <a:ext cx="23550" cy="47125"/>
            </a:xfrm>
            <a:custGeom>
              <a:avLst/>
              <a:gdLst/>
              <a:ahLst/>
              <a:cxnLst/>
              <a:rect l="l" t="t" r="r" b="b"/>
              <a:pathLst>
                <a:path w="942" h="1885" extrusionOk="0">
                  <a:moveTo>
                    <a:pt x="941" y="1"/>
                  </a:moveTo>
                  <a:cubicBezTo>
                    <a:pt x="422" y="1"/>
                    <a:pt x="1" y="424"/>
                    <a:pt x="1" y="943"/>
                  </a:cubicBezTo>
                  <a:cubicBezTo>
                    <a:pt x="1" y="1461"/>
                    <a:pt x="422" y="1884"/>
                    <a:pt x="941" y="1884"/>
                  </a:cubicBezTo>
                  <a:cubicBezTo>
                    <a:pt x="941" y="1884"/>
                    <a:pt x="274" y="1713"/>
                    <a:pt x="230" y="943"/>
                  </a:cubicBezTo>
                  <a:cubicBezTo>
                    <a:pt x="193" y="246"/>
                    <a:pt x="941" y="1"/>
                    <a:pt x="94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5228;p53">
              <a:extLst>
                <a:ext uri="{FF2B5EF4-FFF2-40B4-BE49-F238E27FC236}">
                  <a16:creationId xmlns:a16="http://schemas.microsoft.com/office/drawing/2014/main" id="{EF263AF2-657D-9064-07DC-DB69549A4C51}"/>
                </a:ext>
              </a:extLst>
            </p:cNvPr>
            <p:cNvSpPr/>
            <p:nvPr/>
          </p:nvSpPr>
          <p:spPr>
            <a:xfrm>
              <a:off x="7457050" y="1360750"/>
              <a:ext cx="26525" cy="34300"/>
            </a:xfrm>
            <a:custGeom>
              <a:avLst/>
              <a:gdLst/>
              <a:ahLst/>
              <a:cxnLst/>
              <a:rect l="l" t="t" r="r" b="b"/>
              <a:pathLst>
                <a:path w="1061" h="1372" extrusionOk="0">
                  <a:moveTo>
                    <a:pt x="1061" y="1"/>
                  </a:moveTo>
                  <a:cubicBezTo>
                    <a:pt x="452" y="157"/>
                    <a:pt x="1" y="712"/>
                    <a:pt x="8" y="1372"/>
                  </a:cubicBezTo>
                  <a:cubicBezTo>
                    <a:pt x="8" y="1372"/>
                    <a:pt x="38" y="1245"/>
                    <a:pt x="120" y="1082"/>
                  </a:cubicBezTo>
                  <a:cubicBezTo>
                    <a:pt x="305" y="579"/>
                    <a:pt x="600" y="185"/>
                    <a:pt x="1061" y="1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5229;p53">
              <a:extLst>
                <a:ext uri="{FF2B5EF4-FFF2-40B4-BE49-F238E27FC236}">
                  <a16:creationId xmlns:a16="http://schemas.microsoft.com/office/drawing/2014/main" id="{E4348BB6-5271-6EE4-C70D-D335B9DF09D3}"/>
                </a:ext>
              </a:extLst>
            </p:cNvPr>
            <p:cNvSpPr/>
            <p:nvPr/>
          </p:nvSpPr>
          <p:spPr>
            <a:xfrm>
              <a:off x="7460025" y="1359825"/>
              <a:ext cx="66900" cy="34125"/>
            </a:xfrm>
            <a:custGeom>
              <a:avLst/>
              <a:gdLst/>
              <a:ahLst/>
              <a:cxnLst/>
              <a:rect l="l" t="t" r="r" b="b"/>
              <a:pathLst>
                <a:path w="2676" h="1365" extrusionOk="0">
                  <a:moveTo>
                    <a:pt x="1260" y="0"/>
                  </a:moveTo>
                  <a:cubicBezTo>
                    <a:pt x="1148" y="0"/>
                    <a:pt x="1045" y="16"/>
                    <a:pt x="942" y="38"/>
                  </a:cubicBezTo>
                  <a:cubicBezTo>
                    <a:pt x="481" y="222"/>
                    <a:pt x="186" y="616"/>
                    <a:pt x="1" y="1119"/>
                  </a:cubicBezTo>
                  <a:cubicBezTo>
                    <a:pt x="163" y="800"/>
                    <a:pt x="518" y="319"/>
                    <a:pt x="1267" y="267"/>
                  </a:cubicBezTo>
                  <a:lnTo>
                    <a:pt x="1356" y="267"/>
                  </a:lnTo>
                  <a:cubicBezTo>
                    <a:pt x="2320" y="267"/>
                    <a:pt x="2676" y="1364"/>
                    <a:pt x="2676" y="1364"/>
                  </a:cubicBezTo>
                  <a:cubicBezTo>
                    <a:pt x="2660" y="608"/>
                    <a:pt x="2037" y="0"/>
                    <a:pt x="1281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5230;p53">
              <a:extLst>
                <a:ext uri="{FF2B5EF4-FFF2-40B4-BE49-F238E27FC236}">
                  <a16:creationId xmlns:a16="http://schemas.microsoft.com/office/drawing/2014/main" id="{4492E260-D9C9-452F-F359-CBB20B4581CB}"/>
                </a:ext>
              </a:extLst>
            </p:cNvPr>
            <p:cNvSpPr/>
            <p:nvPr/>
          </p:nvSpPr>
          <p:spPr>
            <a:xfrm>
              <a:off x="7364800" y="1192375"/>
              <a:ext cx="181725" cy="65975"/>
            </a:xfrm>
            <a:custGeom>
              <a:avLst/>
              <a:gdLst/>
              <a:ahLst/>
              <a:cxnLst/>
              <a:rect l="l" t="t" r="r" b="b"/>
              <a:pathLst>
                <a:path w="7269" h="2639" extrusionOk="0">
                  <a:moveTo>
                    <a:pt x="3113" y="1"/>
                  </a:moveTo>
                  <a:cubicBezTo>
                    <a:pt x="2305" y="1"/>
                    <a:pt x="1615" y="497"/>
                    <a:pt x="1334" y="1192"/>
                  </a:cubicBezTo>
                  <a:cubicBezTo>
                    <a:pt x="1283" y="1185"/>
                    <a:pt x="1238" y="1185"/>
                    <a:pt x="1187" y="1185"/>
                  </a:cubicBezTo>
                  <a:cubicBezTo>
                    <a:pt x="534" y="1185"/>
                    <a:pt x="1" y="1712"/>
                    <a:pt x="1" y="2371"/>
                  </a:cubicBezTo>
                  <a:cubicBezTo>
                    <a:pt x="1" y="2460"/>
                    <a:pt x="15" y="2549"/>
                    <a:pt x="38" y="2638"/>
                  </a:cubicBezTo>
                  <a:lnTo>
                    <a:pt x="5876" y="2638"/>
                  </a:lnTo>
                  <a:cubicBezTo>
                    <a:pt x="5891" y="2624"/>
                    <a:pt x="5907" y="2615"/>
                    <a:pt x="5921" y="2601"/>
                  </a:cubicBezTo>
                  <a:cubicBezTo>
                    <a:pt x="5921" y="2615"/>
                    <a:pt x="5928" y="2624"/>
                    <a:pt x="5935" y="2638"/>
                  </a:cubicBezTo>
                  <a:lnTo>
                    <a:pt x="7217" y="2638"/>
                  </a:lnTo>
                  <a:cubicBezTo>
                    <a:pt x="7248" y="2556"/>
                    <a:pt x="7269" y="2467"/>
                    <a:pt x="7269" y="2371"/>
                  </a:cubicBezTo>
                  <a:cubicBezTo>
                    <a:pt x="7269" y="1986"/>
                    <a:pt x="6958" y="1674"/>
                    <a:pt x="6573" y="1674"/>
                  </a:cubicBezTo>
                  <a:cubicBezTo>
                    <a:pt x="6440" y="1674"/>
                    <a:pt x="6314" y="1712"/>
                    <a:pt x="6202" y="1779"/>
                  </a:cubicBezTo>
                  <a:cubicBezTo>
                    <a:pt x="6136" y="1335"/>
                    <a:pt x="5750" y="993"/>
                    <a:pt x="5291" y="993"/>
                  </a:cubicBezTo>
                  <a:cubicBezTo>
                    <a:pt x="5128" y="993"/>
                    <a:pt x="4980" y="1038"/>
                    <a:pt x="4854" y="1103"/>
                  </a:cubicBezTo>
                  <a:cubicBezTo>
                    <a:pt x="4543" y="453"/>
                    <a:pt x="3883" y="1"/>
                    <a:pt x="3113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5231;p53">
              <a:extLst>
                <a:ext uri="{FF2B5EF4-FFF2-40B4-BE49-F238E27FC236}">
                  <a16:creationId xmlns:a16="http://schemas.microsoft.com/office/drawing/2014/main" id="{2D2F59A5-8910-0D92-1AEB-0800466052F6}"/>
                </a:ext>
              </a:extLst>
            </p:cNvPr>
            <p:cNvSpPr/>
            <p:nvPr/>
          </p:nvSpPr>
          <p:spPr>
            <a:xfrm>
              <a:off x="7506267" y="1127208"/>
              <a:ext cx="100825" cy="36700"/>
            </a:xfrm>
            <a:custGeom>
              <a:avLst/>
              <a:gdLst/>
              <a:ahLst/>
              <a:cxnLst/>
              <a:rect l="l" t="t" r="r" b="b"/>
              <a:pathLst>
                <a:path w="4033" h="1468" extrusionOk="0">
                  <a:moveTo>
                    <a:pt x="2306" y="0"/>
                  </a:moveTo>
                  <a:cubicBezTo>
                    <a:pt x="1875" y="0"/>
                    <a:pt x="1512" y="253"/>
                    <a:pt x="1342" y="616"/>
                  </a:cubicBezTo>
                  <a:cubicBezTo>
                    <a:pt x="1267" y="578"/>
                    <a:pt x="1187" y="557"/>
                    <a:pt x="1098" y="557"/>
                  </a:cubicBezTo>
                  <a:cubicBezTo>
                    <a:pt x="838" y="557"/>
                    <a:pt x="623" y="742"/>
                    <a:pt x="586" y="986"/>
                  </a:cubicBezTo>
                  <a:cubicBezTo>
                    <a:pt x="527" y="950"/>
                    <a:pt x="460" y="927"/>
                    <a:pt x="387" y="927"/>
                  </a:cubicBezTo>
                  <a:cubicBezTo>
                    <a:pt x="171" y="927"/>
                    <a:pt x="1" y="1105"/>
                    <a:pt x="1" y="1320"/>
                  </a:cubicBezTo>
                  <a:cubicBezTo>
                    <a:pt x="1" y="1372"/>
                    <a:pt x="8" y="1416"/>
                    <a:pt x="31" y="1468"/>
                  </a:cubicBezTo>
                  <a:lnTo>
                    <a:pt x="742" y="1468"/>
                  </a:lnTo>
                  <a:cubicBezTo>
                    <a:pt x="742" y="1460"/>
                    <a:pt x="742" y="1453"/>
                    <a:pt x="749" y="1446"/>
                  </a:cubicBezTo>
                  <a:cubicBezTo>
                    <a:pt x="757" y="1453"/>
                    <a:pt x="764" y="1460"/>
                    <a:pt x="771" y="1468"/>
                  </a:cubicBezTo>
                  <a:lnTo>
                    <a:pt x="4009" y="1468"/>
                  </a:lnTo>
                  <a:cubicBezTo>
                    <a:pt x="4023" y="1416"/>
                    <a:pt x="4032" y="1364"/>
                    <a:pt x="4032" y="1320"/>
                  </a:cubicBezTo>
                  <a:cubicBezTo>
                    <a:pt x="4032" y="957"/>
                    <a:pt x="3735" y="660"/>
                    <a:pt x="3373" y="660"/>
                  </a:cubicBezTo>
                  <a:cubicBezTo>
                    <a:pt x="3342" y="660"/>
                    <a:pt x="3321" y="660"/>
                    <a:pt x="3291" y="667"/>
                  </a:cubicBezTo>
                  <a:cubicBezTo>
                    <a:pt x="3134" y="274"/>
                    <a:pt x="2750" y="0"/>
                    <a:pt x="230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5232;p53">
              <a:extLst>
                <a:ext uri="{FF2B5EF4-FFF2-40B4-BE49-F238E27FC236}">
                  <a16:creationId xmlns:a16="http://schemas.microsoft.com/office/drawing/2014/main" id="{A468D3B4-FF27-C443-F74E-00F9373F14CF}"/>
                </a:ext>
              </a:extLst>
            </p:cNvPr>
            <p:cNvSpPr/>
            <p:nvPr/>
          </p:nvSpPr>
          <p:spPr>
            <a:xfrm>
              <a:off x="7210300" y="1305925"/>
              <a:ext cx="123225" cy="60400"/>
            </a:xfrm>
            <a:custGeom>
              <a:avLst/>
              <a:gdLst/>
              <a:ahLst/>
              <a:cxnLst/>
              <a:rect l="l" t="t" r="r" b="b"/>
              <a:pathLst>
                <a:path w="4929" h="2416" extrusionOk="0">
                  <a:moveTo>
                    <a:pt x="2165" y="1"/>
                  </a:moveTo>
                  <a:cubicBezTo>
                    <a:pt x="1290" y="1"/>
                    <a:pt x="579" y="682"/>
                    <a:pt x="527" y="1541"/>
                  </a:cubicBezTo>
                  <a:cubicBezTo>
                    <a:pt x="223" y="1601"/>
                    <a:pt x="1" y="1868"/>
                    <a:pt x="1" y="2186"/>
                  </a:cubicBezTo>
                  <a:cubicBezTo>
                    <a:pt x="1" y="2261"/>
                    <a:pt x="15" y="2341"/>
                    <a:pt x="45" y="2416"/>
                  </a:cubicBezTo>
                  <a:lnTo>
                    <a:pt x="4922" y="2416"/>
                  </a:lnTo>
                  <a:cubicBezTo>
                    <a:pt x="4922" y="2394"/>
                    <a:pt x="4929" y="2371"/>
                    <a:pt x="4929" y="2357"/>
                  </a:cubicBezTo>
                  <a:cubicBezTo>
                    <a:pt x="4929" y="1889"/>
                    <a:pt x="4550" y="1512"/>
                    <a:pt x="4084" y="1512"/>
                  </a:cubicBezTo>
                  <a:cubicBezTo>
                    <a:pt x="3988" y="1512"/>
                    <a:pt x="3890" y="1534"/>
                    <a:pt x="3810" y="1564"/>
                  </a:cubicBezTo>
                  <a:cubicBezTo>
                    <a:pt x="3766" y="696"/>
                    <a:pt x="3045" y="1"/>
                    <a:pt x="216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5233;p53">
              <a:extLst>
                <a:ext uri="{FF2B5EF4-FFF2-40B4-BE49-F238E27FC236}">
                  <a16:creationId xmlns:a16="http://schemas.microsoft.com/office/drawing/2014/main" id="{7B0B7DEA-B66E-20D0-DD97-501414BFA97B}"/>
                </a:ext>
              </a:extLst>
            </p:cNvPr>
            <p:cNvSpPr/>
            <p:nvPr/>
          </p:nvSpPr>
          <p:spPr>
            <a:xfrm>
              <a:off x="7267000" y="1159750"/>
              <a:ext cx="166575" cy="81575"/>
            </a:xfrm>
            <a:custGeom>
              <a:avLst/>
              <a:gdLst/>
              <a:ahLst/>
              <a:cxnLst/>
              <a:rect l="l" t="t" r="r" b="b"/>
              <a:pathLst>
                <a:path w="6663" h="3263" extrusionOk="0">
                  <a:moveTo>
                    <a:pt x="3742" y="1"/>
                  </a:moveTo>
                  <a:cubicBezTo>
                    <a:pt x="2549" y="1"/>
                    <a:pt x="1578" y="934"/>
                    <a:pt x="1519" y="2113"/>
                  </a:cubicBezTo>
                  <a:cubicBezTo>
                    <a:pt x="1400" y="2069"/>
                    <a:pt x="1275" y="2046"/>
                    <a:pt x="1142" y="2046"/>
                  </a:cubicBezTo>
                  <a:cubicBezTo>
                    <a:pt x="511" y="2046"/>
                    <a:pt x="0" y="2551"/>
                    <a:pt x="0" y="3180"/>
                  </a:cubicBezTo>
                  <a:cubicBezTo>
                    <a:pt x="0" y="3209"/>
                    <a:pt x="0" y="3232"/>
                    <a:pt x="7" y="3262"/>
                  </a:cubicBezTo>
                  <a:lnTo>
                    <a:pt x="6610" y="3262"/>
                  </a:lnTo>
                  <a:cubicBezTo>
                    <a:pt x="6646" y="3164"/>
                    <a:pt x="6662" y="3061"/>
                    <a:pt x="6662" y="2951"/>
                  </a:cubicBezTo>
                  <a:cubicBezTo>
                    <a:pt x="6662" y="2520"/>
                    <a:pt x="6365" y="2165"/>
                    <a:pt x="5958" y="2076"/>
                  </a:cubicBezTo>
                  <a:cubicBezTo>
                    <a:pt x="5883" y="920"/>
                    <a:pt x="4921" y="1"/>
                    <a:pt x="3742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5234;p53">
              <a:extLst>
                <a:ext uri="{FF2B5EF4-FFF2-40B4-BE49-F238E27FC236}">
                  <a16:creationId xmlns:a16="http://schemas.microsoft.com/office/drawing/2014/main" id="{0A76BD5A-3B2B-A50C-34B0-19F6D0EF2232}"/>
                </a:ext>
              </a:extLst>
            </p:cNvPr>
            <p:cNvSpPr/>
            <p:nvPr/>
          </p:nvSpPr>
          <p:spPr>
            <a:xfrm>
              <a:off x="7225125" y="1603800"/>
              <a:ext cx="228450" cy="75025"/>
            </a:xfrm>
            <a:custGeom>
              <a:avLst/>
              <a:gdLst/>
              <a:ahLst/>
              <a:cxnLst/>
              <a:rect l="l" t="t" r="r" b="b"/>
              <a:pathLst>
                <a:path w="9138" h="3001" extrusionOk="0">
                  <a:moveTo>
                    <a:pt x="1104" y="1"/>
                  </a:moveTo>
                  <a:lnTo>
                    <a:pt x="0" y="1571"/>
                  </a:lnTo>
                  <a:cubicBezTo>
                    <a:pt x="75" y="1550"/>
                    <a:pt x="149" y="1534"/>
                    <a:pt x="229" y="1534"/>
                  </a:cubicBezTo>
                  <a:cubicBezTo>
                    <a:pt x="608" y="1534"/>
                    <a:pt x="912" y="1808"/>
                    <a:pt x="971" y="2172"/>
                  </a:cubicBezTo>
                  <a:cubicBezTo>
                    <a:pt x="1015" y="2149"/>
                    <a:pt x="1067" y="2135"/>
                    <a:pt x="1128" y="2135"/>
                  </a:cubicBezTo>
                  <a:cubicBezTo>
                    <a:pt x="1163" y="2135"/>
                    <a:pt x="1200" y="2142"/>
                    <a:pt x="1238" y="2156"/>
                  </a:cubicBezTo>
                  <a:cubicBezTo>
                    <a:pt x="1341" y="2030"/>
                    <a:pt x="1490" y="1957"/>
                    <a:pt x="1661" y="1957"/>
                  </a:cubicBezTo>
                  <a:cubicBezTo>
                    <a:pt x="1956" y="1957"/>
                    <a:pt x="2195" y="2201"/>
                    <a:pt x="2195" y="2498"/>
                  </a:cubicBezTo>
                  <a:lnTo>
                    <a:pt x="2195" y="2535"/>
                  </a:lnTo>
                  <a:cubicBezTo>
                    <a:pt x="2246" y="2498"/>
                    <a:pt x="2305" y="2467"/>
                    <a:pt x="2372" y="2467"/>
                  </a:cubicBezTo>
                  <a:cubicBezTo>
                    <a:pt x="2527" y="2467"/>
                    <a:pt x="2653" y="2594"/>
                    <a:pt x="2653" y="2750"/>
                  </a:cubicBezTo>
                  <a:cubicBezTo>
                    <a:pt x="2653" y="2860"/>
                    <a:pt x="2595" y="2957"/>
                    <a:pt x="2497" y="3001"/>
                  </a:cubicBezTo>
                  <a:lnTo>
                    <a:pt x="5188" y="3001"/>
                  </a:lnTo>
                  <a:cubicBezTo>
                    <a:pt x="5136" y="2973"/>
                    <a:pt x="5106" y="2912"/>
                    <a:pt x="5106" y="2853"/>
                  </a:cubicBezTo>
                  <a:cubicBezTo>
                    <a:pt x="5106" y="2750"/>
                    <a:pt x="5188" y="2668"/>
                    <a:pt x="5291" y="2668"/>
                  </a:cubicBezTo>
                  <a:cubicBezTo>
                    <a:pt x="5335" y="2668"/>
                    <a:pt x="5380" y="2683"/>
                    <a:pt x="5410" y="2706"/>
                  </a:cubicBezTo>
                  <a:lnTo>
                    <a:pt x="5410" y="2683"/>
                  </a:lnTo>
                  <a:cubicBezTo>
                    <a:pt x="5410" y="2483"/>
                    <a:pt x="5573" y="2327"/>
                    <a:pt x="5765" y="2327"/>
                  </a:cubicBezTo>
                  <a:cubicBezTo>
                    <a:pt x="5876" y="2327"/>
                    <a:pt x="5981" y="2379"/>
                    <a:pt x="6039" y="2453"/>
                  </a:cubicBezTo>
                  <a:cubicBezTo>
                    <a:pt x="6070" y="2446"/>
                    <a:pt x="6091" y="2446"/>
                    <a:pt x="6121" y="2446"/>
                  </a:cubicBezTo>
                  <a:cubicBezTo>
                    <a:pt x="6159" y="2446"/>
                    <a:pt x="6187" y="2453"/>
                    <a:pt x="6224" y="2467"/>
                  </a:cubicBezTo>
                  <a:cubicBezTo>
                    <a:pt x="6240" y="2357"/>
                    <a:pt x="6292" y="2261"/>
                    <a:pt x="6365" y="2186"/>
                  </a:cubicBezTo>
                  <a:lnTo>
                    <a:pt x="6388" y="734"/>
                  </a:lnTo>
                  <a:cubicBezTo>
                    <a:pt x="6402" y="734"/>
                    <a:pt x="6409" y="1505"/>
                    <a:pt x="6418" y="2142"/>
                  </a:cubicBezTo>
                  <a:cubicBezTo>
                    <a:pt x="6498" y="2083"/>
                    <a:pt x="6603" y="2046"/>
                    <a:pt x="6713" y="2046"/>
                  </a:cubicBezTo>
                  <a:cubicBezTo>
                    <a:pt x="6774" y="2046"/>
                    <a:pt x="6833" y="2060"/>
                    <a:pt x="6884" y="2074"/>
                  </a:cubicBezTo>
                  <a:cubicBezTo>
                    <a:pt x="7076" y="2135"/>
                    <a:pt x="7218" y="2306"/>
                    <a:pt x="7218" y="2512"/>
                  </a:cubicBezTo>
                  <a:lnTo>
                    <a:pt x="7218" y="2549"/>
                  </a:lnTo>
                  <a:cubicBezTo>
                    <a:pt x="7233" y="2542"/>
                    <a:pt x="7247" y="2542"/>
                    <a:pt x="7270" y="2542"/>
                  </a:cubicBezTo>
                  <a:lnTo>
                    <a:pt x="7284" y="2542"/>
                  </a:lnTo>
                  <a:cubicBezTo>
                    <a:pt x="7441" y="2386"/>
                    <a:pt x="7626" y="2245"/>
                    <a:pt x="7832" y="2112"/>
                  </a:cubicBezTo>
                  <a:cubicBezTo>
                    <a:pt x="7841" y="1934"/>
                    <a:pt x="7900" y="1756"/>
                    <a:pt x="8010" y="1601"/>
                  </a:cubicBezTo>
                  <a:lnTo>
                    <a:pt x="9137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5235;p53">
              <a:extLst>
                <a:ext uri="{FF2B5EF4-FFF2-40B4-BE49-F238E27FC236}">
                  <a16:creationId xmlns:a16="http://schemas.microsoft.com/office/drawing/2014/main" id="{8E0BC6E2-F582-C6FF-2375-28A125A22466}"/>
                </a:ext>
              </a:extLst>
            </p:cNvPr>
            <p:cNvSpPr/>
            <p:nvPr/>
          </p:nvSpPr>
          <p:spPr>
            <a:xfrm>
              <a:off x="7415350" y="1386900"/>
              <a:ext cx="497800" cy="293450"/>
            </a:xfrm>
            <a:custGeom>
              <a:avLst/>
              <a:gdLst/>
              <a:ahLst/>
              <a:cxnLst/>
              <a:rect l="l" t="t" r="r" b="b"/>
              <a:pathLst>
                <a:path w="19912" h="11738" extrusionOk="0">
                  <a:moveTo>
                    <a:pt x="8752" y="0"/>
                  </a:moveTo>
                  <a:cubicBezTo>
                    <a:pt x="8604" y="0"/>
                    <a:pt x="8471" y="59"/>
                    <a:pt x="8368" y="155"/>
                  </a:cubicBezTo>
                  <a:cubicBezTo>
                    <a:pt x="8270" y="251"/>
                    <a:pt x="8211" y="391"/>
                    <a:pt x="8211" y="541"/>
                  </a:cubicBezTo>
                  <a:lnTo>
                    <a:pt x="8211" y="770"/>
                  </a:lnTo>
                  <a:lnTo>
                    <a:pt x="8211" y="3512"/>
                  </a:lnTo>
                  <a:lnTo>
                    <a:pt x="8211" y="3742"/>
                  </a:lnTo>
                  <a:cubicBezTo>
                    <a:pt x="8211" y="3890"/>
                    <a:pt x="8153" y="4023"/>
                    <a:pt x="8048" y="4126"/>
                  </a:cubicBezTo>
                  <a:cubicBezTo>
                    <a:pt x="7952" y="4224"/>
                    <a:pt x="7818" y="4283"/>
                    <a:pt x="7664" y="4283"/>
                  </a:cubicBezTo>
                  <a:cubicBezTo>
                    <a:pt x="7367" y="4283"/>
                    <a:pt x="7123" y="4037"/>
                    <a:pt x="7123" y="3742"/>
                  </a:cubicBezTo>
                  <a:lnTo>
                    <a:pt x="7123" y="770"/>
                  </a:lnTo>
                  <a:lnTo>
                    <a:pt x="7123" y="756"/>
                  </a:lnTo>
                  <a:lnTo>
                    <a:pt x="401" y="10277"/>
                  </a:lnTo>
                  <a:cubicBezTo>
                    <a:pt x="1" y="10848"/>
                    <a:pt x="328" y="11693"/>
                    <a:pt x="979" y="11737"/>
                  </a:cubicBezTo>
                  <a:lnTo>
                    <a:pt x="18933" y="11737"/>
                  </a:lnTo>
                  <a:cubicBezTo>
                    <a:pt x="19586" y="11693"/>
                    <a:pt x="19911" y="10839"/>
                    <a:pt x="19511" y="10277"/>
                  </a:cubicBezTo>
                  <a:lnTo>
                    <a:pt x="12561" y="496"/>
                  </a:lnTo>
                  <a:lnTo>
                    <a:pt x="12561" y="3393"/>
                  </a:lnTo>
                  <a:cubicBezTo>
                    <a:pt x="12561" y="3541"/>
                    <a:pt x="12494" y="3674"/>
                    <a:pt x="12398" y="3770"/>
                  </a:cubicBezTo>
                  <a:cubicBezTo>
                    <a:pt x="12302" y="3875"/>
                    <a:pt x="12161" y="3934"/>
                    <a:pt x="12014" y="3934"/>
                  </a:cubicBezTo>
                  <a:cubicBezTo>
                    <a:pt x="11717" y="3934"/>
                    <a:pt x="11471" y="3690"/>
                    <a:pt x="11471" y="3393"/>
                  </a:cubicBezTo>
                  <a:lnTo>
                    <a:pt x="11471" y="1592"/>
                  </a:lnTo>
                  <a:cubicBezTo>
                    <a:pt x="11471" y="1290"/>
                    <a:pt x="11227" y="1044"/>
                    <a:pt x="10923" y="1044"/>
                  </a:cubicBezTo>
                  <a:cubicBezTo>
                    <a:pt x="10776" y="1044"/>
                    <a:pt x="10642" y="1112"/>
                    <a:pt x="10537" y="1208"/>
                  </a:cubicBezTo>
                  <a:cubicBezTo>
                    <a:pt x="10441" y="1304"/>
                    <a:pt x="10383" y="1444"/>
                    <a:pt x="10383" y="1592"/>
                  </a:cubicBezTo>
                  <a:lnTo>
                    <a:pt x="10383" y="2734"/>
                  </a:lnTo>
                  <a:cubicBezTo>
                    <a:pt x="10383" y="2890"/>
                    <a:pt x="10324" y="3023"/>
                    <a:pt x="10219" y="3119"/>
                  </a:cubicBezTo>
                  <a:cubicBezTo>
                    <a:pt x="10123" y="3223"/>
                    <a:pt x="9990" y="3281"/>
                    <a:pt x="9835" y="3281"/>
                  </a:cubicBezTo>
                  <a:cubicBezTo>
                    <a:pt x="9538" y="3281"/>
                    <a:pt x="9293" y="3038"/>
                    <a:pt x="9293" y="2734"/>
                  </a:cubicBezTo>
                  <a:lnTo>
                    <a:pt x="9302" y="2734"/>
                  </a:lnTo>
                  <a:lnTo>
                    <a:pt x="9302" y="541"/>
                  </a:lnTo>
                  <a:cubicBezTo>
                    <a:pt x="9302" y="244"/>
                    <a:pt x="9056" y="0"/>
                    <a:pt x="875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5236;p53">
              <a:extLst>
                <a:ext uri="{FF2B5EF4-FFF2-40B4-BE49-F238E27FC236}">
                  <a16:creationId xmlns:a16="http://schemas.microsoft.com/office/drawing/2014/main" id="{FBCB6BCB-70EF-898F-C447-374E12AC6099}"/>
                </a:ext>
              </a:extLst>
            </p:cNvPr>
            <p:cNvSpPr/>
            <p:nvPr/>
          </p:nvSpPr>
          <p:spPr>
            <a:xfrm>
              <a:off x="7593425" y="1342600"/>
              <a:ext cx="135975" cy="151375"/>
            </a:xfrm>
            <a:custGeom>
              <a:avLst/>
              <a:gdLst/>
              <a:ahLst/>
              <a:cxnLst/>
              <a:rect l="l" t="t" r="r" b="b"/>
              <a:pathLst>
                <a:path w="5439" h="6055" extrusionOk="0">
                  <a:moveTo>
                    <a:pt x="2815" y="1"/>
                  </a:moveTo>
                  <a:cubicBezTo>
                    <a:pt x="2163" y="1"/>
                    <a:pt x="1547" y="334"/>
                    <a:pt x="1147" y="897"/>
                  </a:cubicBezTo>
                  <a:lnTo>
                    <a:pt x="0" y="2528"/>
                  </a:lnTo>
                  <a:lnTo>
                    <a:pt x="0" y="2542"/>
                  </a:lnTo>
                  <a:lnTo>
                    <a:pt x="0" y="5514"/>
                  </a:lnTo>
                  <a:cubicBezTo>
                    <a:pt x="0" y="5809"/>
                    <a:pt x="244" y="6055"/>
                    <a:pt x="541" y="6055"/>
                  </a:cubicBezTo>
                  <a:cubicBezTo>
                    <a:pt x="695" y="6055"/>
                    <a:pt x="829" y="5996"/>
                    <a:pt x="925" y="5898"/>
                  </a:cubicBezTo>
                  <a:cubicBezTo>
                    <a:pt x="1030" y="5795"/>
                    <a:pt x="1088" y="5662"/>
                    <a:pt x="1088" y="5514"/>
                  </a:cubicBezTo>
                  <a:lnTo>
                    <a:pt x="1088" y="5284"/>
                  </a:lnTo>
                  <a:lnTo>
                    <a:pt x="1088" y="2542"/>
                  </a:lnTo>
                  <a:lnTo>
                    <a:pt x="1088" y="2313"/>
                  </a:lnTo>
                  <a:cubicBezTo>
                    <a:pt x="1088" y="2163"/>
                    <a:pt x="1147" y="2023"/>
                    <a:pt x="1245" y="1927"/>
                  </a:cubicBezTo>
                  <a:cubicBezTo>
                    <a:pt x="1348" y="1831"/>
                    <a:pt x="1481" y="1772"/>
                    <a:pt x="1629" y="1772"/>
                  </a:cubicBezTo>
                  <a:cubicBezTo>
                    <a:pt x="1933" y="1772"/>
                    <a:pt x="2179" y="2016"/>
                    <a:pt x="2179" y="2313"/>
                  </a:cubicBezTo>
                  <a:lnTo>
                    <a:pt x="2179" y="4506"/>
                  </a:lnTo>
                  <a:lnTo>
                    <a:pt x="2170" y="4506"/>
                  </a:lnTo>
                  <a:cubicBezTo>
                    <a:pt x="2170" y="4810"/>
                    <a:pt x="2415" y="5053"/>
                    <a:pt x="2712" y="5053"/>
                  </a:cubicBezTo>
                  <a:cubicBezTo>
                    <a:pt x="2867" y="5053"/>
                    <a:pt x="3000" y="4995"/>
                    <a:pt x="3096" y="4891"/>
                  </a:cubicBezTo>
                  <a:cubicBezTo>
                    <a:pt x="3201" y="4795"/>
                    <a:pt x="3260" y="4662"/>
                    <a:pt x="3260" y="4506"/>
                  </a:cubicBezTo>
                  <a:lnTo>
                    <a:pt x="3260" y="3364"/>
                  </a:lnTo>
                  <a:cubicBezTo>
                    <a:pt x="3260" y="3216"/>
                    <a:pt x="3318" y="3076"/>
                    <a:pt x="3414" y="2980"/>
                  </a:cubicBezTo>
                  <a:cubicBezTo>
                    <a:pt x="3519" y="2884"/>
                    <a:pt x="3653" y="2816"/>
                    <a:pt x="3800" y="2816"/>
                  </a:cubicBezTo>
                  <a:cubicBezTo>
                    <a:pt x="4104" y="2816"/>
                    <a:pt x="4348" y="3062"/>
                    <a:pt x="4348" y="3364"/>
                  </a:cubicBezTo>
                  <a:lnTo>
                    <a:pt x="4348" y="5165"/>
                  </a:lnTo>
                  <a:cubicBezTo>
                    <a:pt x="4348" y="5462"/>
                    <a:pt x="4594" y="5706"/>
                    <a:pt x="4891" y="5706"/>
                  </a:cubicBezTo>
                  <a:cubicBezTo>
                    <a:pt x="5038" y="5706"/>
                    <a:pt x="5179" y="5647"/>
                    <a:pt x="5275" y="5542"/>
                  </a:cubicBezTo>
                  <a:cubicBezTo>
                    <a:pt x="5371" y="5446"/>
                    <a:pt x="5438" y="5313"/>
                    <a:pt x="5438" y="5165"/>
                  </a:cubicBezTo>
                  <a:lnTo>
                    <a:pt x="5438" y="2268"/>
                  </a:lnTo>
                  <a:lnTo>
                    <a:pt x="4437" y="867"/>
                  </a:lnTo>
                  <a:cubicBezTo>
                    <a:pt x="4053" y="326"/>
                    <a:pt x="3452" y="1"/>
                    <a:pt x="281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5237;p53">
              <a:extLst>
                <a:ext uri="{FF2B5EF4-FFF2-40B4-BE49-F238E27FC236}">
                  <a16:creationId xmlns:a16="http://schemas.microsoft.com/office/drawing/2014/main" id="{7FFFABD8-A169-6BB9-B2A0-F93E8D434252}"/>
                </a:ext>
              </a:extLst>
            </p:cNvPr>
            <p:cNvSpPr/>
            <p:nvPr/>
          </p:nvSpPr>
          <p:spPr>
            <a:xfrm>
              <a:off x="7437400" y="1679925"/>
              <a:ext cx="3375" cy="425"/>
            </a:xfrm>
            <a:custGeom>
              <a:avLst/>
              <a:gdLst/>
              <a:ahLst/>
              <a:cxnLst/>
              <a:rect l="l" t="t" r="r" b="b"/>
              <a:pathLst>
                <a:path w="135" h="17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8"/>
                    <a:pt x="61" y="16"/>
                    <a:pt x="97" y="16"/>
                  </a:cubicBezTo>
                  <a:lnTo>
                    <a:pt x="134" y="16"/>
                  </a:lnTo>
                  <a:lnTo>
                    <a:pt x="97" y="16"/>
                  </a:lnTo>
                  <a:cubicBezTo>
                    <a:pt x="61" y="16"/>
                    <a:pt x="31" y="8"/>
                    <a:pt x="1" y="0"/>
                  </a:cubicBezTo>
                  <a:close/>
                </a:path>
              </a:pathLst>
            </a:custGeom>
            <a:solidFill>
              <a:srgbClr val="67717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5238;p53">
              <a:extLst>
                <a:ext uri="{FF2B5EF4-FFF2-40B4-BE49-F238E27FC236}">
                  <a16:creationId xmlns:a16="http://schemas.microsoft.com/office/drawing/2014/main" id="{BB04F970-DB5E-B60B-AC1C-7760941056B4}"/>
                </a:ext>
              </a:extLst>
            </p:cNvPr>
            <p:cNvSpPr/>
            <p:nvPr/>
          </p:nvSpPr>
          <p:spPr>
            <a:xfrm>
              <a:off x="7420900" y="1576550"/>
              <a:ext cx="371275" cy="103800"/>
            </a:xfrm>
            <a:custGeom>
              <a:avLst/>
              <a:gdLst/>
              <a:ahLst/>
              <a:cxnLst/>
              <a:rect l="l" t="t" r="r" b="b"/>
              <a:pathLst>
                <a:path w="14851" h="4152" extrusionOk="0">
                  <a:moveTo>
                    <a:pt x="661" y="4135"/>
                  </a:moveTo>
                  <a:cubicBezTo>
                    <a:pt x="691" y="4143"/>
                    <a:pt x="721" y="4151"/>
                    <a:pt x="757" y="4151"/>
                  </a:cubicBezTo>
                  <a:lnTo>
                    <a:pt x="6101" y="4151"/>
                  </a:lnTo>
                  <a:cubicBezTo>
                    <a:pt x="6101" y="4151"/>
                    <a:pt x="6101" y="4143"/>
                    <a:pt x="6108" y="4135"/>
                  </a:cubicBezTo>
                  <a:close/>
                  <a:moveTo>
                    <a:pt x="2076" y="1"/>
                  </a:moveTo>
                  <a:lnTo>
                    <a:pt x="179" y="2691"/>
                  </a:lnTo>
                  <a:cubicBezTo>
                    <a:pt x="69" y="2846"/>
                    <a:pt x="10" y="3024"/>
                    <a:pt x="1" y="3202"/>
                  </a:cubicBezTo>
                  <a:cubicBezTo>
                    <a:pt x="862" y="2661"/>
                    <a:pt x="2121" y="2313"/>
                    <a:pt x="3522" y="2313"/>
                  </a:cubicBezTo>
                  <a:cubicBezTo>
                    <a:pt x="4811" y="2313"/>
                    <a:pt x="5982" y="2602"/>
                    <a:pt x="6826" y="3068"/>
                  </a:cubicBezTo>
                  <a:cubicBezTo>
                    <a:pt x="7664" y="2231"/>
                    <a:pt x="8982" y="1683"/>
                    <a:pt x="10472" y="1683"/>
                  </a:cubicBezTo>
                  <a:cubicBezTo>
                    <a:pt x="12524" y="1683"/>
                    <a:pt x="14265" y="2720"/>
                    <a:pt x="14843" y="4151"/>
                  </a:cubicBezTo>
                  <a:lnTo>
                    <a:pt x="14850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5239;p53">
              <a:extLst>
                <a:ext uri="{FF2B5EF4-FFF2-40B4-BE49-F238E27FC236}">
                  <a16:creationId xmlns:a16="http://schemas.microsoft.com/office/drawing/2014/main" id="{45EE8663-F711-4354-89E4-77366B04AAD8}"/>
                </a:ext>
              </a:extLst>
            </p:cNvPr>
            <p:cNvSpPr/>
            <p:nvPr/>
          </p:nvSpPr>
          <p:spPr>
            <a:xfrm>
              <a:off x="7697125" y="1146225"/>
              <a:ext cx="96725" cy="77300"/>
            </a:xfrm>
            <a:custGeom>
              <a:avLst/>
              <a:gdLst/>
              <a:ahLst/>
              <a:cxnLst/>
              <a:rect l="l" t="t" r="r" b="b"/>
              <a:pathLst>
                <a:path w="3869" h="3092" extrusionOk="0">
                  <a:moveTo>
                    <a:pt x="3647" y="1"/>
                  </a:moveTo>
                  <a:cubicBezTo>
                    <a:pt x="2706" y="1"/>
                    <a:pt x="1898" y="579"/>
                    <a:pt x="1557" y="1393"/>
                  </a:cubicBezTo>
                  <a:cubicBezTo>
                    <a:pt x="1505" y="1386"/>
                    <a:pt x="1445" y="1386"/>
                    <a:pt x="1393" y="1386"/>
                  </a:cubicBezTo>
                  <a:cubicBezTo>
                    <a:pt x="623" y="1386"/>
                    <a:pt x="1" y="2009"/>
                    <a:pt x="1" y="2772"/>
                  </a:cubicBezTo>
                  <a:cubicBezTo>
                    <a:pt x="1" y="2884"/>
                    <a:pt x="15" y="2987"/>
                    <a:pt x="38" y="3092"/>
                  </a:cubicBezTo>
                  <a:lnTo>
                    <a:pt x="3869" y="3092"/>
                  </a:lnTo>
                  <a:lnTo>
                    <a:pt x="3869" y="2217"/>
                  </a:lnTo>
                  <a:lnTo>
                    <a:pt x="3869" y="8"/>
                  </a:lnTo>
                  <a:cubicBezTo>
                    <a:pt x="3794" y="1"/>
                    <a:pt x="3721" y="1"/>
                    <a:pt x="3647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5240;p53">
              <a:extLst>
                <a:ext uri="{FF2B5EF4-FFF2-40B4-BE49-F238E27FC236}">
                  <a16:creationId xmlns:a16="http://schemas.microsoft.com/office/drawing/2014/main" id="{90B68724-D9E2-79DB-184B-26610EAE8E92}"/>
                </a:ext>
              </a:extLst>
            </p:cNvPr>
            <p:cNvSpPr/>
            <p:nvPr/>
          </p:nvSpPr>
          <p:spPr>
            <a:xfrm>
              <a:off x="7397400" y="1634350"/>
              <a:ext cx="223250" cy="45600"/>
            </a:xfrm>
            <a:custGeom>
              <a:avLst/>
              <a:gdLst/>
              <a:ahLst/>
              <a:cxnLst/>
              <a:rect l="l" t="t" r="r" b="b"/>
              <a:pathLst>
                <a:path w="8930" h="1824" extrusionOk="0">
                  <a:moveTo>
                    <a:pt x="4462" y="1"/>
                  </a:moveTo>
                  <a:cubicBezTo>
                    <a:pt x="2364" y="1"/>
                    <a:pt x="585" y="772"/>
                    <a:pt x="0" y="1823"/>
                  </a:cubicBezTo>
                  <a:lnTo>
                    <a:pt x="8929" y="1823"/>
                  </a:lnTo>
                  <a:cubicBezTo>
                    <a:pt x="8344" y="772"/>
                    <a:pt x="6566" y="1"/>
                    <a:pt x="4462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5241;p53">
              <a:extLst>
                <a:ext uri="{FF2B5EF4-FFF2-40B4-BE49-F238E27FC236}">
                  <a16:creationId xmlns:a16="http://schemas.microsoft.com/office/drawing/2014/main" id="{748C29E3-9CDE-71ED-82CA-06DE56FF7C8B}"/>
                </a:ext>
              </a:extLst>
            </p:cNvPr>
            <p:cNvSpPr/>
            <p:nvPr/>
          </p:nvSpPr>
          <p:spPr>
            <a:xfrm>
              <a:off x="7573175" y="1618625"/>
              <a:ext cx="218825" cy="62075"/>
            </a:xfrm>
            <a:custGeom>
              <a:avLst/>
              <a:gdLst/>
              <a:ahLst/>
              <a:cxnLst/>
              <a:rect l="l" t="t" r="r" b="b"/>
              <a:pathLst>
                <a:path w="8753" h="2483" extrusionOk="0">
                  <a:moveTo>
                    <a:pt x="4381" y="0"/>
                  </a:moveTo>
                  <a:cubicBezTo>
                    <a:pt x="2322" y="0"/>
                    <a:pt x="572" y="1046"/>
                    <a:pt x="1" y="2483"/>
                  </a:cubicBezTo>
                  <a:lnTo>
                    <a:pt x="8752" y="2483"/>
                  </a:lnTo>
                  <a:cubicBezTo>
                    <a:pt x="8181" y="1046"/>
                    <a:pt x="6440" y="0"/>
                    <a:pt x="438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5242;p53">
              <a:extLst>
                <a:ext uri="{FF2B5EF4-FFF2-40B4-BE49-F238E27FC236}">
                  <a16:creationId xmlns:a16="http://schemas.microsoft.com/office/drawing/2014/main" id="{E6A652BF-3202-AB83-35C5-63D86D722C62}"/>
                </a:ext>
              </a:extLst>
            </p:cNvPr>
            <p:cNvSpPr/>
            <p:nvPr/>
          </p:nvSpPr>
          <p:spPr>
            <a:xfrm>
              <a:off x="7615425" y="1633075"/>
              <a:ext cx="37450" cy="20775"/>
            </a:xfrm>
            <a:custGeom>
              <a:avLst/>
              <a:gdLst/>
              <a:ahLst/>
              <a:cxnLst/>
              <a:rect l="l" t="t" r="r" b="b"/>
              <a:pathLst>
                <a:path w="1498" h="831" extrusionOk="0">
                  <a:moveTo>
                    <a:pt x="978" y="0"/>
                  </a:moveTo>
                  <a:cubicBezTo>
                    <a:pt x="882" y="0"/>
                    <a:pt x="772" y="14"/>
                    <a:pt x="660" y="52"/>
                  </a:cubicBezTo>
                  <a:cubicBezTo>
                    <a:pt x="246" y="171"/>
                    <a:pt x="0" y="475"/>
                    <a:pt x="89" y="660"/>
                  </a:cubicBezTo>
                  <a:cubicBezTo>
                    <a:pt x="143" y="779"/>
                    <a:pt x="290" y="831"/>
                    <a:pt x="475" y="831"/>
                  </a:cubicBezTo>
                  <a:cubicBezTo>
                    <a:pt x="594" y="831"/>
                    <a:pt x="735" y="807"/>
                    <a:pt x="868" y="770"/>
                  </a:cubicBezTo>
                  <a:cubicBezTo>
                    <a:pt x="1224" y="667"/>
                    <a:pt x="1498" y="459"/>
                    <a:pt x="1467" y="260"/>
                  </a:cubicBezTo>
                  <a:cubicBezTo>
                    <a:pt x="1446" y="112"/>
                    <a:pt x="1245" y="0"/>
                    <a:pt x="978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5243;p53">
              <a:extLst>
                <a:ext uri="{FF2B5EF4-FFF2-40B4-BE49-F238E27FC236}">
                  <a16:creationId xmlns:a16="http://schemas.microsoft.com/office/drawing/2014/main" id="{9EC712F7-2D05-4258-8385-4122999DC5F4}"/>
                </a:ext>
              </a:extLst>
            </p:cNvPr>
            <p:cNvSpPr/>
            <p:nvPr/>
          </p:nvSpPr>
          <p:spPr>
            <a:xfrm>
              <a:off x="7658600" y="1636225"/>
              <a:ext cx="19500" cy="10025"/>
            </a:xfrm>
            <a:custGeom>
              <a:avLst/>
              <a:gdLst/>
              <a:ahLst/>
              <a:cxnLst/>
              <a:rect l="l" t="t" r="r" b="b"/>
              <a:pathLst>
                <a:path w="780" h="401" extrusionOk="0">
                  <a:moveTo>
                    <a:pt x="393" y="0"/>
                  </a:moveTo>
                  <a:cubicBezTo>
                    <a:pt x="171" y="0"/>
                    <a:pt x="0" y="103"/>
                    <a:pt x="16" y="215"/>
                  </a:cubicBezTo>
                  <a:cubicBezTo>
                    <a:pt x="23" y="326"/>
                    <a:pt x="185" y="400"/>
                    <a:pt x="386" y="400"/>
                  </a:cubicBezTo>
                  <a:lnTo>
                    <a:pt x="393" y="400"/>
                  </a:lnTo>
                  <a:cubicBezTo>
                    <a:pt x="594" y="400"/>
                    <a:pt x="763" y="319"/>
                    <a:pt x="772" y="215"/>
                  </a:cubicBezTo>
                  <a:cubicBezTo>
                    <a:pt x="779" y="103"/>
                    <a:pt x="608" y="0"/>
                    <a:pt x="393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5244;p53">
              <a:extLst>
                <a:ext uri="{FF2B5EF4-FFF2-40B4-BE49-F238E27FC236}">
                  <a16:creationId xmlns:a16="http://schemas.microsoft.com/office/drawing/2014/main" id="{6BC39212-904C-EE0E-E23B-CE5C4A22B8D8}"/>
                </a:ext>
              </a:extLst>
            </p:cNvPr>
            <p:cNvSpPr/>
            <p:nvPr/>
          </p:nvSpPr>
          <p:spPr>
            <a:xfrm>
              <a:off x="7362400" y="1596950"/>
              <a:ext cx="43375" cy="54675"/>
            </a:xfrm>
            <a:custGeom>
              <a:avLst/>
              <a:gdLst/>
              <a:ahLst/>
              <a:cxnLst/>
              <a:rect l="l" t="t" r="r" b="b"/>
              <a:pathLst>
                <a:path w="1735" h="2187" extrusionOk="0">
                  <a:moveTo>
                    <a:pt x="867" y="1"/>
                  </a:moveTo>
                  <a:cubicBezTo>
                    <a:pt x="490" y="1"/>
                    <a:pt x="178" y="303"/>
                    <a:pt x="178" y="682"/>
                  </a:cubicBezTo>
                  <a:cubicBezTo>
                    <a:pt x="178" y="712"/>
                    <a:pt x="186" y="741"/>
                    <a:pt x="193" y="778"/>
                  </a:cubicBezTo>
                  <a:cubicBezTo>
                    <a:pt x="66" y="926"/>
                    <a:pt x="1" y="1112"/>
                    <a:pt x="1" y="1319"/>
                  </a:cubicBezTo>
                  <a:cubicBezTo>
                    <a:pt x="1" y="1801"/>
                    <a:pt x="385" y="2187"/>
                    <a:pt x="867" y="2187"/>
                  </a:cubicBezTo>
                  <a:cubicBezTo>
                    <a:pt x="1342" y="2187"/>
                    <a:pt x="1735" y="1801"/>
                    <a:pt x="1735" y="1319"/>
                  </a:cubicBezTo>
                  <a:cubicBezTo>
                    <a:pt x="1735" y="1112"/>
                    <a:pt x="1660" y="926"/>
                    <a:pt x="1541" y="778"/>
                  </a:cubicBezTo>
                  <a:cubicBezTo>
                    <a:pt x="1541" y="741"/>
                    <a:pt x="1550" y="712"/>
                    <a:pt x="1550" y="682"/>
                  </a:cubicBezTo>
                  <a:cubicBezTo>
                    <a:pt x="1550" y="303"/>
                    <a:pt x="1245" y="1"/>
                    <a:pt x="86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5245;p53">
              <a:extLst>
                <a:ext uri="{FF2B5EF4-FFF2-40B4-BE49-F238E27FC236}">
                  <a16:creationId xmlns:a16="http://schemas.microsoft.com/office/drawing/2014/main" id="{F0AA5415-D6B8-8417-89DB-D4836D6019CF}"/>
                </a:ext>
              </a:extLst>
            </p:cNvPr>
            <p:cNvSpPr/>
            <p:nvPr/>
          </p:nvSpPr>
          <p:spPr>
            <a:xfrm>
              <a:off x="7383875" y="1622125"/>
              <a:ext cx="1900" cy="57100"/>
            </a:xfrm>
            <a:custGeom>
              <a:avLst/>
              <a:gdLst/>
              <a:ahLst/>
              <a:cxnLst/>
              <a:rect l="l" t="t" r="r" b="b"/>
              <a:pathLst>
                <a:path w="76" h="2284" extrusionOk="0">
                  <a:moveTo>
                    <a:pt x="38" y="1"/>
                  </a:moveTo>
                  <a:lnTo>
                    <a:pt x="1" y="2247"/>
                  </a:lnTo>
                  <a:cubicBezTo>
                    <a:pt x="1" y="2268"/>
                    <a:pt x="15" y="2284"/>
                    <a:pt x="38" y="2284"/>
                  </a:cubicBezTo>
                  <a:cubicBezTo>
                    <a:pt x="59" y="2284"/>
                    <a:pt x="75" y="2268"/>
                    <a:pt x="75" y="2247"/>
                  </a:cubicBezTo>
                  <a:cubicBezTo>
                    <a:pt x="75" y="2247"/>
                    <a:pt x="59" y="1"/>
                    <a:pt x="38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5246;p53">
              <a:extLst>
                <a:ext uri="{FF2B5EF4-FFF2-40B4-BE49-F238E27FC236}">
                  <a16:creationId xmlns:a16="http://schemas.microsoft.com/office/drawing/2014/main" id="{C401056C-8C49-8C8B-407D-967EA0D4020A}"/>
                </a:ext>
              </a:extLst>
            </p:cNvPr>
            <p:cNvSpPr/>
            <p:nvPr/>
          </p:nvSpPr>
          <p:spPr>
            <a:xfrm>
              <a:off x="7373875" y="1635650"/>
              <a:ext cx="10950" cy="8900"/>
            </a:xfrm>
            <a:custGeom>
              <a:avLst/>
              <a:gdLst/>
              <a:ahLst/>
              <a:cxnLst/>
              <a:rect l="l" t="t" r="r" b="b"/>
              <a:pathLst>
                <a:path w="438" h="356" extrusionOk="0">
                  <a:moveTo>
                    <a:pt x="0" y="0"/>
                  </a:moveTo>
                  <a:cubicBezTo>
                    <a:pt x="205" y="342"/>
                    <a:pt x="404" y="356"/>
                    <a:pt x="434" y="356"/>
                  </a:cubicBezTo>
                  <a:cubicBezTo>
                    <a:pt x="437" y="356"/>
                    <a:pt x="438" y="356"/>
                    <a:pt x="438" y="356"/>
                  </a:cubicBezTo>
                  <a:lnTo>
                    <a:pt x="438" y="311"/>
                  </a:lnTo>
                  <a:cubicBezTo>
                    <a:pt x="438" y="311"/>
                    <a:pt x="434" y="314"/>
                    <a:pt x="422" y="314"/>
                  </a:cubicBezTo>
                  <a:cubicBezTo>
                    <a:pt x="396" y="314"/>
                    <a:pt x="334" y="300"/>
                    <a:pt x="201" y="208"/>
                  </a:cubicBezTo>
                  <a:cubicBezTo>
                    <a:pt x="82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5247;p53">
              <a:extLst>
                <a:ext uri="{FF2B5EF4-FFF2-40B4-BE49-F238E27FC236}">
                  <a16:creationId xmlns:a16="http://schemas.microsoft.com/office/drawing/2014/main" id="{A86734B4-A9CD-96D7-C781-3EEE1D23576D}"/>
                </a:ext>
              </a:extLst>
            </p:cNvPr>
            <p:cNvSpPr/>
            <p:nvPr/>
          </p:nvSpPr>
          <p:spPr>
            <a:xfrm>
              <a:off x="7384800" y="1633250"/>
              <a:ext cx="9450" cy="7625"/>
            </a:xfrm>
            <a:custGeom>
              <a:avLst/>
              <a:gdLst/>
              <a:ahLst/>
              <a:cxnLst/>
              <a:rect l="l" t="t" r="r" b="b"/>
              <a:pathLst>
                <a:path w="378" h="305" extrusionOk="0">
                  <a:moveTo>
                    <a:pt x="378" y="0"/>
                  </a:moveTo>
                  <a:cubicBezTo>
                    <a:pt x="378" y="0"/>
                    <a:pt x="305" y="105"/>
                    <a:pt x="209" y="171"/>
                  </a:cubicBezTo>
                  <a:cubicBezTo>
                    <a:pt x="96" y="250"/>
                    <a:pt x="41" y="263"/>
                    <a:pt x="17" y="263"/>
                  </a:cubicBezTo>
                  <a:cubicBezTo>
                    <a:pt x="5" y="263"/>
                    <a:pt x="1" y="260"/>
                    <a:pt x="1" y="260"/>
                  </a:cubicBezTo>
                  <a:lnTo>
                    <a:pt x="1" y="260"/>
                  </a:lnTo>
                  <a:lnTo>
                    <a:pt x="8" y="304"/>
                  </a:lnTo>
                  <a:cubicBezTo>
                    <a:pt x="8" y="304"/>
                    <a:pt x="8" y="304"/>
                    <a:pt x="9" y="304"/>
                  </a:cubicBezTo>
                  <a:cubicBezTo>
                    <a:pt x="24" y="304"/>
                    <a:pt x="194" y="298"/>
                    <a:pt x="378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5248;p53">
              <a:extLst>
                <a:ext uri="{FF2B5EF4-FFF2-40B4-BE49-F238E27FC236}">
                  <a16:creationId xmlns:a16="http://schemas.microsoft.com/office/drawing/2014/main" id="{72BA48CF-157E-C562-45B2-034DECF10DA4}"/>
                </a:ext>
              </a:extLst>
            </p:cNvPr>
            <p:cNvSpPr/>
            <p:nvPr/>
          </p:nvSpPr>
          <p:spPr>
            <a:xfrm>
              <a:off x="7377200" y="1627850"/>
              <a:ext cx="7625" cy="6175"/>
            </a:xfrm>
            <a:custGeom>
              <a:avLst/>
              <a:gdLst/>
              <a:ahLst/>
              <a:cxnLst/>
              <a:rect l="l" t="t" r="r" b="b"/>
              <a:pathLst>
                <a:path w="305" h="247" extrusionOk="0">
                  <a:moveTo>
                    <a:pt x="1" y="1"/>
                  </a:moveTo>
                  <a:cubicBezTo>
                    <a:pt x="149" y="240"/>
                    <a:pt x="289" y="246"/>
                    <a:pt x="304" y="246"/>
                  </a:cubicBezTo>
                  <a:cubicBezTo>
                    <a:pt x="304" y="246"/>
                    <a:pt x="305" y="246"/>
                    <a:pt x="305" y="246"/>
                  </a:cubicBezTo>
                  <a:lnTo>
                    <a:pt x="305" y="209"/>
                  </a:lnTo>
                  <a:cubicBezTo>
                    <a:pt x="305" y="209"/>
                    <a:pt x="302" y="211"/>
                    <a:pt x="293" y="211"/>
                  </a:cubicBezTo>
                  <a:cubicBezTo>
                    <a:pt x="275" y="211"/>
                    <a:pt x="232" y="201"/>
                    <a:pt x="141" y="134"/>
                  </a:cubicBezTo>
                  <a:cubicBezTo>
                    <a:pt x="60" y="8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5249;p53">
              <a:extLst>
                <a:ext uri="{FF2B5EF4-FFF2-40B4-BE49-F238E27FC236}">
                  <a16:creationId xmlns:a16="http://schemas.microsoft.com/office/drawing/2014/main" id="{76FD1F20-B2E2-D652-AEB5-7E848FD8EE32}"/>
                </a:ext>
              </a:extLst>
            </p:cNvPr>
            <p:cNvSpPr/>
            <p:nvPr/>
          </p:nvSpPr>
          <p:spPr>
            <a:xfrm>
              <a:off x="7673450" y="1502475"/>
              <a:ext cx="158950" cy="154700"/>
            </a:xfrm>
            <a:custGeom>
              <a:avLst/>
              <a:gdLst/>
              <a:ahLst/>
              <a:cxnLst/>
              <a:rect l="l" t="t" r="r" b="b"/>
              <a:pathLst>
                <a:path w="6358" h="6188" extrusionOk="0">
                  <a:moveTo>
                    <a:pt x="3090" y="1"/>
                  </a:moveTo>
                  <a:cubicBezTo>
                    <a:pt x="2978" y="1"/>
                    <a:pt x="2867" y="30"/>
                    <a:pt x="2771" y="90"/>
                  </a:cubicBezTo>
                  <a:cubicBezTo>
                    <a:pt x="2067" y="534"/>
                    <a:pt x="0" y="6188"/>
                    <a:pt x="3089" y="6188"/>
                  </a:cubicBezTo>
                  <a:cubicBezTo>
                    <a:pt x="6358" y="6188"/>
                    <a:pt x="4112" y="534"/>
                    <a:pt x="3415" y="90"/>
                  </a:cubicBezTo>
                  <a:cubicBezTo>
                    <a:pt x="3315" y="30"/>
                    <a:pt x="3202" y="1"/>
                    <a:pt x="3090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5250;p53">
              <a:extLst>
                <a:ext uri="{FF2B5EF4-FFF2-40B4-BE49-F238E27FC236}">
                  <a16:creationId xmlns:a16="http://schemas.microsoft.com/office/drawing/2014/main" id="{62F22D47-38BF-2EE8-D268-5C1F43D54C5B}"/>
                </a:ext>
              </a:extLst>
            </p:cNvPr>
            <p:cNvSpPr/>
            <p:nvPr/>
          </p:nvSpPr>
          <p:spPr>
            <a:xfrm>
              <a:off x="7673450" y="1504650"/>
              <a:ext cx="77250" cy="152525"/>
            </a:xfrm>
            <a:custGeom>
              <a:avLst/>
              <a:gdLst/>
              <a:ahLst/>
              <a:cxnLst/>
              <a:rect l="l" t="t" r="r" b="b"/>
              <a:pathLst>
                <a:path w="3090" h="6101" extrusionOk="0">
                  <a:moveTo>
                    <a:pt x="2776" y="1"/>
                  </a:moveTo>
                  <a:cubicBezTo>
                    <a:pt x="2775" y="1"/>
                    <a:pt x="2773" y="2"/>
                    <a:pt x="2771" y="3"/>
                  </a:cubicBezTo>
                  <a:cubicBezTo>
                    <a:pt x="2067" y="447"/>
                    <a:pt x="0" y="6101"/>
                    <a:pt x="3089" y="6101"/>
                  </a:cubicBezTo>
                  <a:cubicBezTo>
                    <a:pt x="3089" y="6101"/>
                    <a:pt x="2312" y="6033"/>
                    <a:pt x="2268" y="3826"/>
                  </a:cubicBezTo>
                  <a:cubicBezTo>
                    <a:pt x="2215" y="1638"/>
                    <a:pt x="2848" y="1"/>
                    <a:pt x="2776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5251;p53">
              <a:extLst>
                <a:ext uri="{FF2B5EF4-FFF2-40B4-BE49-F238E27FC236}">
                  <a16:creationId xmlns:a16="http://schemas.microsoft.com/office/drawing/2014/main" id="{4B713295-139E-27DA-9068-B31FCD475DB2}"/>
                </a:ext>
              </a:extLst>
            </p:cNvPr>
            <p:cNvSpPr/>
            <p:nvPr/>
          </p:nvSpPr>
          <p:spPr>
            <a:xfrm>
              <a:off x="7748275" y="1572725"/>
              <a:ext cx="11125" cy="107050"/>
            </a:xfrm>
            <a:custGeom>
              <a:avLst/>
              <a:gdLst/>
              <a:ahLst/>
              <a:cxnLst/>
              <a:rect l="l" t="t" r="r" b="b"/>
              <a:pathLst>
                <a:path w="445" h="4282" extrusionOk="0">
                  <a:moveTo>
                    <a:pt x="224" y="1"/>
                  </a:moveTo>
                  <a:cubicBezTo>
                    <a:pt x="223" y="1"/>
                    <a:pt x="222" y="6"/>
                    <a:pt x="222" y="20"/>
                  </a:cubicBezTo>
                  <a:lnTo>
                    <a:pt x="0" y="4281"/>
                  </a:lnTo>
                  <a:lnTo>
                    <a:pt x="445" y="4281"/>
                  </a:lnTo>
                  <a:cubicBezTo>
                    <a:pt x="430" y="2458"/>
                    <a:pt x="267" y="20"/>
                    <a:pt x="229" y="20"/>
                  </a:cubicBezTo>
                  <a:cubicBezTo>
                    <a:pt x="229" y="20"/>
                    <a:pt x="226" y="1"/>
                    <a:pt x="22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5252;p53">
              <a:extLst>
                <a:ext uri="{FF2B5EF4-FFF2-40B4-BE49-F238E27FC236}">
                  <a16:creationId xmlns:a16="http://schemas.microsoft.com/office/drawing/2014/main" id="{76D68B0B-65AF-2A21-940F-8626F7E809BE}"/>
                </a:ext>
              </a:extLst>
            </p:cNvPr>
            <p:cNvSpPr/>
            <p:nvPr/>
          </p:nvSpPr>
          <p:spPr>
            <a:xfrm>
              <a:off x="7723625" y="1610650"/>
              <a:ext cx="30400" cy="24475"/>
            </a:xfrm>
            <a:custGeom>
              <a:avLst/>
              <a:gdLst/>
              <a:ahLst/>
              <a:cxnLst/>
              <a:rect l="l" t="t" r="r" b="b"/>
              <a:pathLst>
                <a:path w="1216" h="979" extrusionOk="0">
                  <a:moveTo>
                    <a:pt x="1" y="1"/>
                  </a:moveTo>
                  <a:cubicBezTo>
                    <a:pt x="595" y="952"/>
                    <a:pt x="1136" y="979"/>
                    <a:pt x="1196" y="979"/>
                  </a:cubicBezTo>
                  <a:cubicBezTo>
                    <a:pt x="1199" y="979"/>
                    <a:pt x="1201" y="979"/>
                    <a:pt x="1201" y="979"/>
                  </a:cubicBezTo>
                  <a:lnTo>
                    <a:pt x="1215" y="838"/>
                  </a:lnTo>
                  <a:lnTo>
                    <a:pt x="1215" y="838"/>
                  </a:lnTo>
                  <a:cubicBezTo>
                    <a:pt x="1215" y="838"/>
                    <a:pt x="1203" y="847"/>
                    <a:pt x="1168" y="847"/>
                  </a:cubicBezTo>
                  <a:cubicBezTo>
                    <a:pt x="1093" y="847"/>
                    <a:pt x="919" y="806"/>
                    <a:pt x="556" y="548"/>
                  </a:cubicBezTo>
                  <a:cubicBezTo>
                    <a:pt x="245" y="33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5253;p53">
              <a:extLst>
                <a:ext uri="{FF2B5EF4-FFF2-40B4-BE49-F238E27FC236}">
                  <a16:creationId xmlns:a16="http://schemas.microsoft.com/office/drawing/2014/main" id="{3650A2A8-7336-66E8-4F4A-BF52D01E4EBC}"/>
                </a:ext>
              </a:extLst>
            </p:cNvPr>
            <p:cNvSpPr/>
            <p:nvPr/>
          </p:nvSpPr>
          <p:spPr>
            <a:xfrm>
              <a:off x="7754000" y="1603800"/>
              <a:ext cx="25600" cy="20750"/>
            </a:xfrm>
            <a:custGeom>
              <a:avLst/>
              <a:gdLst/>
              <a:ahLst/>
              <a:cxnLst/>
              <a:rect l="l" t="t" r="r" b="b"/>
              <a:pathLst>
                <a:path w="1024" h="830" extrusionOk="0">
                  <a:moveTo>
                    <a:pt x="1023" y="1"/>
                  </a:moveTo>
                  <a:lnTo>
                    <a:pt x="1023" y="1"/>
                  </a:lnTo>
                  <a:cubicBezTo>
                    <a:pt x="1023" y="1"/>
                    <a:pt x="824" y="282"/>
                    <a:pt x="557" y="467"/>
                  </a:cubicBezTo>
                  <a:cubicBezTo>
                    <a:pt x="255" y="685"/>
                    <a:pt x="108" y="721"/>
                    <a:pt x="44" y="721"/>
                  </a:cubicBezTo>
                  <a:cubicBezTo>
                    <a:pt x="12" y="721"/>
                    <a:pt x="0" y="712"/>
                    <a:pt x="0" y="712"/>
                  </a:cubicBezTo>
                  <a:lnTo>
                    <a:pt x="0" y="712"/>
                  </a:lnTo>
                  <a:lnTo>
                    <a:pt x="8" y="830"/>
                  </a:lnTo>
                  <a:cubicBezTo>
                    <a:pt x="8" y="830"/>
                    <a:pt x="10" y="830"/>
                    <a:pt x="14" y="830"/>
                  </a:cubicBezTo>
                  <a:cubicBezTo>
                    <a:pt x="72" y="830"/>
                    <a:pt x="531" y="803"/>
                    <a:pt x="1023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5254;p53">
              <a:extLst>
                <a:ext uri="{FF2B5EF4-FFF2-40B4-BE49-F238E27FC236}">
                  <a16:creationId xmlns:a16="http://schemas.microsoft.com/office/drawing/2014/main" id="{4419139D-C555-715E-1998-B29C58AC03E1}"/>
                </a:ext>
              </a:extLst>
            </p:cNvPr>
            <p:cNvSpPr/>
            <p:nvPr/>
          </p:nvSpPr>
          <p:spPr>
            <a:xfrm>
              <a:off x="7733225" y="1588950"/>
              <a:ext cx="20800" cy="16700"/>
            </a:xfrm>
            <a:custGeom>
              <a:avLst/>
              <a:gdLst/>
              <a:ahLst/>
              <a:cxnLst/>
              <a:rect l="l" t="t" r="r" b="b"/>
              <a:pathLst>
                <a:path w="832" h="668" extrusionOk="0">
                  <a:moveTo>
                    <a:pt x="1" y="1"/>
                  </a:moveTo>
                  <a:lnTo>
                    <a:pt x="1" y="1"/>
                  </a:lnTo>
                  <a:cubicBezTo>
                    <a:pt x="398" y="648"/>
                    <a:pt x="774" y="668"/>
                    <a:pt x="820" y="668"/>
                  </a:cubicBezTo>
                  <a:cubicBezTo>
                    <a:pt x="823" y="668"/>
                    <a:pt x="824" y="668"/>
                    <a:pt x="824" y="668"/>
                  </a:cubicBezTo>
                  <a:lnTo>
                    <a:pt x="831" y="572"/>
                  </a:lnTo>
                  <a:lnTo>
                    <a:pt x="831" y="572"/>
                  </a:lnTo>
                  <a:cubicBezTo>
                    <a:pt x="831" y="572"/>
                    <a:pt x="821" y="580"/>
                    <a:pt x="793" y="580"/>
                  </a:cubicBezTo>
                  <a:cubicBezTo>
                    <a:pt x="739" y="580"/>
                    <a:pt x="618" y="550"/>
                    <a:pt x="380" y="380"/>
                  </a:cubicBezTo>
                  <a:cubicBezTo>
                    <a:pt x="165" y="23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5255;p53">
              <a:extLst>
                <a:ext uri="{FF2B5EF4-FFF2-40B4-BE49-F238E27FC236}">
                  <a16:creationId xmlns:a16="http://schemas.microsoft.com/office/drawing/2014/main" id="{795461C7-072D-F0EC-B99C-84EA1DBCC673}"/>
                </a:ext>
              </a:extLst>
            </p:cNvPr>
            <p:cNvSpPr/>
            <p:nvPr/>
          </p:nvSpPr>
          <p:spPr>
            <a:xfrm>
              <a:off x="7517600" y="1556875"/>
              <a:ext cx="110650" cy="107700"/>
            </a:xfrm>
            <a:custGeom>
              <a:avLst/>
              <a:gdLst/>
              <a:ahLst/>
              <a:cxnLst/>
              <a:rect l="l" t="t" r="r" b="b"/>
              <a:pathLst>
                <a:path w="4426" h="4308" extrusionOk="0">
                  <a:moveTo>
                    <a:pt x="2151" y="1"/>
                  </a:moveTo>
                  <a:cubicBezTo>
                    <a:pt x="2073" y="1"/>
                    <a:pt x="1995" y="21"/>
                    <a:pt x="1929" y="62"/>
                  </a:cubicBezTo>
                  <a:cubicBezTo>
                    <a:pt x="1440" y="366"/>
                    <a:pt x="1" y="4307"/>
                    <a:pt x="2151" y="4307"/>
                  </a:cubicBezTo>
                  <a:cubicBezTo>
                    <a:pt x="4425" y="4307"/>
                    <a:pt x="2862" y="366"/>
                    <a:pt x="2373" y="62"/>
                  </a:cubicBezTo>
                  <a:cubicBezTo>
                    <a:pt x="2307" y="21"/>
                    <a:pt x="2229" y="1"/>
                    <a:pt x="2151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5256;p53">
              <a:extLst>
                <a:ext uri="{FF2B5EF4-FFF2-40B4-BE49-F238E27FC236}">
                  <a16:creationId xmlns:a16="http://schemas.microsoft.com/office/drawing/2014/main" id="{19A73592-B3F0-226B-0C61-125FB104754B}"/>
                </a:ext>
              </a:extLst>
            </p:cNvPr>
            <p:cNvSpPr/>
            <p:nvPr/>
          </p:nvSpPr>
          <p:spPr>
            <a:xfrm>
              <a:off x="7517600" y="1558375"/>
              <a:ext cx="53775" cy="106200"/>
            </a:xfrm>
            <a:custGeom>
              <a:avLst/>
              <a:gdLst/>
              <a:ahLst/>
              <a:cxnLst/>
              <a:rect l="l" t="t" r="r" b="b"/>
              <a:pathLst>
                <a:path w="2151" h="4248" extrusionOk="0">
                  <a:moveTo>
                    <a:pt x="1932" y="1"/>
                  </a:moveTo>
                  <a:cubicBezTo>
                    <a:pt x="1931" y="1"/>
                    <a:pt x="1930" y="1"/>
                    <a:pt x="1929" y="2"/>
                  </a:cubicBezTo>
                  <a:cubicBezTo>
                    <a:pt x="1440" y="306"/>
                    <a:pt x="1" y="4247"/>
                    <a:pt x="2151" y="4247"/>
                  </a:cubicBezTo>
                  <a:cubicBezTo>
                    <a:pt x="2151" y="4247"/>
                    <a:pt x="1610" y="4203"/>
                    <a:pt x="1580" y="2663"/>
                  </a:cubicBezTo>
                  <a:cubicBezTo>
                    <a:pt x="1543" y="1142"/>
                    <a:pt x="1985" y="1"/>
                    <a:pt x="1932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5257;p53">
              <a:extLst>
                <a:ext uri="{FF2B5EF4-FFF2-40B4-BE49-F238E27FC236}">
                  <a16:creationId xmlns:a16="http://schemas.microsoft.com/office/drawing/2014/main" id="{4898B90E-60D5-8466-4EBE-BA980B8173D5}"/>
                </a:ext>
              </a:extLst>
            </p:cNvPr>
            <p:cNvSpPr/>
            <p:nvPr/>
          </p:nvSpPr>
          <p:spPr>
            <a:xfrm>
              <a:off x="7569675" y="1605800"/>
              <a:ext cx="7800" cy="74550"/>
            </a:xfrm>
            <a:custGeom>
              <a:avLst/>
              <a:gdLst/>
              <a:ahLst/>
              <a:cxnLst/>
              <a:rect l="l" t="t" r="r" b="b"/>
              <a:pathLst>
                <a:path w="312" h="2982" extrusionOk="0">
                  <a:moveTo>
                    <a:pt x="159" y="0"/>
                  </a:moveTo>
                  <a:cubicBezTo>
                    <a:pt x="158" y="0"/>
                    <a:pt x="157" y="4"/>
                    <a:pt x="157" y="17"/>
                  </a:cubicBezTo>
                  <a:lnTo>
                    <a:pt x="0" y="2981"/>
                  </a:lnTo>
                  <a:lnTo>
                    <a:pt x="312" y="2981"/>
                  </a:lnTo>
                  <a:cubicBezTo>
                    <a:pt x="304" y="1713"/>
                    <a:pt x="185" y="17"/>
                    <a:pt x="164" y="17"/>
                  </a:cubicBezTo>
                  <a:cubicBezTo>
                    <a:pt x="164" y="17"/>
                    <a:pt x="161" y="0"/>
                    <a:pt x="159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5258;p53">
              <a:extLst>
                <a:ext uri="{FF2B5EF4-FFF2-40B4-BE49-F238E27FC236}">
                  <a16:creationId xmlns:a16="http://schemas.microsoft.com/office/drawing/2014/main" id="{94A8400F-442B-F742-64BA-4713393135FD}"/>
                </a:ext>
              </a:extLst>
            </p:cNvPr>
            <p:cNvSpPr/>
            <p:nvPr/>
          </p:nvSpPr>
          <p:spPr>
            <a:xfrm>
              <a:off x="7552650" y="1632125"/>
              <a:ext cx="20950" cy="17100"/>
            </a:xfrm>
            <a:custGeom>
              <a:avLst/>
              <a:gdLst/>
              <a:ahLst/>
              <a:cxnLst/>
              <a:rect l="l" t="t" r="r" b="b"/>
              <a:pathLst>
                <a:path w="838" h="684" extrusionOk="0">
                  <a:moveTo>
                    <a:pt x="0" y="1"/>
                  </a:moveTo>
                  <a:lnTo>
                    <a:pt x="0" y="1"/>
                  </a:lnTo>
                  <a:cubicBezTo>
                    <a:pt x="406" y="665"/>
                    <a:pt x="785" y="684"/>
                    <a:pt x="827" y="684"/>
                  </a:cubicBezTo>
                  <a:cubicBezTo>
                    <a:pt x="829" y="684"/>
                    <a:pt x="831" y="684"/>
                    <a:pt x="831" y="684"/>
                  </a:cubicBezTo>
                  <a:lnTo>
                    <a:pt x="838" y="586"/>
                  </a:lnTo>
                  <a:lnTo>
                    <a:pt x="838" y="586"/>
                  </a:lnTo>
                  <a:cubicBezTo>
                    <a:pt x="838" y="586"/>
                    <a:pt x="830" y="592"/>
                    <a:pt x="806" y="592"/>
                  </a:cubicBezTo>
                  <a:cubicBezTo>
                    <a:pt x="757" y="592"/>
                    <a:pt x="639" y="564"/>
                    <a:pt x="386" y="387"/>
                  </a:cubicBezTo>
                  <a:cubicBezTo>
                    <a:pt x="164" y="23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5259;p53">
              <a:extLst>
                <a:ext uri="{FF2B5EF4-FFF2-40B4-BE49-F238E27FC236}">
                  <a16:creationId xmlns:a16="http://schemas.microsoft.com/office/drawing/2014/main" id="{E849E790-FFC1-B600-E23B-6FD431F7C579}"/>
                </a:ext>
              </a:extLst>
            </p:cNvPr>
            <p:cNvSpPr/>
            <p:nvPr/>
          </p:nvSpPr>
          <p:spPr>
            <a:xfrm>
              <a:off x="7573575" y="1627500"/>
              <a:ext cx="18000" cy="14475"/>
            </a:xfrm>
            <a:custGeom>
              <a:avLst/>
              <a:gdLst/>
              <a:ahLst/>
              <a:cxnLst/>
              <a:rect l="l" t="t" r="r" b="b"/>
              <a:pathLst>
                <a:path w="720" h="579" extrusionOk="0">
                  <a:moveTo>
                    <a:pt x="719" y="1"/>
                  </a:moveTo>
                  <a:cubicBezTo>
                    <a:pt x="719" y="1"/>
                    <a:pt x="579" y="193"/>
                    <a:pt x="394" y="326"/>
                  </a:cubicBezTo>
                  <a:cubicBezTo>
                    <a:pt x="184" y="472"/>
                    <a:pt x="81" y="497"/>
                    <a:pt x="34" y="497"/>
                  </a:cubicBezTo>
                  <a:cubicBezTo>
                    <a:pt x="10" y="497"/>
                    <a:pt x="1" y="490"/>
                    <a:pt x="1" y="490"/>
                  </a:cubicBezTo>
                  <a:lnTo>
                    <a:pt x="1" y="490"/>
                  </a:lnTo>
                  <a:lnTo>
                    <a:pt x="8" y="579"/>
                  </a:lnTo>
                  <a:cubicBezTo>
                    <a:pt x="8" y="579"/>
                    <a:pt x="9" y="579"/>
                    <a:pt x="10" y="579"/>
                  </a:cubicBezTo>
                  <a:cubicBezTo>
                    <a:pt x="39" y="579"/>
                    <a:pt x="366" y="566"/>
                    <a:pt x="71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260;p53">
              <a:extLst>
                <a:ext uri="{FF2B5EF4-FFF2-40B4-BE49-F238E27FC236}">
                  <a16:creationId xmlns:a16="http://schemas.microsoft.com/office/drawing/2014/main" id="{CBB5F664-DFFB-E966-BA96-36EDCD51BF67}"/>
                </a:ext>
              </a:extLst>
            </p:cNvPr>
            <p:cNvSpPr/>
            <p:nvPr/>
          </p:nvSpPr>
          <p:spPr>
            <a:xfrm>
              <a:off x="7559125" y="1617150"/>
              <a:ext cx="14475" cy="11675"/>
            </a:xfrm>
            <a:custGeom>
              <a:avLst/>
              <a:gdLst/>
              <a:ahLst/>
              <a:cxnLst/>
              <a:rect l="l" t="t" r="r" b="b"/>
              <a:pathLst>
                <a:path w="579" h="467" extrusionOk="0">
                  <a:moveTo>
                    <a:pt x="1" y="0"/>
                  </a:moveTo>
                  <a:lnTo>
                    <a:pt x="1" y="0"/>
                  </a:lnTo>
                  <a:cubicBezTo>
                    <a:pt x="296" y="460"/>
                    <a:pt x="563" y="466"/>
                    <a:pt x="578" y="466"/>
                  </a:cubicBezTo>
                  <a:cubicBezTo>
                    <a:pt x="579" y="466"/>
                    <a:pt x="579" y="466"/>
                    <a:pt x="579" y="466"/>
                  </a:cubicBezTo>
                  <a:lnTo>
                    <a:pt x="579" y="393"/>
                  </a:lnTo>
                  <a:cubicBezTo>
                    <a:pt x="579" y="393"/>
                    <a:pt x="571" y="400"/>
                    <a:pt x="550" y="400"/>
                  </a:cubicBezTo>
                  <a:cubicBezTo>
                    <a:pt x="511" y="400"/>
                    <a:pt x="429" y="379"/>
                    <a:pt x="268" y="260"/>
                  </a:cubicBezTo>
                  <a:cubicBezTo>
                    <a:pt x="118" y="15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261;p53">
              <a:extLst>
                <a:ext uri="{FF2B5EF4-FFF2-40B4-BE49-F238E27FC236}">
                  <a16:creationId xmlns:a16="http://schemas.microsoft.com/office/drawing/2014/main" id="{790147A3-022C-44B7-E821-73DBF0733D5D}"/>
                </a:ext>
              </a:extLst>
            </p:cNvPr>
            <p:cNvSpPr/>
            <p:nvPr/>
          </p:nvSpPr>
          <p:spPr>
            <a:xfrm>
              <a:off x="7639875" y="1540475"/>
              <a:ext cx="120475" cy="117250"/>
            </a:xfrm>
            <a:custGeom>
              <a:avLst/>
              <a:gdLst/>
              <a:ahLst/>
              <a:cxnLst/>
              <a:rect l="l" t="t" r="r" b="b"/>
              <a:pathLst>
                <a:path w="4819" h="4690" extrusionOk="0">
                  <a:moveTo>
                    <a:pt x="2476" y="1"/>
                  </a:moveTo>
                  <a:cubicBezTo>
                    <a:pt x="2391" y="1"/>
                    <a:pt x="2306" y="25"/>
                    <a:pt x="2232" y="73"/>
                  </a:cubicBezTo>
                  <a:cubicBezTo>
                    <a:pt x="1699" y="407"/>
                    <a:pt x="0" y="4689"/>
                    <a:pt x="2476" y="4689"/>
                  </a:cubicBezTo>
                  <a:cubicBezTo>
                    <a:pt x="4818" y="4689"/>
                    <a:pt x="3255" y="407"/>
                    <a:pt x="2721" y="73"/>
                  </a:cubicBezTo>
                  <a:cubicBezTo>
                    <a:pt x="2647" y="25"/>
                    <a:pt x="2561" y="1"/>
                    <a:pt x="2476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62;p53">
              <a:extLst>
                <a:ext uri="{FF2B5EF4-FFF2-40B4-BE49-F238E27FC236}">
                  <a16:creationId xmlns:a16="http://schemas.microsoft.com/office/drawing/2014/main" id="{E43492E2-162C-3930-4A48-A8AC28A69441}"/>
                </a:ext>
              </a:extLst>
            </p:cNvPr>
            <p:cNvSpPr/>
            <p:nvPr/>
          </p:nvSpPr>
          <p:spPr>
            <a:xfrm>
              <a:off x="7641750" y="1545575"/>
              <a:ext cx="56350" cy="111425"/>
            </a:xfrm>
            <a:custGeom>
              <a:avLst/>
              <a:gdLst/>
              <a:ahLst/>
              <a:cxnLst/>
              <a:rect l="l" t="t" r="r" b="b"/>
              <a:pathLst>
                <a:path w="2254" h="4457" extrusionOk="0">
                  <a:moveTo>
                    <a:pt x="2028" y="0"/>
                  </a:moveTo>
                  <a:cubicBezTo>
                    <a:pt x="2027" y="0"/>
                    <a:pt x="2025" y="1"/>
                    <a:pt x="2024" y="2"/>
                  </a:cubicBezTo>
                  <a:cubicBezTo>
                    <a:pt x="1505" y="322"/>
                    <a:pt x="0" y="4457"/>
                    <a:pt x="2253" y="4457"/>
                  </a:cubicBezTo>
                  <a:cubicBezTo>
                    <a:pt x="2253" y="4457"/>
                    <a:pt x="1690" y="4412"/>
                    <a:pt x="1652" y="2796"/>
                  </a:cubicBezTo>
                  <a:cubicBezTo>
                    <a:pt x="1616" y="1200"/>
                    <a:pt x="2077" y="0"/>
                    <a:pt x="202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5263;p53">
              <a:extLst>
                <a:ext uri="{FF2B5EF4-FFF2-40B4-BE49-F238E27FC236}">
                  <a16:creationId xmlns:a16="http://schemas.microsoft.com/office/drawing/2014/main" id="{D62A1AD7-B912-5620-175D-E0F3D0F426A7}"/>
                </a:ext>
              </a:extLst>
            </p:cNvPr>
            <p:cNvSpPr/>
            <p:nvPr/>
          </p:nvSpPr>
          <p:spPr>
            <a:xfrm>
              <a:off x="7696200" y="1601350"/>
              <a:ext cx="8175" cy="79525"/>
            </a:xfrm>
            <a:custGeom>
              <a:avLst/>
              <a:gdLst/>
              <a:ahLst/>
              <a:cxnLst/>
              <a:rect l="l" t="t" r="r" b="b"/>
              <a:pathLst>
                <a:path w="327" h="3181" extrusionOk="0">
                  <a:moveTo>
                    <a:pt x="166" y="0"/>
                  </a:moveTo>
                  <a:cubicBezTo>
                    <a:pt x="165" y="0"/>
                    <a:pt x="164" y="5"/>
                    <a:pt x="164" y="17"/>
                  </a:cubicBezTo>
                  <a:lnTo>
                    <a:pt x="1" y="3181"/>
                  </a:lnTo>
                  <a:cubicBezTo>
                    <a:pt x="13" y="3178"/>
                    <a:pt x="49" y="3178"/>
                    <a:pt x="94" y="3178"/>
                  </a:cubicBezTo>
                  <a:cubicBezTo>
                    <a:pt x="182" y="3178"/>
                    <a:pt x="302" y="3181"/>
                    <a:pt x="326" y="3181"/>
                  </a:cubicBezTo>
                  <a:cubicBezTo>
                    <a:pt x="319" y="1826"/>
                    <a:pt x="193" y="17"/>
                    <a:pt x="171" y="17"/>
                  </a:cubicBezTo>
                  <a:cubicBezTo>
                    <a:pt x="171" y="17"/>
                    <a:pt x="168" y="0"/>
                    <a:pt x="166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5264;p53">
              <a:extLst>
                <a:ext uri="{FF2B5EF4-FFF2-40B4-BE49-F238E27FC236}">
                  <a16:creationId xmlns:a16="http://schemas.microsoft.com/office/drawing/2014/main" id="{EDD91AE9-7858-2CBB-4D21-F38A2E9D4D1A}"/>
                </a:ext>
              </a:extLst>
            </p:cNvPr>
            <p:cNvSpPr/>
            <p:nvPr/>
          </p:nvSpPr>
          <p:spPr>
            <a:xfrm>
              <a:off x="7677875" y="1629375"/>
              <a:ext cx="22450" cy="18175"/>
            </a:xfrm>
            <a:custGeom>
              <a:avLst/>
              <a:gdLst/>
              <a:ahLst/>
              <a:cxnLst/>
              <a:rect l="l" t="t" r="r" b="b"/>
              <a:pathLst>
                <a:path w="898" h="727" extrusionOk="0">
                  <a:moveTo>
                    <a:pt x="1" y="0"/>
                  </a:moveTo>
                  <a:lnTo>
                    <a:pt x="1" y="0"/>
                  </a:lnTo>
                  <a:cubicBezTo>
                    <a:pt x="433" y="706"/>
                    <a:pt x="840" y="726"/>
                    <a:pt x="886" y="726"/>
                  </a:cubicBezTo>
                  <a:cubicBezTo>
                    <a:pt x="889" y="726"/>
                    <a:pt x="890" y="726"/>
                    <a:pt x="890" y="726"/>
                  </a:cubicBezTo>
                  <a:lnTo>
                    <a:pt x="897" y="623"/>
                  </a:lnTo>
                  <a:lnTo>
                    <a:pt x="897" y="623"/>
                  </a:lnTo>
                  <a:cubicBezTo>
                    <a:pt x="897" y="623"/>
                    <a:pt x="888" y="630"/>
                    <a:pt x="862" y="630"/>
                  </a:cubicBezTo>
                  <a:cubicBezTo>
                    <a:pt x="807" y="630"/>
                    <a:pt x="678" y="600"/>
                    <a:pt x="408" y="415"/>
                  </a:cubicBezTo>
                  <a:cubicBezTo>
                    <a:pt x="179" y="25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265;p53">
              <a:extLst>
                <a:ext uri="{FF2B5EF4-FFF2-40B4-BE49-F238E27FC236}">
                  <a16:creationId xmlns:a16="http://schemas.microsoft.com/office/drawing/2014/main" id="{BF807F3B-F5FE-545D-8E37-B5A108CCB835}"/>
                </a:ext>
              </a:extLst>
            </p:cNvPr>
            <p:cNvSpPr/>
            <p:nvPr/>
          </p:nvSpPr>
          <p:spPr>
            <a:xfrm>
              <a:off x="7700300" y="162435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1"/>
                    <a:pt x="615" y="209"/>
                    <a:pt x="415" y="349"/>
                  </a:cubicBezTo>
                  <a:cubicBezTo>
                    <a:pt x="192" y="507"/>
                    <a:pt x="82" y="533"/>
                    <a:pt x="33" y="533"/>
                  </a:cubicBezTo>
                  <a:cubicBezTo>
                    <a:pt x="9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9" y="616"/>
                    <a:pt x="12" y="616"/>
                  </a:cubicBezTo>
                  <a:cubicBezTo>
                    <a:pt x="56" y="616"/>
                    <a:pt x="397" y="596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5266;p53">
              <a:extLst>
                <a:ext uri="{FF2B5EF4-FFF2-40B4-BE49-F238E27FC236}">
                  <a16:creationId xmlns:a16="http://schemas.microsoft.com/office/drawing/2014/main" id="{856C3792-8C80-6314-FA51-B98C52D49846}"/>
                </a:ext>
              </a:extLst>
            </p:cNvPr>
            <p:cNvSpPr/>
            <p:nvPr/>
          </p:nvSpPr>
          <p:spPr>
            <a:xfrm>
              <a:off x="7684900" y="1613225"/>
              <a:ext cx="15425" cy="12650"/>
            </a:xfrm>
            <a:custGeom>
              <a:avLst/>
              <a:gdLst/>
              <a:ahLst/>
              <a:cxnLst/>
              <a:rect l="l" t="t" r="r" b="b"/>
              <a:pathLst>
                <a:path w="617" h="506" extrusionOk="0">
                  <a:moveTo>
                    <a:pt x="1" y="1"/>
                  </a:moveTo>
                  <a:lnTo>
                    <a:pt x="1" y="1"/>
                  </a:lnTo>
                  <a:cubicBezTo>
                    <a:pt x="303" y="493"/>
                    <a:pt x="579" y="506"/>
                    <a:pt x="607" y="506"/>
                  </a:cubicBezTo>
                  <a:cubicBezTo>
                    <a:pt x="608" y="506"/>
                    <a:pt x="609" y="506"/>
                    <a:pt x="609" y="506"/>
                  </a:cubicBezTo>
                  <a:lnTo>
                    <a:pt x="616" y="431"/>
                  </a:lnTo>
                  <a:lnTo>
                    <a:pt x="616" y="431"/>
                  </a:lnTo>
                  <a:cubicBezTo>
                    <a:pt x="616" y="431"/>
                    <a:pt x="610" y="436"/>
                    <a:pt x="593" y="436"/>
                  </a:cubicBezTo>
                  <a:cubicBezTo>
                    <a:pt x="557" y="436"/>
                    <a:pt x="469" y="415"/>
                    <a:pt x="282" y="284"/>
                  </a:cubicBezTo>
                  <a:cubicBezTo>
                    <a:pt x="127" y="17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5267;p53">
              <a:extLst>
                <a:ext uri="{FF2B5EF4-FFF2-40B4-BE49-F238E27FC236}">
                  <a16:creationId xmlns:a16="http://schemas.microsoft.com/office/drawing/2014/main" id="{D8C0EA76-E4D6-1BCF-A9AE-D3488B7ADA0F}"/>
                </a:ext>
              </a:extLst>
            </p:cNvPr>
            <p:cNvSpPr/>
            <p:nvPr/>
          </p:nvSpPr>
          <p:spPr>
            <a:xfrm>
              <a:off x="7421675" y="1540075"/>
              <a:ext cx="120425" cy="117100"/>
            </a:xfrm>
            <a:custGeom>
              <a:avLst/>
              <a:gdLst/>
              <a:ahLst/>
              <a:cxnLst/>
              <a:rect l="l" t="t" r="r" b="b"/>
              <a:pathLst>
                <a:path w="4817" h="4684" extrusionOk="0">
                  <a:moveTo>
                    <a:pt x="2475" y="1"/>
                  </a:moveTo>
                  <a:cubicBezTo>
                    <a:pt x="2390" y="1"/>
                    <a:pt x="2305" y="23"/>
                    <a:pt x="2230" y="67"/>
                  </a:cubicBezTo>
                  <a:cubicBezTo>
                    <a:pt x="1704" y="400"/>
                    <a:pt x="0" y="4684"/>
                    <a:pt x="2476" y="4684"/>
                  </a:cubicBezTo>
                  <a:cubicBezTo>
                    <a:pt x="4816" y="4684"/>
                    <a:pt x="3253" y="400"/>
                    <a:pt x="2719" y="67"/>
                  </a:cubicBezTo>
                  <a:cubicBezTo>
                    <a:pt x="2646" y="23"/>
                    <a:pt x="2561" y="1"/>
                    <a:pt x="2475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5268;p53">
              <a:extLst>
                <a:ext uri="{FF2B5EF4-FFF2-40B4-BE49-F238E27FC236}">
                  <a16:creationId xmlns:a16="http://schemas.microsoft.com/office/drawing/2014/main" id="{380E4AE7-2367-AD34-FEE5-774A6EB09CAB}"/>
                </a:ext>
              </a:extLst>
            </p:cNvPr>
            <p:cNvSpPr/>
            <p:nvPr/>
          </p:nvSpPr>
          <p:spPr>
            <a:xfrm>
              <a:off x="7423525" y="1545050"/>
              <a:ext cx="56550" cy="111550"/>
            </a:xfrm>
            <a:custGeom>
              <a:avLst/>
              <a:gdLst/>
              <a:ahLst/>
              <a:cxnLst/>
              <a:rect l="l" t="t" r="r" b="b"/>
              <a:pathLst>
                <a:path w="2262" h="4462" extrusionOk="0">
                  <a:moveTo>
                    <a:pt x="2027" y="0"/>
                  </a:moveTo>
                  <a:cubicBezTo>
                    <a:pt x="2026" y="0"/>
                    <a:pt x="2024" y="1"/>
                    <a:pt x="2023" y="2"/>
                  </a:cubicBezTo>
                  <a:cubicBezTo>
                    <a:pt x="1512" y="327"/>
                    <a:pt x="1" y="4462"/>
                    <a:pt x="2261" y="4462"/>
                  </a:cubicBezTo>
                  <a:cubicBezTo>
                    <a:pt x="2261" y="4462"/>
                    <a:pt x="1690" y="4410"/>
                    <a:pt x="1653" y="2795"/>
                  </a:cubicBezTo>
                  <a:cubicBezTo>
                    <a:pt x="1623" y="1194"/>
                    <a:pt x="2088" y="0"/>
                    <a:pt x="2027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5269;p53">
              <a:extLst>
                <a:ext uri="{FF2B5EF4-FFF2-40B4-BE49-F238E27FC236}">
                  <a16:creationId xmlns:a16="http://schemas.microsoft.com/office/drawing/2014/main" id="{858B47DE-33DB-A550-3AC7-46C80CACDCD7}"/>
                </a:ext>
              </a:extLst>
            </p:cNvPr>
            <p:cNvSpPr/>
            <p:nvPr/>
          </p:nvSpPr>
          <p:spPr>
            <a:xfrm>
              <a:off x="7478000" y="1600800"/>
              <a:ext cx="8325" cy="79550"/>
            </a:xfrm>
            <a:custGeom>
              <a:avLst/>
              <a:gdLst/>
              <a:ahLst/>
              <a:cxnLst/>
              <a:rect l="l" t="t" r="r" b="b"/>
              <a:pathLst>
                <a:path w="333" h="3182" extrusionOk="0">
                  <a:moveTo>
                    <a:pt x="165" y="0"/>
                  </a:moveTo>
                  <a:cubicBezTo>
                    <a:pt x="163" y="0"/>
                    <a:pt x="162" y="4"/>
                    <a:pt x="162" y="16"/>
                  </a:cubicBezTo>
                  <a:lnTo>
                    <a:pt x="0" y="3181"/>
                  </a:lnTo>
                  <a:lnTo>
                    <a:pt x="333" y="3181"/>
                  </a:lnTo>
                  <a:cubicBezTo>
                    <a:pt x="319" y="1825"/>
                    <a:pt x="200" y="16"/>
                    <a:pt x="171" y="16"/>
                  </a:cubicBezTo>
                  <a:cubicBezTo>
                    <a:pt x="171" y="16"/>
                    <a:pt x="167" y="0"/>
                    <a:pt x="165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5270;p53">
              <a:extLst>
                <a:ext uri="{FF2B5EF4-FFF2-40B4-BE49-F238E27FC236}">
                  <a16:creationId xmlns:a16="http://schemas.microsoft.com/office/drawing/2014/main" id="{25F7DBED-9EAE-CA8F-FD2A-66737BAE75C5}"/>
                </a:ext>
              </a:extLst>
            </p:cNvPr>
            <p:cNvSpPr/>
            <p:nvPr/>
          </p:nvSpPr>
          <p:spPr>
            <a:xfrm>
              <a:off x="7459625" y="1628975"/>
              <a:ext cx="22675" cy="18200"/>
            </a:xfrm>
            <a:custGeom>
              <a:avLst/>
              <a:gdLst/>
              <a:ahLst/>
              <a:cxnLst/>
              <a:rect l="l" t="t" r="r" b="b"/>
              <a:pathLst>
                <a:path w="907" h="728" extrusionOk="0">
                  <a:moveTo>
                    <a:pt x="1" y="0"/>
                  </a:moveTo>
                  <a:cubicBezTo>
                    <a:pt x="443" y="709"/>
                    <a:pt x="844" y="728"/>
                    <a:pt x="886" y="728"/>
                  </a:cubicBezTo>
                  <a:cubicBezTo>
                    <a:pt x="889" y="728"/>
                    <a:pt x="890" y="728"/>
                    <a:pt x="890" y="728"/>
                  </a:cubicBezTo>
                  <a:lnTo>
                    <a:pt x="906" y="623"/>
                  </a:lnTo>
                  <a:lnTo>
                    <a:pt x="906" y="623"/>
                  </a:lnTo>
                  <a:cubicBezTo>
                    <a:pt x="906" y="623"/>
                    <a:pt x="896" y="630"/>
                    <a:pt x="868" y="630"/>
                  </a:cubicBezTo>
                  <a:cubicBezTo>
                    <a:pt x="812" y="630"/>
                    <a:pt x="681" y="599"/>
                    <a:pt x="417" y="409"/>
                  </a:cubicBezTo>
                  <a:cubicBezTo>
                    <a:pt x="186" y="246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5271;p53">
              <a:extLst>
                <a:ext uri="{FF2B5EF4-FFF2-40B4-BE49-F238E27FC236}">
                  <a16:creationId xmlns:a16="http://schemas.microsoft.com/office/drawing/2014/main" id="{F19F3055-0F1E-2C60-0337-9B701957573A}"/>
                </a:ext>
              </a:extLst>
            </p:cNvPr>
            <p:cNvSpPr/>
            <p:nvPr/>
          </p:nvSpPr>
          <p:spPr>
            <a:xfrm>
              <a:off x="7482275" y="162400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0"/>
                    <a:pt x="606" y="208"/>
                    <a:pt x="414" y="342"/>
                  </a:cubicBezTo>
                  <a:cubicBezTo>
                    <a:pt x="184" y="506"/>
                    <a:pt x="76" y="533"/>
                    <a:pt x="30" y="533"/>
                  </a:cubicBezTo>
                  <a:cubicBezTo>
                    <a:pt x="8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8" y="616"/>
                    <a:pt x="9" y="616"/>
                  </a:cubicBezTo>
                  <a:cubicBezTo>
                    <a:pt x="39" y="616"/>
                    <a:pt x="387" y="603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5272;p53">
              <a:extLst>
                <a:ext uri="{FF2B5EF4-FFF2-40B4-BE49-F238E27FC236}">
                  <a16:creationId xmlns:a16="http://schemas.microsoft.com/office/drawing/2014/main" id="{80E700D2-48FE-2E22-A356-2896B84B4AA0}"/>
                </a:ext>
              </a:extLst>
            </p:cNvPr>
            <p:cNvSpPr/>
            <p:nvPr/>
          </p:nvSpPr>
          <p:spPr>
            <a:xfrm>
              <a:off x="7466700" y="1612875"/>
              <a:ext cx="15600" cy="12425"/>
            </a:xfrm>
            <a:custGeom>
              <a:avLst/>
              <a:gdLst/>
              <a:ahLst/>
              <a:cxnLst/>
              <a:rect l="l" t="t" r="r" b="b"/>
              <a:pathLst>
                <a:path w="624" h="497" extrusionOk="0">
                  <a:moveTo>
                    <a:pt x="1" y="1"/>
                  </a:moveTo>
                  <a:cubicBezTo>
                    <a:pt x="302" y="484"/>
                    <a:pt x="583" y="497"/>
                    <a:pt x="612" y="497"/>
                  </a:cubicBezTo>
                  <a:cubicBezTo>
                    <a:pt x="613" y="497"/>
                    <a:pt x="614" y="497"/>
                    <a:pt x="614" y="497"/>
                  </a:cubicBezTo>
                  <a:lnTo>
                    <a:pt x="623" y="422"/>
                  </a:lnTo>
                  <a:lnTo>
                    <a:pt x="623" y="422"/>
                  </a:lnTo>
                  <a:cubicBezTo>
                    <a:pt x="623" y="422"/>
                    <a:pt x="615" y="429"/>
                    <a:pt x="591" y="429"/>
                  </a:cubicBezTo>
                  <a:cubicBezTo>
                    <a:pt x="549" y="429"/>
                    <a:pt x="458" y="407"/>
                    <a:pt x="282" y="282"/>
                  </a:cubicBezTo>
                  <a:cubicBezTo>
                    <a:pt x="125" y="17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5273;p53">
              <a:extLst>
                <a:ext uri="{FF2B5EF4-FFF2-40B4-BE49-F238E27FC236}">
                  <a16:creationId xmlns:a16="http://schemas.microsoft.com/office/drawing/2014/main" id="{C698A8DB-22AE-CB04-B436-74B3F98EFA20}"/>
                </a:ext>
              </a:extLst>
            </p:cNvPr>
            <p:cNvSpPr/>
            <p:nvPr/>
          </p:nvSpPr>
          <p:spPr>
            <a:xfrm>
              <a:off x="7454475" y="1518300"/>
              <a:ext cx="141725" cy="137775"/>
            </a:xfrm>
            <a:custGeom>
              <a:avLst/>
              <a:gdLst/>
              <a:ahLst/>
              <a:cxnLst/>
              <a:rect l="l" t="t" r="r" b="b"/>
              <a:pathLst>
                <a:path w="5669" h="5511" extrusionOk="0">
                  <a:moveTo>
                    <a:pt x="2909" y="1"/>
                  </a:moveTo>
                  <a:cubicBezTo>
                    <a:pt x="2808" y="1"/>
                    <a:pt x="2708" y="27"/>
                    <a:pt x="2624" y="79"/>
                  </a:cubicBezTo>
                  <a:cubicBezTo>
                    <a:pt x="2001" y="471"/>
                    <a:pt x="1" y="5510"/>
                    <a:pt x="2912" y="5510"/>
                  </a:cubicBezTo>
                  <a:cubicBezTo>
                    <a:pt x="5668" y="5510"/>
                    <a:pt x="3824" y="471"/>
                    <a:pt x="3202" y="79"/>
                  </a:cubicBezTo>
                  <a:cubicBezTo>
                    <a:pt x="3113" y="27"/>
                    <a:pt x="3011" y="1"/>
                    <a:pt x="2909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0" name="Google Shape;5274;p53">
              <a:extLst>
                <a:ext uri="{FF2B5EF4-FFF2-40B4-BE49-F238E27FC236}">
                  <a16:creationId xmlns:a16="http://schemas.microsoft.com/office/drawing/2014/main" id="{49F9579A-E44E-4359-EBF3-B0E82C16829F}"/>
                </a:ext>
              </a:extLst>
            </p:cNvPr>
            <p:cNvSpPr/>
            <p:nvPr/>
          </p:nvSpPr>
          <p:spPr>
            <a:xfrm>
              <a:off x="7457225" y="1524100"/>
              <a:ext cx="67075" cy="132500"/>
            </a:xfrm>
            <a:custGeom>
              <a:avLst/>
              <a:gdLst/>
              <a:ahLst/>
              <a:cxnLst/>
              <a:rect l="l" t="t" r="r" b="b"/>
              <a:pathLst>
                <a:path w="2683" h="5300" extrusionOk="0">
                  <a:moveTo>
                    <a:pt x="2413" y="1"/>
                  </a:moveTo>
                  <a:cubicBezTo>
                    <a:pt x="2412" y="1"/>
                    <a:pt x="2410" y="1"/>
                    <a:pt x="2409" y="2"/>
                  </a:cubicBezTo>
                  <a:cubicBezTo>
                    <a:pt x="1793" y="388"/>
                    <a:pt x="1" y="5300"/>
                    <a:pt x="2683" y="5300"/>
                  </a:cubicBezTo>
                  <a:cubicBezTo>
                    <a:pt x="2683" y="5300"/>
                    <a:pt x="2009" y="5241"/>
                    <a:pt x="1971" y="3322"/>
                  </a:cubicBezTo>
                  <a:cubicBezTo>
                    <a:pt x="1928" y="1421"/>
                    <a:pt x="2478" y="1"/>
                    <a:pt x="2413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1" name="Google Shape;5275;p53">
              <a:extLst>
                <a:ext uri="{FF2B5EF4-FFF2-40B4-BE49-F238E27FC236}">
                  <a16:creationId xmlns:a16="http://schemas.microsoft.com/office/drawing/2014/main" id="{BA5176AF-A9A7-7E78-3985-1224FED5B355}"/>
                </a:ext>
              </a:extLst>
            </p:cNvPr>
            <p:cNvSpPr/>
            <p:nvPr/>
          </p:nvSpPr>
          <p:spPr>
            <a:xfrm>
              <a:off x="7521700" y="1591900"/>
              <a:ext cx="9275" cy="88450"/>
            </a:xfrm>
            <a:custGeom>
              <a:avLst/>
              <a:gdLst/>
              <a:ahLst/>
              <a:cxnLst/>
              <a:rect l="l" t="t" r="r" b="b"/>
              <a:pathLst>
                <a:path w="371" h="3538" extrusionOk="0">
                  <a:moveTo>
                    <a:pt x="187" y="0"/>
                  </a:moveTo>
                  <a:cubicBezTo>
                    <a:pt x="186" y="0"/>
                    <a:pt x="185" y="4"/>
                    <a:pt x="185" y="16"/>
                  </a:cubicBezTo>
                  <a:lnTo>
                    <a:pt x="1" y="3537"/>
                  </a:lnTo>
                  <a:lnTo>
                    <a:pt x="370" y="3537"/>
                  </a:lnTo>
                  <a:cubicBezTo>
                    <a:pt x="356" y="2033"/>
                    <a:pt x="223" y="16"/>
                    <a:pt x="193" y="16"/>
                  </a:cubicBezTo>
                  <a:cubicBezTo>
                    <a:pt x="193" y="16"/>
                    <a:pt x="189" y="0"/>
                    <a:pt x="18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2" name="Google Shape;5276;p53">
              <a:extLst>
                <a:ext uri="{FF2B5EF4-FFF2-40B4-BE49-F238E27FC236}">
                  <a16:creationId xmlns:a16="http://schemas.microsoft.com/office/drawing/2014/main" id="{3D5B0BFD-CB34-2972-2411-DC50BCF18C1B}"/>
                </a:ext>
              </a:extLst>
            </p:cNvPr>
            <p:cNvSpPr/>
            <p:nvPr/>
          </p:nvSpPr>
          <p:spPr>
            <a:xfrm>
              <a:off x="7501525" y="1623250"/>
              <a:ext cx="25000" cy="20200"/>
            </a:xfrm>
            <a:custGeom>
              <a:avLst/>
              <a:gdLst/>
              <a:ahLst/>
              <a:cxnLst/>
              <a:rect l="l" t="t" r="r" b="b"/>
              <a:pathLst>
                <a:path w="1000" h="808" extrusionOk="0">
                  <a:moveTo>
                    <a:pt x="0" y="0"/>
                  </a:moveTo>
                  <a:lnTo>
                    <a:pt x="0" y="0"/>
                  </a:lnTo>
                  <a:cubicBezTo>
                    <a:pt x="484" y="787"/>
                    <a:pt x="935" y="807"/>
                    <a:pt x="981" y="807"/>
                  </a:cubicBezTo>
                  <a:cubicBezTo>
                    <a:pt x="984" y="807"/>
                    <a:pt x="985" y="807"/>
                    <a:pt x="985" y="807"/>
                  </a:cubicBezTo>
                  <a:lnTo>
                    <a:pt x="1000" y="690"/>
                  </a:lnTo>
                  <a:lnTo>
                    <a:pt x="1000" y="690"/>
                  </a:lnTo>
                  <a:cubicBezTo>
                    <a:pt x="1000" y="690"/>
                    <a:pt x="989" y="697"/>
                    <a:pt x="960" y="697"/>
                  </a:cubicBezTo>
                  <a:cubicBezTo>
                    <a:pt x="899" y="697"/>
                    <a:pt x="755" y="664"/>
                    <a:pt x="452" y="452"/>
                  </a:cubicBezTo>
                  <a:cubicBezTo>
                    <a:pt x="199" y="27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3" name="Google Shape;5277;p53">
              <a:extLst>
                <a:ext uri="{FF2B5EF4-FFF2-40B4-BE49-F238E27FC236}">
                  <a16:creationId xmlns:a16="http://schemas.microsoft.com/office/drawing/2014/main" id="{7988BF10-A105-097A-EA83-08262316C3EF}"/>
                </a:ext>
              </a:extLst>
            </p:cNvPr>
            <p:cNvSpPr/>
            <p:nvPr/>
          </p:nvSpPr>
          <p:spPr>
            <a:xfrm>
              <a:off x="7526500" y="1617675"/>
              <a:ext cx="21150" cy="17100"/>
            </a:xfrm>
            <a:custGeom>
              <a:avLst/>
              <a:gdLst/>
              <a:ahLst/>
              <a:cxnLst/>
              <a:rect l="l" t="t" r="r" b="b"/>
              <a:pathLst>
                <a:path w="846" h="684" extrusionOk="0">
                  <a:moveTo>
                    <a:pt x="845" y="1"/>
                  </a:moveTo>
                  <a:cubicBezTo>
                    <a:pt x="845" y="1"/>
                    <a:pt x="676" y="230"/>
                    <a:pt x="461" y="387"/>
                  </a:cubicBezTo>
                  <a:cubicBezTo>
                    <a:pt x="210" y="564"/>
                    <a:pt x="89" y="593"/>
                    <a:pt x="37" y="593"/>
                  </a:cubicBezTo>
                  <a:cubicBezTo>
                    <a:pt x="10" y="593"/>
                    <a:pt x="1" y="586"/>
                    <a:pt x="1" y="586"/>
                  </a:cubicBezTo>
                  <a:lnTo>
                    <a:pt x="1" y="586"/>
                  </a:lnTo>
                  <a:lnTo>
                    <a:pt x="9" y="684"/>
                  </a:lnTo>
                  <a:cubicBezTo>
                    <a:pt x="9" y="684"/>
                    <a:pt x="11" y="684"/>
                    <a:pt x="13" y="684"/>
                  </a:cubicBezTo>
                  <a:cubicBezTo>
                    <a:pt x="55" y="684"/>
                    <a:pt x="434" y="665"/>
                    <a:pt x="845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4" name="Google Shape;5278;p53">
              <a:extLst>
                <a:ext uri="{FF2B5EF4-FFF2-40B4-BE49-F238E27FC236}">
                  <a16:creationId xmlns:a16="http://schemas.microsoft.com/office/drawing/2014/main" id="{9608EA87-5FAC-49BC-AA1D-5E78751A6CE1}"/>
                </a:ext>
              </a:extLst>
            </p:cNvPr>
            <p:cNvSpPr/>
            <p:nvPr/>
          </p:nvSpPr>
          <p:spPr>
            <a:xfrm>
              <a:off x="7509300" y="1605275"/>
              <a:ext cx="17225" cy="13950"/>
            </a:xfrm>
            <a:custGeom>
              <a:avLst/>
              <a:gdLst/>
              <a:ahLst/>
              <a:cxnLst/>
              <a:rect l="l" t="t" r="r" b="b"/>
              <a:pathLst>
                <a:path w="689" h="558" extrusionOk="0">
                  <a:moveTo>
                    <a:pt x="0" y="1"/>
                  </a:moveTo>
                  <a:lnTo>
                    <a:pt x="0" y="1"/>
                  </a:lnTo>
                  <a:cubicBezTo>
                    <a:pt x="339" y="544"/>
                    <a:pt x="650" y="557"/>
                    <a:pt x="679" y="557"/>
                  </a:cubicBezTo>
                  <a:cubicBezTo>
                    <a:pt x="681" y="557"/>
                    <a:pt x="681" y="557"/>
                    <a:pt x="681" y="557"/>
                  </a:cubicBezTo>
                  <a:lnTo>
                    <a:pt x="689" y="475"/>
                  </a:lnTo>
                  <a:lnTo>
                    <a:pt x="689" y="475"/>
                  </a:lnTo>
                  <a:cubicBezTo>
                    <a:pt x="689" y="475"/>
                    <a:pt x="681" y="481"/>
                    <a:pt x="660" y="481"/>
                  </a:cubicBezTo>
                  <a:cubicBezTo>
                    <a:pt x="617" y="481"/>
                    <a:pt x="517" y="457"/>
                    <a:pt x="312" y="312"/>
                  </a:cubicBezTo>
                  <a:cubicBezTo>
                    <a:pt x="141" y="193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5" name="Google Shape;5279;p53">
              <a:extLst>
                <a:ext uri="{FF2B5EF4-FFF2-40B4-BE49-F238E27FC236}">
                  <a16:creationId xmlns:a16="http://schemas.microsoft.com/office/drawing/2014/main" id="{AE9D7ACA-D401-5A31-948D-2CFF49B25257}"/>
                </a:ext>
              </a:extLst>
            </p:cNvPr>
            <p:cNvSpPr/>
            <p:nvPr/>
          </p:nvSpPr>
          <p:spPr>
            <a:xfrm>
              <a:off x="7404450" y="1558600"/>
              <a:ext cx="64675" cy="81525"/>
            </a:xfrm>
            <a:custGeom>
              <a:avLst/>
              <a:gdLst/>
              <a:ahLst/>
              <a:cxnLst/>
              <a:rect l="l" t="t" r="r" b="b"/>
              <a:pathLst>
                <a:path w="2587" h="3261" extrusionOk="0">
                  <a:moveTo>
                    <a:pt x="1290" y="0"/>
                  </a:moveTo>
                  <a:cubicBezTo>
                    <a:pt x="734" y="0"/>
                    <a:pt x="275" y="452"/>
                    <a:pt x="275" y="1016"/>
                  </a:cubicBezTo>
                  <a:cubicBezTo>
                    <a:pt x="275" y="1067"/>
                    <a:pt x="282" y="1112"/>
                    <a:pt x="289" y="1156"/>
                  </a:cubicBezTo>
                  <a:cubicBezTo>
                    <a:pt x="111" y="1379"/>
                    <a:pt x="1" y="1659"/>
                    <a:pt x="1" y="1964"/>
                  </a:cubicBezTo>
                  <a:cubicBezTo>
                    <a:pt x="1" y="2682"/>
                    <a:pt x="579" y="3260"/>
                    <a:pt x="1290" y="3260"/>
                  </a:cubicBezTo>
                  <a:cubicBezTo>
                    <a:pt x="2009" y="3260"/>
                    <a:pt x="2587" y="2682"/>
                    <a:pt x="2587" y="1964"/>
                  </a:cubicBezTo>
                  <a:cubicBezTo>
                    <a:pt x="2587" y="1659"/>
                    <a:pt x="2475" y="1379"/>
                    <a:pt x="2297" y="1156"/>
                  </a:cubicBezTo>
                  <a:cubicBezTo>
                    <a:pt x="2304" y="1112"/>
                    <a:pt x="2313" y="1067"/>
                    <a:pt x="2313" y="1016"/>
                  </a:cubicBezTo>
                  <a:cubicBezTo>
                    <a:pt x="2313" y="452"/>
                    <a:pt x="1852" y="0"/>
                    <a:pt x="1290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6" name="Google Shape;5280;p53">
              <a:extLst>
                <a:ext uri="{FF2B5EF4-FFF2-40B4-BE49-F238E27FC236}">
                  <a16:creationId xmlns:a16="http://schemas.microsoft.com/office/drawing/2014/main" id="{B04171D3-D348-267A-8E15-BC73D052D51F}"/>
                </a:ext>
              </a:extLst>
            </p:cNvPr>
            <p:cNvSpPr/>
            <p:nvPr/>
          </p:nvSpPr>
          <p:spPr>
            <a:xfrm>
              <a:off x="7436700" y="1583475"/>
              <a:ext cx="2950" cy="96875"/>
            </a:xfrm>
            <a:custGeom>
              <a:avLst/>
              <a:gdLst/>
              <a:ahLst/>
              <a:cxnLst/>
              <a:rect l="l" t="t" r="r" b="b"/>
              <a:pathLst>
                <a:path w="118" h="3875" extrusionOk="0">
                  <a:moveTo>
                    <a:pt x="54" y="0"/>
                  </a:moveTo>
                  <a:cubicBezTo>
                    <a:pt x="53" y="0"/>
                    <a:pt x="52" y="4"/>
                    <a:pt x="52" y="14"/>
                  </a:cubicBezTo>
                  <a:lnTo>
                    <a:pt x="0" y="3821"/>
                  </a:lnTo>
                  <a:cubicBezTo>
                    <a:pt x="0" y="3851"/>
                    <a:pt x="22" y="3874"/>
                    <a:pt x="52" y="3874"/>
                  </a:cubicBezTo>
                  <a:lnTo>
                    <a:pt x="59" y="3874"/>
                  </a:lnTo>
                  <a:cubicBezTo>
                    <a:pt x="96" y="3874"/>
                    <a:pt x="118" y="3851"/>
                    <a:pt x="118" y="3821"/>
                  </a:cubicBezTo>
                  <a:cubicBezTo>
                    <a:pt x="118" y="3821"/>
                    <a:pt x="96" y="14"/>
                    <a:pt x="59" y="14"/>
                  </a:cubicBezTo>
                  <a:cubicBezTo>
                    <a:pt x="59" y="14"/>
                    <a:pt x="56" y="0"/>
                    <a:pt x="54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7" name="Google Shape;5281;p53">
              <a:extLst>
                <a:ext uri="{FF2B5EF4-FFF2-40B4-BE49-F238E27FC236}">
                  <a16:creationId xmlns:a16="http://schemas.microsoft.com/office/drawing/2014/main" id="{A238876D-A5F8-95F4-5C3A-CCD32A07F2B5}"/>
                </a:ext>
              </a:extLst>
            </p:cNvPr>
            <p:cNvSpPr/>
            <p:nvPr/>
          </p:nvSpPr>
          <p:spPr>
            <a:xfrm>
              <a:off x="7419800" y="1606975"/>
              <a:ext cx="18375" cy="15000"/>
            </a:xfrm>
            <a:custGeom>
              <a:avLst/>
              <a:gdLst/>
              <a:ahLst/>
              <a:cxnLst/>
              <a:rect l="l" t="t" r="r" b="b"/>
              <a:pathLst>
                <a:path w="735" h="600" extrusionOk="0">
                  <a:moveTo>
                    <a:pt x="0" y="0"/>
                  </a:moveTo>
                  <a:lnTo>
                    <a:pt x="0" y="0"/>
                  </a:lnTo>
                  <a:cubicBezTo>
                    <a:pt x="353" y="580"/>
                    <a:pt x="679" y="600"/>
                    <a:pt x="723" y="600"/>
                  </a:cubicBezTo>
                  <a:cubicBezTo>
                    <a:pt x="726" y="600"/>
                    <a:pt x="728" y="599"/>
                    <a:pt x="728" y="599"/>
                  </a:cubicBezTo>
                  <a:lnTo>
                    <a:pt x="735" y="511"/>
                  </a:lnTo>
                  <a:lnTo>
                    <a:pt x="735" y="511"/>
                  </a:lnTo>
                  <a:cubicBezTo>
                    <a:pt x="735" y="511"/>
                    <a:pt x="726" y="517"/>
                    <a:pt x="702" y="517"/>
                  </a:cubicBezTo>
                  <a:cubicBezTo>
                    <a:pt x="656" y="517"/>
                    <a:pt x="550" y="492"/>
                    <a:pt x="335" y="340"/>
                  </a:cubicBezTo>
                  <a:cubicBezTo>
                    <a:pt x="150" y="199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8" name="Google Shape;5282;p53">
              <a:extLst>
                <a:ext uri="{FF2B5EF4-FFF2-40B4-BE49-F238E27FC236}">
                  <a16:creationId xmlns:a16="http://schemas.microsoft.com/office/drawing/2014/main" id="{8D48105B-C4A4-3552-42FE-6A0F97567E92}"/>
                </a:ext>
              </a:extLst>
            </p:cNvPr>
            <p:cNvSpPr/>
            <p:nvPr/>
          </p:nvSpPr>
          <p:spPr>
            <a:xfrm>
              <a:off x="7438150" y="1602700"/>
              <a:ext cx="15600" cy="12775"/>
            </a:xfrm>
            <a:custGeom>
              <a:avLst/>
              <a:gdLst/>
              <a:ahLst/>
              <a:cxnLst/>
              <a:rect l="l" t="t" r="r" b="b"/>
              <a:pathLst>
                <a:path w="624" h="511" extrusionOk="0">
                  <a:moveTo>
                    <a:pt x="623" y="0"/>
                  </a:moveTo>
                  <a:cubicBezTo>
                    <a:pt x="623" y="0"/>
                    <a:pt x="497" y="178"/>
                    <a:pt x="342" y="289"/>
                  </a:cubicBezTo>
                  <a:cubicBezTo>
                    <a:pt x="156" y="421"/>
                    <a:pt x="67" y="444"/>
                    <a:pt x="28" y="444"/>
                  </a:cubicBezTo>
                  <a:cubicBezTo>
                    <a:pt x="8" y="444"/>
                    <a:pt x="1" y="438"/>
                    <a:pt x="1" y="438"/>
                  </a:cubicBezTo>
                  <a:lnTo>
                    <a:pt x="1" y="438"/>
                  </a:lnTo>
                  <a:lnTo>
                    <a:pt x="8" y="511"/>
                  </a:lnTo>
                  <a:cubicBezTo>
                    <a:pt x="8" y="511"/>
                    <a:pt x="9" y="511"/>
                    <a:pt x="11" y="511"/>
                  </a:cubicBezTo>
                  <a:cubicBezTo>
                    <a:pt x="42" y="511"/>
                    <a:pt x="323" y="497"/>
                    <a:pt x="62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9" name="Google Shape;5283;p53">
              <a:extLst>
                <a:ext uri="{FF2B5EF4-FFF2-40B4-BE49-F238E27FC236}">
                  <a16:creationId xmlns:a16="http://schemas.microsoft.com/office/drawing/2014/main" id="{EE55FF62-0A9B-744B-9EA4-71C28263FEDF}"/>
                </a:ext>
              </a:extLst>
            </p:cNvPr>
            <p:cNvSpPr/>
            <p:nvPr/>
          </p:nvSpPr>
          <p:spPr>
            <a:xfrm>
              <a:off x="7425575" y="1593625"/>
              <a:ext cx="12600" cy="10200"/>
            </a:xfrm>
            <a:custGeom>
              <a:avLst/>
              <a:gdLst/>
              <a:ahLst/>
              <a:cxnLst/>
              <a:rect l="l" t="t" r="r" b="b"/>
              <a:pathLst>
                <a:path w="504" h="408" extrusionOk="0">
                  <a:moveTo>
                    <a:pt x="1" y="1"/>
                  </a:moveTo>
                  <a:lnTo>
                    <a:pt x="1" y="1"/>
                  </a:lnTo>
                  <a:cubicBezTo>
                    <a:pt x="242" y="395"/>
                    <a:pt x="467" y="408"/>
                    <a:pt x="494" y="408"/>
                  </a:cubicBezTo>
                  <a:cubicBezTo>
                    <a:pt x="496" y="408"/>
                    <a:pt x="497" y="408"/>
                    <a:pt x="497" y="408"/>
                  </a:cubicBezTo>
                  <a:lnTo>
                    <a:pt x="504" y="347"/>
                  </a:lnTo>
                  <a:lnTo>
                    <a:pt x="504" y="347"/>
                  </a:lnTo>
                  <a:cubicBezTo>
                    <a:pt x="504" y="347"/>
                    <a:pt x="497" y="353"/>
                    <a:pt x="479" y="353"/>
                  </a:cubicBezTo>
                  <a:cubicBezTo>
                    <a:pt x="446" y="353"/>
                    <a:pt x="374" y="334"/>
                    <a:pt x="230" y="230"/>
                  </a:cubicBezTo>
                  <a:cubicBezTo>
                    <a:pt x="104" y="14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0" name="Google Shape;5284;p53">
              <a:extLst>
                <a:ext uri="{FF2B5EF4-FFF2-40B4-BE49-F238E27FC236}">
                  <a16:creationId xmlns:a16="http://schemas.microsoft.com/office/drawing/2014/main" id="{0F81106A-EE42-D43A-D558-59BCB4E34803}"/>
                </a:ext>
              </a:extLst>
            </p:cNvPr>
            <p:cNvSpPr/>
            <p:nvPr/>
          </p:nvSpPr>
          <p:spPr>
            <a:xfrm>
              <a:off x="7286250" y="1591750"/>
              <a:ext cx="46350" cy="58600"/>
            </a:xfrm>
            <a:custGeom>
              <a:avLst/>
              <a:gdLst/>
              <a:ahLst/>
              <a:cxnLst/>
              <a:rect l="l" t="t" r="r" b="b"/>
              <a:pathLst>
                <a:path w="1854" h="2344" extrusionOk="0">
                  <a:moveTo>
                    <a:pt x="927" y="1"/>
                  </a:moveTo>
                  <a:cubicBezTo>
                    <a:pt x="527" y="1"/>
                    <a:pt x="194" y="326"/>
                    <a:pt x="194" y="734"/>
                  </a:cubicBezTo>
                  <a:cubicBezTo>
                    <a:pt x="194" y="764"/>
                    <a:pt x="201" y="801"/>
                    <a:pt x="208" y="831"/>
                  </a:cubicBezTo>
                  <a:cubicBezTo>
                    <a:pt x="75" y="993"/>
                    <a:pt x="0" y="1194"/>
                    <a:pt x="0" y="1417"/>
                  </a:cubicBezTo>
                  <a:cubicBezTo>
                    <a:pt x="0" y="1927"/>
                    <a:pt x="416" y="2343"/>
                    <a:pt x="927" y="2343"/>
                  </a:cubicBezTo>
                  <a:cubicBezTo>
                    <a:pt x="1439" y="2343"/>
                    <a:pt x="1853" y="1927"/>
                    <a:pt x="1853" y="1417"/>
                  </a:cubicBezTo>
                  <a:cubicBezTo>
                    <a:pt x="1853" y="1194"/>
                    <a:pt x="1772" y="993"/>
                    <a:pt x="1645" y="831"/>
                  </a:cubicBezTo>
                  <a:cubicBezTo>
                    <a:pt x="1652" y="801"/>
                    <a:pt x="1652" y="764"/>
                    <a:pt x="1652" y="734"/>
                  </a:cubicBezTo>
                  <a:cubicBezTo>
                    <a:pt x="1652" y="326"/>
                    <a:pt x="1327" y="1"/>
                    <a:pt x="92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1" name="Google Shape;5285;p53">
              <a:extLst>
                <a:ext uri="{FF2B5EF4-FFF2-40B4-BE49-F238E27FC236}">
                  <a16:creationId xmlns:a16="http://schemas.microsoft.com/office/drawing/2014/main" id="{A46A35C2-EB11-FEB7-CE34-315A78AEF39D}"/>
                </a:ext>
              </a:extLst>
            </p:cNvPr>
            <p:cNvSpPr/>
            <p:nvPr/>
          </p:nvSpPr>
          <p:spPr>
            <a:xfrm>
              <a:off x="7309225" y="1609675"/>
              <a:ext cx="2250" cy="69550"/>
            </a:xfrm>
            <a:custGeom>
              <a:avLst/>
              <a:gdLst/>
              <a:ahLst/>
              <a:cxnLst/>
              <a:rect l="l" t="t" r="r" b="b"/>
              <a:pathLst>
                <a:path w="90" h="2782" extrusionOk="0">
                  <a:moveTo>
                    <a:pt x="47" y="0"/>
                  </a:moveTo>
                  <a:cubicBezTo>
                    <a:pt x="46" y="0"/>
                    <a:pt x="45" y="2"/>
                    <a:pt x="45" y="10"/>
                  </a:cubicBezTo>
                  <a:lnTo>
                    <a:pt x="1" y="2738"/>
                  </a:lnTo>
                  <a:cubicBezTo>
                    <a:pt x="1" y="2759"/>
                    <a:pt x="22" y="2782"/>
                    <a:pt x="45" y="2782"/>
                  </a:cubicBezTo>
                  <a:lnTo>
                    <a:pt x="52" y="2782"/>
                  </a:lnTo>
                  <a:cubicBezTo>
                    <a:pt x="75" y="2782"/>
                    <a:pt x="90" y="2759"/>
                    <a:pt x="90" y="2738"/>
                  </a:cubicBezTo>
                  <a:cubicBezTo>
                    <a:pt x="90" y="2738"/>
                    <a:pt x="75" y="10"/>
                    <a:pt x="52" y="10"/>
                  </a:cubicBezTo>
                  <a:cubicBezTo>
                    <a:pt x="52" y="10"/>
                    <a:pt x="49" y="0"/>
                    <a:pt x="4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2" name="Google Shape;5286;p53">
              <a:extLst>
                <a:ext uri="{FF2B5EF4-FFF2-40B4-BE49-F238E27FC236}">
                  <a16:creationId xmlns:a16="http://schemas.microsoft.com/office/drawing/2014/main" id="{351325BC-5468-2748-95ED-FB07067F96E7}"/>
                </a:ext>
              </a:extLst>
            </p:cNvPr>
            <p:cNvSpPr/>
            <p:nvPr/>
          </p:nvSpPr>
          <p:spPr>
            <a:xfrm>
              <a:off x="7297175" y="1626400"/>
              <a:ext cx="13200" cy="10950"/>
            </a:xfrm>
            <a:custGeom>
              <a:avLst/>
              <a:gdLst/>
              <a:ahLst/>
              <a:cxnLst/>
              <a:rect l="l" t="t" r="r" b="b"/>
              <a:pathLst>
                <a:path w="528" h="438" extrusionOk="0">
                  <a:moveTo>
                    <a:pt x="1" y="0"/>
                  </a:moveTo>
                  <a:cubicBezTo>
                    <a:pt x="266" y="431"/>
                    <a:pt x="505" y="438"/>
                    <a:pt x="519" y="438"/>
                  </a:cubicBezTo>
                  <a:cubicBezTo>
                    <a:pt x="520" y="438"/>
                    <a:pt x="520" y="438"/>
                    <a:pt x="520" y="438"/>
                  </a:cubicBezTo>
                  <a:lnTo>
                    <a:pt x="527" y="370"/>
                  </a:lnTo>
                  <a:lnTo>
                    <a:pt x="527" y="370"/>
                  </a:lnTo>
                  <a:cubicBezTo>
                    <a:pt x="527" y="370"/>
                    <a:pt x="521" y="375"/>
                    <a:pt x="504" y="375"/>
                  </a:cubicBezTo>
                  <a:cubicBezTo>
                    <a:pt x="470" y="375"/>
                    <a:pt x="396" y="356"/>
                    <a:pt x="246" y="246"/>
                  </a:cubicBezTo>
                  <a:cubicBezTo>
                    <a:pt x="104" y="148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8" name="Google Shape;5287;p53">
              <a:extLst>
                <a:ext uri="{FF2B5EF4-FFF2-40B4-BE49-F238E27FC236}">
                  <a16:creationId xmlns:a16="http://schemas.microsoft.com/office/drawing/2014/main" id="{E14EE708-4170-B6F4-908E-FB9BCCD6F0C0}"/>
                </a:ext>
              </a:extLst>
            </p:cNvPr>
            <p:cNvSpPr/>
            <p:nvPr/>
          </p:nvSpPr>
          <p:spPr>
            <a:xfrm>
              <a:off x="7310350" y="1623425"/>
              <a:ext cx="11300" cy="9300"/>
            </a:xfrm>
            <a:custGeom>
              <a:avLst/>
              <a:gdLst/>
              <a:ahLst/>
              <a:cxnLst/>
              <a:rect l="l" t="t" r="r" b="b"/>
              <a:pathLst>
                <a:path w="452" h="372" extrusionOk="0">
                  <a:moveTo>
                    <a:pt x="452" y="0"/>
                  </a:moveTo>
                  <a:lnTo>
                    <a:pt x="452" y="0"/>
                  </a:lnTo>
                  <a:cubicBezTo>
                    <a:pt x="452" y="0"/>
                    <a:pt x="356" y="126"/>
                    <a:pt x="244" y="208"/>
                  </a:cubicBezTo>
                  <a:cubicBezTo>
                    <a:pt x="102" y="308"/>
                    <a:pt x="39" y="323"/>
                    <a:pt x="14" y="323"/>
                  </a:cubicBezTo>
                  <a:cubicBezTo>
                    <a:pt x="4" y="323"/>
                    <a:pt x="0" y="320"/>
                    <a:pt x="0" y="320"/>
                  </a:cubicBezTo>
                  <a:lnTo>
                    <a:pt x="0" y="320"/>
                  </a:lnTo>
                  <a:lnTo>
                    <a:pt x="7" y="372"/>
                  </a:lnTo>
                  <a:cubicBezTo>
                    <a:pt x="7" y="372"/>
                    <a:pt x="8" y="372"/>
                    <a:pt x="8" y="372"/>
                  </a:cubicBezTo>
                  <a:cubicBezTo>
                    <a:pt x="22" y="372"/>
                    <a:pt x="224" y="365"/>
                    <a:pt x="452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9" name="Google Shape;5288;p53">
              <a:extLst>
                <a:ext uri="{FF2B5EF4-FFF2-40B4-BE49-F238E27FC236}">
                  <a16:creationId xmlns:a16="http://schemas.microsoft.com/office/drawing/2014/main" id="{7FF76A93-4E2C-9532-EAAC-D8A88D487550}"/>
                </a:ext>
              </a:extLst>
            </p:cNvPr>
            <p:cNvSpPr/>
            <p:nvPr/>
          </p:nvSpPr>
          <p:spPr>
            <a:xfrm>
              <a:off x="7301275" y="1616975"/>
              <a:ext cx="9100" cy="7400"/>
            </a:xfrm>
            <a:custGeom>
              <a:avLst/>
              <a:gdLst/>
              <a:ahLst/>
              <a:cxnLst/>
              <a:rect l="l" t="t" r="r" b="b"/>
              <a:pathLst>
                <a:path w="364" h="296" extrusionOk="0">
                  <a:moveTo>
                    <a:pt x="0" y="0"/>
                  </a:moveTo>
                  <a:cubicBezTo>
                    <a:pt x="184" y="289"/>
                    <a:pt x="348" y="295"/>
                    <a:pt x="362" y="295"/>
                  </a:cubicBezTo>
                  <a:cubicBezTo>
                    <a:pt x="363" y="295"/>
                    <a:pt x="363" y="295"/>
                    <a:pt x="363" y="295"/>
                  </a:cubicBezTo>
                  <a:lnTo>
                    <a:pt x="363" y="251"/>
                  </a:lnTo>
                  <a:cubicBezTo>
                    <a:pt x="363" y="251"/>
                    <a:pt x="359" y="254"/>
                    <a:pt x="347" y="254"/>
                  </a:cubicBezTo>
                  <a:cubicBezTo>
                    <a:pt x="325" y="254"/>
                    <a:pt x="274" y="241"/>
                    <a:pt x="171" y="162"/>
                  </a:cubicBezTo>
                  <a:cubicBezTo>
                    <a:pt x="73" y="9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0" name="Google Shape;5289;p53">
              <a:extLst>
                <a:ext uri="{FF2B5EF4-FFF2-40B4-BE49-F238E27FC236}">
                  <a16:creationId xmlns:a16="http://schemas.microsoft.com/office/drawing/2014/main" id="{9D9378A5-EC1F-AB34-86DC-050125A738AE}"/>
                </a:ext>
              </a:extLst>
            </p:cNvPr>
            <p:cNvSpPr/>
            <p:nvPr/>
          </p:nvSpPr>
          <p:spPr>
            <a:xfrm>
              <a:off x="7200475" y="1642125"/>
              <a:ext cx="91000" cy="37825"/>
            </a:xfrm>
            <a:custGeom>
              <a:avLst/>
              <a:gdLst/>
              <a:ahLst/>
              <a:cxnLst/>
              <a:rect l="l" t="t" r="r" b="b"/>
              <a:pathLst>
                <a:path w="3640" h="1513" extrusionOk="0">
                  <a:moveTo>
                    <a:pt x="1215" y="1"/>
                  </a:moveTo>
                  <a:cubicBezTo>
                    <a:pt x="801" y="1"/>
                    <a:pt x="469" y="335"/>
                    <a:pt x="469" y="750"/>
                  </a:cubicBezTo>
                  <a:lnTo>
                    <a:pt x="469" y="764"/>
                  </a:lnTo>
                  <a:cubicBezTo>
                    <a:pt x="438" y="757"/>
                    <a:pt x="408" y="750"/>
                    <a:pt x="380" y="750"/>
                  </a:cubicBezTo>
                  <a:cubicBezTo>
                    <a:pt x="172" y="750"/>
                    <a:pt x="1" y="920"/>
                    <a:pt x="1" y="1128"/>
                  </a:cubicBezTo>
                  <a:cubicBezTo>
                    <a:pt x="1" y="1335"/>
                    <a:pt x="172" y="1498"/>
                    <a:pt x="380" y="1498"/>
                  </a:cubicBezTo>
                  <a:lnTo>
                    <a:pt x="380" y="1512"/>
                  </a:lnTo>
                  <a:lnTo>
                    <a:pt x="3403" y="1512"/>
                  </a:lnTo>
                  <a:lnTo>
                    <a:pt x="3403" y="1498"/>
                  </a:lnTo>
                  <a:cubicBezTo>
                    <a:pt x="3536" y="1475"/>
                    <a:pt x="3639" y="1365"/>
                    <a:pt x="3639" y="1217"/>
                  </a:cubicBezTo>
                  <a:cubicBezTo>
                    <a:pt x="3639" y="1061"/>
                    <a:pt x="3513" y="934"/>
                    <a:pt x="3358" y="934"/>
                  </a:cubicBezTo>
                  <a:cubicBezTo>
                    <a:pt x="3291" y="934"/>
                    <a:pt x="3232" y="965"/>
                    <a:pt x="3181" y="1002"/>
                  </a:cubicBezTo>
                  <a:lnTo>
                    <a:pt x="3181" y="965"/>
                  </a:lnTo>
                  <a:cubicBezTo>
                    <a:pt x="3181" y="668"/>
                    <a:pt x="2942" y="424"/>
                    <a:pt x="2647" y="424"/>
                  </a:cubicBezTo>
                  <a:cubicBezTo>
                    <a:pt x="2476" y="424"/>
                    <a:pt x="2327" y="497"/>
                    <a:pt x="2224" y="623"/>
                  </a:cubicBezTo>
                  <a:cubicBezTo>
                    <a:pt x="2186" y="609"/>
                    <a:pt x="2149" y="602"/>
                    <a:pt x="2114" y="602"/>
                  </a:cubicBezTo>
                  <a:cubicBezTo>
                    <a:pt x="2053" y="602"/>
                    <a:pt x="2001" y="616"/>
                    <a:pt x="1957" y="639"/>
                  </a:cubicBezTo>
                  <a:cubicBezTo>
                    <a:pt x="1898" y="275"/>
                    <a:pt x="1594" y="1"/>
                    <a:pt x="121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1" name="Google Shape;5290;p53">
              <a:extLst>
                <a:ext uri="{FF2B5EF4-FFF2-40B4-BE49-F238E27FC236}">
                  <a16:creationId xmlns:a16="http://schemas.microsoft.com/office/drawing/2014/main" id="{71B2F05F-8BBB-1A01-7089-1775D0BE67B3}"/>
                </a:ext>
              </a:extLst>
            </p:cNvPr>
            <p:cNvSpPr/>
            <p:nvPr/>
          </p:nvSpPr>
          <p:spPr>
            <a:xfrm>
              <a:off x="7211775" y="1643250"/>
              <a:ext cx="12425" cy="17975"/>
            </a:xfrm>
            <a:custGeom>
              <a:avLst/>
              <a:gdLst/>
              <a:ahLst/>
              <a:cxnLst/>
              <a:rect l="l" t="t" r="r" b="b"/>
              <a:pathLst>
                <a:path w="497" h="719" extrusionOk="0">
                  <a:moveTo>
                    <a:pt x="497" y="0"/>
                  </a:moveTo>
                  <a:lnTo>
                    <a:pt x="497" y="0"/>
                  </a:lnTo>
                  <a:cubicBezTo>
                    <a:pt x="209" y="82"/>
                    <a:pt x="1" y="349"/>
                    <a:pt x="1" y="667"/>
                  </a:cubicBezTo>
                  <a:lnTo>
                    <a:pt x="1" y="712"/>
                  </a:lnTo>
                  <a:cubicBezTo>
                    <a:pt x="8" y="712"/>
                    <a:pt x="8" y="712"/>
                    <a:pt x="17" y="719"/>
                  </a:cubicBezTo>
                  <a:lnTo>
                    <a:pt x="17" y="705"/>
                  </a:lnTo>
                  <a:cubicBezTo>
                    <a:pt x="17" y="386"/>
                    <a:pt x="216" y="112"/>
                    <a:pt x="497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2" name="Google Shape;5291;p53">
              <a:extLst>
                <a:ext uri="{FF2B5EF4-FFF2-40B4-BE49-F238E27FC236}">
                  <a16:creationId xmlns:a16="http://schemas.microsoft.com/office/drawing/2014/main" id="{1EB405C7-B54C-3BE9-7F79-C45339622F4D}"/>
                </a:ext>
              </a:extLst>
            </p:cNvPr>
            <p:cNvSpPr/>
            <p:nvPr/>
          </p:nvSpPr>
          <p:spPr>
            <a:xfrm>
              <a:off x="7211775" y="1642700"/>
              <a:ext cx="17100" cy="34325"/>
            </a:xfrm>
            <a:custGeom>
              <a:avLst/>
              <a:gdLst/>
              <a:ahLst/>
              <a:cxnLst/>
              <a:rect l="l" t="t" r="r" b="b"/>
              <a:pathLst>
                <a:path w="684" h="1373" extrusionOk="0">
                  <a:moveTo>
                    <a:pt x="683" y="1"/>
                  </a:moveTo>
                  <a:cubicBezTo>
                    <a:pt x="623" y="1"/>
                    <a:pt x="557" y="8"/>
                    <a:pt x="497" y="22"/>
                  </a:cubicBezTo>
                  <a:cubicBezTo>
                    <a:pt x="216" y="134"/>
                    <a:pt x="17" y="408"/>
                    <a:pt x="17" y="727"/>
                  </a:cubicBezTo>
                  <a:lnTo>
                    <a:pt x="17" y="741"/>
                  </a:lnTo>
                  <a:cubicBezTo>
                    <a:pt x="8" y="734"/>
                    <a:pt x="8" y="734"/>
                    <a:pt x="1" y="734"/>
                  </a:cubicBezTo>
                  <a:cubicBezTo>
                    <a:pt x="24" y="1089"/>
                    <a:pt x="319" y="1372"/>
                    <a:pt x="683" y="1372"/>
                  </a:cubicBezTo>
                  <a:cubicBezTo>
                    <a:pt x="683" y="1372"/>
                    <a:pt x="290" y="1246"/>
                    <a:pt x="260" y="689"/>
                  </a:cubicBezTo>
                  <a:cubicBezTo>
                    <a:pt x="230" y="179"/>
                    <a:pt x="683" y="1"/>
                    <a:pt x="683" y="1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3" name="Google Shape;5292;p53">
              <a:extLst>
                <a:ext uri="{FF2B5EF4-FFF2-40B4-BE49-F238E27FC236}">
                  <a16:creationId xmlns:a16="http://schemas.microsoft.com/office/drawing/2014/main" id="{1190CEF0-80C7-446D-CD24-472CFA5200F4}"/>
                </a:ext>
              </a:extLst>
            </p:cNvPr>
            <p:cNvSpPr/>
            <p:nvPr/>
          </p:nvSpPr>
          <p:spPr>
            <a:xfrm>
              <a:off x="7244575" y="1657350"/>
              <a:ext cx="18000" cy="9075"/>
            </a:xfrm>
            <a:custGeom>
              <a:avLst/>
              <a:gdLst/>
              <a:ahLst/>
              <a:cxnLst/>
              <a:rect l="l" t="t" r="r" b="b"/>
              <a:pathLst>
                <a:path w="720" h="363" extrusionOk="0">
                  <a:moveTo>
                    <a:pt x="357" y="0"/>
                  </a:moveTo>
                  <a:cubicBezTo>
                    <a:pt x="163" y="7"/>
                    <a:pt x="1" y="171"/>
                    <a:pt x="8" y="363"/>
                  </a:cubicBezTo>
                  <a:cubicBezTo>
                    <a:pt x="8" y="363"/>
                    <a:pt x="67" y="164"/>
                    <a:pt x="357" y="141"/>
                  </a:cubicBezTo>
                  <a:lnTo>
                    <a:pt x="385" y="141"/>
                  </a:lnTo>
                  <a:cubicBezTo>
                    <a:pt x="630" y="141"/>
                    <a:pt x="719" y="356"/>
                    <a:pt x="719" y="356"/>
                  </a:cubicBezTo>
                  <a:cubicBezTo>
                    <a:pt x="719" y="164"/>
                    <a:pt x="556" y="0"/>
                    <a:pt x="364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4" name="Google Shape;5293;p53">
              <a:extLst>
                <a:ext uri="{FF2B5EF4-FFF2-40B4-BE49-F238E27FC236}">
                  <a16:creationId xmlns:a16="http://schemas.microsoft.com/office/drawing/2014/main" id="{D6F6D7DD-7F99-F9B4-F847-9C631AFA90F3}"/>
                </a:ext>
              </a:extLst>
            </p:cNvPr>
            <p:cNvSpPr/>
            <p:nvPr/>
          </p:nvSpPr>
          <p:spPr>
            <a:xfrm>
              <a:off x="7488350" y="1497900"/>
              <a:ext cx="29500" cy="12925"/>
            </a:xfrm>
            <a:custGeom>
              <a:avLst/>
              <a:gdLst/>
              <a:ahLst/>
              <a:cxnLst/>
              <a:rect l="l" t="t" r="r" b="b"/>
              <a:pathLst>
                <a:path w="1180" h="517" extrusionOk="0">
                  <a:moveTo>
                    <a:pt x="1026" y="0"/>
                  </a:moveTo>
                  <a:cubicBezTo>
                    <a:pt x="950" y="0"/>
                    <a:pt x="859" y="34"/>
                    <a:pt x="771" y="102"/>
                  </a:cubicBezTo>
                  <a:cubicBezTo>
                    <a:pt x="698" y="154"/>
                    <a:pt x="637" y="228"/>
                    <a:pt x="609" y="294"/>
                  </a:cubicBezTo>
                  <a:cubicBezTo>
                    <a:pt x="548" y="250"/>
                    <a:pt x="468" y="220"/>
                    <a:pt x="380" y="205"/>
                  </a:cubicBezTo>
                  <a:cubicBezTo>
                    <a:pt x="346" y="200"/>
                    <a:pt x="315" y="198"/>
                    <a:pt x="285" y="198"/>
                  </a:cubicBezTo>
                  <a:cubicBezTo>
                    <a:pt x="128" y="198"/>
                    <a:pt x="20" y="263"/>
                    <a:pt x="1" y="369"/>
                  </a:cubicBezTo>
                  <a:cubicBezTo>
                    <a:pt x="1" y="369"/>
                    <a:pt x="44" y="287"/>
                    <a:pt x="248" y="287"/>
                  </a:cubicBezTo>
                  <a:cubicBezTo>
                    <a:pt x="282" y="287"/>
                    <a:pt x="320" y="289"/>
                    <a:pt x="364" y="294"/>
                  </a:cubicBezTo>
                  <a:cubicBezTo>
                    <a:pt x="460" y="301"/>
                    <a:pt x="534" y="332"/>
                    <a:pt x="586" y="362"/>
                  </a:cubicBezTo>
                  <a:lnTo>
                    <a:pt x="579" y="517"/>
                  </a:lnTo>
                  <a:lnTo>
                    <a:pt x="653" y="502"/>
                  </a:lnTo>
                  <a:lnTo>
                    <a:pt x="742" y="479"/>
                  </a:lnTo>
                  <a:lnTo>
                    <a:pt x="661" y="346"/>
                  </a:lnTo>
                  <a:cubicBezTo>
                    <a:pt x="698" y="294"/>
                    <a:pt x="742" y="236"/>
                    <a:pt x="824" y="168"/>
                  </a:cubicBezTo>
                  <a:cubicBezTo>
                    <a:pt x="938" y="77"/>
                    <a:pt x="1032" y="56"/>
                    <a:pt x="1094" y="56"/>
                  </a:cubicBezTo>
                  <a:cubicBezTo>
                    <a:pt x="1149" y="56"/>
                    <a:pt x="1180" y="72"/>
                    <a:pt x="1180" y="72"/>
                  </a:cubicBezTo>
                  <a:cubicBezTo>
                    <a:pt x="1145" y="25"/>
                    <a:pt x="1091" y="0"/>
                    <a:pt x="1026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5" name="Google Shape;5294;p53">
              <a:extLst>
                <a:ext uri="{FF2B5EF4-FFF2-40B4-BE49-F238E27FC236}">
                  <a16:creationId xmlns:a16="http://schemas.microsoft.com/office/drawing/2014/main" id="{74432224-1920-7A8E-46FB-819ECA624FC9}"/>
                </a:ext>
              </a:extLst>
            </p:cNvPr>
            <p:cNvSpPr/>
            <p:nvPr/>
          </p:nvSpPr>
          <p:spPr>
            <a:xfrm>
              <a:off x="7313675" y="1413575"/>
              <a:ext cx="24825" cy="12025"/>
            </a:xfrm>
            <a:custGeom>
              <a:avLst/>
              <a:gdLst/>
              <a:ahLst/>
              <a:cxnLst/>
              <a:rect l="l" t="t" r="r" b="b"/>
              <a:pathLst>
                <a:path w="993" h="481" extrusionOk="0">
                  <a:moveTo>
                    <a:pt x="851" y="0"/>
                  </a:moveTo>
                  <a:cubicBezTo>
                    <a:pt x="787" y="0"/>
                    <a:pt x="715" y="30"/>
                    <a:pt x="644" y="89"/>
                  </a:cubicBezTo>
                  <a:cubicBezTo>
                    <a:pt x="578" y="141"/>
                    <a:pt x="534" y="207"/>
                    <a:pt x="511" y="267"/>
                  </a:cubicBezTo>
                  <a:cubicBezTo>
                    <a:pt x="459" y="230"/>
                    <a:pt x="394" y="192"/>
                    <a:pt x="312" y="178"/>
                  </a:cubicBezTo>
                  <a:cubicBezTo>
                    <a:pt x="281" y="173"/>
                    <a:pt x="251" y="170"/>
                    <a:pt x="224" y="170"/>
                  </a:cubicBezTo>
                  <a:cubicBezTo>
                    <a:pt x="93" y="170"/>
                    <a:pt x="6" y="227"/>
                    <a:pt x="1" y="326"/>
                  </a:cubicBezTo>
                  <a:cubicBezTo>
                    <a:pt x="1" y="326"/>
                    <a:pt x="33" y="251"/>
                    <a:pt x="203" y="251"/>
                  </a:cubicBezTo>
                  <a:cubicBezTo>
                    <a:pt x="233" y="251"/>
                    <a:pt x="266" y="253"/>
                    <a:pt x="305" y="258"/>
                  </a:cubicBezTo>
                  <a:cubicBezTo>
                    <a:pt x="386" y="274"/>
                    <a:pt x="445" y="303"/>
                    <a:pt x="490" y="333"/>
                  </a:cubicBezTo>
                  <a:lnTo>
                    <a:pt x="490" y="480"/>
                  </a:lnTo>
                  <a:lnTo>
                    <a:pt x="555" y="466"/>
                  </a:lnTo>
                  <a:lnTo>
                    <a:pt x="630" y="452"/>
                  </a:lnTo>
                  <a:lnTo>
                    <a:pt x="555" y="319"/>
                  </a:lnTo>
                  <a:cubicBezTo>
                    <a:pt x="586" y="274"/>
                    <a:pt x="623" y="214"/>
                    <a:pt x="689" y="162"/>
                  </a:cubicBezTo>
                  <a:cubicBezTo>
                    <a:pt x="782" y="77"/>
                    <a:pt x="862" y="57"/>
                    <a:pt x="916" y="57"/>
                  </a:cubicBezTo>
                  <a:cubicBezTo>
                    <a:pt x="964" y="57"/>
                    <a:pt x="993" y="73"/>
                    <a:pt x="993" y="73"/>
                  </a:cubicBezTo>
                  <a:cubicBezTo>
                    <a:pt x="958" y="24"/>
                    <a:pt x="908" y="0"/>
                    <a:pt x="851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6" name="Google Shape;5295;p53">
              <a:extLst>
                <a:ext uri="{FF2B5EF4-FFF2-40B4-BE49-F238E27FC236}">
                  <a16:creationId xmlns:a16="http://schemas.microsoft.com/office/drawing/2014/main" id="{D2474513-6921-FE76-4C3F-43575245F9C2}"/>
                </a:ext>
              </a:extLst>
            </p:cNvPr>
            <p:cNvSpPr/>
            <p:nvPr/>
          </p:nvSpPr>
          <p:spPr>
            <a:xfrm>
              <a:off x="7314425" y="1458625"/>
              <a:ext cx="15025" cy="6450"/>
            </a:xfrm>
            <a:custGeom>
              <a:avLst/>
              <a:gdLst/>
              <a:ahLst/>
              <a:cxnLst/>
              <a:rect l="l" t="t" r="r" b="b"/>
              <a:pathLst>
                <a:path w="601" h="258" extrusionOk="0">
                  <a:moveTo>
                    <a:pt x="520" y="1"/>
                  </a:moveTo>
                  <a:cubicBezTo>
                    <a:pt x="482" y="1"/>
                    <a:pt x="437" y="17"/>
                    <a:pt x="392" y="50"/>
                  </a:cubicBezTo>
                  <a:cubicBezTo>
                    <a:pt x="348" y="80"/>
                    <a:pt x="326" y="110"/>
                    <a:pt x="303" y="146"/>
                  </a:cubicBezTo>
                  <a:cubicBezTo>
                    <a:pt x="275" y="124"/>
                    <a:pt x="237" y="110"/>
                    <a:pt x="193" y="101"/>
                  </a:cubicBezTo>
                  <a:cubicBezTo>
                    <a:pt x="178" y="99"/>
                    <a:pt x="164" y="98"/>
                    <a:pt x="150" y="98"/>
                  </a:cubicBezTo>
                  <a:cubicBezTo>
                    <a:pt x="68" y="98"/>
                    <a:pt x="7" y="133"/>
                    <a:pt x="1" y="183"/>
                  </a:cubicBezTo>
                  <a:cubicBezTo>
                    <a:pt x="1" y="183"/>
                    <a:pt x="23" y="143"/>
                    <a:pt x="134" y="143"/>
                  </a:cubicBezTo>
                  <a:cubicBezTo>
                    <a:pt x="150" y="143"/>
                    <a:pt x="167" y="144"/>
                    <a:pt x="186" y="146"/>
                  </a:cubicBezTo>
                  <a:cubicBezTo>
                    <a:pt x="230" y="146"/>
                    <a:pt x="268" y="162"/>
                    <a:pt x="296" y="176"/>
                  </a:cubicBezTo>
                  <a:lnTo>
                    <a:pt x="289" y="258"/>
                  </a:lnTo>
                  <a:lnTo>
                    <a:pt x="333" y="243"/>
                  </a:lnTo>
                  <a:lnTo>
                    <a:pt x="378" y="234"/>
                  </a:lnTo>
                  <a:lnTo>
                    <a:pt x="333" y="169"/>
                  </a:lnTo>
                  <a:cubicBezTo>
                    <a:pt x="348" y="146"/>
                    <a:pt x="378" y="117"/>
                    <a:pt x="415" y="87"/>
                  </a:cubicBezTo>
                  <a:cubicBezTo>
                    <a:pt x="475" y="39"/>
                    <a:pt x="524" y="28"/>
                    <a:pt x="557" y="28"/>
                  </a:cubicBezTo>
                  <a:cubicBezTo>
                    <a:pt x="585" y="28"/>
                    <a:pt x="600" y="35"/>
                    <a:pt x="600" y="35"/>
                  </a:cubicBezTo>
                  <a:cubicBezTo>
                    <a:pt x="580" y="12"/>
                    <a:pt x="552" y="1"/>
                    <a:pt x="520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7" name="Google Shape;5296;p53">
              <a:extLst>
                <a:ext uri="{FF2B5EF4-FFF2-40B4-BE49-F238E27FC236}">
                  <a16:creationId xmlns:a16="http://schemas.microsoft.com/office/drawing/2014/main" id="{C72B1645-7D81-73FD-6C24-4DCBCE91D4A7}"/>
                </a:ext>
              </a:extLst>
            </p:cNvPr>
            <p:cNvSpPr/>
            <p:nvPr/>
          </p:nvSpPr>
          <p:spPr>
            <a:xfrm>
              <a:off x="7228275" y="1437800"/>
              <a:ext cx="20375" cy="8725"/>
            </a:xfrm>
            <a:custGeom>
              <a:avLst/>
              <a:gdLst/>
              <a:ahLst/>
              <a:cxnLst/>
              <a:rect l="l" t="t" r="r" b="b"/>
              <a:pathLst>
                <a:path w="815" h="349" extrusionOk="0">
                  <a:moveTo>
                    <a:pt x="712" y="1"/>
                  </a:moveTo>
                  <a:cubicBezTo>
                    <a:pt x="659" y="1"/>
                    <a:pt x="596" y="23"/>
                    <a:pt x="534" y="68"/>
                  </a:cubicBezTo>
                  <a:cubicBezTo>
                    <a:pt x="482" y="105"/>
                    <a:pt x="445" y="157"/>
                    <a:pt x="424" y="201"/>
                  </a:cubicBezTo>
                  <a:cubicBezTo>
                    <a:pt x="379" y="171"/>
                    <a:pt x="326" y="150"/>
                    <a:pt x="260" y="143"/>
                  </a:cubicBezTo>
                  <a:cubicBezTo>
                    <a:pt x="237" y="139"/>
                    <a:pt x="215" y="137"/>
                    <a:pt x="194" y="137"/>
                  </a:cubicBezTo>
                  <a:cubicBezTo>
                    <a:pt x="88" y="137"/>
                    <a:pt x="12" y="184"/>
                    <a:pt x="0" y="253"/>
                  </a:cubicBezTo>
                  <a:cubicBezTo>
                    <a:pt x="0" y="253"/>
                    <a:pt x="28" y="197"/>
                    <a:pt x="176" y="197"/>
                  </a:cubicBezTo>
                  <a:cubicBezTo>
                    <a:pt x="198" y="197"/>
                    <a:pt x="224" y="198"/>
                    <a:pt x="253" y="201"/>
                  </a:cubicBezTo>
                  <a:cubicBezTo>
                    <a:pt x="319" y="209"/>
                    <a:pt x="370" y="223"/>
                    <a:pt x="400" y="246"/>
                  </a:cubicBezTo>
                  <a:lnTo>
                    <a:pt x="400" y="349"/>
                  </a:lnTo>
                  <a:lnTo>
                    <a:pt x="452" y="342"/>
                  </a:lnTo>
                  <a:lnTo>
                    <a:pt x="512" y="328"/>
                  </a:lnTo>
                  <a:lnTo>
                    <a:pt x="459" y="232"/>
                  </a:lnTo>
                  <a:cubicBezTo>
                    <a:pt x="482" y="201"/>
                    <a:pt x="512" y="157"/>
                    <a:pt x="571" y="120"/>
                  </a:cubicBezTo>
                  <a:cubicBezTo>
                    <a:pt x="656" y="51"/>
                    <a:pt x="723" y="37"/>
                    <a:pt x="766" y="37"/>
                  </a:cubicBezTo>
                  <a:cubicBezTo>
                    <a:pt x="797" y="37"/>
                    <a:pt x="815" y="45"/>
                    <a:pt x="815" y="45"/>
                  </a:cubicBezTo>
                  <a:cubicBezTo>
                    <a:pt x="792" y="15"/>
                    <a:pt x="755" y="1"/>
                    <a:pt x="712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8" name="Google Shape;5297;p53">
              <a:extLst>
                <a:ext uri="{FF2B5EF4-FFF2-40B4-BE49-F238E27FC236}">
                  <a16:creationId xmlns:a16="http://schemas.microsoft.com/office/drawing/2014/main" id="{9431DF28-160B-E0F2-9404-8F1D33CCDF76}"/>
                </a:ext>
              </a:extLst>
            </p:cNvPr>
            <p:cNvSpPr/>
            <p:nvPr/>
          </p:nvSpPr>
          <p:spPr>
            <a:xfrm>
              <a:off x="7503925" y="1476125"/>
              <a:ext cx="10950" cy="4700"/>
            </a:xfrm>
            <a:custGeom>
              <a:avLst/>
              <a:gdLst/>
              <a:ahLst/>
              <a:cxnLst/>
              <a:rect l="l" t="t" r="r" b="b"/>
              <a:pathLst>
                <a:path w="438" h="188" extrusionOk="0">
                  <a:moveTo>
                    <a:pt x="385" y="1"/>
                  </a:moveTo>
                  <a:cubicBezTo>
                    <a:pt x="357" y="1"/>
                    <a:pt x="324" y="14"/>
                    <a:pt x="290" y="40"/>
                  </a:cubicBezTo>
                  <a:cubicBezTo>
                    <a:pt x="260" y="54"/>
                    <a:pt x="237" y="84"/>
                    <a:pt x="230" y="105"/>
                  </a:cubicBezTo>
                  <a:cubicBezTo>
                    <a:pt x="208" y="91"/>
                    <a:pt x="178" y="77"/>
                    <a:pt x="141" y="77"/>
                  </a:cubicBezTo>
                  <a:cubicBezTo>
                    <a:pt x="127" y="74"/>
                    <a:pt x="114" y="73"/>
                    <a:pt x="102" y="73"/>
                  </a:cubicBezTo>
                  <a:cubicBezTo>
                    <a:pt x="47" y="73"/>
                    <a:pt x="6" y="99"/>
                    <a:pt x="0" y="136"/>
                  </a:cubicBezTo>
                  <a:cubicBezTo>
                    <a:pt x="0" y="136"/>
                    <a:pt x="17" y="103"/>
                    <a:pt x="93" y="103"/>
                  </a:cubicBezTo>
                  <a:cubicBezTo>
                    <a:pt x="105" y="103"/>
                    <a:pt x="118" y="103"/>
                    <a:pt x="134" y="105"/>
                  </a:cubicBezTo>
                  <a:cubicBezTo>
                    <a:pt x="171" y="105"/>
                    <a:pt x="201" y="121"/>
                    <a:pt x="215" y="128"/>
                  </a:cubicBezTo>
                  <a:lnTo>
                    <a:pt x="215" y="187"/>
                  </a:lnTo>
                  <a:lnTo>
                    <a:pt x="246" y="180"/>
                  </a:lnTo>
                  <a:lnTo>
                    <a:pt x="274" y="173"/>
                  </a:lnTo>
                  <a:lnTo>
                    <a:pt x="246" y="121"/>
                  </a:lnTo>
                  <a:cubicBezTo>
                    <a:pt x="260" y="105"/>
                    <a:pt x="274" y="84"/>
                    <a:pt x="304" y="61"/>
                  </a:cubicBezTo>
                  <a:cubicBezTo>
                    <a:pt x="348" y="26"/>
                    <a:pt x="383" y="17"/>
                    <a:pt x="406" y="17"/>
                  </a:cubicBezTo>
                  <a:cubicBezTo>
                    <a:pt x="427" y="17"/>
                    <a:pt x="438" y="24"/>
                    <a:pt x="438" y="24"/>
                  </a:cubicBezTo>
                  <a:cubicBezTo>
                    <a:pt x="425" y="8"/>
                    <a:pt x="407" y="1"/>
                    <a:pt x="38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9" name="Google Shape;5298;p53">
              <a:extLst>
                <a:ext uri="{FF2B5EF4-FFF2-40B4-BE49-F238E27FC236}">
                  <a16:creationId xmlns:a16="http://schemas.microsoft.com/office/drawing/2014/main" id="{16CC2283-1A46-6501-9514-85AFB752D5B8}"/>
                </a:ext>
              </a:extLst>
            </p:cNvPr>
            <p:cNvSpPr/>
            <p:nvPr/>
          </p:nvSpPr>
          <p:spPr>
            <a:xfrm>
              <a:off x="7717150" y="1657150"/>
              <a:ext cx="58350" cy="24300"/>
            </a:xfrm>
            <a:custGeom>
              <a:avLst/>
              <a:gdLst/>
              <a:ahLst/>
              <a:cxnLst/>
              <a:rect l="l" t="t" r="r" b="b"/>
              <a:pathLst>
                <a:path w="2334" h="972" extrusionOk="0">
                  <a:moveTo>
                    <a:pt x="777" y="1"/>
                  </a:moveTo>
                  <a:cubicBezTo>
                    <a:pt x="511" y="1"/>
                    <a:pt x="297" y="216"/>
                    <a:pt x="297" y="474"/>
                  </a:cubicBezTo>
                  <a:lnTo>
                    <a:pt x="297" y="483"/>
                  </a:lnTo>
                  <a:cubicBezTo>
                    <a:pt x="281" y="483"/>
                    <a:pt x="260" y="474"/>
                    <a:pt x="244" y="474"/>
                  </a:cubicBezTo>
                  <a:cubicBezTo>
                    <a:pt x="110" y="474"/>
                    <a:pt x="0" y="586"/>
                    <a:pt x="0" y="719"/>
                  </a:cubicBezTo>
                  <a:cubicBezTo>
                    <a:pt x="0" y="853"/>
                    <a:pt x="110" y="956"/>
                    <a:pt x="244" y="956"/>
                  </a:cubicBezTo>
                  <a:lnTo>
                    <a:pt x="244" y="972"/>
                  </a:lnTo>
                  <a:lnTo>
                    <a:pt x="2179" y="972"/>
                  </a:lnTo>
                  <a:lnTo>
                    <a:pt x="2179" y="956"/>
                  </a:lnTo>
                  <a:cubicBezTo>
                    <a:pt x="2268" y="949"/>
                    <a:pt x="2333" y="867"/>
                    <a:pt x="2333" y="778"/>
                  </a:cubicBezTo>
                  <a:cubicBezTo>
                    <a:pt x="2333" y="682"/>
                    <a:pt x="2253" y="600"/>
                    <a:pt x="2156" y="600"/>
                  </a:cubicBezTo>
                  <a:cubicBezTo>
                    <a:pt x="2111" y="600"/>
                    <a:pt x="2076" y="616"/>
                    <a:pt x="2038" y="638"/>
                  </a:cubicBezTo>
                  <a:lnTo>
                    <a:pt x="2038" y="616"/>
                  </a:lnTo>
                  <a:cubicBezTo>
                    <a:pt x="2038" y="422"/>
                    <a:pt x="1889" y="268"/>
                    <a:pt x="1697" y="268"/>
                  </a:cubicBezTo>
                  <a:cubicBezTo>
                    <a:pt x="1587" y="268"/>
                    <a:pt x="1489" y="319"/>
                    <a:pt x="1430" y="394"/>
                  </a:cubicBezTo>
                  <a:cubicBezTo>
                    <a:pt x="1409" y="385"/>
                    <a:pt x="1378" y="385"/>
                    <a:pt x="1355" y="385"/>
                  </a:cubicBezTo>
                  <a:cubicBezTo>
                    <a:pt x="1320" y="385"/>
                    <a:pt x="1282" y="394"/>
                    <a:pt x="1252" y="408"/>
                  </a:cubicBezTo>
                  <a:cubicBezTo>
                    <a:pt x="1222" y="172"/>
                    <a:pt x="1023" y="1"/>
                    <a:pt x="77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0" name="Google Shape;5299;p53">
              <a:extLst>
                <a:ext uri="{FF2B5EF4-FFF2-40B4-BE49-F238E27FC236}">
                  <a16:creationId xmlns:a16="http://schemas.microsoft.com/office/drawing/2014/main" id="{DC3320C7-9C5D-7023-3CF9-22F5932DDCB3}"/>
                </a:ext>
              </a:extLst>
            </p:cNvPr>
            <p:cNvSpPr/>
            <p:nvPr/>
          </p:nvSpPr>
          <p:spPr>
            <a:xfrm>
              <a:off x="7724350" y="1657350"/>
              <a:ext cx="10950" cy="22075"/>
            </a:xfrm>
            <a:custGeom>
              <a:avLst/>
              <a:gdLst/>
              <a:ahLst/>
              <a:cxnLst/>
              <a:rect l="l" t="t" r="r" b="b"/>
              <a:pathLst>
                <a:path w="438" h="883" extrusionOk="0">
                  <a:moveTo>
                    <a:pt x="438" y="0"/>
                  </a:moveTo>
                  <a:cubicBezTo>
                    <a:pt x="201" y="0"/>
                    <a:pt x="0" y="199"/>
                    <a:pt x="0" y="445"/>
                  </a:cubicBezTo>
                  <a:cubicBezTo>
                    <a:pt x="0" y="688"/>
                    <a:pt x="201" y="882"/>
                    <a:pt x="438" y="882"/>
                  </a:cubicBezTo>
                  <a:cubicBezTo>
                    <a:pt x="438" y="882"/>
                    <a:pt x="187" y="800"/>
                    <a:pt x="171" y="445"/>
                  </a:cubicBezTo>
                  <a:cubicBezTo>
                    <a:pt x="150" y="119"/>
                    <a:pt x="438" y="0"/>
                    <a:pt x="43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1" name="Google Shape;5300;p53">
              <a:extLst>
                <a:ext uri="{FF2B5EF4-FFF2-40B4-BE49-F238E27FC236}">
                  <a16:creationId xmlns:a16="http://schemas.microsoft.com/office/drawing/2014/main" id="{689A18FB-6CA8-BB38-4A8B-DA47F55F8A3A}"/>
                </a:ext>
              </a:extLst>
            </p:cNvPr>
            <p:cNvSpPr/>
            <p:nvPr/>
          </p:nvSpPr>
          <p:spPr>
            <a:xfrm>
              <a:off x="7745475" y="1666775"/>
              <a:ext cx="11525" cy="5975"/>
            </a:xfrm>
            <a:custGeom>
              <a:avLst/>
              <a:gdLst/>
              <a:ahLst/>
              <a:cxnLst/>
              <a:rect l="l" t="t" r="r" b="b"/>
              <a:pathLst>
                <a:path w="461" h="239" extrusionOk="0">
                  <a:moveTo>
                    <a:pt x="231" y="0"/>
                  </a:moveTo>
                  <a:cubicBezTo>
                    <a:pt x="105" y="9"/>
                    <a:pt x="0" y="112"/>
                    <a:pt x="0" y="238"/>
                  </a:cubicBezTo>
                  <a:cubicBezTo>
                    <a:pt x="0" y="238"/>
                    <a:pt x="37" y="105"/>
                    <a:pt x="231" y="89"/>
                  </a:cubicBezTo>
                  <a:cubicBezTo>
                    <a:pt x="235" y="89"/>
                    <a:pt x="239" y="89"/>
                    <a:pt x="243" y="89"/>
                  </a:cubicBezTo>
                  <a:cubicBezTo>
                    <a:pt x="403" y="89"/>
                    <a:pt x="461" y="231"/>
                    <a:pt x="461" y="231"/>
                  </a:cubicBezTo>
                  <a:cubicBezTo>
                    <a:pt x="461" y="105"/>
                    <a:pt x="356" y="0"/>
                    <a:pt x="23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2" name="Google Shape;5301;p53">
              <a:extLst>
                <a:ext uri="{FF2B5EF4-FFF2-40B4-BE49-F238E27FC236}">
                  <a16:creationId xmlns:a16="http://schemas.microsoft.com/office/drawing/2014/main" id="{A65193BB-6D70-F8DA-31F6-AE7283BDC615}"/>
                </a:ext>
              </a:extLst>
            </p:cNvPr>
            <p:cNvSpPr/>
            <p:nvPr/>
          </p:nvSpPr>
          <p:spPr>
            <a:xfrm>
              <a:off x="7352750" y="1654925"/>
              <a:ext cx="60225" cy="25025"/>
            </a:xfrm>
            <a:custGeom>
              <a:avLst/>
              <a:gdLst/>
              <a:ahLst/>
              <a:cxnLst/>
              <a:rect l="l" t="t" r="r" b="b"/>
              <a:pathLst>
                <a:path w="2409" h="1001" extrusionOk="0">
                  <a:moveTo>
                    <a:pt x="1608" y="1"/>
                  </a:moveTo>
                  <a:cubicBezTo>
                    <a:pt x="1358" y="1"/>
                    <a:pt x="1150" y="186"/>
                    <a:pt x="1119" y="422"/>
                  </a:cubicBezTo>
                  <a:cubicBezTo>
                    <a:pt x="1082" y="408"/>
                    <a:pt x="1054" y="401"/>
                    <a:pt x="1016" y="401"/>
                  </a:cubicBezTo>
                  <a:cubicBezTo>
                    <a:pt x="986" y="401"/>
                    <a:pt x="965" y="401"/>
                    <a:pt x="934" y="408"/>
                  </a:cubicBezTo>
                  <a:cubicBezTo>
                    <a:pt x="876" y="334"/>
                    <a:pt x="771" y="282"/>
                    <a:pt x="660" y="282"/>
                  </a:cubicBezTo>
                  <a:cubicBezTo>
                    <a:pt x="468" y="282"/>
                    <a:pt x="305" y="438"/>
                    <a:pt x="305" y="638"/>
                  </a:cubicBezTo>
                  <a:lnTo>
                    <a:pt x="305" y="661"/>
                  </a:lnTo>
                  <a:cubicBezTo>
                    <a:pt x="275" y="638"/>
                    <a:pt x="230" y="623"/>
                    <a:pt x="186" y="623"/>
                  </a:cubicBezTo>
                  <a:cubicBezTo>
                    <a:pt x="83" y="623"/>
                    <a:pt x="1" y="705"/>
                    <a:pt x="1" y="808"/>
                  </a:cubicBezTo>
                  <a:cubicBezTo>
                    <a:pt x="1" y="904"/>
                    <a:pt x="68" y="979"/>
                    <a:pt x="164" y="993"/>
                  </a:cubicBezTo>
                  <a:lnTo>
                    <a:pt x="164" y="1000"/>
                  </a:lnTo>
                  <a:lnTo>
                    <a:pt x="2165" y="1000"/>
                  </a:lnTo>
                  <a:lnTo>
                    <a:pt x="2165" y="993"/>
                  </a:lnTo>
                  <a:cubicBezTo>
                    <a:pt x="2298" y="993"/>
                    <a:pt x="2409" y="883"/>
                    <a:pt x="2409" y="750"/>
                  </a:cubicBezTo>
                  <a:cubicBezTo>
                    <a:pt x="2409" y="607"/>
                    <a:pt x="2298" y="497"/>
                    <a:pt x="2165" y="497"/>
                  </a:cubicBezTo>
                  <a:cubicBezTo>
                    <a:pt x="2142" y="497"/>
                    <a:pt x="2121" y="497"/>
                    <a:pt x="2105" y="504"/>
                  </a:cubicBezTo>
                  <a:lnTo>
                    <a:pt x="2105" y="497"/>
                  </a:lnTo>
                  <a:cubicBezTo>
                    <a:pt x="2105" y="223"/>
                    <a:pt x="1882" y="1"/>
                    <a:pt x="1608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3" name="Google Shape;5302;p53">
              <a:extLst>
                <a:ext uri="{FF2B5EF4-FFF2-40B4-BE49-F238E27FC236}">
                  <a16:creationId xmlns:a16="http://schemas.microsoft.com/office/drawing/2014/main" id="{9544E6A8-5181-1A4E-CBC3-830C8F182179}"/>
                </a:ext>
              </a:extLst>
            </p:cNvPr>
            <p:cNvSpPr/>
            <p:nvPr/>
          </p:nvSpPr>
          <p:spPr>
            <a:xfrm>
              <a:off x="7397225" y="1655650"/>
              <a:ext cx="8375" cy="11900"/>
            </a:xfrm>
            <a:custGeom>
              <a:avLst/>
              <a:gdLst/>
              <a:ahLst/>
              <a:cxnLst/>
              <a:rect l="l" t="t" r="r" b="b"/>
              <a:pathLst>
                <a:path w="335" h="476" extrusionOk="0">
                  <a:moveTo>
                    <a:pt x="0" y="0"/>
                  </a:moveTo>
                  <a:lnTo>
                    <a:pt x="0" y="0"/>
                  </a:lnTo>
                  <a:cubicBezTo>
                    <a:pt x="192" y="75"/>
                    <a:pt x="326" y="253"/>
                    <a:pt x="326" y="468"/>
                  </a:cubicBezTo>
                  <a:lnTo>
                    <a:pt x="326" y="475"/>
                  </a:lnTo>
                  <a:lnTo>
                    <a:pt x="334" y="475"/>
                  </a:lnTo>
                  <a:lnTo>
                    <a:pt x="334" y="438"/>
                  </a:lnTo>
                  <a:cubicBezTo>
                    <a:pt x="334" y="232"/>
                    <a:pt x="192" y="61"/>
                    <a:pt x="0" y="0"/>
                  </a:cubicBezTo>
                  <a:close/>
                </a:path>
              </a:pathLst>
            </a:custGeom>
            <a:solidFill>
              <a:srgbClr val="EDED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4" name="Google Shape;5303;p53">
              <a:extLst>
                <a:ext uri="{FF2B5EF4-FFF2-40B4-BE49-F238E27FC236}">
                  <a16:creationId xmlns:a16="http://schemas.microsoft.com/office/drawing/2014/main" id="{07409C92-3FAE-3DB7-90E1-67E499900490}"/>
                </a:ext>
              </a:extLst>
            </p:cNvPr>
            <p:cNvSpPr/>
            <p:nvPr/>
          </p:nvSpPr>
          <p:spPr>
            <a:xfrm>
              <a:off x="7394225" y="1655300"/>
              <a:ext cx="11375" cy="22825"/>
            </a:xfrm>
            <a:custGeom>
              <a:avLst/>
              <a:gdLst/>
              <a:ahLst/>
              <a:cxnLst/>
              <a:rect l="l" t="t" r="r" b="b"/>
              <a:pathLst>
                <a:path w="455" h="913" extrusionOk="0">
                  <a:moveTo>
                    <a:pt x="1" y="0"/>
                  </a:moveTo>
                  <a:cubicBezTo>
                    <a:pt x="1" y="0"/>
                    <a:pt x="298" y="119"/>
                    <a:pt x="284" y="452"/>
                  </a:cubicBezTo>
                  <a:cubicBezTo>
                    <a:pt x="261" y="824"/>
                    <a:pt x="1" y="913"/>
                    <a:pt x="1" y="913"/>
                  </a:cubicBezTo>
                  <a:cubicBezTo>
                    <a:pt x="239" y="913"/>
                    <a:pt x="438" y="719"/>
                    <a:pt x="454" y="489"/>
                  </a:cubicBezTo>
                  <a:lnTo>
                    <a:pt x="446" y="489"/>
                  </a:lnTo>
                  <a:lnTo>
                    <a:pt x="446" y="482"/>
                  </a:lnTo>
                  <a:cubicBezTo>
                    <a:pt x="446" y="267"/>
                    <a:pt x="312" y="89"/>
                    <a:pt x="120" y="14"/>
                  </a:cubicBezTo>
                  <a:cubicBezTo>
                    <a:pt x="83" y="7"/>
                    <a:pt x="45" y="0"/>
                    <a:pt x="1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5" name="Google Shape;5304;p53">
              <a:extLst>
                <a:ext uri="{FF2B5EF4-FFF2-40B4-BE49-F238E27FC236}">
                  <a16:creationId xmlns:a16="http://schemas.microsoft.com/office/drawing/2014/main" id="{BE027EB6-6DA1-1B8E-049B-01A9B4263AB4}"/>
                </a:ext>
              </a:extLst>
            </p:cNvPr>
            <p:cNvSpPr/>
            <p:nvPr/>
          </p:nvSpPr>
          <p:spPr>
            <a:xfrm>
              <a:off x="7371825" y="1665125"/>
              <a:ext cx="11900" cy="5925"/>
            </a:xfrm>
            <a:custGeom>
              <a:avLst/>
              <a:gdLst/>
              <a:ahLst/>
              <a:cxnLst/>
              <a:rect l="l" t="t" r="r" b="b"/>
              <a:pathLst>
                <a:path w="476" h="237" extrusionOk="0">
                  <a:moveTo>
                    <a:pt x="239" y="0"/>
                  </a:moveTo>
                  <a:cubicBezTo>
                    <a:pt x="113" y="0"/>
                    <a:pt x="8" y="103"/>
                    <a:pt x="1" y="230"/>
                  </a:cubicBezTo>
                  <a:cubicBezTo>
                    <a:pt x="1" y="230"/>
                    <a:pt x="61" y="89"/>
                    <a:pt x="223" y="89"/>
                  </a:cubicBezTo>
                  <a:lnTo>
                    <a:pt x="246" y="89"/>
                  </a:lnTo>
                  <a:cubicBezTo>
                    <a:pt x="438" y="103"/>
                    <a:pt x="475" y="237"/>
                    <a:pt x="475" y="237"/>
                  </a:cubicBezTo>
                  <a:cubicBezTo>
                    <a:pt x="475" y="103"/>
                    <a:pt x="372" y="0"/>
                    <a:pt x="246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6" name="Google Shape;5305;p53">
              <a:extLst>
                <a:ext uri="{FF2B5EF4-FFF2-40B4-BE49-F238E27FC236}">
                  <a16:creationId xmlns:a16="http://schemas.microsoft.com/office/drawing/2014/main" id="{10E33FA8-5EF3-A3B7-3A54-9E333BAE7699}"/>
                </a:ext>
              </a:extLst>
            </p:cNvPr>
            <p:cNvSpPr/>
            <p:nvPr/>
          </p:nvSpPr>
          <p:spPr>
            <a:xfrm>
              <a:off x="7309975" y="1567125"/>
              <a:ext cx="59475" cy="74850"/>
            </a:xfrm>
            <a:custGeom>
              <a:avLst/>
              <a:gdLst/>
              <a:ahLst/>
              <a:cxnLst/>
              <a:rect l="l" t="t" r="r" b="b"/>
              <a:pathLst>
                <a:path w="2379" h="2994" extrusionOk="0">
                  <a:moveTo>
                    <a:pt x="1185" y="1"/>
                  </a:moveTo>
                  <a:cubicBezTo>
                    <a:pt x="675" y="1"/>
                    <a:pt x="252" y="415"/>
                    <a:pt x="252" y="934"/>
                  </a:cubicBezTo>
                  <a:cubicBezTo>
                    <a:pt x="252" y="979"/>
                    <a:pt x="259" y="1023"/>
                    <a:pt x="268" y="1068"/>
                  </a:cubicBezTo>
                  <a:cubicBezTo>
                    <a:pt x="104" y="1267"/>
                    <a:pt x="1" y="1527"/>
                    <a:pt x="1" y="1808"/>
                  </a:cubicBezTo>
                  <a:cubicBezTo>
                    <a:pt x="1" y="2467"/>
                    <a:pt x="534" y="2994"/>
                    <a:pt x="1185" y="2994"/>
                  </a:cubicBezTo>
                  <a:cubicBezTo>
                    <a:pt x="1845" y="2994"/>
                    <a:pt x="2379" y="2467"/>
                    <a:pt x="2379" y="1808"/>
                  </a:cubicBezTo>
                  <a:cubicBezTo>
                    <a:pt x="2379" y="1527"/>
                    <a:pt x="2275" y="1267"/>
                    <a:pt x="2112" y="1068"/>
                  </a:cubicBezTo>
                  <a:cubicBezTo>
                    <a:pt x="2119" y="1023"/>
                    <a:pt x="2126" y="979"/>
                    <a:pt x="2126" y="934"/>
                  </a:cubicBezTo>
                  <a:cubicBezTo>
                    <a:pt x="2126" y="415"/>
                    <a:pt x="1705" y="1"/>
                    <a:pt x="118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7" name="Google Shape;5306;p53">
              <a:extLst>
                <a:ext uri="{FF2B5EF4-FFF2-40B4-BE49-F238E27FC236}">
                  <a16:creationId xmlns:a16="http://schemas.microsoft.com/office/drawing/2014/main" id="{3B96BEFB-8B36-3C2E-2D48-E5EDBF70852C}"/>
                </a:ext>
              </a:extLst>
            </p:cNvPr>
            <p:cNvSpPr/>
            <p:nvPr/>
          </p:nvSpPr>
          <p:spPr>
            <a:xfrm>
              <a:off x="7339600" y="1590125"/>
              <a:ext cx="2825" cy="89100"/>
            </a:xfrm>
            <a:custGeom>
              <a:avLst/>
              <a:gdLst/>
              <a:ahLst/>
              <a:cxnLst/>
              <a:rect l="l" t="t" r="r" b="b"/>
              <a:pathLst>
                <a:path w="113" h="3564" extrusionOk="0">
                  <a:moveTo>
                    <a:pt x="54" y="1"/>
                  </a:moveTo>
                  <a:cubicBezTo>
                    <a:pt x="53" y="1"/>
                    <a:pt x="52" y="4"/>
                    <a:pt x="52" y="14"/>
                  </a:cubicBezTo>
                  <a:lnTo>
                    <a:pt x="0" y="3511"/>
                  </a:lnTo>
                  <a:cubicBezTo>
                    <a:pt x="0" y="3534"/>
                    <a:pt x="23" y="3564"/>
                    <a:pt x="52" y="3564"/>
                  </a:cubicBezTo>
                  <a:lnTo>
                    <a:pt x="61" y="3564"/>
                  </a:lnTo>
                  <a:cubicBezTo>
                    <a:pt x="89" y="3564"/>
                    <a:pt x="112" y="3534"/>
                    <a:pt x="112" y="3511"/>
                  </a:cubicBezTo>
                  <a:cubicBezTo>
                    <a:pt x="112" y="3511"/>
                    <a:pt x="89" y="14"/>
                    <a:pt x="61" y="14"/>
                  </a:cubicBezTo>
                  <a:cubicBezTo>
                    <a:pt x="61" y="14"/>
                    <a:pt x="57" y="1"/>
                    <a:pt x="5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8" name="Google Shape;5307;p53">
              <a:extLst>
                <a:ext uri="{FF2B5EF4-FFF2-40B4-BE49-F238E27FC236}">
                  <a16:creationId xmlns:a16="http://schemas.microsoft.com/office/drawing/2014/main" id="{FCCA19ED-E3B2-2E9D-C9FF-10D5AE8E749F}"/>
                </a:ext>
              </a:extLst>
            </p:cNvPr>
            <p:cNvSpPr/>
            <p:nvPr/>
          </p:nvSpPr>
          <p:spPr>
            <a:xfrm>
              <a:off x="7324025" y="1611600"/>
              <a:ext cx="16875" cy="13875"/>
            </a:xfrm>
            <a:custGeom>
              <a:avLst/>
              <a:gdLst/>
              <a:ahLst/>
              <a:cxnLst/>
              <a:rect l="l" t="t" r="r" b="b"/>
              <a:pathLst>
                <a:path w="675" h="555" extrusionOk="0">
                  <a:moveTo>
                    <a:pt x="1" y="0"/>
                  </a:moveTo>
                  <a:lnTo>
                    <a:pt x="1" y="0"/>
                  </a:lnTo>
                  <a:cubicBezTo>
                    <a:pt x="331" y="541"/>
                    <a:pt x="634" y="555"/>
                    <a:pt x="665" y="555"/>
                  </a:cubicBezTo>
                  <a:cubicBezTo>
                    <a:pt x="667" y="555"/>
                    <a:pt x="668" y="555"/>
                    <a:pt x="668" y="555"/>
                  </a:cubicBezTo>
                  <a:lnTo>
                    <a:pt x="675" y="473"/>
                  </a:lnTo>
                  <a:lnTo>
                    <a:pt x="675" y="473"/>
                  </a:lnTo>
                  <a:cubicBezTo>
                    <a:pt x="675" y="473"/>
                    <a:pt x="668" y="479"/>
                    <a:pt x="647" y="479"/>
                  </a:cubicBezTo>
                  <a:cubicBezTo>
                    <a:pt x="606" y="479"/>
                    <a:pt x="511" y="455"/>
                    <a:pt x="312" y="311"/>
                  </a:cubicBezTo>
                  <a:cubicBezTo>
                    <a:pt x="134" y="18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9" name="Google Shape;5308;p53">
              <a:extLst>
                <a:ext uri="{FF2B5EF4-FFF2-40B4-BE49-F238E27FC236}">
                  <a16:creationId xmlns:a16="http://schemas.microsoft.com/office/drawing/2014/main" id="{11817F67-C408-E7C9-9B0A-AA7642E799B5}"/>
                </a:ext>
              </a:extLst>
            </p:cNvPr>
            <p:cNvSpPr/>
            <p:nvPr/>
          </p:nvSpPr>
          <p:spPr>
            <a:xfrm>
              <a:off x="7340875" y="1607675"/>
              <a:ext cx="14475" cy="11900"/>
            </a:xfrm>
            <a:custGeom>
              <a:avLst/>
              <a:gdLst/>
              <a:ahLst/>
              <a:cxnLst/>
              <a:rect l="l" t="t" r="r" b="b"/>
              <a:pathLst>
                <a:path w="579" h="476" extrusionOk="0">
                  <a:moveTo>
                    <a:pt x="579" y="1"/>
                  </a:moveTo>
                  <a:cubicBezTo>
                    <a:pt x="579" y="1"/>
                    <a:pt x="461" y="164"/>
                    <a:pt x="312" y="267"/>
                  </a:cubicBezTo>
                  <a:cubicBezTo>
                    <a:pt x="143" y="392"/>
                    <a:pt x="60" y="413"/>
                    <a:pt x="24" y="413"/>
                  </a:cubicBezTo>
                  <a:cubicBezTo>
                    <a:pt x="7" y="413"/>
                    <a:pt x="1" y="408"/>
                    <a:pt x="1" y="408"/>
                  </a:cubicBezTo>
                  <a:lnTo>
                    <a:pt x="1" y="408"/>
                  </a:lnTo>
                  <a:lnTo>
                    <a:pt x="10" y="475"/>
                  </a:lnTo>
                  <a:cubicBezTo>
                    <a:pt x="10" y="475"/>
                    <a:pt x="11" y="475"/>
                    <a:pt x="12" y="475"/>
                  </a:cubicBezTo>
                  <a:cubicBezTo>
                    <a:pt x="40" y="475"/>
                    <a:pt x="300" y="463"/>
                    <a:pt x="57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0" name="Google Shape;5309;p53">
              <a:extLst>
                <a:ext uri="{FF2B5EF4-FFF2-40B4-BE49-F238E27FC236}">
                  <a16:creationId xmlns:a16="http://schemas.microsoft.com/office/drawing/2014/main" id="{ED0294E3-D121-F155-4FED-5CB3307F96EA}"/>
                </a:ext>
              </a:extLst>
            </p:cNvPr>
            <p:cNvSpPr/>
            <p:nvPr/>
          </p:nvSpPr>
          <p:spPr>
            <a:xfrm>
              <a:off x="7329425" y="1599375"/>
              <a:ext cx="11475" cy="9450"/>
            </a:xfrm>
            <a:custGeom>
              <a:avLst/>
              <a:gdLst/>
              <a:ahLst/>
              <a:cxnLst/>
              <a:rect l="l" t="t" r="r" b="b"/>
              <a:pathLst>
                <a:path w="459" h="378" extrusionOk="0">
                  <a:moveTo>
                    <a:pt x="0" y="0"/>
                  </a:moveTo>
                  <a:cubicBezTo>
                    <a:pt x="228" y="370"/>
                    <a:pt x="443" y="377"/>
                    <a:pt x="458" y="377"/>
                  </a:cubicBezTo>
                  <a:cubicBezTo>
                    <a:pt x="459" y="377"/>
                    <a:pt x="459" y="377"/>
                    <a:pt x="459" y="377"/>
                  </a:cubicBezTo>
                  <a:lnTo>
                    <a:pt x="459" y="325"/>
                  </a:lnTo>
                  <a:cubicBezTo>
                    <a:pt x="459" y="325"/>
                    <a:pt x="455" y="328"/>
                    <a:pt x="444" y="328"/>
                  </a:cubicBezTo>
                  <a:cubicBezTo>
                    <a:pt x="417" y="328"/>
                    <a:pt x="352" y="313"/>
                    <a:pt x="208" y="215"/>
                  </a:cubicBezTo>
                  <a:cubicBezTo>
                    <a:pt x="89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1" name="Google Shape;5310;p53">
              <a:extLst>
                <a:ext uri="{FF2B5EF4-FFF2-40B4-BE49-F238E27FC236}">
                  <a16:creationId xmlns:a16="http://schemas.microsoft.com/office/drawing/2014/main" id="{94F6A734-D548-E9B3-335A-0424D0527463}"/>
                </a:ext>
              </a:extLst>
            </p:cNvPr>
            <p:cNvSpPr/>
            <p:nvPr/>
          </p:nvSpPr>
          <p:spPr>
            <a:xfrm>
              <a:off x="7378150" y="1188300"/>
              <a:ext cx="26700" cy="26700"/>
            </a:xfrm>
            <a:custGeom>
              <a:avLst/>
              <a:gdLst/>
              <a:ahLst/>
              <a:cxnLst/>
              <a:rect l="l" t="t" r="r" b="b"/>
              <a:pathLst>
                <a:path w="1068" h="1068" extrusionOk="0">
                  <a:moveTo>
                    <a:pt x="534" y="0"/>
                  </a:moveTo>
                  <a:cubicBezTo>
                    <a:pt x="237" y="0"/>
                    <a:pt x="0" y="237"/>
                    <a:pt x="0" y="534"/>
                  </a:cubicBezTo>
                  <a:cubicBezTo>
                    <a:pt x="0" y="831"/>
                    <a:pt x="237" y="1067"/>
                    <a:pt x="534" y="1067"/>
                  </a:cubicBezTo>
                  <a:cubicBezTo>
                    <a:pt x="831" y="1067"/>
                    <a:pt x="1067" y="831"/>
                    <a:pt x="1067" y="534"/>
                  </a:cubicBezTo>
                  <a:cubicBezTo>
                    <a:pt x="1067" y="237"/>
                    <a:pt x="831" y="0"/>
                    <a:pt x="534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2" name="Google Shape;5311;p53">
              <a:extLst>
                <a:ext uri="{FF2B5EF4-FFF2-40B4-BE49-F238E27FC236}">
                  <a16:creationId xmlns:a16="http://schemas.microsoft.com/office/drawing/2014/main" id="{8DB5B0E4-5078-149D-DFDD-8CD0DA8FAE2F}"/>
                </a:ext>
              </a:extLst>
            </p:cNvPr>
            <p:cNvSpPr/>
            <p:nvPr/>
          </p:nvSpPr>
          <p:spPr>
            <a:xfrm>
              <a:off x="7314200" y="1224800"/>
              <a:ext cx="9850" cy="9850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2" y="0"/>
                  </a:moveTo>
                  <a:cubicBezTo>
                    <a:pt x="90" y="0"/>
                    <a:pt x="1" y="89"/>
                    <a:pt x="1" y="192"/>
                  </a:cubicBezTo>
                  <a:cubicBezTo>
                    <a:pt x="1" y="304"/>
                    <a:pt x="90" y="393"/>
                    <a:pt x="202" y="393"/>
                  </a:cubicBezTo>
                  <a:cubicBezTo>
                    <a:pt x="312" y="393"/>
                    <a:pt x="394" y="304"/>
                    <a:pt x="394" y="192"/>
                  </a:cubicBezTo>
                  <a:cubicBezTo>
                    <a:pt x="394" y="89"/>
                    <a:pt x="312" y="0"/>
                    <a:pt x="202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3" name="Google Shape;5312;p53">
              <a:extLst>
                <a:ext uri="{FF2B5EF4-FFF2-40B4-BE49-F238E27FC236}">
                  <a16:creationId xmlns:a16="http://schemas.microsoft.com/office/drawing/2014/main" id="{CE04215C-50EA-FF0C-E3E8-A51F1619AAE9}"/>
                </a:ext>
              </a:extLst>
            </p:cNvPr>
            <p:cNvSpPr/>
            <p:nvPr/>
          </p:nvSpPr>
          <p:spPr>
            <a:xfrm>
              <a:off x="7569850" y="1372975"/>
              <a:ext cx="12650" cy="12600"/>
            </a:xfrm>
            <a:custGeom>
              <a:avLst/>
              <a:gdLst/>
              <a:ahLst/>
              <a:cxnLst/>
              <a:rect l="l" t="t" r="r" b="b"/>
              <a:pathLst>
                <a:path w="506" h="504" extrusionOk="0">
                  <a:moveTo>
                    <a:pt x="253" y="1"/>
                  </a:moveTo>
                  <a:cubicBezTo>
                    <a:pt x="113" y="1"/>
                    <a:pt x="0" y="113"/>
                    <a:pt x="0" y="253"/>
                  </a:cubicBezTo>
                  <a:cubicBezTo>
                    <a:pt x="0" y="394"/>
                    <a:pt x="113" y="504"/>
                    <a:pt x="253" y="504"/>
                  </a:cubicBezTo>
                  <a:cubicBezTo>
                    <a:pt x="394" y="504"/>
                    <a:pt x="506" y="394"/>
                    <a:pt x="506" y="253"/>
                  </a:cubicBezTo>
                  <a:cubicBezTo>
                    <a:pt x="506" y="113"/>
                    <a:pt x="394" y="1"/>
                    <a:pt x="253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4" name="Google Shape;5313;p53">
              <a:extLst>
                <a:ext uri="{FF2B5EF4-FFF2-40B4-BE49-F238E27FC236}">
                  <a16:creationId xmlns:a16="http://schemas.microsoft.com/office/drawing/2014/main" id="{3EF90646-D822-130C-84ED-5962A55136A5}"/>
                </a:ext>
              </a:extLst>
            </p:cNvPr>
            <p:cNvSpPr/>
            <p:nvPr/>
          </p:nvSpPr>
          <p:spPr>
            <a:xfrm>
              <a:off x="7452975" y="1412050"/>
              <a:ext cx="63550" cy="63775"/>
            </a:xfrm>
            <a:custGeom>
              <a:avLst/>
              <a:gdLst/>
              <a:ahLst/>
              <a:cxnLst/>
              <a:rect l="l" t="t" r="r" b="b"/>
              <a:pathLst>
                <a:path w="2542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1972" y="2551"/>
                    <a:pt x="2541" y="1980"/>
                    <a:pt x="2541" y="1276"/>
                  </a:cubicBezTo>
                  <a:cubicBezTo>
                    <a:pt x="2541" y="572"/>
                    <a:pt x="1972" y="1"/>
                    <a:pt x="1275" y="1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5" name="Google Shape;5314;p53">
              <a:extLst>
                <a:ext uri="{FF2B5EF4-FFF2-40B4-BE49-F238E27FC236}">
                  <a16:creationId xmlns:a16="http://schemas.microsoft.com/office/drawing/2014/main" id="{74856156-D2D8-D5CB-F6B8-FD4CF0424046}"/>
                </a:ext>
              </a:extLst>
            </p:cNvPr>
            <p:cNvSpPr/>
            <p:nvPr/>
          </p:nvSpPr>
          <p:spPr>
            <a:xfrm>
              <a:off x="7452800" y="1412050"/>
              <a:ext cx="31900" cy="63775"/>
            </a:xfrm>
            <a:custGeom>
              <a:avLst/>
              <a:gdLst/>
              <a:ahLst/>
              <a:cxnLst/>
              <a:rect l="l" t="t" r="r" b="b"/>
              <a:pathLst>
                <a:path w="1276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571" y="2542"/>
                    <a:pt x="7" y="1980"/>
                    <a:pt x="7" y="1276"/>
                  </a:cubicBezTo>
                  <a:cubicBezTo>
                    <a:pt x="7" y="572"/>
                    <a:pt x="571" y="8"/>
                    <a:pt x="1275" y="1"/>
                  </a:cubicBezTo>
                  <a:close/>
                </a:path>
              </a:pathLst>
            </a:custGeom>
            <a:solidFill>
              <a:srgbClr val="99A0A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6" name="Google Shape;5315;p53">
              <a:extLst>
                <a:ext uri="{FF2B5EF4-FFF2-40B4-BE49-F238E27FC236}">
                  <a16:creationId xmlns:a16="http://schemas.microsoft.com/office/drawing/2014/main" id="{FFE3E134-4A35-8183-0756-624566FEE312}"/>
                </a:ext>
              </a:extLst>
            </p:cNvPr>
            <p:cNvSpPr/>
            <p:nvPr/>
          </p:nvSpPr>
          <p:spPr>
            <a:xfrm>
              <a:off x="7452975" y="1412050"/>
              <a:ext cx="31725" cy="63775"/>
            </a:xfrm>
            <a:custGeom>
              <a:avLst/>
              <a:gdLst/>
              <a:ahLst/>
              <a:cxnLst/>
              <a:rect l="l" t="t" r="r" b="b"/>
              <a:pathLst>
                <a:path w="1269" h="2551" extrusionOk="0">
                  <a:moveTo>
                    <a:pt x="1268" y="1"/>
                  </a:moveTo>
                  <a:cubicBezTo>
                    <a:pt x="564" y="8"/>
                    <a:pt x="0" y="572"/>
                    <a:pt x="0" y="1276"/>
                  </a:cubicBezTo>
                  <a:cubicBezTo>
                    <a:pt x="0" y="1980"/>
                    <a:pt x="564" y="2542"/>
                    <a:pt x="1268" y="2551"/>
                  </a:cubicBezTo>
                  <a:cubicBezTo>
                    <a:pt x="1268" y="2542"/>
                    <a:pt x="578" y="1913"/>
                    <a:pt x="578" y="1276"/>
                  </a:cubicBezTo>
                  <a:cubicBezTo>
                    <a:pt x="578" y="639"/>
                    <a:pt x="1268" y="8"/>
                    <a:pt x="1268" y="1"/>
                  </a:cubicBezTo>
                  <a:close/>
                </a:path>
              </a:pathLst>
            </a:custGeom>
            <a:solidFill>
              <a:srgbClr val="FFE9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7" name="Google Shape;5316;p53">
              <a:extLst>
                <a:ext uri="{FF2B5EF4-FFF2-40B4-BE49-F238E27FC236}">
                  <a16:creationId xmlns:a16="http://schemas.microsoft.com/office/drawing/2014/main" id="{AE4B964E-20AB-41A2-ECEC-40DA48F0D217}"/>
                </a:ext>
              </a:extLst>
            </p:cNvPr>
            <p:cNvSpPr/>
            <p:nvPr/>
          </p:nvSpPr>
          <p:spPr>
            <a:xfrm>
              <a:off x="7148250" y="1678625"/>
              <a:ext cx="644150" cy="39875"/>
            </a:xfrm>
            <a:custGeom>
              <a:avLst/>
              <a:gdLst/>
              <a:ahLst/>
              <a:cxnLst/>
              <a:rect l="l" t="t" r="r" b="b"/>
              <a:pathLst>
                <a:path w="25766" h="1595" extrusionOk="0">
                  <a:moveTo>
                    <a:pt x="1615" y="1"/>
                  </a:moveTo>
                  <a:cubicBezTo>
                    <a:pt x="0" y="1"/>
                    <a:pt x="141" y="1594"/>
                    <a:pt x="1615" y="1594"/>
                  </a:cubicBezTo>
                  <a:lnTo>
                    <a:pt x="25765" y="1594"/>
                  </a:lnTo>
                  <a:lnTo>
                    <a:pt x="25765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8" name="Google Shape;5317;p53">
              <a:extLst>
                <a:ext uri="{FF2B5EF4-FFF2-40B4-BE49-F238E27FC236}">
                  <a16:creationId xmlns:a16="http://schemas.microsoft.com/office/drawing/2014/main" id="{7BEBD449-FFCF-9136-F90F-3E89D1B8F387}"/>
                </a:ext>
              </a:extLst>
            </p:cNvPr>
            <p:cNvSpPr/>
            <p:nvPr/>
          </p:nvSpPr>
          <p:spPr>
            <a:xfrm>
              <a:off x="7095475" y="1718475"/>
              <a:ext cx="696925" cy="39850"/>
            </a:xfrm>
            <a:custGeom>
              <a:avLst/>
              <a:gdLst/>
              <a:ahLst/>
              <a:cxnLst/>
              <a:rect l="l" t="t" r="r" b="b"/>
              <a:pathLst>
                <a:path w="27877" h="1594" extrusionOk="0">
                  <a:moveTo>
                    <a:pt x="1615" y="0"/>
                  </a:moveTo>
                  <a:cubicBezTo>
                    <a:pt x="45" y="0"/>
                    <a:pt x="0" y="1594"/>
                    <a:pt x="1615" y="1594"/>
                  </a:cubicBezTo>
                  <a:lnTo>
                    <a:pt x="27876" y="1594"/>
                  </a:lnTo>
                  <a:lnTo>
                    <a:pt x="2787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351" name="Google Shape;5134;p53">
            <a:extLst>
              <a:ext uri="{FF2B5EF4-FFF2-40B4-BE49-F238E27FC236}">
                <a16:creationId xmlns:a16="http://schemas.microsoft.com/office/drawing/2014/main" id="{BCE481E5-2299-81FC-053B-775CBD565E9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4300" y="102870"/>
            <a:ext cx="8721089" cy="899219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en-IN" sz="4000" dirty="0">
                <a:solidFill>
                  <a:srgbClr val="A1E1FD"/>
                </a:solidFill>
              </a:rPr>
              <a:t>2017–2020: The Trump Administration</a:t>
            </a:r>
            <a:endParaRPr sz="4000" dirty="0">
              <a:solidFill>
                <a:srgbClr val="A1E1FD"/>
              </a:solidFill>
            </a:endParaRPr>
          </a:p>
        </p:txBody>
      </p:sp>
      <p:sp>
        <p:nvSpPr>
          <p:cNvPr id="5356" name="TextBox 5355">
            <a:extLst>
              <a:ext uri="{FF2B5EF4-FFF2-40B4-BE49-F238E27FC236}">
                <a16:creationId xmlns:a16="http://schemas.microsoft.com/office/drawing/2014/main" id="{8C92F2FC-02BE-7B4A-8CD0-BA885657876D}"/>
              </a:ext>
            </a:extLst>
          </p:cNvPr>
          <p:cNvSpPr txBox="1"/>
          <p:nvPr/>
        </p:nvSpPr>
        <p:spPr>
          <a:xfrm>
            <a:off x="211456" y="1376663"/>
            <a:ext cx="8721088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b="1" dirty="0">
                <a:solidFill>
                  <a:srgbClr val="AAACB1"/>
                </a:solidFill>
                <a:latin typeface="Arial" panose="020B0604020202020204" pitchFamily="34" charset="0"/>
              </a:rPr>
              <a:t>Disbanded the IWG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endParaRPr lang="en-US" altLang="en-US" sz="24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b="1" dirty="0">
                <a:solidFill>
                  <a:srgbClr val="AAACB1"/>
                </a:solidFill>
                <a:latin typeface="Arial" panose="020B0604020202020204" pitchFamily="34" charset="0"/>
              </a:rPr>
              <a:t>Reduced SCC:</a:t>
            </a:r>
            <a:r>
              <a:rPr lang="en-US" altLang="en-US" sz="2400" dirty="0">
                <a:solidFill>
                  <a:srgbClr val="AAACB1"/>
                </a:solidFill>
                <a:latin typeface="Arial" panose="020B0604020202020204" pitchFamily="34" charset="0"/>
              </a:rPr>
              <a:t> 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§"/>
            </a:pPr>
            <a:r>
              <a:rPr lang="en-US" altLang="en-US" sz="2400" dirty="0">
                <a:solidFill>
                  <a:schemeClr val="tx1"/>
                </a:solidFill>
                <a:latin typeface="Arial" panose="020B0604020202020204" pitchFamily="34" charset="0"/>
              </a:rPr>
              <a:t>Focused on </a:t>
            </a:r>
            <a:r>
              <a:rPr lang="en-US" altLang="en-US" sz="2400" b="1" dirty="0">
                <a:solidFill>
                  <a:schemeClr val="tx1"/>
                </a:solidFill>
                <a:latin typeface="Arial" panose="020B0604020202020204" pitchFamily="34" charset="0"/>
              </a:rPr>
              <a:t>domestic damages</a:t>
            </a:r>
            <a:r>
              <a:rPr lang="en-US" altLang="en-US" sz="2400" dirty="0">
                <a:solidFill>
                  <a:schemeClr val="tx1"/>
                </a:solidFill>
                <a:latin typeface="Arial" panose="020B0604020202020204" pitchFamily="34" charset="0"/>
              </a:rPr>
              <a:t>, ignoring global impacts.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§"/>
            </a:pPr>
            <a:r>
              <a:rPr lang="en-US" altLang="en-US" sz="2400" dirty="0">
                <a:solidFill>
                  <a:schemeClr val="tx1"/>
                </a:solidFill>
                <a:latin typeface="Arial" panose="020B0604020202020204" pitchFamily="34" charset="0"/>
              </a:rPr>
              <a:t>Using </a:t>
            </a:r>
            <a:r>
              <a:rPr lang="en-US" altLang="en-US" sz="2400" b="1" dirty="0">
                <a:solidFill>
                  <a:schemeClr val="tx1"/>
                </a:solidFill>
                <a:latin typeface="Arial" panose="020B0604020202020204" pitchFamily="34" charset="0"/>
              </a:rPr>
              <a:t>higher discount rates</a:t>
            </a:r>
            <a:r>
              <a:rPr lang="en-US" altLang="en-US" sz="2400" dirty="0">
                <a:solidFill>
                  <a:schemeClr val="tx1"/>
                </a:solidFill>
                <a:latin typeface="Arial" panose="020B0604020202020204" pitchFamily="34" charset="0"/>
              </a:rPr>
              <a:t> (3-7%)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endParaRPr lang="en-US" altLang="en-US" sz="24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b="1" dirty="0">
                <a:solidFill>
                  <a:srgbClr val="FFD65D"/>
                </a:solidFill>
                <a:latin typeface="Arial" panose="020B0604020202020204" pitchFamily="34" charset="0"/>
              </a:rPr>
              <a:t>Policy Impact:</a:t>
            </a:r>
            <a:r>
              <a:rPr lang="en-US" altLang="en-US" sz="2400" dirty="0">
                <a:solidFill>
                  <a:srgbClr val="FFD65D"/>
                </a:solidFill>
                <a:latin typeface="Arial" panose="020B0604020202020204" pitchFamily="34" charset="0"/>
              </a:rPr>
              <a:t>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dirty="0">
                <a:solidFill>
                  <a:schemeClr val="tx1"/>
                </a:solidFill>
                <a:latin typeface="Arial" panose="020B0604020202020204" pitchFamily="34" charset="0"/>
              </a:rPr>
              <a:t>Weakened economic justification for new climate regulations.</a:t>
            </a:r>
          </a:p>
        </p:txBody>
      </p:sp>
    </p:spTree>
    <p:extLst>
      <p:ext uri="{BB962C8B-B14F-4D97-AF65-F5344CB8AC3E}">
        <p14:creationId xmlns:p14="http://schemas.microsoft.com/office/powerpoint/2010/main" val="35087972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32">
          <a:extLst>
            <a:ext uri="{FF2B5EF4-FFF2-40B4-BE49-F238E27FC236}">
              <a16:creationId xmlns:a16="http://schemas.microsoft.com/office/drawing/2014/main" id="{8C79F3E8-A365-69DD-C42E-EE1AC9C378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3" name="Google Shape;5133;p53">
            <a:extLst>
              <a:ext uri="{FF2B5EF4-FFF2-40B4-BE49-F238E27FC236}">
                <a16:creationId xmlns:a16="http://schemas.microsoft.com/office/drawing/2014/main" id="{6813D38D-DAE8-6201-E41E-4838BEEE4A22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0" y="1250086"/>
            <a:ext cx="4995081" cy="36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/>
            <a:r>
              <a:rPr lang="en-US" sz="2800" dirty="0">
                <a:solidFill>
                  <a:srgbClr val="FFFFFF"/>
                </a:solidFill>
                <a:latin typeface="Kumbh Sans" panose="020B0604020202020204" charset="0"/>
                <a:cs typeface="Kumbh Sans" panose="020B0604020202020204" charset="0"/>
              </a:rPr>
              <a:t>Estimate for the SCC : </a:t>
            </a:r>
            <a:endParaRPr sz="2800" dirty="0"/>
          </a:p>
        </p:txBody>
      </p:sp>
      <p:sp>
        <p:nvSpPr>
          <p:cNvPr id="5134" name="Google Shape;5134;p53">
            <a:extLst>
              <a:ext uri="{FF2B5EF4-FFF2-40B4-BE49-F238E27FC236}">
                <a16:creationId xmlns:a16="http://schemas.microsoft.com/office/drawing/2014/main" id="{FC30717A-C823-E9DE-9894-9F2109ED350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07402" y="890486"/>
            <a:ext cx="6329196" cy="300292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200" dirty="0"/>
              <a:t>US $ 51/tCO</a:t>
            </a:r>
            <a:r>
              <a:rPr lang="en-US" sz="7200" baseline="-25000" dirty="0"/>
              <a:t>2</a:t>
            </a:r>
            <a:endParaRPr sz="7200" baseline="-25000" dirty="0"/>
          </a:p>
        </p:txBody>
      </p:sp>
      <p:grpSp>
        <p:nvGrpSpPr>
          <p:cNvPr id="5139" name="Google Shape;5139;p53">
            <a:extLst>
              <a:ext uri="{FF2B5EF4-FFF2-40B4-BE49-F238E27FC236}">
                <a16:creationId xmlns:a16="http://schemas.microsoft.com/office/drawing/2014/main" id="{B1333078-9985-68AB-626E-94907A5BF56B}"/>
              </a:ext>
            </a:extLst>
          </p:cNvPr>
          <p:cNvGrpSpPr/>
          <p:nvPr/>
        </p:nvGrpSpPr>
        <p:grpSpPr>
          <a:xfrm>
            <a:off x="1" y="2420914"/>
            <a:ext cx="2136935" cy="2183097"/>
            <a:chOff x="998550" y="1958600"/>
            <a:chExt cx="693225" cy="708200"/>
          </a:xfrm>
        </p:grpSpPr>
        <p:sp>
          <p:nvSpPr>
            <p:cNvPr id="5140" name="Google Shape;5140;p53">
              <a:extLst>
                <a:ext uri="{FF2B5EF4-FFF2-40B4-BE49-F238E27FC236}">
                  <a16:creationId xmlns:a16="http://schemas.microsoft.com/office/drawing/2014/main" id="{E4176288-1951-67BC-7145-0C4E5519C88D}"/>
                </a:ext>
              </a:extLst>
            </p:cNvPr>
            <p:cNvSpPr/>
            <p:nvPr/>
          </p:nvSpPr>
          <p:spPr>
            <a:xfrm>
              <a:off x="1404400" y="2326850"/>
              <a:ext cx="89175" cy="43725"/>
            </a:xfrm>
            <a:custGeom>
              <a:avLst/>
              <a:gdLst/>
              <a:ahLst/>
              <a:cxnLst/>
              <a:rect l="l" t="t" r="r" b="b"/>
              <a:pathLst>
                <a:path w="3567" h="1749" extrusionOk="0">
                  <a:moveTo>
                    <a:pt x="1566" y="0"/>
                  </a:moveTo>
                  <a:cubicBezTo>
                    <a:pt x="935" y="0"/>
                    <a:pt x="424" y="496"/>
                    <a:pt x="380" y="1112"/>
                  </a:cubicBezTo>
                  <a:cubicBezTo>
                    <a:pt x="165" y="1156"/>
                    <a:pt x="1" y="1348"/>
                    <a:pt x="1" y="1578"/>
                  </a:cubicBezTo>
                  <a:cubicBezTo>
                    <a:pt x="1" y="1638"/>
                    <a:pt x="17" y="1697"/>
                    <a:pt x="31" y="1748"/>
                  </a:cubicBezTo>
                  <a:lnTo>
                    <a:pt x="3567" y="1748"/>
                  </a:lnTo>
                  <a:lnTo>
                    <a:pt x="3567" y="1704"/>
                  </a:lnTo>
                  <a:cubicBezTo>
                    <a:pt x="3567" y="1371"/>
                    <a:pt x="3291" y="1098"/>
                    <a:pt x="2958" y="1098"/>
                  </a:cubicBezTo>
                  <a:cubicBezTo>
                    <a:pt x="2884" y="1098"/>
                    <a:pt x="2818" y="1112"/>
                    <a:pt x="2750" y="1133"/>
                  </a:cubicBezTo>
                  <a:cubicBezTo>
                    <a:pt x="2722" y="504"/>
                    <a:pt x="2203" y="0"/>
                    <a:pt x="1566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1" name="Google Shape;5141;p53">
              <a:extLst>
                <a:ext uri="{FF2B5EF4-FFF2-40B4-BE49-F238E27FC236}">
                  <a16:creationId xmlns:a16="http://schemas.microsoft.com/office/drawing/2014/main" id="{3F6DC892-0561-C5F4-7535-374341175B73}"/>
                </a:ext>
              </a:extLst>
            </p:cNvPr>
            <p:cNvSpPr/>
            <p:nvPr/>
          </p:nvSpPr>
          <p:spPr>
            <a:xfrm>
              <a:off x="1067275" y="2387975"/>
              <a:ext cx="166575" cy="202150"/>
            </a:xfrm>
            <a:custGeom>
              <a:avLst/>
              <a:gdLst/>
              <a:ahLst/>
              <a:cxnLst/>
              <a:rect l="l" t="t" r="r" b="b"/>
              <a:pathLst>
                <a:path w="6663" h="8086" extrusionOk="0">
                  <a:moveTo>
                    <a:pt x="1" y="1"/>
                  </a:moveTo>
                  <a:lnTo>
                    <a:pt x="1" y="8085"/>
                  </a:lnTo>
                  <a:lnTo>
                    <a:pt x="6662" y="8085"/>
                  </a:lnTo>
                  <a:lnTo>
                    <a:pt x="6662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2" name="Google Shape;5142;p53">
              <a:extLst>
                <a:ext uri="{FF2B5EF4-FFF2-40B4-BE49-F238E27FC236}">
                  <a16:creationId xmlns:a16="http://schemas.microsoft.com/office/drawing/2014/main" id="{B3E8B77D-F798-9630-EF3B-A400B1E4B63A}"/>
                </a:ext>
              </a:extLst>
            </p:cNvPr>
            <p:cNvSpPr/>
            <p:nvPr/>
          </p:nvSpPr>
          <p:spPr>
            <a:xfrm>
              <a:off x="1067275" y="2460575"/>
              <a:ext cx="166575" cy="10425"/>
            </a:xfrm>
            <a:custGeom>
              <a:avLst/>
              <a:gdLst/>
              <a:ahLst/>
              <a:cxnLst/>
              <a:rect l="l" t="t" r="r" b="b"/>
              <a:pathLst>
                <a:path w="6663" h="417" extrusionOk="0">
                  <a:moveTo>
                    <a:pt x="1" y="1"/>
                  </a:moveTo>
                  <a:lnTo>
                    <a:pt x="1" y="417"/>
                  </a:lnTo>
                  <a:lnTo>
                    <a:pt x="6662" y="417"/>
                  </a:lnTo>
                  <a:lnTo>
                    <a:pt x="666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3" name="Google Shape;5143;p53">
              <a:extLst>
                <a:ext uri="{FF2B5EF4-FFF2-40B4-BE49-F238E27FC236}">
                  <a16:creationId xmlns:a16="http://schemas.microsoft.com/office/drawing/2014/main" id="{C9089D3E-8583-AA85-3C9C-C20BE88AFA88}"/>
                </a:ext>
              </a:extLst>
            </p:cNvPr>
            <p:cNvSpPr/>
            <p:nvPr/>
          </p:nvSpPr>
          <p:spPr>
            <a:xfrm>
              <a:off x="1067275" y="2498550"/>
              <a:ext cx="166575" cy="35050"/>
            </a:xfrm>
            <a:custGeom>
              <a:avLst/>
              <a:gdLst/>
              <a:ahLst/>
              <a:cxnLst/>
              <a:rect l="l" t="t" r="r" b="b"/>
              <a:pathLst>
                <a:path w="6663" h="1402" extrusionOk="0">
                  <a:moveTo>
                    <a:pt x="1" y="0"/>
                  </a:moveTo>
                  <a:lnTo>
                    <a:pt x="1" y="1402"/>
                  </a:lnTo>
                  <a:lnTo>
                    <a:pt x="6662" y="1402"/>
                  </a:lnTo>
                  <a:lnTo>
                    <a:pt x="6662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4" name="Google Shape;5144;p53">
              <a:extLst>
                <a:ext uri="{FF2B5EF4-FFF2-40B4-BE49-F238E27FC236}">
                  <a16:creationId xmlns:a16="http://schemas.microsoft.com/office/drawing/2014/main" id="{34700874-EF7D-4139-3569-E5B544B2A88F}"/>
                </a:ext>
              </a:extLst>
            </p:cNvPr>
            <p:cNvSpPr/>
            <p:nvPr/>
          </p:nvSpPr>
          <p:spPr>
            <a:xfrm>
              <a:off x="1186550" y="2497075"/>
              <a:ext cx="20625" cy="37650"/>
            </a:xfrm>
            <a:custGeom>
              <a:avLst/>
              <a:gdLst/>
              <a:ahLst/>
              <a:cxnLst/>
              <a:rect l="l" t="t" r="r" b="b"/>
              <a:pathLst>
                <a:path w="825" h="1506" extrusionOk="0">
                  <a:moveTo>
                    <a:pt x="743" y="82"/>
                  </a:moveTo>
                  <a:lnTo>
                    <a:pt x="743" y="1423"/>
                  </a:lnTo>
                  <a:lnTo>
                    <a:pt x="83" y="1423"/>
                  </a:lnTo>
                  <a:lnTo>
                    <a:pt x="83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5" name="Google Shape;5145;p53">
              <a:extLst>
                <a:ext uri="{FF2B5EF4-FFF2-40B4-BE49-F238E27FC236}">
                  <a16:creationId xmlns:a16="http://schemas.microsoft.com/office/drawing/2014/main" id="{33708113-0570-8EFB-1029-2210BEBD0F14}"/>
                </a:ext>
              </a:extLst>
            </p:cNvPr>
            <p:cNvSpPr/>
            <p:nvPr/>
          </p:nvSpPr>
          <p:spPr>
            <a:xfrm>
              <a:off x="1149525" y="2497075"/>
              <a:ext cx="20600" cy="37650"/>
            </a:xfrm>
            <a:custGeom>
              <a:avLst/>
              <a:gdLst/>
              <a:ahLst/>
              <a:cxnLst/>
              <a:rect l="l" t="t" r="r" b="b"/>
              <a:pathLst>
                <a:path w="824" h="1506" extrusionOk="0">
                  <a:moveTo>
                    <a:pt x="742" y="82"/>
                  </a:moveTo>
                  <a:lnTo>
                    <a:pt x="742" y="1423"/>
                  </a:lnTo>
                  <a:lnTo>
                    <a:pt x="82" y="1423"/>
                  </a:lnTo>
                  <a:lnTo>
                    <a:pt x="82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6" name="Google Shape;5146;p53">
              <a:extLst>
                <a:ext uri="{FF2B5EF4-FFF2-40B4-BE49-F238E27FC236}">
                  <a16:creationId xmlns:a16="http://schemas.microsoft.com/office/drawing/2014/main" id="{387BBF74-1AA6-760B-E7A6-D7D8A7BD2EDF}"/>
                </a:ext>
              </a:extLst>
            </p:cNvPr>
            <p:cNvSpPr/>
            <p:nvPr/>
          </p:nvSpPr>
          <p:spPr>
            <a:xfrm>
              <a:off x="1223825" y="2497075"/>
              <a:ext cx="10950" cy="37650"/>
            </a:xfrm>
            <a:custGeom>
              <a:avLst/>
              <a:gdLst/>
              <a:ahLst/>
              <a:cxnLst/>
              <a:rect l="l" t="t" r="r" b="b"/>
              <a:pathLst>
                <a:path w="438" h="1506" extrusionOk="0">
                  <a:moveTo>
                    <a:pt x="363" y="82"/>
                  </a:moveTo>
                  <a:lnTo>
                    <a:pt x="363" y="1423"/>
                  </a:lnTo>
                  <a:lnTo>
                    <a:pt x="75" y="1423"/>
                  </a:lnTo>
                  <a:lnTo>
                    <a:pt x="75" y="82"/>
                  </a:lnTo>
                  <a:close/>
                  <a:moveTo>
                    <a:pt x="0" y="1"/>
                  </a:moveTo>
                  <a:lnTo>
                    <a:pt x="0" y="1505"/>
                  </a:lnTo>
                  <a:lnTo>
                    <a:pt x="438" y="1505"/>
                  </a:lnTo>
                  <a:lnTo>
                    <a:pt x="438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7" name="Google Shape;5147;p53">
              <a:extLst>
                <a:ext uri="{FF2B5EF4-FFF2-40B4-BE49-F238E27FC236}">
                  <a16:creationId xmlns:a16="http://schemas.microsoft.com/office/drawing/2014/main" id="{51D0A4A7-07AF-E4ED-35FB-9CCF197A406B}"/>
                </a:ext>
              </a:extLst>
            </p:cNvPr>
            <p:cNvSpPr/>
            <p:nvPr/>
          </p:nvSpPr>
          <p:spPr>
            <a:xfrm>
              <a:off x="1205100" y="2497075"/>
              <a:ext cx="20600" cy="37650"/>
            </a:xfrm>
            <a:custGeom>
              <a:avLst/>
              <a:gdLst/>
              <a:ahLst/>
              <a:cxnLst/>
              <a:rect l="l" t="t" r="r" b="b"/>
              <a:pathLst>
                <a:path w="824" h="1506" extrusionOk="0">
                  <a:moveTo>
                    <a:pt x="749" y="82"/>
                  </a:moveTo>
                  <a:lnTo>
                    <a:pt x="749" y="1423"/>
                  </a:lnTo>
                  <a:lnTo>
                    <a:pt x="82" y="1423"/>
                  </a:lnTo>
                  <a:lnTo>
                    <a:pt x="82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8" name="Google Shape;5148;p53">
              <a:extLst>
                <a:ext uri="{FF2B5EF4-FFF2-40B4-BE49-F238E27FC236}">
                  <a16:creationId xmlns:a16="http://schemas.microsoft.com/office/drawing/2014/main" id="{EA77C5E5-8AC1-7BE3-694C-30B4AB8F44C4}"/>
                </a:ext>
              </a:extLst>
            </p:cNvPr>
            <p:cNvSpPr/>
            <p:nvPr/>
          </p:nvSpPr>
          <p:spPr>
            <a:xfrm>
              <a:off x="1168075" y="2497075"/>
              <a:ext cx="20550" cy="37650"/>
            </a:xfrm>
            <a:custGeom>
              <a:avLst/>
              <a:gdLst/>
              <a:ahLst/>
              <a:cxnLst/>
              <a:rect l="l" t="t" r="r" b="b"/>
              <a:pathLst>
                <a:path w="822" h="1506" extrusionOk="0">
                  <a:moveTo>
                    <a:pt x="740" y="82"/>
                  </a:moveTo>
                  <a:lnTo>
                    <a:pt x="740" y="1423"/>
                  </a:lnTo>
                  <a:lnTo>
                    <a:pt x="82" y="1423"/>
                  </a:lnTo>
                  <a:lnTo>
                    <a:pt x="82" y="82"/>
                  </a:lnTo>
                  <a:close/>
                  <a:moveTo>
                    <a:pt x="0" y="1"/>
                  </a:moveTo>
                  <a:lnTo>
                    <a:pt x="0" y="1505"/>
                  </a:lnTo>
                  <a:lnTo>
                    <a:pt x="822" y="1505"/>
                  </a:lnTo>
                  <a:lnTo>
                    <a:pt x="822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9" name="Google Shape;5149;p53">
              <a:extLst>
                <a:ext uri="{FF2B5EF4-FFF2-40B4-BE49-F238E27FC236}">
                  <a16:creationId xmlns:a16="http://schemas.microsoft.com/office/drawing/2014/main" id="{F99E6566-CC0D-A160-8FFF-5A7D167F5CDD}"/>
                </a:ext>
              </a:extLst>
            </p:cNvPr>
            <p:cNvSpPr/>
            <p:nvPr/>
          </p:nvSpPr>
          <p:spPr>
            <a:xfrm>
              <a:off x="1066175" y="2497075"/>
              <a:ext cx="11125" cy="37650"/>
            </a:xfrm>
            <a:custGeom>
              <a:avLst/>
              <a:gdLst/>
              <a:ahLst/>
              <a:cxnLst/>
              <a:rect l="l" t="t" r="r" b="b"/>
              <a:pathLst>
                <a:path w="445" h="1506" extrusionOk="0">
                  <a:moveTo>
                    <a:pt x="363" y="82"/>
                  </a:moveTo>
                  <a:lnTo>
                    <a:pt x="363" y="1423"/>
                  </a:lnTo>
                  <a:lnTo>
                    <a:pt x="82" y="1423"/>
                  </a:lnTo>
                  <a:lnTo>
                    <a:pt x="82" y="82"/>
                  </a:lnTo>
                  <a:close/>
                  <a:moveTo>
                    <a:pt x="0" y="1"/>
                  </a:moveTo>
                  <a:lnTo>
                    <a:pt x="0" y="1505"/>
                  </a:lnTo>
                  <a:lnTo>
                    <a:pt x="445" y="1505"/>
                  </a:lnTo>
                  <a:lnTo>
                    <a:pt x="445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0" name="Google Shape;5150;p53">
              <a:extLst>
                <a:ext uri="{FF2B5EF4-FFF2-40B4-BE49-F238E27FC236}">
                  <a16:creationId xmlns:a16="http://schemas.microsoft.com/office/drawing/2014/main" id="{B5318517-77F9-44FE-8100-035A367ECEDA}"/>
                </a:ext>
              </a:extLst>
            </p:cNvPr>
            <p:cNvSpPr/>
            <p:nvPr/>
          </p:nvSpPr>
          <p:spPr>
            <a:xfrm>
              <a:off x="1075225" y="2497075"/>
              <a:ext cx="20625" cy="37650"/>
            </a:xfrm>
            <a:custGeom>
              <a:avLst/>
              <a:gdLst/>
              <a:ahLst/>
              <a:cxnLst/>
              <a:rect l="l" t="t" r="r" b="b"/>
              <a:pathLst>
                <a:path w="825" h="1506" extrusionOk="0">
                  <a:moveTo>
                    <a:pt x="750" y="82"/>
                  </a:moveTo>
                  <a:lnTo>
                    <a:pt x="750" y="1423"/>
                  </a:lnTo>
                  <a:lnTo>
                    <a:pt x="83" y="1423"/>
                  </a:lnTo>
                  <a:lnTo>
                    <a:pt x="83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1" name="Google Shape;5151;p53">
              <a:extLst>
                <a:ext uri="{FF2B5EF4-FFF2-40B4-BE49-F238E27FC236}">
                  <a16:creationId xmlns:a16="http://schemas.microsoft.com/office/drawing/2014/main" id="{BDC003C5-88F9-5AA2-4334-D2679AE60002}"/>
                </a:ext>
              </a:extLst>
            </p:cNvPr>
            <p:cNvSpPr/>
            <p:nvPr/>
          </p:nvSpPr>
          <p:spPr>
            <a:xfrm>
              <a:off x="1093950" y="2497075"/>
              <a:ext cx="20400" cy="37650"/>
            </a:xfrm>
            <a:custGeom>
              <a:avLst/>
              <a:gdLst/>
              <a:ahLst/>
              <a:cxnLst/>
              <a:rect l="l" t="t" r="r" b="b"/>
              <a:pathLst>
                <a:path w="816" h="1506" extrusionOk="0">
                  <a:moveTo>
                    <a:pt x="742" y="82"/>
                  </a:moveTo>
                  <a:lnTo>
                    <a:pt x="742" y="1423"/>
                  </a:lnTo>
                  <a:lnTo>
                    <a:pt x="75" y="1423"/>
                  </a:lnTo>
                  <a:lnTo>
                    <a:pt x="75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15" y="1505"/>
                  </a:lnTo>
                  <a:lnTo>
                    <a:pt x="815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2" name="Google Shape;5152;p53">
              <a:extLst>
                <a:ext uri="{FF2B5EF4-FFF2-40B4-BE49-F238E27FC236}">
                  <a16:creationId xmlns:a16="http://schemas.microsoft.com/office/drawing/2014/main" id="{8BB77F67-6EEC-5E6B-D319-720B571A769E}"/>
                </a:ext>
              </a:extLst>
            </p:cNvPr>
            <p:cNvSpPr/>
            <p:nvPr/>
          </p:nvSpPr>
          <p:spPr>
            <a:xfrm>
              <a:off x="1130975" y="2497075"/>
              <a:ext cx="20625" cy="37650"/>
            </a:xfrm>
            <a:custGeom>
              <a:avLst/>
              <a:gdLst/>
              <a:ahLst/>
              <a:cxnLst/>
              <a:rect l="l" t="t" r="r" b="b"/>
              <a:pathLst>
                <a:path w="825" h="1506" extrusionOk="0">
                  <a:moveTo>
                    <a:pt x="743" y="82"/>
                  </a:moveTo>
                  <a:lnTo>
                    <a:pt x="743" y="1423"/>
                  </a:lnTo>
                  <a:lnTo>
                    <a:pt x="83" y="1423"/>
                  </a:lnTo>
                  <a:lnTo>
                    <a:pt x="83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3" name="Google Shape;5153;p53">
              <a:extLst>
                <a:ext uri="{FF2B5EF4-FFF2-40B4-BE49-F238E27FC236}">
                  <a16:creationId xmlns:a16="http://schemas.microsoft.com/office/drawing/2014/main" id="{CDC32F11-4200-B200-1DAE-7AA1CCF0E7D8}"/>
                </a:ext>
              </a:extLst>
            </p:cNvPr>
            <p:cNvSpPr/>
            <p:nvPr/>
          </p:nvSpPr>
          <p:spPr>
            <a:xfrm>
              <a:off x="1112500" y="2497075"/>
              <a:ext cx="20550" cy="37650"/>
            </a:xfrm>
            <a:custGeom>
              <a:avLst/>
              <a:gdLst/>
              <a:ahLst/>
              <a:cxnLst/>
              <a:rect l="l" t="t" r="r" b="b"/>
              <a:pathLst>
                <a:path w="822" h="1506" extrusionOk="0">
                  <a:moveTo>
                    <a:pt x="740" y="82"/>
                  </a:moveTo>
                  <a:lnTo>
                    <a:pt x="740" y="1423"/>
                  </a:lnTo>
                  <a:lnTo>
                    <a:pt x="73" y="1423"/>
                  </a:lnTo>
                  <a:lnTo>
                    <a:pt x="73" y="82"/>
                  </a:lnTo>
                  <a:close/>
                  <a:moveTo>
                    <a:pt x="0" y="1"/>
                  </a:moveTo>
                  <a:lnTo>
                    <a:pt x="0" y="1505"/>
                  </a:lnTo>
                  <a:lnTo>
                    <a:pt x="822" y="1505"/>
                  </a:lnTo>
                  <a:lnTo>
                    <a:pt x="822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4" name="Google Shape;5154;p53">
              <a:extLst>
                <a:ext uri="{FF2B5EF4-FFF2-40B4-BE49-F238E27FC236}">
                  <a16:creationId xmlns:a16="http://schemas.microsoft.com/office/drawing/2014/main" id="{B893A438-5A83-3123-9BA6-55BC27BFA726}"/>
                </a:ext>
              </a:extLst>
            </p:cNvPr>
            <p:cNvSpPr/>
            <p:nvPr/>
          </p:nvSpPr>
          <p:spPr>
            <a:xfrm>
              <a:off x="1116350" y="2274025"/>
              <a:ext cx="52275" cy="316100"/>
            </a:xfrm>
            <a:custGeom>
              <a:avLst/>
              <a:gdLst/>
              <a:ahLst/>
              <a:cxnLst/>
              <a:rect l="l" t="t" r="r" b="b"/>
              <a:pathLst>
                <a:path w="2091" h="12644" extrusionOk="0">
                  <a:moveTo>
                    <a:pt x="565" y="1"/>
                  </a:moveTo>
                  <a:lnTo>
                    <a:pt x="1" y="12613"/>
                  </a:lnTo>
                  <a:lnTo>
                    <a:pt x="2090" y="12643"/>
                  </a:lnTo>
                  <a:lnTo>
                    <a:pt x="1824" y="17"/>
                  </a:lnTo>
                  <a:lnTo>
                    <a:pt x="565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5" name="Google Shape;5155;p53">
              <a:extLst>
                <a:ext uri="{FF2B5EF4-FFF2-40B4-BE49-F238E27FC236}">
                  <a16:creationId xmlns:a16="http://schemas.microsoft.com/office/drawing/2014/main" id="{D91E4631-CF7D-0072-5137-4A39F40E1698}"/>
                </a:ext>
              </a:extLst>
            </p:cNvPr>
            <p:cNvSpPr/>
            <p:nvPr/>
          </p:nvSpPr>
          <p:spPr>
            <a:xfrm>
              <a:off x="1116350" y="2274250"/>
              <a:ext cx="29875" cy="312875"/>
            </a:xfrm>
            <a:custGeom>
              <a:avLst/>
              <a:gdLst/>
              <a:ahLst/>
              <a:cxnLst/>
              <a:rect l="l" t="t" r="r" b="b"/>
              <a:pathLst>
                <a:path w="1195" h="12515" extrusionOk="0">
                  <a:moveTo>
                    <a:pt x="565" y="0"/>
                  </a:moveTo>
                  <a:lnTo>
                    <a:pt x="1" y="12515"/>
                  </a:lnTo>
                  <a:lnTo>
                    <a:pt x="1047" y="12515"/>
                  </a:lnTo>
                  <a:lnTo>
                    <a:pt x="1194" y="8"/>
                  </a:lnTo>
                  <a:lnTo>
                    <a:pt x="565" y="0"/>
                  </a:lnTo>
                  <a:close/>
                </a:path>
              </a:pathLst>
            </a:custGeom>
            <a:solidFill>
              <a:srgbClr val="92939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6" name="Google Shape;5156;p53">
              <a:extLst>
                <a:ext uri="{FF2B5EF4-FFF2-40B4-BE49-F238E27FC236}">
                  <a16:creationId xmlns:a16="http://schemas.microsoft.com/office/drawing/2014/main" id="{BFE5271D-FA15-5272-4DF1-8461DDFA0CD5}"/>
                </a:ext>
              </a:extLst>
            </p:cNvPr>
            <p:cNvSpPr/>
            <p:nvPr/>
          </p:nvSpPr>
          <p:spPr>
            <a:xfrm>
              <a:off x="1126375" y="2350000"/>
              <a:ext cx="37450" cy="18925"/>
            </a:xfrm>
            <a:custGeom>
              <a:avLst/>
              <a:gdLst/>
              <a:ahLst/>
              <a:cxnLst/>
              <a:rect l="l" t="t" r="r" b="b"/>
              <a:pathLst>
                <a:path w="1498" h="757" extrusionOk="0">
                  <a:moveTo>
                    <a:pt x="37" y="1"/>
                  </a:moveTo>
                  <a:lnTo>
                    <a:pt x="0" y="734"/>
                  </a:lnTo>
                  <a:lnTo>
                    <a:pt x="749" y="741"/>
                  </a:lnTo>
                  <a:lnTo>
                    <a:pt x="1497" y="757"/>
                  </a:lnTo>
                  <a:lnTo>
                    <a:pt x="1483" y="22"/>
                  </a:lnTo>
                  <a:lnTo>
                    <a:pt x="756" y="15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7" name="Google Shape;5157;p53">
              <a:extLst>
                <a:ext uri="{FF2B5EF4-FFF2-40B4-BE49-F238E27FC236}">
                  <a16:creationId xmlns:a16="http://schemas.microsoft.com/office/drawing/2014/main" id="{419E4479-66AD-BEFD-D820-4EAECF5B40C1}"/>
                </a:ext>
              </a:extLst>
            </p:cNvPr>
            <p:cNvSpPr/>
            <p:nvPr/>
          </p:nvSpPr>
          <p:spPr>
            <a:xfrm>
              <a:off x="1124150" y="2392950"/>
              <a:ext cx="40775" cy="27275"/>
            </a:xfrm>
            <a:custGeom>
              <a:avLst/>
              <a:gdLst/>
              <a:ahLst/>
              <a:cxnLst/>
              <a:rect l="l" t="t" r="r" b="b"/>
              <a:pathLst>
                <a:path w="1631" h="1091" extrusionOk="0">
                  <a:moveTo>
                    <a:pt x="45" y="1"/>
                  </a:moveTo>
                  <a:lnTo>
                    <a:pt x="0" y="1068"/>
                  </a:lnTo>
                  <a:lnTo>
                    <a:pt x="816" y="1077"/>
                  </a:lnTo>
                  <a:lnTo>
                    <a:pt x="1631" y="1091"/>
                  </a:lnTo>
                  <a:lnTo>
                    <a:pt x="1608" y="17"/>
                  </a:lnTo>
                  <a:lnTo>
                    <a:pt x="831" y="10"/>
                  </a:lnTo>
                  <a:lnTo>
                    <a:pt x="45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8" name="Google Shape;5158;p53">
              <a:extLst>
                <a:ext uri="{FF2B5EF4-FFF2-40B4-BE49-F238E27FC236}">
                  <a16:creationId xmlns:a16="http://schemas.microsoft.com/office/drawing/2014/main" id="{A57B298B-EABE-FE49-3559-84CBC50272B2}"/>
                </a:ext>
              </a:extLst>
            </p:cNvPr>
            <p:cNvSpPr/>
            <p:nvPr/>
          </p:nvSpPr>
          <p:spPr>
            <a:xfrm>
              <a:off x="999125" y="2054350"/>
              <a:ext cx="117650" cy="77825"/>
            </a:xfrm>
            <a:custGeom>
              <a:avLst/>
              <a:gdLst/>
              <a:ahLst/>
              <a:cxnLst/>
              <a:rect l="l" t="t" r="r" b="b"/>
              <a:pathLst>
                <a:path w="4706" h="3113" extrusionOk="0">
                  <a:moveTo>
                    <a:pt x="0" y="1"/>
                  </a:moveTo>
                  <a:lnTo>
                    <a:pt x="0" y="8"/>
                  </a:lnTo>
                  <a:lnTo>
                    <a:pt x="0" y="2231"/>
                  </a:lnTo>
                  <a:lnTo>
                    <a:pt x="0" y="3113"/>
                  </a:lnTo>
                  <a:lnTo>
                    <a:pt x="3061" y="3113"/>
                  </a:lnTo>
                  <a:cubicBezTo>
                    <a:pt x="3075" y="3097"/>
                    <a:pt x="3089" y="3090"/>
                    <a:pt x="3105" y="3075"/>
                  </a:cubicBezTo>
                  <a:cubicBezTo>
                    <a:pt x="3112" y="3090"/>
                    <a:pt x="3120" y="3097"/>
                    <a:pt x="3120" y="3113"/>
                  </a:cubicBezTo>
                  <a:lnTo>
                    <a:pt x="4638" y="3113"/>
                  </a:lnTo>
                  <a:cubicBezTo>
                    <a:pt x="4683" y="3017"/>
                    <a:pt x="4706" y="2912"/>
                    <a:pt x="4706" y="2794"/>
                  </a:cubicBezTo>
                  <a:cubicBezTo>
                    <a:pt x="4706" y="2341"/>
                    <a:pt x="4334" y="1971"/>
                    <a:pt x="3883" y="1971"/>
                  </a:cubicBezTo>
                  <a:cubicBezTo>
                    <a:pt x="3719" y="1971"/>
                    <a:pt x="3571" y="2016"/>
                    <a:pt x="3445" y="2097"/>
                  </a:cubicBezTo>
                  <a:cubicBezTo>
                    <a:pt x="3363" y="1571"/>
                    <a:pt x="2904" y="1171"/>
                    <a:pt x="2357" y="1171"/>
                  </a:cubicBezTo>
                  <a:cubicBezTo>
                    <a:pt x="2172" y="1171"/>
                    <a:pt x="1994" y="1215"/>
                    <a:pt x="1837" y="1297"/>
                  </a:cubicBezTo>
                  <a:cubicBezTo>
                    <a:pt x="1505" y="593"/>
                    <a:pt x="815" y="82"/>
                    <a:pt x="0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9" name="Google Shape;5159;p53">
              <a:extLst>
                <a:ext uri="{FF2B5EF4-FFF2-40B4-BE49-F238E27FC236}">
                  <a16:creationId xmlns:a16="http://schemas.microsoft.com/office/drawing/2014/main" id="{A3BAE7F5-A13C-C098-9B1C-1822655B5494}"/>
                </a:ext>
              </a:extLst>
            </p:cNvPr>
            <p:cNvSpPr/>
            <p:nvPr/>
          </p:nvSpPr>
          <p:spPr>
            <a:xfrm>
              <a:off x="1361075" y="2415000"/>
              <a:ext cx="188075" cy="174525"/>
            </a:xfrm>
            <a:custGeom>
              <a:avLst/>
              <a:gdLst/>
              <a:ahLst/>
              <a:cxnLst/>
              <a:rect l="l" t="t" r="r" b="b"/>
              <a:pathLst>
                <a:path w="7523" h="6981" extrusionOk="0">
                  <a:moveTo>
                    <a:pt x="0" y="1"/>
                  </a:moveTo>
                  <a:lnTo>
                    <a:pt x="0" y="6981"/>
                  </a:lnTo>
                  <a:lnTo>
                    <a:pt x="7523" y="6981"/>
                  </a:lnTo>
                  <a:lnTo>
                    <a:pt x="7523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0" name="Google Shape;5160;p53">
              <a:extLst>
                <a:ext uri="{FF2B5EF4-FFF2-40B4-BE49-F238E27FC236}">
                  <a16:creationId xmlns:a16="http://schemas.microsoft.com/office/drawing/2014/main" id="{734C3415-16DC-A5D9-6722-EAEA7B3943DC}"/>
                </a:ext>
              </a:extLst>
            </p:cNvPr>
            <p:cNvSpPr/>
            <p:nvPr/>
          </p:nvSpPr>
          <p:spPr>
            <a:xfrm>
              <a:off x="1549125" y="2418925"/>
              <a:ext cx="200" cy="168200"/>
            </a:xfrm>
            <a:custGeom>
              <a:avLst/>
              <a:gdLst/>
              <a:ahLst/>
              <a:cxnLst/>
              <a:rect l="l" t="t" r="r" b="b"/>
              <a:pathLst>
                <a:path w="8" h="6728" extrusionOk="0">
                  <a:moveTo>
                    <a:pt x="1" y="0"/>
                  </a:moveTo>
                  <a:lnTo>
                    <a:pt x="1" y="6728"/>
                  </a:lnTo>
                  <a:lnTo>
                    <a:pt x="8" y="6728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52596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1" name="Google Shape;5161;p53">
              <a:extLst>
                <a:ext uri="{FF2B5EF4-FFF2-40B4-BE49-F238E27FC236}">
                  <a16:creationId xmlns:a16="http://schemas.microsoft.com/office/drawing/2014/main" id="{36E53609-5FBF-5547-8FA3-334C3B55601D}"/>
                </a:ext>
              </a:extLst>
            </p:cNvPr>
            <p:cNvSpPr/>
            <p:nvPr/>
          </p:nvSpPr>
          <p:spPr>
            <a:xfrm>
              <a:off x="1502625" y="2418925"/>
              <a:ext cx="46525" cy="158025"/>
            </a:xfrm>
            <a:custGeom>
              <a:avLst/>
              <a:gdLst/>
              <a:ahLst/>
              <a:cxnLst/>
              <a:rect l="l" t="t" r="r" b="b"/>
              <a:pathLst>
                <a:path w="1861" h="6321" extrusionOk="0">
                  <a:moveTo>
                    <a:pt x="0" y="0"/>
                  </a:moveTo>
                  <a:lnTo>
                    <a:pt x="0" y="6321"/>
                  </a:lnTo>
                  <a:lnTo>
                    <a:pt x="1861" y="6321"/>
                  </a:lnTo>
                  <a:lnTo>
                    <a:pt x="1861" y="0"/>
                  </a:lnTo>
                  <a:close/>
                </a:path>
              </a:pathLst>
            </a:custGeom>
            <a:solidFill>
              <a:srgbClr val="85868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2" name="Google Shape;5162;p53">
              <a:extLst>
                <a:ext uri="{FF2B5EF4-FFF2-40B4-BE49-F238E27FC236}">
                  <a16:creationId xmlns:a16="http://schemas.microsoft.com/office/drawing/2014/main" id="{31AFBCA5-7881-F773-E723-B62C837A3C77}"/>
                </a:ext>
              </a:extLst>
            </p:cNvPr>
            <p:cNvSpPr/>
            <p:nvPr/>
          </p:nvSpPr>
          <p:spPr>
            <a:xfrm>
              <a:off x="1353275" y="2411325"/>
              <a:ext cx="203425" cy="7625"/>
            </a:xfrm>
            <a:custGeom>
              <a:avLst/>
              <a:gdLst/>
              <a:ahLst/>
              <a:cxnLst/>
              <a:rect l="l" t="t" r="r" b="b"/>
              <a:pathLst>
                <a:path w="8137" h="305" extrusionOk="0">
                  <a:moveTo>
                    <a:pt x="150" y="0"/>
                  </a:moveTo>
                  <a:cubicBezTo>
                    <a:pt x="68" y="0"/>
                    <a:pt x="1" y="66"/>
                    <a:pt x="1" y="148"/>
                  </a:cubicBezTo>
                  <a:cubicBezTo>
                    <a:pt x="1" y="237"/>
                    <a:pt x="68" y="304"/>
                    <a:pt x="150" y="304"/>
                  </a:cubicBezTo>
                  <a:lnTo>
                    <a:pt x="7989" y="304"/>
                  </a:lnTo>
                  <a:cubicBezTo>
                    <a:pt x="8071" y="304"/>
                    <a:pt x="8137" y="237"/>
                    <a:pt x="8137" y="148"/>
                  </a:cubicBezTo>
                  <a:cubicBezTo>
                    <a:pt x="8137" y="66"/>
                    <a:pt x="8071" y="0"/>
                    <a:pt x="7989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3" name="Google Shape;5163;p53">
              <a:extLst>
                <a:ext uri="{FF2B5EF4-FFF2-40B4-BE49-F238E27FC236}">
                  <a16:creationId xmlns:a16="http://schemas.microsoft.com/office/drawing/2014/main" id="{1E57A23E-0866-6537-80F8-7433AC5F58A9}"/>
                </a:ext>
              </a:extLst>
            </p:cNvPr>
            <p:cNvSpPr/>
            <p:nvPr/>
          </p:nvSpPr>
          <p:spPr>
            <a:xfrm>
              <a:off x="1524450" y="2448925"/>
              <a:ext cx="11900" cy="17425"/>
            </a:xfrm>
            <a:custGeom>
              <a:avLst/>
              <a:gdLst/>
              <a:ahLst/>
              <a:cxnLst/>
              <a:rect l="l" t="t" r="r" b="b"/>
              <a:pathLst>
                <a:path w="476" h="697" extrusionOk="0">
                  <a:moveTo>
                    <a:pt x="1" y="1"/>
                  </a:moveTo>
                  <a:lnTo>
                    <a:pt x="1" y="696"/>
                  </a:lnTo>
                  <a:lnTo>
                    <a:pt x="475" y="696"/>
                  </a:lnTo>
                  <a:lnTo>
                    <a:pt x="475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4" name="Google Shape;5164;p53">
              <a:extLst>
                <a:ext uri="{FF2B5EF4-FFF2-40B4-BE49-F238E27FC236}">
                  <a16:creationId xmlns:a16="http://schemas.microsoft.com/office/drawing/2014/main" id="{00B58CFD-5BDB-F9D7-B8B4-42B473486351}"/>
                </a:ext>
              </a:extLst>
            </p:cNvPr>
            <p:cNvSpPr/>
            <p:nvPr/>
          </p:nvSpPr>
          <p:spPr>
            <a:xfrm>
              <a:off x="1503150" y="2448925"/>
              <a:ext cx="11725" cy="17425"/>
            </a:xfrm>
            <a:custGeom>
              <a:avLst/>
              <a:gdLst/>
              <a:ahLst/>
              <a:cxnLst/>
              <a:rect l="l" t="t" r="r" b="b"/>
              <a:pathLst>
                <a:path w="469" h="697" extrusionOk="0">
                  <a:moveTo>
                    <a:pt x="1" y="1"/>
                  </a:moveTo>
                  <a:lnTo>
                    <a:pt x="1" y="696"/>
                  </a:lnTo>
                  <a:lnTo>
                    <a:pt x="468" y="696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5" name="Google Shape;5165;p53">
              <a:extLst>
                <a:ext uri="{FF2B5EF4-FFF2-40B4-BE49-F238E27FC236}">
                  <a16:creationId xmlns:a16="http://schemas.microsoft.com/office/drawing/2014/main" id="{6EEEEFCE-3C6E-0895-5F9C-FB3BA9EC91FD}"/>
                </a:ext>
              </a:extLst>
            </p:cNvPr>
            <p:cNvSpPr/>
            <p:nvPr/>
          </p:nvSpPr>
          <p:spPr>
            <a:xfrm>
              <a:off x="1481675" y="2448925"/>
              <a:ext cx="11675" cy="17425"/>
            </a:xfrm>
            <a:custGeom>
              <a:avLst/>
              <a:gdLst/>
              <a:ahLst/>
              <a:cxnLst/>
              <a:rect l="l" t="t" r="r" b="b"/>
              <a:pathLst>
                <a:path w="467" h="697" extrusionOk="0">
                  <a:moveTo>
                    <a:pt x="1" y="1"/>
                  </a:moveTo>
                  <a:lnTo>
                    <a:pt x="1" y="696"/>
                  </a:lnTo>
                  <a:lnTo>
                    <a:pt x="467" y="696"/>
                  </a:lnTo>
                  <a:lnTo>
                    <a:pt x="46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6" name="Google Shape;5166;p53">
              <a:extLst>
                <a:ext uri="{FF2B5EF4-FFF2-40B4-BE49-F238E27FC236}">
                  <a16:creationId xmlns:a16="http://schemas.microsoft.com/office/drawing/2014/main" id="{489F161D-000B-F9BA-6CCB-A5FB1BF40284}"/>
                </a:ext>
              </a:extLst>
            </p:cNvPr>
            <p:cNvSpPr/>
            <p:nvPr/>
          </p:nvSpPr>
          <p:spPr>
            <a:xfrm>
              <a:off x="1460200" y="2448925"/>
              <a:ext cx="11675" cy="17425"/>
            </a:xfrm>
            <a:custGeom>
              <a:avLst/>
              <a:gdLst/>
              <a:ahLst/>
              <a:cxnLst/>
              <a:rect l="l" t="t" r="r" b="b"/>
              <a:pathLst>
                <a:path w="467" h="697" extrusionOk="0">
                  <a:moveTo>
                    <a:pt x="1" y="1"/>
                  </a:moveTo>
                  <a:lnTo>
                    <a:pt x="1" y="696"/>
                  </a:lnTo>
                  <a:lnTo>
                    <a:pt x="467" y="696"/>
                  </a:lnTo>
                  <a:lnTo>
                    <a:pt x="46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7" name="Google Shape;5167;p53">
              <a:extLst>
                <a:ext uri="{FF2B5EF4-FFF2-40B4-BE49-F238E27FC236}">
                  <a16:creationId xmlns:a16="http://schemas.microsoft.com/office/drawing/2014/main" id="{3B384737-BEBD-AA91-4E1A-C11A9A4D4B0F}"/>
                </a:ext>
              </a:extLst>
            </p:cNvPr>
            <p:cNvSpPr/>
            <p:nvPr/>
          </p:nvSpPr>
          <p:spPr>
            <a:xfrm>
              <a:off x="1438700" y="2448925"/>
              <a:ext cx="11700" cy="17425"/>
            </a:xfrm>
            <a:custGeom>
              <a:avLst/>
              <a:gdLst/>
              <a:ahLst/>
              <a:cxnLst/>
              <a:rect l="l" t="t" r="r" b="b"/>
              <a:pathLst>
                <a:path w="468" h="697" extrusionOk="0">
                  <a:moveTo>
                    <a:pt x="0" y="1"/>
                  </a:moveTo>
                  <a:lnTo>
                    <a:pt x="0" y="696"/>
                  </a:lnTo>
                  <a:lnTo>
                    <a:pt x="468" y="696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8" name="Google Shape;5168;p53">
              <a:extLst>
                <a:ext uri="{FF2B5EF4-FFF2-40B4-BE49-F238E27FC236}">
                  <a16:creationId xmlns:a16="http://schemas.microsoft.com/office/drawing/2014/main" id="{8D2111E0-AEE3-1BC8-E8E6-195D533A32C7}"/>
                </a:ext>
              </a:extLst>
            </p:cNvPr>
            <p:cNvSpPr/>
            <p:nvPr/>
          </p:nvSpPr>
          <p:spPr>
            <a:xfrm>
              <a:off x="1417225" y="2448925"/>
              <a:ext cx="11675" cy="17425"/>
            </a:xfrm>
            <a:custGeom>
              <a:avLst/>
              <a:gdLst/>
              <a:ahLst/>
              <a:cxnLst/>
              <a:rect l="l" t="t" r="r" b="b"/>
              <a:pathLst>
                <a:path w="467" h="697" extrusionOk="0">
                  <a:moveTo>
                    <a:pt x="0" y="1"/>
                  </a:moveTo>
                  <a:lnTo>
                    <a:pt x="0" y="696"/>
                  </a:lnTo>
                  <a:lnTo>
                    <a:pt x="466" y="696"/>
                  </a:lnTo>
                  <a:lnTo>
                    <a:pt x="466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9" name="Google Shape;5169;p53">
              <a:extLst>
                <a:ext uri="{FF2B5EF4-FFF2-40B4-BE49-F238E27FC236}">
                  <a16:creationId xmlns:a16="http://schemas.microsoft.com/office/drawing/2014/main" id="{DF82DE10-51DF-E098-45B1-41A6D9ECD4B8}"/>
                </a:ext>
              </a:extLst>
            </p:cNvPr>
            <p:cNvSpPr/>
            <p:nvPr/>
          </p:nvSpPr>
          <p:spPr>
            <a:xfrm>
              <a:off x="1395750" y="2448925"/>
              <a:ext cx="11675" cy="17425"/>
            </a:xfrm>
            <a:custGeom>
              <a:avLst/>
              <a:gdLst/>
              <a:ahLst/>
              <a:cxnLst/>
              <a:rect l="l" t="t" r="r" b="b"/>
              <a:pathLst>
                <a:path w="467" h="697" extrusionOk="0">
                  <a:moveTo>
                    <a:pt x="0" y="1"/>
                  </a:moveTo>
                  <a:lnTo>
                    <a:pt x="0" y="696"/>
                  </a:lnTo>
                  <a:lnTo>
                    <a:pt x="466" y="696"/>
                  </a:lnTo>
                  <a:lnTo>
                    <a:pt x="466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0" name="Google Shape;5170;p53">
              <a:extLst>
                <a:ext uri="{FF2B5EF4-FFF2-40B4-BE49-F238E27FC236}">
                  <a16:creationId xmlns:a16="http://schemas.microsoft.com/office/drawing/2014/main" id="{E2F1EE08-4D5F-4583-F237-81BD0AAAE6E4}"/>
                </a:ext>
              </a:extLst>
            </p:cNvPr>
            <p:cNvSpPr/>
            <p:nvPr/>
          </p:nvSpPr>
          <p:spPr>
            <a:xfrm>
              <a:off x="1374225" y="2448925"/>
              <a:ext cx="11725" cy="17425"/>
            </a:xfrm>
            <a:custGeom>
              <a:avLst/>
              <a:gdLst/>
              <a:ahLst/>
              <a:cxnLst/>
              <a:rect l="l" t="t" r="r" b="b"/>
              <a:pathLst>
                <a:path w="469" h="697" extrusionOk="0">
                  <a:moveTo>
                    <a:pt x="0" y="1"/>
                  </a:moveTo>
                  <a:lnTo>
                    <a:pt x="0" y="696"/>
                  </a:lnTo>
                  <a:lnTo>
                    <a:pt x="468" y="696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1" name="Google Shape;5171;p53">
              <a:extLst>
                <a:ext uri="{FF2B5EF4-FFF2-40B4-BE49-F238E27FC236}">
                  <a16:creationId xmlns:a16="http://schemas.microsoft.com/office/drawing/2014/main" id="{C068C17E-CE3E-8FD3-7972-303D27F82880}"/>
                </a:ext>
              </a:extLst>
            </p:cNvPr>
            <p:cNvSpPr/>
            <p:nvPr/>
          </p:nvSpPr>
          <p:spPr>
            <a:xfrm>
              <a:off x="1524450" y="2482450"/>
              <a:ext cx="11900" cy="17450"/>
            </a:xfrm>
            <a:custGeom>
              <a:avLst/>
              <a:gdLst/>
              <a:ahLst/>
              <a:cxnLst/>
              <a:rect l="l" t="t" r="r" b="b"/>
              <a:pathLst>
                <a:path w="476" h="698" extrusionOk="0">
                  <a:moveTo>
                    <a:pt x="1" y="1"/>
                  </a:moveTo>
                  <a:lnTo>
                    <a:pt x="1" y="698"/>
                  </a:lnTo>
                  <a:lnTo>
                    <a:pt x="475" y="698"/>
                  </a:lnTo>
                  <a:lnTo>
                    <a:pt x="475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2" name="Google Shape;5172;p53">
              <a:extLst>
                <a:ext uri="{FF2B5EF4-FFF2-40B4-BE49-F238E27FC236}">
                  <a16:creationId xmlns:a16="http://schemas.microsoft.com/office/drawing/2014/main" id="{4AD7885D-2D65-7DC6-BD13-50BA8FB71EDE}"/>
                </a:ext>
              </a:extLst>
            </p:cNvPr>
            <p:cNvSpPr/>
            <p:nvPr/>
          </p:nvSpPr>
          <p:spPr>
            <a:xfrm>
              <a:off x="1503150" y="2482450"/>
              <a:ext cx="11725" cy="17450"/>
            </a:xfrm>
            <a:custGeom>
              <a:avLst/>
              <a:gdLst/>
              <a:ahLst/>
              <a:cxnLst/>
              <a:rect l="l" t="t" r="r" b="b"/>
              <a:pathLst>
                <a:path w="469" h="698" extrusionOk="0">
                  <a:moveTo>
                    <a:pt x="1" y="1"/>
                  </a:moveTo>
                  <a:lnTo>
                    <a:pt x="1" y="698"/>
                  </a:lnTo>
                  <a:lnTo>
                    <a:pt x="468" y="698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3" name="Google Shape;5173;p53">
              <a:extLst>
                <a:ext uri="{FF2B5EF4-FFF2-40B4-BE49-F238E27FC236}">
                  <a16:creationId xmlns:a16="http://schemas.microsoft.com/office/drawing/2014/main" id="{5C49BE6B-9262-8BD3-7712-D52CB74D429D}"/>
                </a:ext>
              </a:extLst>
            </p:cNvPr>
            <p:cNvSpPr/>
            <p:nvPr/>
          </p:nvSpPr>
          <p:spPr>
            <a:xfrm>
              <a:off x="1481675" y="2482450"/>
              <a:ext cx="11675" cy="17450"/>
            </a:xfrm>
            <a:custGeom>
              <a:avLst/>
              <a:gdLst/>
              <a:ahLst/>
              <a:cxnLst/>
              <a:rect l="l" t="t" r="r" b="b"/>
              <a:pathLst>
                <a:path w="467" h="698" extrusionOk="0">
                  <a:moveTo>
                    <a:pt x="1" y="1"/>
                  </a:moveTo>
                  <a:lnTo>
                    <a:pt x="1" y="698"/>
                  </a:lnTo>
                  <a:lnTo>
                    <a:pt x="467" y="698"/>
                  </a:lnTo>
                  <a:lnTo>
                    <a:pt x="46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4" name="Google Shape;5174;p53">
              <a:extLst>
                <a:ext uri="{FF2B5EF4-FFF2-40B4-BE49-F238E27FC236}">
                  <a16:creationId xmlns:a16="http://schemas.microsoft.com/office/drawing/2014/main" id="{8821AC69-01EC-99EE-9D28-03BBF28AE99A}"/>
                </a:ext>
              </a:extLst>
            </p:cNvPr>
            <p:cNvSpPr/>
            <p:nvPr/>
          </p:nvSpPr>
          <p:spPr>
            <a:xfrm>
              <a:off x="1460200" y="2482450"/>
              <a:ext cx="11675" cy="17450"/>
            </a:xfrm>
            <a:custGeom>
              <a:avLst/>
              <a:gdLst/>
              <a:ahLst/>
              <a:cxnLst/>
              <a:rect l="l" t="t" r="r" b="b"/>
              <a:pathLst>
                <a:path w="467" h="698" extrusionOk="0">
                  <a:moveTo>
                    <a:pt x="1" y="1"/>
                  </a:moveTo>
                  <a:lnTo>
                    <a:pt x="1" y="698"/>
                  </a:lnTo>
                  <a:lnTo>
                    <a:pt x="467" y="698"/>
                  </a:lnTo>
                  <a:lnTo>
                    <a:pt x="46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5" name="Google Shape;5175;p53">
              <a:extLst>
                <a:ext uri="{FF2B5EF4-FFF2-40B4-BE49-F238E27FC236}">
                  <a16:creationId xmlns:a16="http://schemas.microsoft.com/office/drawing/2014/main" id="{3B2C4B95-9DB5-11C6-1E5A-DE443CF78324}"/>
                </a:ext>
              </a:extLst>
            </p:cNvPr>
            <p:cNvSpPr/>
            <p:nvPr/>
          </p:nvSpPr>
          <p:spPr>
            <a:xfrm>
              <a:off x="1438700" y="2482450"/>
              <a:ext cx="11700" cy="17450"/>
            </a:xfrm>
            <a:custGeom>
              <a:avLst/>
              <a:gdLst/>
              <a:ahLst/>
              <a:cxnLst/>
              <a:rect l="l" t="t" r="r" b="b"/>
              <a:pathLst>
                <a:path w="468" h="698" extrusionOk="0">
                  <a:moveTo>
                    <a:pt x="0" y="1"/>
                  </a:moveTo>
                  <a:lnTo>
                    <a:pt x="0" y="698"/>
                  </a:lnTo>
                  <a:lnTo>
                    <a:pt x="468" y="698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6" name="Google Shape;5176;p53">
              <a:extLst>
                <a:ext uri="{FF2B5EF4-FFF2-40B4-BE49-F238E27FC236}">
                  <a16:creationId xmlns:a16="http://schemas.microsoft.com/office/drawing/2014/main" id="{FFFA6CC2-031D-FEA9-B1EC-FE60D5861353}"/>
                </a:ext>
              </a:extLst>
            </p:cNvPr>
            <p:cNvSpPr/>
            <p:nvPr/>
          </p:nvSpPr>
          <p:spPr>
            <a:xfrm>
              <a:off x="1417225" y="2482450"/>
              <a:ext cx="11675" cy="17450"/>
            </a:xfrm>
            <a:custGeom>
              <a:avLst/>
              <a:gdLst/>
              <a:ahLst/>
              <a:cxnLst/>
              <a:rect l="l" t="t" r="r" b="b"/>
              <a:pathLst>
                <a:path w="467" h="698" extrusionOk="0">
                  <a:moveTo>
                    <a:pt x="0" y="1"/>
                  </a:moveTo>
                  <a:lnTo>
                    <a:pt x="0" y="698"/>
                  </a:lnTo>
                  <a:lnTo>
                    <a:pt x="466" y="698"/>
                  </a:lnTo>
                  <a:lnTo>
                    <a:pt x="466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7" name="Google Shape;5177;p53">
              <a:extLst>
                <a:ext uri="{FF2B5EF4-FFF2-40B4-BE49-F238E27FC236}">
                  <a16:creationId xmlns:a16="http://schemas.microsoft.com/office/drawing/2014/main" id="{B13A74E4-7B03-B512-3593-C67077D5A026}"/>
                </a:ext>
              </a:extLst>
            </p:cNvPr>
            <p:cNvSpPr/>
            <p:nvPr/>
          </p:nvSpPr>
          <p:spPr>
            <a:xfrm>
              <a:off x="1395750" y="2482450"/>
              <a:ext cx="11675" cy="17450"/>
            </a:xfrm>
            <a:custGeom>
              <a:avLst/>
              <a:gdLst/>
              <a:ahLst/>
              <a:cxnLst/>
              <a:rect l="l" t="t" r="r" b="b"/>
              <a:pathLst>
                <a:path w="467" h="698" extrusionOk="0">
                  <a:moveTo>
                    <a:pt x="0" y="1"/>
                  </a:moveTo>
                  <a:lnTo>
                    <a:pt x="0" y="698"/>
                  </a:lnTo>
                  <a:lnTo>
                    <a:pt x="466" y="698"/>
                  </a:lnTo>
                  <a:lnTo>
                    <a:pt x="466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8" name="Google Shape;5178;p53">
              <a:extLst>
                <a:ext uri="{FF2B5EF4-FFF2-40B4-BE49-F238E27FC236}">
                  <a16:creationId xmlns:a16="http://schemas.microsoft.com/office/drawing/2014/main" id="{84075D38-8195-747B-3E81-8D4A29F0AF16}"/>
                </a:ext>
              </a:extLst>
            </p:cNvPr>
            <p:cNvSpPr/>
            <p:nvPr/>
          </p:nvSpPr>
          <p:spPr>
            <a:xfrm>
              <a:off x="1374225" y="2482450"/>
              <a:ext cx="11725" cy="17450"/>
            </a:xfrm>
            <a:custGeom>
              <a:avLst/>
              <a:gdLst/>
              <a:ahLst/>
              <a:cxnLst/>
              <a:rect l="l" t="t" r="r" b="b"/>
              <a:pathLst>
                <a:path w="469" h="698" extrusionOk="0">
                  <a:moveTo>
                    <a:pt x="0" y="1"/>
                  </a:moveTo>
                  <a:lnTo>
                    <a:pt x="0" y="698"/>
                  </a:lnTo>
                  <a:lnTo>
                    <a:pt x="468" y="698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9" name="Google Shape;5179;p53">
              <a:extLst>
                <a:ext uri="{FF2B5EF4-FFF2-40B4-BE49-F238E27FC236}">
                  <a16:creationId xmlns:a16="http://schemas.microsoft.com/office/drawing/2014/main" id="{5C54ED8C-3438-0072-4EFC-8057C870D0D5}"/>
                </a:ext>
              </a:extLst>
            </p:cNvPr>
            <p:cNvSpPr/>
            <p:nvPr/>
          </p:nvSpPr>
          <p:spPr>
            <a:xfrm>
              <a:off x="1524450" y="2515975"/>
              <a:ext cx="11900" cy="17625"/>
            </a:xfrm>
            <a:custGeom>
              <a:avLst/>
              <a:gdLst/>
              <a:ahLst/>
              <a:cxnLst/>
              <a:rect l="l" t="t" r="r" b="b"/>
              <a:pathLst>
                <a:path w="476" h="705" extrusionOk="0">
                  <a:moveTo>
                    <a:pt x="1" y="0"/>
                  </a:moveTo>
                  <a:lnTo>
                    <a:pt x="1" y="705"/>
                  </a:lnTo>
                  <a:lnTo>
                    <a:pt x="475" y="705"/>
                  </a:lnTo>
                  <a:lnTo>
                    <a:pt x="475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0" name="Google Shape;5180;p53">
              <a:extLst>
                <a:ext uri="{FF2B5EF4-FFF2-40B4-BE49-F238E27FC236}">
                  <a16:creationId xmlns:a16="http://schemas.microsoft.com/office/drawing/2014/main" id="{92F9F718-CF34-37B9-7694-59D4AA182DB9}"/>
                </a:ext>
              </a:extLst>
            </p:cNvPr>
            <p:cNvSpPr/>
            <p:nvPr/>
          </p:nvSpPr>
          <p:spPr>
            <a:xfrm>
              <a:off x="1503150" y="2515975"/>
              <a:ext cx="11725" cy="17625"/>
            </a:xfrm>
            <a:custGeom>
              <a:avLst/>
              <a:gdLst/>
              <a:ahLst/>
              <a:cxnLst/>
              <a:rect l="l" t="t" r="r" b="b"/>
              <a:pathLst>
                <a:path w="469" h="705" extrusionOk="0">
                  <a:moveTo>
                    <a:pt x="1" y="0"/>
                  </a:moveTo>
                  <a:lnTo>
                    <a:pt x="1" y="705"/>
                  </a:lnTo>
                  <a:lnTo>
                    <a:pt x="468" y="705"/>
                  </a:lnTo>
                  <a:lnTo>
                    <a:pt x="468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1" name="Google Shape;5181;p53">
              <a:extLst>
                <a:ext uri="{FF2B5EF4-FFF2-40B4-BE49-F238E27FC236}">
                  <a16:creationId xmlns:a16="http://schemas.microsoft.com/office/drawing/2014/main" id="{2DADDC91-343E-A53B-C524-1B234CBEEFC6}"/>
                </a:ext>
              </a:extLst>
            </p:cNvPr>
            <p:cNvSpPr/>
            <p:nvPr/>
          </p:nvSpPr>
          <p:spPr>
            <a:xfrm>
              <a:off x="1481675" y="2515975"/>
              <a:ext cx="11675" cy="17625"/>
            </a:xfrm>
            <a:custGeom>
              <a:avLst/>
              <a:gdLst/>
              <a:ahLst/>
              <a:cxnLst/>
              <a:rect l="l" t="t" r="r" b="b"/>
              <a:pathLst>
                <a:path w="467" h="705" extrusionOk="0">
                  <a:moveTo>
                    <a:pt x="1" y="0"/>
                  </a:moveTo>
                  <a:lnTo>
                    <a:pt x="1" y="705"/>
                  </a:lnTo>
                  <a:lnTo>
                    <a:pt x="467" y="705"/>
                  </a:lnTo>
                  <a:lnTo>
                    <a:pt x="467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2" name="Google Shape;5182;p53">
              <a:extLst>
                <a:ext uri="{FF2B5EF4-FFF2-40B4-BE49-F238E27FC236}">
                  <a16:creationId xmlns:a16="http://schemas.microsoft.com/office/drawing/2014/main" id="{295B17E6-D9A5-D328-95E6-1B609B2A0E37}"/>
                </a:ext>
              </a:extLst>
            </p:cNvPr>
            <p:cNvSpPr/>
            <p:nvPr/>
          </p:nvSpPr>
          <p:spPr>
            <a:xfrm>
              <a:off x="1460200" y="2515975"/>
              <a:ext cx="11675" cy="17625"/>
            </a:xfrm>
            <a:custGeom>
              <a:avLst/>
              <a:gdLst/>
              <a:ahLst/>
              <a:cxnLst/>
              <a:rect l="l" t="t" r="r" b="b"/>
              <a:pathLst>
                <a:path w="467" h="705" extrusionOk="0">
                  <a:moveTo>
                    <a:pt x="1" y="0"/>
                  </a:moveTo>
                  <a:lnTo>
                    <a:pt x="1" y="705"/>
                  </a:lnTo>
                  <a:lnTo>
                    <a:pt x="467" y="705"/>
                  </a:lnTo>
                  <a:lnTo>
                    <a:pt x="467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3" name="Google Shape;5183;p53">
              <a:extLst>
                <a:ext uri="{FF2B5EF4-FFF2-40B4-BE49-F238E27FC236}">
                  <a16:creationId xmlns:a16="http://schemas.microsoft.com/office/drawing/2014/main" id="{8D49ED40-DE0A-C160-163C-D9B53E66551B}"/>
                </a:ext>
              </a:extLst>
            </p:cNvPr>
            <p:cNvSpPr/>
            <p:nvPr/>
          </p:nvSpPr>
          <p:spPr>
            <a:xfrm>
              <a:off x="1438700" y="2515975"/>
              <a:ext cx="11700" cy="17625"/>
            </a:xfrm>
            <a:custGeom>
              <a:avLst/>
              <a:gdLst/>
              <a:ahLst/>
              <a:cxnLst/>
              <a:rect l="l" t="t" r="r" b="b"/>
              <a:pathLst>
                <a:path w="468" h="705" extrusionOk="0">
                  <a:moveTo>
                    <a:pt x="0" y="0"/>
                  </a:moveTo>
                  <a:lnTo>
                    <a:pt x="0" y="705"/>
                  </a:lnTo>
                  <a:lnTo>
                    <a:pt x="468" y="705"/>
                  </a:lnTo>
                  <a:lnTo>
                    <a:pt x="468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4" name="Google Shape;5184;p53">
              <a:extLst>
                <a:ext uri="{FF2B5EF4-FFF2-40B4-BE49-F238E27FC236}">
                  <a16:creationId xmlns:a16="http://schemas.microsoft.com/office/drawing/2014/main" id="{C23B06D5-A0DD-27E1-4504-BD1DB3B75805}"/>
                </a:ext>
              </a:extLst>
            </p:cNvPr>
            <p:cNvSpPr/>
            <p:nvPr/>
          </p:nvSpPr>
          <p:spPr>
            <a:xfrm>
              <a:off x="1417225" y="2515975"/>
              <a:ext cx="11675" cy="17625"/>
            </a:xfrm>
            <a:custGeom>
              <a:avLst/>
              <a:gdLst/>
              <a:ahLst/>
              <a:cxnLst/>
              <a:rect l="l" t="t" r="r" b="b"/>
              <a:pathLst>
                <a:path w="467" h="705" extrusionOk="0">
                  <a:moveTo>
                    <a:pt x="0" y="0"/>
                  </a:moveTo>
                  <a:lnTo>
                    <a:pt x="0" y="705"/>
                  </a:lnTo>
                  <a:lnTo>
                    <a:pt x="466" y="705"/>
                  </a:lnTo>
                  <a:lnTo>
                    <a:pt x="466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5" name="Google Shape;5185;p53">
              <a:extLst>
                <a:ext uri="{FF2B5EF4-FFF2-40B4-BE49-F238E27FC236}">
                  <a16:creationId xmlns:a16="http://schemas.microsoft.com/office/drawing/2014/main" id="{93E8E442-42BC-1C3F-48EA-A23F72AC0114}"/>
                </a:ext>
              </a:extLst>
            </p:cNvPr>
            <p:cNvSpPr/>
            <p:nvPr/>
          </p:nvSpPr>
          <p:spPr>
            <a:xfrm>
              <a:off x="1395750" y="2515975"/>
              <a:ext cx="11675" cy="17625"/>
            </a:xfrm>
            <a:custGeom>
              <a:avLst/>
              <a:gdLst/>
              <a:ahLst/>
              <a:cxnLst/>
              <a:rect l="l" t="t" r="r" b="b"/>
              <a:pathLst>
                <a:path w="467" h="705" extrusionOk="0">
                  <a:moveTo>
                    <a:pt x="0" y="0"/>
                  </a:moveTo>
                  <a:lnTo>
                    <a:pt x="0" y="705"/>
                  </a:lnTo>
                  <a:lnTo>
                    <a:pt x="466" y="705"/>
                  </a:lnTo>
                  <a:lnTo>
                    <a:pt x="466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6" name="Google Shape;5186;p53">
              <a:extLst>
                <a:ext uri="{FF2B5EF4-FFF2-40B4-BE49-F238E27FC236}">
                  <a16:creationId xmlns:a16="http://schemas.microsoft.com/office/drawing/2014/main" id="{E2F8F8C0-6B66-7C0D-45A5-BC0047A61A69}"/>
                </a:ext>
              </a:extLst>
            </p:cNvPr>
            <p:cNvSpPr/>
            <p:nvPr/>
          </p:nvSpPr>
          <p:spPr>
            <a:xfrm>
              <a:off x="1374225" y="2515975"/>
              <a:ext cx="11725" cy="17625"/>
            </a:xfrm>
            <a:custGeom>
              <a:avLst/>
              <a:gdLst/>
              <a:ahLst/>
              <a:cxnLst/>
              <a:rect l="l" t="t" r="r" b="b"/>
              <a:pathLst>
                <a:path w="469" h="705" extrusionOk="0">
                  <a:moveTo>
                    <a:pt x="0" y="0"/>
                  </a:moveTo>
                  <a:lnTo>
                    <a:pt x="0" y="705"/>
                  </a:lnTo>
                  <a:lnTo>
                    <a:pt x="468" y="705"/>
                  </a:lnTo>
                  <a:lnTo>
                    <a:pt x="468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7" name="Google Shape;5187;p53">
              <a:extLst>
                <a:ext uri="{FF2B5EF4-FFF2-40B4-BE49-F238E27FC236}">
                  <a16:creationId xmlns:a16="http://schemas.microsoft.com/office/drawing/2014/main" id="{CA5FEE73-694C-F34D-AFC0-DFB3A425C092}"/>
                </a:ext>
              </a:extLst>
            </p:cNvPr>
            <p:cNvSpPr/>
            <p:nvPr/>
          </p:nvSpPr>
          <p:spPr>
            <a:xfrm>
              <a:off x="1360875" y="2576925"/>
              <a:ext cx="188275" cy="11150"/>
            </a:xfrm>
            <a:custGeom>
              <a:avLst/>
              <a:gdLst/>
              <a:ahLst/>
              <a:cxnLst/>
              <a:rect l="l" t="t" r="r" b="b"/>
              <a:pathLst>
                <a:path w="7531" h="446" extrusionOk="0">
                  <a:moveTo>
                    <a:pt x="1" y="1"/>
                  </a:moveTo>
                  <a:lnTo>
                    <a:pt x="1" y="445"/>
                  </a:lnTo>
                  <a:lnTo>
                    <a:pt x="7531" y="445"/>
                  </a:lnTo>
                  <a:lnTo>
                    <a:pt x="7531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8" name="Google Shape;5188;p53">
              <a:extLst>
                <a:ext uri="{FF2B5EF4-FFF2-40B4-BE49-F238E27FC236}">
                  <a16:creationId xmlns:a16="http://schemas.microsoft.com/office/drawing/2014/main" id="{BB4F4EFD-8F80-1B88-FB67-6334E4B4FB86}"/>
                </a:ext>
              </a:extLst>
            </p:cNvPr>
            <p:cNvSpPr/>
            <p:nvPr/>
          </p:nvSpPr>
          <p:spPr>
            <a:xfrm>
              <a:off x="1232125" y="2361475"/>
              <a:ext cx="156225" cy="228650"/>
            </a:xfrm>
            <a:custGeom>
              <a:avLst/>
              <a:gdLst/>
              <a:ahLst/>
              <a:cxnLst/>
              <a:rect l="l" t="t" r="r" b="b"/>
              <a:pathLst>
                <a:path w="6249" h="9146" extrusionOk="0">
                  <a:moveTo>
                    <a:pt x="1246" y="1"/>
                  </a:moveTo>
                  <a:cubicBezTo>
                    <a:pt x="1246" y="1"/>
                    <a:pt x="854" y="8122"/>
                    <a:pt x="1" y="9145"/>
                  </a:cubicBezTo>
                  <a:lnTo>
                    <a:pt x="6248" y="9145"/>
                  </a:lnTo>
                  <a:cubicBezTo>
                    <a:pt x="6248" y="9145"/>
                    <a:pt x="4966" y="6373"/>
                    <a:pt x="4758" y="1"/>
                  </a:cubicBez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9" name="Google Shape;5189;p53">
              <a:extLst>
                <a:ext uri="{FF2B5EF4-FFF2-40B4-BE49-F238E27FC236}">
                  <a16:creationId xmlns:a16="http://schemas.microsoft.com/office/drawing/2014/main" id="{1F0D0E31-B910-92F8-8A76-F4B82997F0FB}"/>
                </a:ext>
              </a:extLst>
            </p:cNvPr>
            <p:cNvSpPr/>
            <p:nvPr/>
          </p:nvSpPr>
          <p:spPr>
            <a:xfrm>
              <a:off x="1310150" y="2361475"/>
              <a:ext cx="76900" cy="225650"/>
            </a:xfrm>
            <a:custGeom>
              <a:avLst/>
              <a:gdLst/>
              <a:ahLst/>
              <a:cxnLst/>
              <a:rect l="l" t="t" r="r" b="b"/>
              <a:pathLst>
                <a:path w="3076" h="9026" extrusionOk="0">
                  <a:moveTo>
                    <a:pt x="1" y="1"/>
                  </a:moveTo>
                  <a:lnTo>
                    <a:pt x="1" y="9026"/>
                  </a:lnTo>
                  <a:lnTo>
                    <a:pt x="3076" y="9026"/>
                  </a:lnTo>
                  <a:cubicBezTo>
                    <a:pt x="3038" y="8944"/>
                    <a:pt x="2987" y="8804"/>
                    <a:pt x="2926" y="8619"/>
                  </a:cubicBezTo>
                  <a:cubicBezTo>
                    <a:pt x="2697" y="7959"/>
                    <a:pt x="2327" y="6684"/>
                    <a:pt x="2037" y="4706"/>
                  </a:cubicBezTo>
                  <a:cubicBezTo>
                    <a:pt x="1934" y="3981"/>
                    <a:pt x="1838" y="3164"/>
                    <a:pt x="1763" y="2247"/>
                  </a:cubicBezTo>
                  <a:cubicBezTo>
                    <a:pt x="1756" y="2186"/>
                    <a:pt x="1749" y="2128"/>
                    <a:pt x="1749" y="2069"/>
                  </a:cubicBezTo>
                  <a:cubicBezTo>
                    <a:pt x="1697" y="1423"/>
                    <a:pt x="1660" y="735"/>
                    <a:pt x="1637" y="1"/>
                  </a:cubicBezTo>
                  <a:close/>
                </a:path>
              </a:pathLst>
            </a:custGeom>
            <a:solidFill>
              <a:srgbClr val="A9645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0" name="Google Shape;5190;p53">
              <a:extLst>
                <a:ext uri="{FF2B5EF4-FFF2-40B4-BE49-F238E27FC236}">
                  <a16:creationId xmlns:a16="http://schemas.microsoft.com/office/drawing/2014/main" id="{A67309AA-DDDB-B2FA-17DA-57C02FCC9247}"/>
                </a:ext>
              </a:extLst>
            </p:cNvPr>
            <p:cNvSpPr/>
            <p:nvPr/>
          </p:nvSpPr>
          <p:spPr>
            <a:xfrm>
              <a:off x="1258275" y="2424650"/>
              <a:ext cx="97650" cy="11500"/>
            </a:xfrm>
            <a:custGeom>
              <a:avLst/>
              <a:gdLst/>
              <a:ahLst/>
              <a:cxnLst/>
              <a:rect l="l" t="t" r="r" b="b"/>
              <a:pathLst>
                <a:path w="3906" h="460" extrusionOk="0">
                  <a:moveTo>
                    <a:pt x="38" y="1"/>
                  </a:moveTo>
                  <a:lnTo>
                    <a:pt x="0" y="460"/>
                  </a:lnTo>
                  <a:lnTo>
                    <a:pt x="3906" y="460"/>
                  </a:lnTo>
                  <a:lnTo>
                    <a:pt x="386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1" name="Google Shape;5191;p53">
              <a:extLst>
                <a:ext uri="{FF2B5EF4-FFF2-40B4-BE49-F238E27FC236}">
                  <a16:creationId xmlns:a16="http://schemas.microsoft.com/office/drawing/2014/main" id="{C7543545-0D7D-C229-03B8-8D45217CC7D0}"/>
                </a:ext>
              </a:extLst>
            </p:cNvPr>
            <p:cNvSpPr/>
            <p:nvPr/>
          </p:nvSpPr>
          <p:spPr>
            <a:xfrm>
              <a:off x="1254175" y="2469875"/>
              <a:ext cx="107325" cy="11675"/>
            </a:xfrm>
            <a:custGeom>
              <a:avLst/>
              <a:gdLst/>
              <a:ahLst/>
              <a:cxnLst/>
              <a:rect l="l" t="t" r="r" b="b"/>
              <a:pathLst>
                <a:path w="4293" h="467" extrusionOk="0">
                  <a:moveTo>
                    <a:pt x="45" y="0"/>
                  </a:moveTo>
                  <a:lnTo>
                    <a:pt x="1" y="466"/>
                  </a:lnTo>
                  <a:lnTo>
                    <a:pt x="4292" y="466"/>
                  </a:lnTo>
                  <a:lnTo>
                    <a:pt x="4224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2" name="Google Shape;5192;p53">
              <a:extLst>
                <a:ext uri="{FF2B5EF4-FFF2-40B4-BE49-F238E27FC236}">
                  <a16:creationId xmlns:a16="http://schemas.microsoft.com/office/drawing/2014/main" id="{BE0EC16F-E745-C946-419F-8C9AB5ABF3E4}"/>
                </a:ext>
              </a:extLst>
            </p:cNvPr>
            <p:cNvSpPr/>
            <p:nvPr/>
          </p:nvSpPr>
          <p:spPr>
            <a:xfrm>
              <a:off x="1263475" y="2361475"/>
              <a:ext cx="88000" cy="13000"/>
            </a:xfrm>
            <a:custGeom>
              <a:avLst/>
              <a:gdLst/>
              <a:ahLst/>
              <a:cxnLst/>
              <a:rect l="l" t="t" r="r" b="b"/>
              <a:pathLst>
                <a:path w="3520" h="520" extrusionOk="0">
                  <a:moveTo>
                    <a:pt x="29" y="1"/>
                  </a:moveTo>
                  <a:lnTo>
                    <a:pt x="1" y="513"/>
                  </a:lnTo>
                  <a:lnTo>
                    <a:pt x="3520" y="520"/>
                  </a:lnTo>
                  <a:lnTo>
                    <a:pt x="350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3" name="Google Shape;5193;p53">
              <a:extLst>
                <a:ext uri="{FF2B5EF4-FFF2-40B4-BE49-F238E27FC236}">
                  <a16:creationId xmlns:a16="http://schemas.microsoft.com/office/drawing/2014/main" id="{662E42C5-3E45-DF91-45B6-DAEA09210160}"/>
                </a:ext>
              </a:extLst>
            </p:cNvPr>
            <p:cNvSpPr/>
            <p:nvPr/>
          </p:nvSpPr>
          <p:spPr>
            <a:xfrm>
              <a:off x="998550" y="2256650"/>
              <a:ext cx="88400" cy="333475"/>
            </a:xfrm>
            <a:custGeom>
              <a:avLst/>
              <a:gdLst/>
              <a:ahLst/>
              <a:cxnLst/>
              <a:rect l="l" t="t" r="r" b="b"/>
              <a:pathLst>
                <a:path w="3536" h="13339" extrusionOk="0">
                  <a:moveTo>
                    <a:pt x="7" y="0"/>
                  </a:moveTo>
                  <a:lnTo>
                    <a:pt x="0" y="13338"/>
                  </a:lnTo>
                  <a:lnTo>
                    <a:pt x="3536" y="13338"/>
                  </a:lnTo>
                  <a:cubicBezTo>
                    <a:pt x="3536" y="13338"/>
                    <a:pt x="3491" y="5773"/>
                    <a:pt x="3395" y="5261"/>
                  </a:cubicBezTo>
                  <a:cubicBezTo>
                    <a:pt x="3306" y="4757"/>
                    <a:pt x="3009" y="3794"/>
                    <a:pt x="2076" y="2757"/>
                  </a:cubicBezTo>
                  <a:cubicBezTo>
                    <a:pt x="1149" y="1711"/>
                    <a:pt x="7" y="0"/>
                    <a:pt x="7" y="0"/>
                  </a:cubicBez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4" name="Google Shape;5194;p53">
              <a:extLst>
                <a:ext uri="{FF2B5EF4-FFF2-40B4-BE49-F238E27FC236}">
                  <a16:creationId xmlns:a16="http://schemas.microsoft.com/office/drawing/2014/main" id="{7425DFF4-B89F-EB47-5226-930563041633}"/>
                </a:ext>
              </a:extLst>
            </p:cNvPr>
            <p:cNvSpPr/>
            <p:nvPr/>
          </p:nvSpPr>
          <p:spPr>
            <a:xfrm>
              <a:off x="998725" y="2256650"/>
              <a:ext cx="88225" cy="330475"/>
            </a:xfrm>
            <a:custGeom>
              <a:avLst/>
              <a:gdLst/>
              <a:ahLst/>
              <a:cxnLst/>
              <a:rect l="l" t="t" r="r" b="b"/>
              <a:pathLst>
                <a:path w="3529" h="13219" extrusionOk="0">
                  <a:moveTo>
                    <a:pt x="0" y="0"/>
                  </a:moveTo>
                  <a:lnTo>
                    <a:pt x="1275" y="2853"/>
                  </a:lnTo>
                  <a:cubicBezTo>
                    <a:pt x="1334" y="2972"/>
                    <a:pt x="2261" y="4839"/>
                    <a:pt x="2268" y="6810"/>
                  </a:cubicBezTo>
                  <a:lnTo>
                    <a:pt x="2328" y="13219"/>
                  </a:lnTo>
                  <a:lnTo>
                    <a:pt x="3529" y="13219"/>
                  </a:lnTo>
                  <a:cubicBezTo>
                    <a:pt x="3529" y="12931"/>
                    <a:pt x="3521" y="12122"/>
                    <a:pt x="3513" y="11122"/>
                  </a:cubicBezTo>
                  <a:lnTo>
                    <a:pt x="3513" y="11040"/>
                  </a:lnTo>
                  <a:cubicBezTo>
                    <a:pt x="3505" y="10619"/>
                    <a:pt x="3505" y="10158"/>
                    <a:pt x="3498" y="9699"/>
                  </a:cubicBezTo>
                  <a:lnTo>
                    <a:pt x="3498" y="9618"/>
                  </a:lnTo>
                  <a:cubicBezTo>
                    <a:pt x="3491" y="9269"/>
                    <a:pt x="3491" y="8913"/>
                    <a:pt x="3484" y="8574"/>
                  </a:cubicBezTo>
                  <a:cubicBezTo>
                    <a:pt x="3484" y="8431"/>
                    <a:pt x="3477" y="8298"/>
                    <a:pt x="3477" y="8158"/>
                  </a:cubicBezTo>
                  <a:cubicBezTo>
                    <a:pt x="3454" y="6706"/>
                    <a:pt x="3424" y="5462"/>
                    <a:pt x="3388" y="5261"/>
                  </a:cubicBezTo>
                  <a:lnTo>
                    <a:pt x="3388" y="5254"/>
                  </a:lnTo>
                  <a:cubicBezTo>
                    <a:pt x="3299" y="4741"/>
                    <a:pt x="2995" y="3786"/>
                    <a:pt x="2069" y="2757"/>
                  </a:cubicBezTo>
                  <a:cubicBezTo>
                    <a:pt x="1142" y="171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A9645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5" name="Google Shape;5195;p53">
              <a:extLst>
                <a:ext uri="{FF2B5EF4-FFF2-40B4-BE49-F238E27FC236}">
                  <a16:creationId xmlns:a16="http://schemas.microsoft.com/office/drawing/2014/main" id="{754A8282-5581-584F-20CD-A83AD42E95B9}"/>
                </a:ext>
              </a:extLst>
            </p:cNvPr>
            <p:cNvSpPr/>
            <p:nvPr/>
          </p:nvSpPr>
          <p:spPr>
            <a:xfrm>
              <a:off x="998725" y="2394300"/>
              <a:ext cx="85825" cy="15750"/>
            </a:xfrm>
            <a:custGeom>
              <a:avLst/>
              <a:gdLst/>
              <a:ahLst/>
              <a:cxnLst/>
              <a:rect l="l" t="t" r="r" b="b"/>
              <a:pathLst>
                <a:path w="3433" h="630" extrusionOk="0">
                  <a:moveTo>
                    <a:pt x="0" y="0"/>
                  </a:moveTo>
                  <a:lnTo>
                    <a:pt x="0" y="630"/>
                  </a:lnTo>
                  <a:lnTo>
                    <a:pt x="3433" y="630"/>
                  </a:lnTo>
                  <a:lnTo>
                    <a:pt x="3433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6" name="Google Shape;5196;p53">
              <a:extLst>
                <a:ext uri="{FF2B5EF4-FFF2-40B4-BE49-F238E27FC236}">
                  <a16:creationId xmlns:a16="http://schemas.microsoft.com/office/drawing/2014/main" id="{2EA11B5B-CB0D-D2EB-BCB1-A2F15368B5B9}"/>
                </a:ext>
              </a:extLst>
            </p:cNvPr>
            <p:cNvSpPr/>
            <p:nvPr/>
          </p:nvSpPr>
          <p:spPr>
            <a:xfrm>
              <a:off x="998550" y="2439100"/>
              <a:ext cx="87125" cy="3725"/>
            </a:xfrm>
            <a:custGeom>
              <a:avLst/>
              <a:gdLst/>
              <a:ahLst/>
              <a:cxnLst/>
              <a:rect l="l" t="t" r="r" b="b"/>
              <a:pathLst>
                <a:path w="3485" h="149" extrusionOk="0">
                  <a:moveTo>
                    <a:pt x="0" y="1"/>
                  </a:moveTo>
                  <a:lnTo>
                    <a:pt x="0" y="148"/>
                  </a:lnTo>
                  <a:lnTo>
                    <a:pt x="3484" y="148"/>
                  </a:lnTo>
                  <a:lnTo>
                    <a:pt x="348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7" name="Google Shape;5197;p53">
              <a:extLst>
                <a:ext uri="{FF2B5EF4-FFF2-40B4-BE49-F238E27FC236}">
                  <a16:creationId xmlns:a16="http://schemas.microsoft.com/office/drawing/2014/main" id="{4F3B97B3-D41B-D46A-2387-69DC790D1C86}"/>
                </a:ext>
              </a:extLst>
            </p:cNvPr>
            <p:cNvSpPr/>
            <p:nvPr/>
          </p:nvSpPr>
          <p:spPr>
            <a:xfrm>
              <a:off x="998550" y="2447825"/>
              <a:ext cx="87125" cy="3700"/>
            </a:xfrm>
            <a:custGeom>
              <a:avLst/>
              <a:gdLst/>
              <a:ahLst/>
              <a:cxnLst/>
              <a:rect l="l" t="t" r="r" b="b"/>
              <a:pathLst>
                <a:path w="3485" h="148" extrusionOk="0">
                  <a:moveTo>
                    <a:pt x="0" y="0"/>
                  </a:moveTo>
                  <a:lnTo>
                    <a:pt x="0" y="148"/>
                  </a:lnTo>
                  <a:lnTo>
                    <a:pt x="3484" y="148"/>
                  </a:lnTo>
                  <a:lnTo>
                    <a:pt x="3484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8" name="Google Shape;5198;p53">
              <a:extLst>
                <a:ext uri="{FF2B5EF4-FFF2-40B4-BE49-F238E27FC236}">
                  <a16:creationId xmlns:a16="http://schemas.microsoft.com/office/drawing/2014/main" id="{C11A6B8B-95E1-957D-B1AF-117342388F27}"/>
                </a:ext>
              </a:extLst>
            </p:cNvPr>
            <p:cNvSpPr/>
            <p:nvPr/>
          </p:nvSpPr>
          <p:spPr>
            <a:xfrm>
              <a:off x="998550" y="2456525"/>
              <a:ext cx="87125" cy="3725"/>
            </a:xfrm>
            <a:custGeom>
              <a:avLst/>
              <a:gdLst/>
              <a:ahLst/>
              <a:cxnLst/>
              <a:rect l="l" t="t" r="r" b="b"/>
              <a:pathLst>
                <a:path w="3485" h="149" extrusionOk="0">
                  <a:moveTo>
                    <a:pt x="0" y="1"/>
                  </a:moveTo>
                  <a:lnTo>
                    <a:pt x="0" y="148"/>
                  </a:lnTo>
                  <a:lnTo>
                    <a:pt x="3484" y="148"/>
                  </a:lnTo>
                  <a:lnTo>
                    <a:pt x="348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9" name="Google Shape;5199;p53">
              <a:extLst>
                <a:ext uri="{FF2B5EF4-FFF2-40B4-BE49-F238E27FC236}">
                  <a16:creationId xmlns:a16="http://schemas.microsoft.com/office/drawing/2014/main" id="{35FF5154-6E66-9B62-9E5D-65C403DC6732}"/>
                </a:ext>
              </a:extLst>
            </p:cNvPr>
            <p:cNvSpPr/>
            <p:nvPr/>
          </p:nvSpPr>
          <p:spPr>
            <a:xfrm>
              <a:off x="998550" y="2465200"/>
              <a:ext cx="87125" cy="3750"/>
            </a:xfrm>
            <a:custGeom>
              <a:avLst/>
              <a:gdLst/>
              <a:ahLst/>
              <a:cxnLst/>
              <a:rect l="l" t="t" r="r" b="b"/>
              <a:pathLst>
                <a:path w="3485" h="150" extrusionOk="0">
                  <a:moveTo>
                    <a:pt x="0" y="1"/>
                  </a:moveTo>
                  <a:lnTo>
                    <a:pt x="0" y="150"/>
                  </a:lnTo>
                  <a:lnTo>
                    <a:pt x="3484" y="150"/>
                  </a:lnTo>
                  <a:lnTo>
                    <a:pt x="348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0" name="Google Shape;5200;p53">
              <a:extLst>
                <a:ext uri="{FF2B5EF4-FFF2-40B4-BE49-F238E27FC236}">
                  <a16:creationId xmlns:a16="http://schemas.microsoft.com/office/drawing/2014/main" id="{B2F91A48-33FA-A45F-AD9C-F2B94734F5C0}"/>
                </a:ext>
              </a:extLst>
            </p:cNvPr>
            <p:cNvSpPr/>
            <p:nvPr/>
          </p:nvSpPr>
          <p:spPr>
            <a:xfrm>
              <a:off x="998550" y="2473925"/>
              <a:ext cx="87125" cy="3750"/>
            </a:xfrm>
            <a:custGeom>
              <a:avLst/>
              <a:gdLst/>
              <a:ahLst/>
              <a:cxnLst/>
              <a:rect l="l" t="t" r="r" b="b"/>
              <a:pathLst>
                <a:path w="3485" h="150" extrusionOk="0">
                  <a:moveTo>
                    <a:pt x="0" y="0"/>
                  </a:moveTo>
                  <a:lnTo>
                    <a:pt x="0" y="150"/>
                  </a:lnTo>
                  <a:lnTo>
                    <a:pt x="3484" y="150"/>
                  </a:lnTo>
                  <a:lnTo>
                    <a:pt x="3484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1" name="Google Shape;5201;p53">
              <a:extLst>
                <a:ext uri="{FF2B5EF4-FFF2-40B4-BE49-F238E27FC236}">
                  <a16:creationId xmlns:a16="http://schemas.microsoft.com/office/drawing/2014/main" id="{FC7AFE30-3091-F84E-EB9B-4D810DF55F4E}"/>
                </a:ext>
              </a:extLst>
            </p:cNvPr>
            <p:cNvSpPr/>
            <p:nvPr/>
          </p:nvSpPr>
          <p:spPr>
            <a:xfrm>
              <a:off x="1267175" y="2240900"/>
              <a:ext cx="35000" cy="35200"/>
            </a:xfrm>
            <a:custGeom>
              <a:avLst/>
              <a:gdLst/>
              <a:ahLst/>
              <a:cxnLst/>
              <a:rect l="l" t="t" r="r" b="b"/>
              <a:pathLst>
                <a:path w="1400" h="1408" extrusionOk="0">
                  <a:moveTo>
                    <a:pt x="697" y="1"/>
                  </a:moveTo>
                  <a:cubicBezTo>
                    <a:pt x="311" y="1"/>
                    <a:pt x="0" y="319"/>
                    <a:pt x="0" y="703"/>
                  </a:cubicBezTo>
                  <a:cubicBezTo>
                    <a:pt x="0" y="1089"/>
                    <a:pt x="311" y="1407"/>
                    <a:pt x="697" y="1407"/>
                  </a:cubicBezTo>
                  <a:cubicBezTo>
                    <a:pt x="1088" y="1407"/>
                    <a:pt x="1400" y="1089"/>
                    <a:pt x="1400" y="703"/>
                  </a:cubicBezTo>
                  <a:cubicBezTo>
                    <a:pt x="1400" y="319"/>
                    <a:pt x="1088" y="1"/>
                    <a:pt x="697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2" name="Google Shape;5202;p53">
              <a:extLst>
                <a:ext uri="{FF2B5EF4-FFF2-40B4-BE49-F238E27FC236}">
                  <a16:creationId xmlns:a16="http://schemas.microsoft.com/office/drawing/2014/main" id="{3ABEBA5E-DBB2-717B-0A2C-63CDA4E881D3}"/>
                </a:ext>
              </a:extLst>
            </p:cNvPr>
            <p:cNvSpPr/>
            <p:nvPr/>
          </p:nvSpPr>
          <p:spPr>
            <a:xfrm>
              <a:off x="1123775" y="2239225"/>
              <a:ext cx="22275" cy="22250"/>
            </a:xfrm>
            <a:custGeom>
              <a:avLst/>
              <a:gdLst/>
              <a:ahLst/>
              <a:cxnLst/>
              <a:rect l="l" t="t" r="r" b="b"/>
              <a:pathLst>
                <a:path w="891" h="890" extrusionOk="0">
                  <a:moveTo>
                    <a:pt x="445" y="0"/>
                  </a:moveTo>
                  <a:cubicBezTo>
                    <a:pt x="200" y="0"/>
                    <a:pt x="1" y="201"/>
                    <a:pt x="1" y="445"/>
                  </a:cubicBezTo>
                  <a:cubicBezTo>
                    <a:pt x="1" y="697"/>
                    <a:pt x="200" y="889"/>
                    <a:pt x="445" y="889"/>
                  </a:cubicBezTo>
                  <a:cubicBezTo>
                    <a:pt x="689" y="889"/>
                    <a:pt x="890" y="697"/>
                    <a:pt x="890" y="445"/>
                  </a:cubicBezTo>
                  <a:cubicBezTo>
                    <a:pt x="890" y="201"/>
                    <a:pt x="689" y="0"/>
                    <a:pt x="445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3" name="Google Shape;5203;p53">
              <a:extLst>
                <a:ext uri="{FF2B5EF4-FFF2-40B4-BE49-F238E27FC236}">
                  <a16:creationId xmlns:a16="http://schemas.microsoft.com/office/drawing/2014/main" id="{14389D6F-C53B-7D8C-1CB4-04D69E09A548}"/>
                </a:ext>
              </a:extLst>
            </p:cNvPr>
            <p:cNvSpPr/>
            <p:nvPr/>
          </p:nvSpPr>
          <p:spPr>
            <a:xfrm>
              <a:off x="1139000" y="2197150"/>
              <a:ext cx="43150" cy="43025"/>
            </a:xfrm>
            <a:custGeom>
              <a:avLst/>
              <a:gdLst/>
              <a:ahLst/>
              <a:cxnLst/>
              <a:rect l="l" t="t" r="r" b="b"/>
              <a:pathLst>
                <a:path w="1726" h="1721" extrusionOk="0">
                  <a:moveTo>
                    <a:pt x="866" y="1"/>
                  </a:moveTo>
                  <a:cubicBezTo>
                    <a:pt x="391" y="1"/>
                    <a:pt x="0" y="387"/>
                    <a:pt x="0" y="862"/>
                  </a:cubicBezTo>
                  <a:cubicBezTo>
                    <a:pt x="0" y="1335"/>
                    <a:pt x="391" y="1720"/>
                    <a:pt x="866" y="1720"/>
                  </a:cubicBezTo>
                  <a:cubicBezTo>
                    <a:pt x="1341" y="1720"/>
                    <a:pt x="1725" y="1335"/>
                    <a:pt x="1725" y="862"/>
                  </a:cubicBezTo>
                  <a:cubicBezTo>
                    <a:pt x="1725" y="387"/>
                    <a:pt x="1341" y="1"/>
                    <a:pt x="866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4" name="Google Shape;5204;p53">
              <a:extLst>
                <a:ext uri="{FF2B5EF4-FFF2-40B4-BE49-F238E27FC236}">
                  <a16:creationId xmlns:a16="http://schemas.microsoft.com/office/drawing/2014/main" id="{DEDB89CB-FEB5-085D-803C-89CE1A56AEE9}"/>
                </a:ext>
              </a:extLst>
            </p:cNvPr>
            <p:cNvSpPr/>
            <p:nvPr/>
          </p:nvSpPr>
          <p:spPr>
            <a:xfrm>
              <a:off x="1250850" y="2278125"/>
              <a:ext cx="14875" cy="14650"/>
            </a:xfrm>
            <a:custGeom>
              <a:avLst/>
              <a:gdLst/>
              <a:ahLst/>
              <a:cxnLst/>
              <a:rect l="l" t="t" r="r" b="b"/>
              <a:pathLst>
                <a:path w="595" h="586" extrusionOk="0">
                  <a:moveTo>
                    <a:pt x="297" y="0"/>
                  </a:moveTo>
                  <a:cubicBezTo>
                    <a:pt x="134" y="0"/>
                    <a:pt x="0" y="134"/>
                    <a:pt x="0" y="297"/>
                  </a:cubicBezTo>
                  <a:cubicBezTo>
                    <a:pt x="0" y="455"/>
                    <a:pt x="127" y="586"/>
                    <a:pt x="285" y="586"/>
                  </a:cubicBezTo>
                  <a:cubicBezTo>
                    <a:pt x="289" y="586"/>
                    <a:pt x="293" y="585"/>
                    <a:pt x="297" y="585"/>
                  </a:cubicBezTo>
                  <a:cubicBezTo>
                    <a:pt x="461" y="585"/>
                    <a:pt x="594" y="452"/>
                    <a:pt x="594" y="290"/>
                  </a:cubicBezTo>
                  <a:cubicBezTo>
                    <a:pt x="594" y="126"/>
                    <a:pt x="461" y="0"/>
                    <a:pt x="297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5" name="Google Shape;5205;p53">
              <a:extLst>
                <a:ext uri="{FF2B5EF4-FFF2-40B4-BE49-F238E27FC236}">
                  <a16:creationId xmlns:a16="http://schemas.microsoft.com/office/drawing/2014/main" id="{AC3599DC-9D76-489E-208E-9B50940E304B}"/>
                </a:ext>
              </a:extLst>
            </p:cNvPr>
            <p:cNvSpPr/>
            <p:nvPr/>
          </p:nvSpPr>
          <p:spPr>
            <a:xfrm>
              <a:off x="1423700" y="2188075"/>
              <a:ext cx="164350" cy="71525"/>
            </a:xfrm>
            <a:custGeom>
              <a:avLst/>
              <a:gdLst/>
              <a:ahLst/>
              <a:cxnLst/>
              <a:rect l="l" t="t" r="r" b="b"/>
              <a:pathLst>
                <a:path w="6574" h="2861" extrusionOk="0">
                  <a:moveTo>
                    <a:pt x="3078" y="1"/>
                  </a:moveTo>
                  <a:cubicBezTo>
                    <a:pt x="3067" y="1"/>
                    <a:pt x="3056" y="1"/>
                    <a:pt x="3045" y="1"/>
                  </a:cubicBezTo>
                  <a:cubicBezTo>
                    <a:pt x="2512" y="8"/>
                    <a:pt x="2083" y="401"/>
                    <a:pt x="2001" y="904"/>
                  </a:cubicBezTo>
                  <a:cubicBezTo>
                    <a:pt x="1964" y="904"/>
                    <a:pt x="1927" y="897"/>
                    <a:pt x="1889" y="897"/>
                  </a:cubicBezTo>
                  <a:cubicBezTo>
                    <a:pt x="1431" y="913"/>
                    <a:pt x="1068" y="1283"/>
                    <a:pt x="1061" y="1735"/>
                  </a:cubicBezTo>
                  <a:cubicBezTo>
                    <a:pt x="534" y="1891"/>
                    <a:pt x="127" y="2327"/>
                    <a:pt x="1" y="2861"/>
                  </a:cubicBezTo>
                  <a:lnTo>
                    <a:pt x="6574" y="2743"/>
                  </a:lnTo>
                  <a:cubicBezTo>
                    <a:pt x="6390" y="2086"/>
                    <a:pt x="6007" y="1601"/>
                    <a:pt x="5306" y="1601"/>
                  </a:cubicBezTo>
                  <a:cubicBezTo>
                    <a:pt x="5296" y="1601"/>
                    <a:pt x="5286" y="1601"/>
                    <a:pt x="5275" y="1602"/>
                  </a:cubicBezTo>
                  <a:lnTo>
                    <a:pt x="5217" y="1602"/>
                  </a:lnTo>
                  <a:cubicBezTo>
                    <a:pt x="5210" y="1101"/>
                    <a:pt x="4802" y="698"/>
                    <a:pt x="4305" y="698"/>
                  </a:cubicBezTo>
                  <a:cubicBezTo>
                    <a:pt x="4295" y="698"/>
                    <a:pt x="4286" y="698"/>
                    <a:pt x="4276" y="698"/>
                  </a:cubicBezTo>
                  <a:cubicBezTo>
                    <a:pt x="4208" y="698"/>
                    <a:pt x="4150" y="705"/>
                    <a:pt x="4084" y="719"/>
                  </a:cubicBezTo>
                  <a:cubicBezTo>
                    <a:pt x="3938" y="301"/>
                    <a:pt x="3545" y="1"/>
                    <a:pt x="3078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6" name="Google Shape;5206;p53">
              <a:extLst>
                <a:ext uri="{FF2B5EF4-FFF2-40B4-BE49-F238E27FC236}">
                  <a16:creationId xmlns:a16="http://schemas.microsoft.com/office/drawing/2014/main" id="{F4DD5FE9-BB43-253D-C118-7E6981FF0621}"/>
                </a:ext>
              </a:extLst>
            </p:cNvPr>
            <p:cNvSpPr/>
            <p:nvPr/>
          </p:nvSpPr>
          <p:spPr>
            <a:xfrm>
              <a:off x="1423700" y="2187725"/>
              <a:ext cx="165650" cy="71175"/>
            </a:xfrm>
            <a:custGeom>
              <a:avLst/>
              <a:gdLst/>
              <a:ahLst/>
              <a:cxnLst/>
              <a:rect l="l" t="t" r="r" b="b"/>
              <a:pathLst>
                <a:path w="6626" h="2847" extrusionOk="0">
                  <a:moveTo>
                    <a:pt x="3085" y="1"/>
                  </a:moveTo>
                  <a:cubicBezTo>
                    <a:pt x="3079" y="1"/>
                    <a:pt x="3074" y="1"/>
                    <a:pt x="3068" y="1"/>
                  </a:cubicBezTo>
                  <a:cubicBezTo>
                    <a:pt x="2535" y="8"/>
                    <a:pt x="2097" y="394"/>
                    <a:pt x="2016" y="904"/>
                  </a:cubicBezTo>
                  <a:cubicBezTo>
                    <a:pt x="1978" y="897"/>
                    <a:pt x="1941" y="897"/>
                    <a:pt x="1905" y="897"/>
                  </a:cubicBezTo>
                  <a:cubicBezTo>
                    <a:pt x="1445" y="897"/>
                    <a:pt x="1075" y="1267"/>
                    <a:pt x="1068" y="1728"/>
                  </a:cubicBezTo>
                  <a:cubicBezTo>
                    <a:pt x="541" y="1875"/>
                    <a:pt x="127" y="2306"/>
                    <a:pt x="1" y="2846"/>
                  </a:cubicBezTo>
                  <a:lnTo>
                    <a:pt x="6625" y="2764"/>
                  </a:lnTo>
                  <a:cubicBezTo>
                    <a:pt x="6449" y="2109"/>
                    <a:pt x="6009" y="1615"/>
                    <a:pt x="5300" y="1615"/>
                  </a:cubicBezTo>
                  <a:cubicBezTo>
                    <a:pt x="5294" y="1615"/>
                    <a:pt x="5289" y="1615"/>
                    <a:pt x="5284" y="1616"/>
                  </a:cubicBezTo>
                  <a:lnTo>
                    <a:pt x="5224" y="1616"/>
                  </a:lnTo>
                  <a:cubicBezTo>
                    <a:pt x="5224" y="1111"/>
                    <a:pt x="4811" y="705"/>
                    <a:pt x="4307" y="705"/>
                  </a:cubicBezTo>
                  <a:cubicBezTo>
                    <a:pt x="4301" y="705"/>
                    <a:pt x="4296" y="705"/>
                    <a:pt x="4290" y="705"/>
                  </a:cubicBezTo>
                  <a:cubicBezTo>
                    <a:pt x="4224" y="705"/>
                    <a:pt x="4164" y="712"/>
                    <a:pt x="4098" y="726"/>
                  </a:cubicBezTo>
                  <a:cubicBezTo>
                    <a:pt x="3952" y="301"/>
                    <a:pt x="3551" y="1"/>
                    <a:pt x="3085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7" name="Google Shape;5207;p53">
              <a:extLst>
                <a:ext uri="{FF2B5EF4-FFF2-40B4-BE49-F238E27FC236}">
                  <a16:creationId xmlns:a16="http://schemas.microsoft.com/office/drawing/2014/main" id="{BC99D101-6AB6-A9E2-3464-F5A43BEE4138}"/>
                </a:ext>
              </a:extLst>
            </p:cNvPr>
            <p:cNvSpPr/>
            <p:nvPr/>
          </p:nvSpPr>
          <p:spPr>
            <a:xfrm>
              <a:off x="1471325" y="2209950"/>
              <a:ext cx="18150" cy="36125"/>
            </a:xfrm>
            <a:custGeom>
              <a:avLst/>
              <a:gdLst/>
              <a:ahLst/>
              <a:cxnLst/>
              <a:rect l="l" t="t" r="r" b="b"/>
              <a:pathLst>
                <a:path w="726" h="1445" extrusionOk="0">
                  <a:moveTo>
                    <a:pt x="0" y="1"/>
                  </a:moveTo>
                  <a:cubicBezTo>
                    <a:pt x="0" y="1"/>
                    <a:pt x="578" y="186"/>
                    <a:pt x="548" y="719"/>
                  </a:cubicBezTo>
                  <a:cubicBezTo>
                    <a:pt x="518" y="1312"/>
                    <a:pt x="0" y="1445"/>
                    <a:pt x="0" y="1445"/>
                  </a:cubicBezTo>
                  <a:cubicBezTo>
                    <a:pt x="401" y="1445"/>
                    <a:pt x="726" y="1120"/>
                    <a:pt x="726" y="719"/>
                  </a:cubicBezTo>
                  <a:cubicBezTo>
                    <a:pt x="726" y="326"/>
                    <a:pt x="401" y="1"/>
                    <a:pt x="0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8" name="Google Shape;5208;p53">
              <a:extLst>
                <a:ext uri="{FF2B5EF4-FFF2-40B4-BE49-F238E27FC236}">
                  <a16:creationId xmlns:a16="http://schemas.microsoft.com/office/drawing/2014/main" id="{AF09DF58-78E3-61DE-2460-58D4EF2EB28F}"/>
                </a:ext>
              </a:extLst>
            </p:cNvPr>
            <p:cNvSpPr/>
            <p:nvPr/>
          </p:nvSpPr>
          <p:spPr>
            <a:xfrm>
              <a:off x="1533575" y="2227925"/>
              <a:ext cx="53550" cy="27050"/>
            </a:xfrm>
            <a:custGeom>
              <a:avLst/>
              <a:gdLst/>
              <a:ahLst/>
              <a:cxnLst/>
              <a:rect l="l" t="t" r="r" b="b"/>
              <a:pathLst>
                <a:path w="2142" h="1082" extrusionOk="0">
                  <a:moveTo>
                    <a:pt x="1068" y="0"/>
                  </a:moveTo>
                  <a:cubicBezTo>
                    <a:pt x="489" y="0"/>
                    <a:pt x="7" y="471"/>
                    <a:pt x="0" y="1053"/>
                  </a:cubicBezTo>
                  <a:cubicBezTo>
                    <a:pt x="0" y="1053"/>
                    <a:pt x="272" y="206"/>
                    <a:pt x="1007" y="206"/>
                  </a:cubicBezTo>
                  <a:cubicBezTo>
                    <a:pt x="1029" y="206"/>
                    <a:pt x="1052" y="207"/>
                    <a:pt x="1074" y="208"/>
                  </a:cubicBezTo>
                  <a:cubicBezTo>
                    <a:pt x="1947" y="274"/>
                    <a:pt x="2134" y="1082"/>
                    <a:pt x="2134" y="1082"/>
                  </a:cubicBezTo>
                  <a:cubicBezTo>
                    <a:pt x="2141" y="497"/>
                    <a:pt x="1674" y="15"/>
                    <a:pt x="1081" y="0"/>
                  </a:cubicBezTo>
                  <a:cubicBezTo>
                    <a:pt x="1077" y="0"/>
                    <a:pt x="1073" y="0"/>
                    <a:pt x="1068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9" name="Google Shape;5209;p53">
              <a:extLst>
                <a:ext uri="{FF2B5EF4-FFF2-40B4-BE49-F238E27FC236}">
                  <a16:creationId xmlns:a16="http://schemas.microsoft.com/office/drawing/2014/main" id="{D6839E09-164A-0183-7EB9-48FCD05CBE2C}"/>
                </a:ext>
              </a:extLst>
            </p:cNvPr>
            <p:cNvSpPr/>
            <p:nvPr/>
          </p:nvSpPr>
          <p:spPr>
            <a:xfrm>
              <a:off x="1162875" y="2146425"/>
              <a:ext cx="77275" cy="40575"/>
            </a:xfrm>
            <a:custGeom>
              <a:avLst/>
              <a:gdLst/>
              <a:ahLst/>
              <a:cxnLst/>
              <a:rect l="l" t="t" r="r" b="b"/>
              <a:pathLst>
                <a:path w="3091" h="1623" extrusionOk="0">
                  <a:moveTo>
                    <a:pt x="807" y="1"/>
                  </a:moveTo>
                  <a:cubicBezTo>
                    <a:pt x="363" y="1"/>
                    <a:pt x="0" y="363"/>
                    <a:pt x="0" y="815"/>
                  </a:cubicBezTo>
                  <a:cubicBezTo>
                    <a:pt x="0" y="1260"/>
                    <a:pt x="363" y="1623"/>
                    <a:pt x="807" y="1623"/>
                  </a:cubicBezTo>
                  <a:lnTo>
                    <a:pt x="2275" y="1623"/>
                  </a:lnTo>
                  <a:cubicBezTo>
                    <a:pt x="2726" y="1623"/>
                    <a:pt x="3091" y="1260"/>
                    <a:pt x="3091" y="815"/>
                  </a:cubicBezTo>
                  <a:cubicBezTo>
                    <a:pt x="3091" y="363"/>
                    <a:pt x="2726" y="1"/>
                    <a:pt x="227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0" name="Google Shape;5210;p53">
              <a:extLst>
                <a:ext uri="{FF2B5EF4-FFF2-40B4-BE49-F238E27FC236}">
                  <a16:creationId xmlns:a16="http://schemas.microsoft.com/office/drawing/2014/main" id="{7281714C-75CF-983C-24B5-D517F5EE450C}"/>
                </a:ext>
              </a:extLst>
            </p:cNvPr>
            <p:cNvSpPr/>
            <p:nvPr/>
          </p:nvSpPr>
          <p:spPr>
            <a:xfrm>
              <a:off x="1136775" y="1958600"/>
              <a:ext cx="77250" cy="40550"/>
            </a:xfrm>
            <a:custGeom>
              <a:avLst/>
              <a:gdLst/>
              <a:ahLst/>
              <a:cxnLst/>
              <a:rect l="l" t="t" r="r" b="b"/>
              <a:pathLst>
                <a:path w="3090" h="1622" extrusionOk="0">
                  <a:moveTo>
                    <a:pt x="808" y="0"/>
                  </a:moveTo>
                  <a:cubicBezTo>
                    <a:pt x="363" y="0"/>
                    <a:pt x="0" y="363"/>
                    <a:pt x="0" y="815"/>
                  </a:cubicBezTo>
                  <a:cubicBezTo>
                    <a:pt x="0" y="1259"/>
                    <a:pt x="363" y="1622"/>
                    <a:pt x="808" y="1622"/>
                  </a:cubicBezTo>
                  <a:lnTo>
                    <a:pt x="2282" y="1622"/>
                  </a:lnTo>
                  <a:cubicBezTo>
                    <a:pt x="2726" y="1622"/>
                    <a:pt x="3089" y="1259"/>
                    <a:pt x="3089" y="815"/>
                  </a:cubicBezTo>
                  <a:cubicBezTo>
                    <a:pt x="3089" y="363"/>
                    <a:pt x="2726" y="0"/>
                    <a:pt x="2282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1" name="Google Shape;5211;p53">
              <a:extLst>
                <a:ext uri="{FF2B5EF4-FFF2-40B4-BE49-F238E27FC236}">
                  <a16:creationId xmlns:a16="http://schemas.microsoft.com/office/drawing/2014/main" id="{124CB327-67F7-1D12-7E25-B62066999909}"/>
                </a:ext>
              </a:extLst>
            </p:cNvPr>
            <p:cNvSpPr/>
            <p:nvPr/>
          </p:nvSpPr>
          <p:spPr>
            <a:xfrm>
              <a:off x="1001175" y="2198450"/>
              <a:ext cx="37975" cy="40625"/>
            </a:xfrm>
            <a:custGeom>
              <a:avLst/>
              <a:gdLst/>
              <a:ahLst/>
              <a:cxnLst/>
              <a:rect l="l" t="t" r="r" b="b"/>
              <a:pathLst>
                <a:path w="1519" h="1625" extrusionOk="0">
                  <a:moveTo>
                    <a:pt x="0" y="0"/>
                  </a:moveTo>
                  <a:lnTo>
                    <a:pt x="0" y="1624"/>
                  </a:lnTo>
                  <a:lnTo>
                    <a:pt x="703" y="1624"/>
                  </a:lnTo>
                  <a:cubicBezTo>
                    <a:pt x="1156" y="1624"/>
                    <a:pt x="1519" y="1254"/>
                    <a:pt x="1519" y="810"/>
                  </a:cubicBezTo>
                  <a:cubicBezTo>
                    <a:pt x="1519" y="365"/>
                    <a:pt x="1156" y="0"/>
                    <a:pt x="703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2" name="Google Shape;5212;p53">
              <a:extLst>
                <a:ext uri="{FF2B5EF4-FFF2-40B4-BE49-F238E27FC236}">
                  <a16:creationId xmlns:a16="http://schemas.microsoft.com/office/drawing/2014/main" id="{EDB92833-8509-DAE1-7F6D-4355D5313411}"/>
                </a:ext>
              </a:extLst>
            </p:cNvPr>
            <p:cNvSpPr/>
            <p:nvPr/>
          </p:nvSpPr>
          <p:spPr>
            <a:xfrm>
              <a:off x="1222875" y="2077875"/>
              <a:ext cx="123575" cy="64850"/>
            </a:xfrm>
            <a:custGeom>
              <a:avLst/>
              <a:gdLst/>
              <a:ahLst/>
              <a:cxnLst/>
              <a:rect l="l" t="t" r="r" b="b"/>
              <a:pathLst>
                <a:path w="4943" h="2594" extrusionOk="0">
                  <a:moveTo>
                    <a:pt x="1297" y="0"/>
                  </a:moveTo>
                  <a:cubicBezTo>
                    <a:pt x="586" y="0"/>
                    <a:pt x="1" y="578"/>
                    <a:pt x="1" y="1297"/>
                  </a:cubicBezTo>
                  <a:cubicBezTo>
                    <a:pt x="1" y="2008"/>
                    <a:pt x="586" y="2593"/>
                    <a:pt x="1297" y="2593"/>
                  </a:cubicBezTo>
                  <a:lnTo>
                    <a:pt x="3647" y="2593"/>
                  </a:lnTo>
                  <a:cubicBezTo>
                    <a:pt x="4358" y="2593"/>
                    <a:pt x="4943" y="2008"/>
                    <a:pt x="4943" y="1297"/>
                  </a:cubicBezTo>
                  <a:cubicBezTo>
                    <a:pt x="4943" y="578"/>
                    <a:pt x="4358" y="0"/>
                    <a:pt x="3647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3" name="Google Shape;5213;p53">
              <a:extLst>
                <a:ext uri="{FF2B5EF4-FFF2-40B4-BE49-F238E27FC236}">
                  <a16:creationId xmlns:a16="http://schemas.microsoft.com/office/drawing/2014/main" id="{B76B8A2B-2D9C-25CF-CC4D-1220FBD485E9}"/>
                </a:ext>
              </a:extLst>
            </p:cNvPr>
            <p:cNvSpPr/>
            <p:nvPr/>
          </p:nvSpPr>
          <p:spPr>
            <a:xfrm>
              <a:off x="1271425" y="2182175"/>
              <a:ext cx="145225" cy="41325"/>
            </a:xfrm>
            <a:custGeom>
              <a:avLst/>
              <a:gdLst/>
              <a:ahLst/>
              <a:cxnLst/>
              <a:rect l="l" t="t" r="r" b="b"/>
              <a:pathLst>
                <a:path w="5809" h="1653" extrusionOk="0">
                  <a:moveTo>
                    <a:pt x="822" y="0"/>
                  </a:moveTo>
                  <a:cubicBezTo>
                    <a:pt x="371" y="0"/>
                    <a:pt x="1" y="370"/>
                    <a:pt x="1" y="822"/>
                  </a:cubicBezTo>
                  <a:cubicBezTo>
                    <a:pt x="1" y="1283"/>
                    <a:pt x="371" y="1653"/>
                    <a:pt x="822" y="1653"/>
                  </a:cubicBezTo>
                  <a:lnTo>
                    <a:pt x="4987" y="1653"/>
                  </a:lnTo>
                  <a:cubicBezTo>
                    <a:pt x="5439" y="1653"/>
                    <a:pt x="5809" y="1283"/>
                    <a:pt x="5809" y="822"/>
                  </a:cubicBezTo>
                  <a:cubicBezTo>
                    <a:pt x="5809" y="370"/>
                    <a:pt x="5439" y="0"/>
                    <a:pt x="4987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4" name="Google Shape;5214;p53">
              <a:extLst>
                <a:ext uri="{FF2B5EF4-FFF2-40B4-BE49-F238E27FC236}">
                  <a16:creationId xmlns:a16="http://schemas.microsoft.com/office/drawing/2014/main" id="{8C336254-0EF2-4E2A-C7EC-F69A1FD7029D}"/>
                </a:ext>
              </a:extLst>
            </p:cNvPr>
            <p:cNvSpPr/>
            <p:nvPr/>
          </p:nvSpPr>
          <p:spPr>
            <a:xfrm>
              <a:off x="998725" y="2587100"/>
              <a:ext cx="642450" cy="39875"/>
            </a:xfrm>
            <a:custGeom>
              <a:avLst/>
              <a:gdLst/>
              <a:ahLst/>
              <a:cxnLst/>
              <a:rect l="l" t="t" r="r" b="b"/>
              <a:pathLst>
                <a:path w="25698" h="1595" extrusionOk="0">
                  <a:moveTo>
                    <a:pt x="0" y="1"/>
                  </a:moveTo>
                  <a:lnTo>
                    <a:pt x="0" y="1594"/>
                  </a:lnTo>
                  <a:lnTo>
                    <a:pt x="24350" y="1594"/>
                  </a:lnTo>
                  <a:cubicBezTo>
                    <a:pt x="25698" y="1594"/>
                    <a:pt x="25557" y="1"/>
                    <a:pt x="2435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5" name="Google Shape;5215;p53">
              <a:extLst>
                <a:ext uri="{FF2B5EF4-FFF2-40B4-BE49-F238E27FC236}">
                  <a16:creationId xmlns:a16="http://schemas.microsoft.com/office/drawing/2014/main" id="{53A1D4F6-B9B6-E669-2595-1A89B2D067C8}"/>
                </a:ext>
              </a:extLst>
            </p:cNvPr>
            <p:cNvSpPr/>
            <p:nvPr/>
          </p:nvSpPr>
          <p:spPr>
            <a:xfrm>
              <a:off x="998725" y="2626950"/>
              <a:ext cx="693050" cy="39850"/>
            </a:xfrm>
            <a:custGeom>
              <a:avLst/>
              <a:gdLst/>
              <a:ahLst/>
              <a:cxnLst/>
              <a:rect l="l" t="t" r="r" b="b"/>
              <a:pathLst>
                <a:path w="27722" h="1594" extrusionOk="0">
                  <a:moveTo>
                    <a:pt x="0" y="0"/>
                  </a:moveTo>
                  <a:lnTo>
                    <a:pt x="0" y="1578"/>
                  </a:lnTo>
                  <a:lnTo>
                    <a:pt x="20763" y="1578"/>
                  </a:lnTo>
                  <a:cubicBezTo>
                    <a:pt x="20807" y="1578"/>
                    <a:pt x="20861" y="1587"/>
                    <a:pt x="20905" y="1594"/>
                  </a:cubicBezTo>
                  <a:lnTo>
                    <a:pt x="26692" y="1594"/>
                  </a:lnTo>
                  <a:cubicBezTo>
                    <a:pt x="27670" y="1594"/>
                    <a:pt x="27722" y="164"/>
                    <a:pt x="26774" y="15"/>
                  </a:cubicBezTo>
                  <a:cubicBezTo>
                    <a:pt x="26720" y="7"/>
                    <a:pt x="26662" y="0"/>
                    <a:pt x="26610" y="0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6" name="Google Shape;5216;p53">
              <a:extLst>
                <a:ext uri="{FF2B5EF4-FFF2-40B4-BE49-F238E27FC236}">
                  <a16:creationId xmlns:a16="http://schemas.microsoft.com/office/drawing/2014/main" id="{0DF6AA15-3284-12A8-14E7-A0F75317F392}"/>
                </a:ext>
              </a:extLst>
            </p:cNvPr>
            <p:cNvSpPr/>
            <p:nvPr/>
          </p:nvSpPr>
          <p:spPr>
            <a:xfrm>
              <a:off x="998725" y="2666375"/>
              <a:ext cx="522650" cy="425"/>
            </a:xfrm>
            <a:custGeom>
              <a:avLst/>
              <a:gdLst/>
              <a:ahLst/>
              <a:cxnLst/>
              <a:rect l="l" t="t" r="r" b="b"/>
              <a:pathLst>
                <a:path w="20906" h="17" extrusionOk="0">
                  <a:moveTo>
                    <a:pt x="0" y="1"/>
                  </a:moveTo>
                  <a:lnTo>
                    <a:pt x="0" y="17"/>
                  </a:lnTo>
                  <a:lnTo>
                    <a:pt x="20905" y="17"/>
                  </a:lnTo>
                  <a:cubicBezTo>
                    <a:pt x="20861" y="10"/>
                    <a:pt x="20807" y="1"/>
                    <a:pt x="20763" y="1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7" name="Google Shape;5217;p53">
              <a:extLst>
                <a:ext uri="{FF2B5EF4-FFF2-40B4-BE49-F238E27FC236}">
                  <a16:creationId xmlns:a16="http://schemas.microsoft.com/office/drawing/2014/main" id="{9D52213C-87A4-DF5C-AFEA-EFFB1F90A169}"/>
                </a:ext>
              </a:extLst>
            </p:cNvPr>
            <p:cNvSpPr/>
            <p:nvPr/>
          </p:nvSpPr>
          <p:spPr>
            <a:xfrm>
              <a:off x="1210125" y="2313150"/>
              <a:ext cx="45950" cy="276975"/>
            </a:xfrm>
            <a:custGeom>
              <a:avLst/>
              <a:gdLst/>
              <a:ahLst/>
              <a:cxnLst/>
              <a:rect l="l" t="t" r="r" b="b"/>
              <a:pathLst>
                <a:path w="1838" h="11079" extrusionOk="0">
                  <a:moveTo>
                    <a:pt x="497" y="1"/>
                  </a:moveTo>
                  <a:lnTo>
                    <a:pt x="0" y="11055"/>
                  </a:lnTo>
                  <a:lnTo>
                    <a:pt x="1838" y="11078"/>
                  </a:lnTo>
                  <a:lnTo>
                    <a:pt x="1838" y="11078"/>
                  </a:lnTo>
                  <a:lnTo>
                    <a:pt x="1601" y="15"/>
                  </a:lnTo>
                  <a:lnTo>
                    <a:pt x="497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8" name="Google Shape;5218;p53">
              <a:extLst>
                <a:ext uri="{FF2B5EF4-FFF2-40B4-BE49-F238E27FC236}">
                  <a16:creationId xmlns:a16="http://schemas.microsoft.com/office/drawing/2014/main" id="{F5B56869-77C6-3FAF-A275-C03AA7E8E041}"/>
                </a:ext>
              </a:extLst>
            </p:cNvPr>
            <p:cNvSpPr/>
            <p:nvPr/>
          </p:nvSpPr>
          <p:spPr>
            <a:xfrm>
              <a:off x="1210125" y="2313150"/>
              <a:ext cx="26300" cy="276550"/>
            </a:xfrm>
            <a:custGeom>
              <a:avLst/>
              <a:gdLst/>
              <a:ahLst/>
              <a:cxnLst/>
              <a:rect l="l" t="t" r="r" b="b"/>
              <a:pathLst>
                <a:path w="1052" h="11062" extrusionOk="0">
                  <a:moveTo>
                    <a:pt x="497" y="1"/>
                  </a:moveTo>
                  <a:lnTo>
                    <a:pt x="363" y="2994"/>
                  </a:lnTo>
                  <a:lnTo>
                    <a:pt x="0" y="11055"/>
                  </a:lnTo>
                  <a:lnTo>
                    <a:pt x="918" y="11062"/>
                  </a:lnTo>
                  <a:lnTo>
                    <a:pt x="1051" y="8"/>
                  </a:lnTo>
                  <a:lnTo>
                    <a:pt x="497" y="1"/>
                  </a:lnTo>
                  <a:close/>
                </a:path>
              </a:pathLst>
            </a:custGeom>
            <a:solidFill>
              <a:srgbClr val="92939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9" name="Google Shape;5219;p53">
              <a:extLst>
                <a:ext uri="{FF2B5EF4-FFF2-40B4-BE49-F238E27FC236}">
                  <a16:creationId xmlns:a16="http://schemas.microsoft.com/office/drawing/2014/main" id="{D4B100C6-719E-FFA3-286F-A2AE483A4501}"/>
                </a:ext>
              </a:extLst>
            </p:cNvPr>
            <p:cNvSpPr/>
            <p:nvPr/>
          </p:nvSpPr>
          <p:spPr>
            <a:xfrm>
              <a:off x="1219025" y="2379850"/>
              <a:ext cx="32775" cy="16475"/>
            </a:xfrm>
            <a:custGeom>
              <a:avLst/>
              <a:gdLst/>
              <a:ahLst/>
              <a:cxnLst/>
              <a:rect l="l" t="t" r="r" b="b"/>
              <a:pathLst>
                <a:path w="1311" h="659" extrusionOk="0">
                  <a:moveTo>
                    <a:pt x="29" y="0"/>
                  </a:moveTo>
                  <a:lnTo>
                    <a:pt x="0" y="637"/>
                  </a:lnTo>
                  <a:lnTo>
                    <a:pt x="651" y="651"/>
                  </a:lnTo>
                  <a:lnTo>
                    <a:pt x="1311" y="658"/>
                  </a:lnTo>
                  <a:lnTo>
                    <a:pt x="1297" y="14"/>
                  </a:lnTo>
                  <a:lnTo>
                    <a:pt x="667" y="7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0" name="Google Shape;5220;p53">
              <a:extLst>
                <a:ext uri="{FF2B5EF4-FFF2-40B4-BE49-F238E27FC236}">
                  <a16:creationId xmlns:a16="http://schemas.microsoft.com/office/drawing/2014/main" id="{DF828010-53EE-D915-FFEF-6619B7838FE4}"/>
                </a:ext>
              </a:extLst>
            </p:cNvPr>
            <p:cNvSpPr/>
            <p:nvPr/>
          </p:nvSpPr>
          <p:spPr>
            <a:xfrm>
              <a:off x="1216975" y="2417225"/>
              <a:ext cx="35775" cy="23950"/>
            </a:xfrm>
            <a:custGeom>
              <a:avLst/>
              <a:gdLst/>
              <a:ahLst/>
              <a:cxnLst/>
              <a:rect l="l" t="t" r="r" b="b"/>
              <a:pathLst>
                <a:path w="1431" h="958" extrusionOk="0">
                  <a:moveTo>
                    <a:pt x="45" y="1"/>
                  </a:moveTo>
                  <a:lnTo>
                    <a:pt x="0" y="941"/>
                  </a:lnTo>
                  <a:lnTo>
                    <a:pt x="719" y="950"/>
                  </a:lnTo>
                  <a:lnTo>
                    <a:pt x="1430" y="957"/>
                  </a:lnTo>
                  <a:lnTo>
                    <a:pt x="1416" y="24"/>
                  </a:lnTo>
                  <a:lnTo>
                    <a:pt x="726" y="8"/>
                  </a:lnTo>
                  <a:lnTo>
                    <a:pt x="45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21" name="Google Shape;5221;p53">
            <a:extLst>
              <a:ext uri="{FF2B5EF4-FFF2-40B4-BE49-F238E27FC236}">
                <a16:creationId xmlns:a16="http://schemas.microsoft.com/office/drawing/2014/main" id="{6861F9FB-DC2F-8D8C-6C61-FBE603339DE0}"/>
              </a:ext>
            </a:extLst>
          </p:cNvPr>
          <p:cNvGrpSpPr/>
          <p:nvPr/>
        </p:nvGrpSpPr>
        <p:grpSpPr>
          <a:xfrm>
            <a:off x="6987193" y="2679817"/>
            <a:ext cx="2520565" cy="1945481"/>
            <a:chOff x="7095475" y="1127208"/>
            <a:chExt cx="817675" cy="631117"/>
          </a:xfrm>
        </p:grpSpPr>
        <p:sp>
          <p:nvSpPr>
            <p:cNvPr id="5222" name="Google Shape;5222;p53">
              <a:extLst>
                <a:ext uri="{FF2B5EF4-FFF2-40B4-BE49-F238E27FC236}">
                  <a16:creationId xmlns:a16="http://schemas.microsoft.com/office/drawing/2014/main" id="{EDE76E11-5E1D-0A67-7D19-2E1CA199D2F0}"/>
                </a:ext>
              </a:extLst>
            </p:cNvPr>
            <p:cNvSpPr/>
            <p:nvPr/>
          </p:nvSpPr>
          <p:spPr>
            <a:xfrm>
              <a:off x="7137300" y="1488925"/>
              <a:ext cx="169725" cy="73950"/>
            </a:xfrm>
            <a:custGeom>
              <a:avLst/>
              <a:gdLst/>
              <a:ahLst/>
              <a:cxnLst/>
              <a:rect l="l" t="t" r="r" b="b"/>
              <a:pathLst>
                <a:path w="6789" h="2958" extrusionOk="0">
                  <a:moveTo>
                    <a:pt x="3232" y="0"/>
                  </a:moveTo>
                  <a:cubicBezTo>
                    <a:pt x="2690" y="0"/>
                    <a:pt x="2239" y="391"/>
                    <a:pt x="2135" y="906"/>
                  </a:cubicBezTo>
                  <a:cubicBezTo>
                    <a:pt x="2097" y="899"/>
                    <a:pt x="2062" y="899"/>
                    <a:pt x="2017" y="890"/>
                  </a:cubicBezTo>
                  <a:cubicBezTo>
                    <a:pt x="1550" y="890"/>
                    <a:pt x="1157" y="1261"/>
                    <a:pt x="1135" y="1727"/>
                  </a:cubicBezTo>
                  <a:cubicBezTo>
                    <a:pt x="586" y="1868"/>
                    <a:pt x="150" y="2305"/>
                    <a:pt x="1" y="2855"/>
                  </a:cubicBezTo>
                  <a:lnTo>
                    <a:pt x="6789" y="2958"/>
                  </a:lnTo>
                  <a:cubicBezTo>
                    <a:pt x="6625" y="2268"/>
                    <a:pt x="6241" y="1743"/>
                    <a:pt x="5499" y="1734"/>
                  </a:cubicBezTo>
                  <a:lnTo>
                    <a:pt x="5432" y="1734"/>
                  </a:lnTo>
                  <a:cubicBezTo>
                    <a:pt x="5441" y="1210"/>
                    <a:pt x="5025" y="772"/>
                    <a:pt x="4498" y="765"/>
                  </a:cubicBezTo>
                  <a:cubicBezTo>
                    <a:pt x="4425" y="765"/>
                    <a:pt x="4358" y="772"/>
                    <a:pt x="4292" y="787"/>
                  </a:cubicBezTo>
                  <a:cubicBezTo>
                    <a:pt x="4159" y="335"/>
                    <a:pt x="3742" y="9"/>
                    <a:pt x="3246" y="1"/>
                  </a:cubicBezTo>
                  <a:cubicBezTo>
                    <a:pt x="3241" y="1"/>
                    <a:pt x="3237" y="0"/>
                    <a:pt x="3232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3" name="Google Shape;5223;p53">
              <a:extLst>
                <a:ext uri="{FF2B5EF4-FFF2-40B4-BE49-F238E27FC236}">
                  <a16:creationId xmlns:a16="http://schemas.microsoft.com/office/drawing/2014/main" id="{A94213CA-3E81-C33D-2129-7FFDD0B4ADA4}"/>
                </a:ext>
              </a:extLst>
            </p:cNvPr>
            <p:cNvSpPr/>
            <p:nvPr/>
          </p:nvSpPr>
          <p:spPr>
            <a:xfrm>
              <a:off x="7191050" y="1511725"/>
              <a:ext cx="18700" cy="37475"/>
            </a:xfrm>
            <a:custGeom>
              <a:avLst/>
              <a:gdLst/>
              <a:ahLst/>
              <a:cxnLst/>
              <a:rect l="l" t="t" r="r" b="b"/>
              <a:pathLst>
                <a:path w="748" h="1499" extrusionOk="0">
                  <a:moveTo>
                    <a:pt x="1" y="1"/>
                  </a:moveTo>
                  <a:cubicBezTo>
                    <a:pt x="1" y="1"/>
                    <a:pt x="593" y="193"/>
                    <a:pt x="563" y="750"/>
                  </a:cubicBezTo>
                  <a:cubicBezTo>
                    <a:pt x="534" y="1365"/>
                    <a:pt x="1" y="1498"/>
                    <a:pt x="1" y="1498"/>
                  </a:cubicBezTo>
                  <a:cubicBezTo>
                    <a:pt x="415" y="1498"/>
                    <a:pt x="748" y="1164"/>
                    <a:pt x="748" y="750"/>
                  </a:cubicBezTo>
                  <a:cubicBezTo>
                    <a:pt x="748" y="333"/>
                    <a:pt x="415" y="1"/>
                    <a:pt x="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4" name="Google Shape;5224;p53">
              <a:extLst>
                <a:ext uri="{FF2B5EF4-FFF2-40B4-BE49-F238E27FC236}">
                  <a16:creationId xmlns:a16="http://schemas.microsoft.com/office/drawing/2014/main" id="{7A40358F-87CE-8B3A-E03D-F2C2CCCB8810}"/>
                </a:ext>
              </a:extLst>
            </p:cNvPr>
            <p:cNvSpPr/>
            <p:nvPr/>
          </p:nvSpPr>
          <p:spPr>
            <a:xfrm>
              <a:off x="7286250" y="1534500"/>
              <a:ext cx="11300" cy="7100"/>
            </a:xfrm>
            <a:custGeom>
              <a:avLst/>
              <a:gdLst/>
              <a:ahLst/>
              <a:cxnLst/>
              <a:rect l="l" t="t" r="r" b="b"/>
              <a:pathLst>
                <a:path w="452" h="284" extrusionOk="0">
                  <a:moveTo>
                    <a:pt x="0" y="0"/>
                  </a:moveTo>
                  <a:lnTo>
                    <a:pt x="0" y="0"/>
                  </a:lnTo>
                  <a:cubicBezTo>
                    <a:pt x="164" y="61"/>
                    <a:pt x="297" y="157"/>
                    <a:pt x="416" y="283"/>
                  </a:cubicBezTo>
                  <a:lnTo>
                    <a:pt x="452" y="232"/>
                  </a:lnTo>
                  <a:cubicBezTo>
                    <a:pt x="319" y="120"/>
                    <a:pt x="171" y="38"/>
                    <a:pt x="0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5" name="Google Shape;5225;p53">
              <a:extLst>
                <a:ext uri="{FF2B5EF4-FFF2-40B4-BE49-F238E27FC236}">
                  <a16:creationId xmlns:a16="http://schemas.microsoft.com/office/drawing/2014/main" id="{513E5D77-E6CD-38B7-DE9D-F00682F4E8CD}"/>
                </a:ext>
              </a:extLst>
            </p:cNvPr>
            <p:cNvSpPr/>
            <p:nvPr/>
          </p:nvSpPr>
          <p:spPr>
            <a:xfrm>
              <a:off x="7251975" y="1533600"/>
              <a:ext cx="44700" cy="27250"/>
            </a:xfrm>
            <a:custGeom>
              <a:avLst/>
              <a:gdLst/>
              <a:ahLst/>
              <a:cxnLst/>
              <a:rect l="l" t="t" r="r" b="b"/>
              <a:pathLst>
                <a:path w="1788" h="1090" extrusionOk="0">
                  <a:moveTo>
                    <a:pt x="1105" y="1"/>
                  </a:moveTo>
                  <a:cubicBezTo>
                    <a:pt x="505" y="1"/>
                    <a:pt x="16" y="481"/>
                    <a:pt x="0" y="1089"/>
                  </a:cubicBezTo>
                  <a:cubicBezTo>
                    <a:pt x="0" y="1089"/>
                    <a:pt x="283" y="214"/>
                    <a:pt x="1046" y="214"/>
                  </a:cubicBezTo>
                  <a:lnTo>
                    <a:pt x="1121" y="214"/>
                  </a:lnTo>
                  <a:cubicBezTo>
                    <a:pt x="1364" y="237"/>
                    <a:pt x="1565" y="312"/>
                    <a:pt x="1713" y="415"/>
                  </a:cubicBezTo>
                  <a:lnTo>
                    <a:pt x="1787" y="319"/>
                  </a:lnTo>
                  <a:cubicBezTo>
                    <a:pt x="1668" y="193"/>
                    <a:pt x="1535" y="97"/>
                    <a:pt x="1371" y="36"/>
                  </a:cubicBezTo>
                  <a:cubicBezTo>
                    <a:pt x="1298" y="15"/>
                    <a:pt x="1209" y="1"/>
                    <a:pt x="112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6" name="Google Shape;5226;p53">
              <a:extLst>
                <a:ext uri="{FF2B5EF4-FFF2-40B4-BE49-F238E27FC236}">
                  <a16:creationId xmlns:a16="http://schemas.microsoft.com/office/drawing/2014/main" id="{2AAC327C-A686-CCE3-BD57-37F9F9C9C986}"/>
                </a:ext>
              </a:extLst>
            </p:cNvPr>
            <p:cNvSpPr/>
            <p:nvPr/>
          </p:nvSpPr>
          <p:spPr>
            <a:xfrm>
              <a:off x="7457400" y="1303300"/>
              <a:ext cx="214200" cy="93225"/>
            </a:xfrm>
            <a:custGeom>
              <a:avLst/>
              <a:gdLst/>
              <a:ahLst/>
              <a:cxnLst/>
              <a:rect l="l" t="t" r="r" b="b"/>
              <a:pathLst>
                <a:path w="8568" h="3729" extrusionOk="0">
                  <a:moveTo>
                    <a:pt x="4485" y="1"/>
                  </a:moveTo>
                  <a:cubicBezTo>
                    <a:pt x="4480" y="1"/>
                    <a:pt x="4475" y="1"/>
                    <a:pt x="4470" y="1"/>
                  </a:cubicBezTo>
                  <a:cubicBezTo>
                    <a:pt x="3848" y="17"/>
                    <a:pt x="3328" y="424"/>
                    <a:pt x="3150" y="995"/>
                  </a:cubicBezTo>
                  <a:cubicBezTo>
                    <a:pt x="3069" y="972"/>
                    <a:pt x="2987" y="965"/>
                    <a:pt x="2898" y="965"/>
                  </a:cubicBezTo>
                  <a:cubicBezTo>
                    <a:pt x="2231" y="979"/>
                    <a:pt x="1706" y="1521"/>
                    <a:pt x="1714" y="2188"/>
                  </a:cubicBezTo>
                  <a:lnTo>
                    <a:pt x="1632" y="2188"/>
                  </a:lnTo>
                  <a:cubicBezTo>
                    <a:pt x="698" y="2202"/>
                    <a:pt x="209" y="2862"/>
                    <a:pt x="1" y="3728"/>
                  </a:cubicBezTo>
                  <a:lnTo>
                    <a:pt x="8567" y="3602"/>
                  </a:lnTo>
                  <a:cubicBezTo>
                    <a:pt x="8382" y="2907"/>
                    <a:pt x="7826" y="2357"/>
                    <a:pt x="7130" y="2179"/>
                  </a:cubicBezTo>
                  <a:cubicBezTo>
                    <a:pt x="7108" y="1592"/>
                    <a:pt x="6626" y="1128"/>
                    <a:pt x="6033" y="1128"/>
                  </a:cubicBezTo>
                  <a:cubicBezTo>
                    <a:pt x="6028" y="1128"/>
                    <a:pt x="6024" y="1128"/>
                    <a:pt x="6019" y="1128"/>
                  </a:cubicBezTo>
                  <a:cubicBezTo>
                    <a:pt x="5975" y="1128"/>
                    <a:pt x="5921" y="1135"/>
                    <a:pt x="5877" y="1143"/>
                  </a:cubicBezTo>
                  <a:cubicBezTo>
                    <a:pt x="5744" y="488"/>
                    <a:pt x="5174" y="1"/>
                    <a:pt x="4485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7" name="Google Shape;5227;p53">
              <a:extLst>
                <a:ext uri="{FF2B5EF4-FFF2-40B4-BE49-F238E27FC236}">
                  <a16:creationId xmlns:a16="http://schemas.microsoft.com/office/drawing/2014/main" id="{3888E28A-FE41-10F0-D3EE-C21FF8253FB8}"/>
                </a:ext>
              </a:extLst>
            </p:cNvPr>
            <p:cNvSpPr/>
            <p:nvPr/>
          </p:nvSpPr>
          <p:spPr>
            <a:xfrm>
              <a:off x="7580250" y="1332200"/>
              <a:ext cx="23550" cy="47125"/>
            </a:xfrm>
            <a:custGeom>
              <a:avLst/>
              <a:gdLst/>
              <a:ahLst/>
              <a:cxnLst/>
              <a:rect l="l" t="t" r="r" b="b"/>
              <a:pathLst>
                <a:path w="942" h="1885" extrusionOk="0">
                  <a:moveTo>
                    <a:pt x="941" y="1"/>
                  </a:moveTo>
                  <a:cubicBezTo>
                    <a:pt x="422" y="1"/>
                    <a:pt x="1" y="424"/>
                    <a:pt x="1" y="943"/>
                  </a:cubicBezTo>
                  <a:cubicBezTo>
                    <a:pt x="1" y="1461"/>
                    <a:pt x="422" y="1884"/>
                    <a:pt x="941" y="1884"/>
                  </a:cubicBezTo>
                  <a:cubicBezTo>
                    <a:pt x="941" y="1884"/>
                    <a:pt x="274" y="1713"/>
                    <a:pt x="230" y="943"/>
                  </a:cubicBezTo>
                  <a:cubicBezTo>
                    <a:pt x="193" y="246"/>
                    <a:pt x="941" y="1"/>
                    <a:pt x="94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8" name="Google Shape;5228;p53">
              <a:extLst>
                <a:ext uri="{FF2B5EF4-FFF2-40B4-BE49-F238E27FC236}">
                  <a16:creationId xmlns:a16="http://schemas.microsoft.com/office/drawing/2014/main" id="{781487A4-A324-CD5D-A6D2-E33357C6F020}"/>
                </a:ext>
              </a:extLst>
            </p:cNvPr>
            <p:cNvSpPr/>
            <p:nvPr/>
          </p:nvSpPr>
          <p:spPr>
            <a:xfrm>
              <a:off x="7457050" y="1360750"/>
              <a:ext cx="26525" cy="34300"/>
            </a:xfrm>
            <a:custGeom>
              <a:avLst/>
              <a:gdLst/>
              <a:ahLst/>
              <a:cxnLst/>
              <a:rect l="l" t="t" r="r" b="b"/>
              <a:pathLst>
                <a:path w="1061" h="1372" extrusionOk="0">
                  <a:moveTo>
                    <a:pt x="1061" y="1"/>
                  </a:moveTo>
                  <a:cubicBezTo>
                    <a:pt x="452" y="157"/>
                    <a:pt x="1" y="712"/>
                    <a:pt x="8" y="1372"/>
                  </a:cubicBezTo>
                  <a:cubicBezTo>
                    <a:pt x="8" y="1372"/>
                    <a:pt x="38" y="1245"/>
                    <a:pt x="120" y="1082"/>
                  </a:cubicBezTo>
                  <a:cubicBezTo>
                    <a:pt x="305" y="579"/>
                    <a:pt x="600" y="185"/>
                    <a:pt x="1061" y="1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9" name="Google Shape;5229;p53">
              <a:extLst>
                <a:ext uri="{FF2B5EF4-FFF2-40B4-BE49-F238E27FC236}">
                  <a16:creationId xmlns:a16="http://schemas.microsoft.com/office/drawing/2014/main" id="{CF19F681-64F7-8D31-46AC-1A148ACEB61F}"/>
                </a:ext>
              </a:extLst>
            </p:cNvPr>
            <p:cNvSpPr/>
            <p:nvPr/>
          </p:nvSpPr>
          <p:spPr>
            <a:xfrm>
              <a:off x="7460025" y="1359825"/>
              <a:ext cx="66900" cy="34125"/>
            </a:xfrm>
            <a:custGeom>
              <a:avLst/>
              <a:gdLst/>
              <a:ahLst/>
              <a:cxnLst/>
              <a:rect l="l" t="t" r="r" b="b"/>
              <a:pathLst>
                <a:path w="2676" h="1365" extrusionOk="0">
                  <a:moveTo>
                    <a:pt x="1260" y="0"/>
                  </a:moveTo>
                  <a:cubicBezTo>
                    <a:pt x="1148" y="0"/>
                    <a:pt x="1045" y="16"/>
                    <a:pt x="942" y="38"/>
                  </a:cubicBezTo>
                  <a:cubicBezTo>
                    <a:pt x="481" y="222"/>
                    <a:pt x="186" y="616"/>
                    <a:pt x="1" y="1119"/>
                  </a:cubicBezTo>
                  <a:cubicBezTo>
                    <a:pt x="163" y="800"/>
                    <a:pt x="518" y="319"/>
                    <a:pt x="1267" y="267"/>
                  </a:cubicBezTo>
                  <a:lnTo>
                    <a:pt x="1356" y="267"/>
                  </a:lnTo>
                  <a:cubicBezTo>
                    <a:pt x="2320" y="267"/>
                    <a:pt x="2676" y="1364"/>
                    <a:pt x="2676" y="1364"/>
                  </a:cubicBezTo>
                  <a:cubicBezTo>
                    <a:pt x="2660" y="608"/>
                    <a:pt x="2037" y="0"/>
                    <a:pt x="1281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0" name="Google Shape;5230;p53">
              <a:extLst>
                <a:ext uri="{FF2B5EF4-FFF2-40B4-BE49-F238E27FC236}">
                  <a16:creationId xmlns:a16="http://schemas.microsoft.com/office/drawing/2014/main" id="{E92C12F5-077F-1C4F-204B-7C2D8A48687C}"/>
                </a:ext>
              </a:extLst>
            </p:cNvPr>
            <p:cNvSpPr/>
            <p:nvPr/>
          </p:nvSpPr>
          <p:spPr>
            <a:xfrm>
              <a:off x="7364800" y="1192375"/>
              <a:ext cx="181725" cy="65975"/>
            </a:xfrm>
            <a:custGeom>
              <a:avLst/>
              <a:gdLst/>
              <a:ahLst/>
              <a:cxnLst/>
              <a:rect l="l" t="t" r="r" b="b"/>
              <a:pathLst>
                <a:path w="7269" h="2639" extrusionOk="0">
                  <a:moveTo>
                    <a:pt x="3113" y="1"/>
                  </a:moveTo>
                  <a:cubicBezTo>
                    <a:pt x="2305" y="1"/>
                    <a:pt x="1615" y="497"/>
                    <a:pt x="1334" y="1192"/>
                  </a:cubicBezTo>
                  <a:cubicBezTo>
                    <a:pt x="1283" y="1185"/>
                    <a:pt x="1238" y="1185"/>
                    <a:pt x="1187" y="1185"/>
                  </a:cubicBezTo>
                  <a:cubicBezTo>
                    <a:pt x="534" y="1185"/>
                    <a:pt x="1" y="1712"/>
                    <a:pt x="1" y="2371"/>
                  </a:cubicBezTo>
                  <a:cubicBezTo>
                    <a:pt x="1" y="2460"/>
                    <a:pt x="15" y="2549"/>
                    <a:pt x="38" y="2638"/>
                  </a:cubicBezTo>
                  <a:lnTo>
                    <a:pt x="5876" y="2638"/>
                  </a:lnTo>
                  <a:cubicBezTo>
                    <a:pt x="5891" y="2624"/>
                    <a:pt x="5907" y="2615"/>
                    <a:pt x="5921" y="2601"/>
                  </a:cubicBezTo>
                  <a:cubicBezTo>
                    <a:pt x="5921" y="2615"/>
                    <a:pt x="5928" y="2624"/>
                    <a:pt x="5935" y="2638"/>
                  </a:cubicBezTo>
                  <a:lnTo>
                    <a:pt x="7217" y="2638"/>
                  </a:lnTo>
                  <a:cubicBezTo>
                    <a:pt x="7248" y="2556"/>
                    <a:pt x="7269" y="2467"/>
                    <a:pt x="7269" y="2371"/>
                  </a:cubicBezTo>
                  <a:cubicBezTo>
                    <a:pt x="7269" y="1986"/>
                    <a:pt x="6958" y="1674"/>
                    <a:pt x="6573" y="1674"/>
                  </a:cubicBezTo>
                  <a:cubicBezTo>
                    <a:pt x="6440" y="1674"/>
                    <a:pt x="6314" y="1712"/>
                    <a:pt x="6202" y="1779"/>
                  </a:cubicBezTo>
                  <a:cubicBezTo>
                    <a:pt x="6136" y="1335"/>
                    <a:pt x="5750" y="993"/>
                    <a:pt x="5291" y="993"/>
                  </a:cubicBezTo>
                  <a:cubicBezTo>
                    <a:pt x="5128" y="993"/>
                    <a:pt x="4980" y="1038"/>
                    <a:pt x="4854" y="1103"/>
                  </a:cubicBezTo>
                  <a:cubicBezTo>
                    <a:pt x="4543" y="453"/>
                    <a:pt x="3883" y="1"/>
                    <a:pt x="3113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1" name="Google Shape;5231;p53">
              <a:extLst>
                <a:ext uri="{FF2B5EF4-FFF2-40B4-BE49-F238E27FC236}">
                  <a16:creationId xmlns:a16="http://schemas.microsoft.com/office/drawing/2014/main" id="{270C5A1D-DEAF-CCDB-C382-9285F577CBAF}"/>
                </a:ext>
              </a:extLst>
            </p:cNvPr>
            <p:cNvSpPr/>
            <p:nvPr/>
          </p:nvSpPr>
          <p:spPr>
            <a:xfrm>
              <a:off x="7506267" y="1127208"/>
              <a:ext cx="100825" cy="36700"/>
            </a:xfrm>
            <a:custGeom>
              <a:avLst/>
              <a:gdLst/>
              <a:ahLst/>
              <a:cxnLst/>
              <a:rect l="l" t="t" r="r" b="b"/>
              <a:pathLst>
                <a:path w="4033" h="1468" extrusionOk="0">
                  <a:moveTo>
                    <a:pt x="2306" y="0"/>
                  </a:moveTo>
                  <a:cubicBezTo>
                    <a:pt x="1875" y="0"/>
                    <a:pt x="1512" y="253"/>
                    <a:pt x="1342" y="616"/>
                  </a:cubicBezTo>
                  <a:cubicBezTo>
                    <a:pt x="1267" y="578"/>
                    <a:pt x="1187" y="557"/>
                    <a:pt x="1098" y="557"/>
                  </a:cubicBezTo>
                  <a:cubicBezTo>
                    <a:pt x="838" y="557"/>
                    <a:pt x="623" y="742"/>
                    <a:pt x="586" y="986"/>
                  </a:cubicBezTo>
                  <a:cubicBezTo>
                    <a:pt x="527" y="950"/>
                    <a:pt x="460" y="927"/>
                    <a:pt x="387" y="927"/>
                  </a:cubicBezTo>
                  <a:cubicBezTo>
                    <a:pt x="171" y="927"/>
                    <a:pt x="1" y="1105"/>
                    <a:pt x="1" y="1320"/>
                  </a:cubicBezTo>
                  <a:cubicBezTo>
                    <a:pt x="1" y="1372"/>
                    <a:pt x="8" y="1416"/>
                    <a:pt x="31" y="1468"/>
                  </a:cubicBezTo>
                  <a:lnTo>
                    <a:pt x="742" y="1468"/>
                  </a:lnTo>
                  <a:cubicBezTo>
                    <a:pt x="742" y="1460"/>
                    <a:pt x="742" y="1453"/>
                    <a:pt x="749" y="1446"/>
                  </a:cubicBezTo>
                  <a:cubicBezTo>
                    <a:pt x="757" y="1453"/>
                    <a:pt x="764" y="1460"/>
                    <a:pt x="771" y="1468"/>
                  </a:cubicBezTo>
                  <a:lnTo>
                    <a:pt x="4009" y="1468"/>
                  </a:lnTo>
                  <a:cubicBezTo>
                    <a:pt x="4023" y="1416"/>
                    <a:pt x="4032" y="1364"/>
                    <a:pt x="4032" y="1320"/>
                  </a:cubicBezTo>
                  <a:cubicBezTo>
                    <a:pt x="4032" y="957"/>
                    <a:pt x="3735" y="660"/>
                    <a:pt x="3373" y="660"/>
                  </a:cubicBezTo>
                  <a:cubicBezTo>
                    <a:pt x="3342" y="660"/>
                    <a:pt x="3321" y="660"/>
                    <a:pt x="3291" y="667"/>
                  </a:cubicBezTo>
                  <a:cubicBezTo>
                    <a:pt x="3134" y="274"/>
                    <a:pt x="2750" y="0"/>
                    <a:pt x="230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2" name="Google Shape;5232;p53">
              <a:extLst>
                <a:ext uri="{FF2B5EF4-FFF2-40B4-BE49-F238E27FC236}">
                  <a16:creationId xmlns:a16="http://schemas.microsoft.com/office/drawing/2014/main" id="{048FBBC8-7273-0977-6B1A-022A643AB043}"/>
                </a:ext>
              </a:extLst>
            </p:cNvPr>
            <p:cNvSpPr/>
            <p:nvPr/>
          </p:nvSpPr>
          <p:spPr>
            <a:xfrm>
              <a:off x="7210300" y="1305925"/>
              <a:ext cx="123225" cy="60400"/>
            </a:xfrm>
            <a:custGeom>
              <a:avLst/>
              <a:gdLst/>
              <a:ahLst/>
              <a:cxnLst/>
              <a:rect l="l" t="t" r="r" b="b"/>
              <a:pathLst>
                <a:path w="4929" h="2416" extrusionOk="0">
                  <a:moveTo>
                    <a:pt x="2165" y="1"/>
                  </a:moveTo>
                  <a:cubicBezTo>
                    <a:pt x="1290" y="1"/>
                    <a:pt x="579" y="682"/>
                    <a:pt x="527" y="1541"/>
                  </a:cubicBezTo>
                  <a:cubicBezTo>
                    <a:pt x="223" y="1601"/>
                    <a:pt x="1" y="1868"/>
                    <a:pt x="1" y="2186"/>
                  </a:cubicBezTo>
                  <a:cubicBezTo>
                    <a:pt x="1" y="2261"/>
                    <a:pt x="15" y="2341"/>
                    <a:pt x="45" y="2416"/>
                  </a:cubicBezTo>
                  <a:lnTo>
                    <a:pt x="4922" y="2416"/>
                  </a:lnTo>
                  <a:cubicBezTo>
                    <a:pt x="4922" y="2394"/>
                    <a:pt x="4929" y="2371"/>
                    <a:pt x="4929" y="2357"/>
                  </a:cubicBezTo>
                  <a:cubicBezTo>
                    <a:pt x="4929" y="1889"/>
                    <a:pt x="4550" y="1512"/>
                    <a:pt x="4084" y="1512"/>
                  </a:cubicBezTo>
                  <a:cubicBezTo>
                    <a:pt x="3988" y="1512"/>
                    <a:pt x="3890" y="1534"/>
                    <a:pt x="3810" y="1564"/>
                  </a:cubicBezTo>
                  <a:cubicBezTo>
                    <a:pt x="3766" y="696"/>
                    <a:pt x="3045" y="1"/>
                    <a:pt x="216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3" name="Google Shape;5233;p53">
              <a:extLst>
                <a:ext uri="{FF2B5EF4-FFF2-40B4-BE49-F238E27FC236}">
                  <a16:creationId xmlns:a16="http://schemas.microsoft.com/office/drawing/2014/main" id="{C697B7B4-9F06-48B3-B8DA-E110B366BD03}"/>
                </a:ext>
              </a:extLst>
            </p:cNvPr>
            <p:cNvSpPr/>
            <p:nvPr/>
          </p:nvSpPr>
          <p:spPr>
            <a:xfrm>
              <a:off x="7267000" y="1159750"/>
              <a:ext cx="166575" cy="81575"/>
            </a:xfrm>
            <a:custGeom>
              <a:avLst/>
              <a:gdLst/>
              <a:ahLst/>
              <a:cxnLst/>
              <a:rect l="l" t="t" r="r" b="b"/>
              <a:pathLst>
                <a:path w="6663" h="3263" extrusionOk="0">
                  <a:moveTo>
                    <a:pt x="3742" y="1"/>
                  </a:moveTo>
                  <a:cubicBezTo>
                    <a:pt x="2549" y="1"/>
                    <a:pt x="1578" y="934"/>
                    <a:pt x="1519" y="2113"/>
                  </a:cubicBezTo>
                  <a:cubicBezTo>
                    <a:pt x="1400" y="2069"/>
                    <a:pt x="1275" y="2046"/>
                    <a:pt x="1142" y="2046"/>
                  </a:cubicBezTo>
                  <a:cubicBezTo>
                    <a:pt x="511" y="2046"/>
                    <a:pt x="0" y="2551"/>
                    <a:pt x="0" y="3180"/>
                  </a:cubicBezTo>
                  <a:cubicBezTo>
                    <a:pt x="0" y="3209"/>
                    <a:pt x="0" y="3232"/>
                    <a:pt x="7" y="3262"/>
                  </a:cubicBezTo>
                  <a:lnTo>
                    <a:pt x="6610" y="3262"/>
                  </a:lnTo>
                  <a:cubicBezTo>
                    <a:pt x="6646" y="3164"/>
                    <a:pt x="6662" y="3061"/>
                    <a:pt x="6662" y="2951"/>
                  </a:cubicBezTo>
                  <a:cubicBezTo>
                    <a:pt x="6662" y="2520"/>
                    <a:pt x="6365" y="2165"/>
                    <a:pt x="5958" y="2076"/>
                  </a:cubicBezTo>
                  <a:cubicBezTo>
                    <a:pt x="5883" y="920"/>
                    <a:pt x="4921" y="1"/>
                    <a:pt x="3742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4" name="Google Shape;5234;p53">
              <a:extLst>
                <a:ext uri="{FF2B5EF4-FFF2-40B4-BE49-F238E27FC236}">
                  <a16:creationId xmlns:a16="http://schemas.microsoft.com/office/drawing/2014/main" id="{9768D6AA-6C48-C4C0-C01E-29804F46ED04}"/>
                </a:ext>
              </a:extLst>
            </p:cNvPr>
            <p:cNvSpPr/>
            <p:nvPr/>
          </p:nvSpPr>
          <p:spPr>
            <a:xfrm>
              <a:off x="7225125" y="1603800"/>
              <a:ext cx="228450" cy="75025"/>
            </a:xfrm>
            <a:custGeom>
              <a:avLst/>
              <a:gdLst/>
              <a:ahLst/>
              <a:cxnLst/>
              <a:rect l="l" t="t" r="r" b="b"/>
              <a:pathLst>
                <a:path w="9138" h="3001" extrusionOk="0">
                  <a:moveTo>
                    <a:pt x="1104" y="1"/>
                  </a:moveTo>
                  <a:lnTo>
                    <a:pt x="0" y="1571"/>
                  </a:lnTo>
                  <a:cubicBezTo>
                    <a:pt x="75" y="1550"/>
                    <a:pt x="149" y="1534"/>
                    <a:pt x="229" y="1534"/>
                  </a:cubicBezTo>
                  <a:cubicBezTo>
                    <a:pt x="608" y="1534"/>
                    <a:pt x="912" y="1808"/>
                    <a:pt x="971" y="2172"/>
                  </a:cubicBezTo>
                  <a:cubicBezTo>
                    <a:pt x="1015" y="2149"/>
                    <a:pt x="1067" y="2135"/>
                    <a:pt x="1128" y="2135"/>
                  </a:cubicBezTo>
                  <a:cubicBezTo>
                    <a:pt x="1163" y="2135"/>
                    <a:pt x="1200" y="2142"/>
                    <a:pt x="1238" y="2156"/>
                  </a:cubicBezTo>
                  <a:cubicBezTo>
                    <a:pt x="1341" y="2030"/>
                    <a:pt x="1490" y="1957"/>
                    <a:pt x="1661" y="1957"/>
                  </a:cubicBezTo>
                  <a:cubicBezTo>
                    <a:pt x="1956" y="1957"/>
                    <a:pt x="2195" y="2201"/>
                    <a:pt x="2195" y="2498"/>
                  </a:cubicBezTo>
                  <a:lnTo>
                    <a:pt x="2195" y="2535"/>
                  </a:lnTo>
                  <a:cubicBezTo>
                    <a:pt x="2246" y="2498"/>
                    <a:pt x="2305" y="2467"/>
                    <a:pt x="2372" y="2467"/>
                  </a:cubicBezTo>
                  <a:cubicBezTo>
                    <a:pt x="2527" y="2467"/>
                    <a:pt x="2653" y="2594"/>
                    <a:pt x="2653" y="2750"/>
                  </a:cubicBezTo>
                  <a:cubicBezTo>
                    <a:pt x="2653" y="2860"/>
                    <a:pt x="2595" y="2957"/>
                    <a:pt x="2497" y="3001"/>
                  </a:cubicBezTo>
                  <a:lnTo>
                    <a:pt x="5188" y="3001"/>
                  </a:lnTo>
                  <a:cubicBezTo>
                    <a:pt x="5136" y="2973"/>
                    <a:pt x="5106" y="2912"/>
                    <a:pt x="5106" y="2853"/>
                  </a:cubicBezTo>
                  <a:cubicBezTo>
                    <a:pt x="5106" y="2750"/>
                    <a:pt x="5188" y="2668"/>
                    <a:pt x="5291" y="2668"/>
                  </a:cubicBezTo>
                  <a:cubicBezTo>
                    <a:pt x="5335" y="2668"/>
                    <a:pt x="5380" y="2683"/>
                    <a:pt x="5410" y="2706"/>
                  </a:cubicBezTo>
                  <a:lnTo>
                    <a:pt x="5410" y="2683"/>
                  </a:lnTo>
                  <a:cubicBezTo>
                    <a:pt x="5410" y="2483"/>
                    <a:pt x="5573" y="2327"/>
                    <a:pt x="5765" y="2327"/>
                  </a:cubicBezTo>
                  <a:cubicBezTo>
                    <a:pt x="5876" y="2327"/>
                    <a:pt x="5981" y="2379"/>
                    <a:pt x="6039" y="2453"/>
                  </a:cubicBezTo>
                  <a:cubicBezTo>
                    <a:pt x="6070" y="2446"/>
                    <a:pt x="6091" y="2446"/>
                    <a:pt x="6121" y="2446"/>
                  </a:cubicBezTo>
                  <a:cubicBezTo>
                    <a:pt x="6159" y="2446"/>
                    <a:pt x="6187" y="2453"/>
                    <a:pt x="6224" y="2467"/>
                  </a:cubicBezTo>
                  <a:cubicBezTo>
                    <a:pt x="6240" y="2357"/>
                    <a:pt x="6292" y="2261"/>
                    <a:pt x="6365" y="2186"/>
                  </a:cubicBezTo>
                  <a:lnTo>
                    <a:pt x="6388" y="734"/>
                  </a:lnTo>
                  <a:cubicBezTo>
                    <a:pt x="6402" y="734"/>
                    <a:pt x="6409" y="1505"/>
                    <a:pt x="6418" y="2142"/>
                  </a:cubicBezTo>
                  <a:cubicBezTo>
                    <a:pt x="6498" y="2083"/>
                    <a:pt x="6603" y="2046"/>
                    <a:pt x="6713" y="2046"/>
                  </a:cubicBezTo>
                  <a:cubicBezTo>
                    <a:pt x="6774" y="2046"/>
                    <a:pt x="6833" y="2060"/>
                    <a:pt x="6884" y="2074"/>
                  </a:cubicBezTo>
                  <a:cubicBezTo>
                    <a:pt x="7076" y="2135"/>
                    <a:pt x="7218" y="2306"/>
                    <a:pt x="7218" y="2512"/>
                  </a:cubicBezTo>
                  <a:lnTo>
                    <a:pt x="7218" y="2549"/>
                  </a:lnTo>
                  <a:cubicBezTo>
                    <a:pt x="7233" y="2542"/>
                    <a:pt x="7247" y="2542"/>
                    <a:pt x="7270" y="2542"/>
                  </a:cubicBezTo>
                  <a:lnTo>
                    <a:pt x="7284" y="2542"/>
                  </a:lnTo>
                  <a:cubicBezTo>
                    <a:pt x="7441" y="2386"/>
                    <a:pt x="7626" y="2245"/>
                    <a:pt x="7832" y="2112"/>
                  </a:cubicBezTo>
                  <a:cubicBezTo>
                    <a:pt x="7841" y="1934"/>
                    <a:pt x="7900" y="1756"/>
                    <a:pt x="8010" y="1601"/>
                  </a:cubicBezTo>
                  <a:lnTo>
                    <a:pt x="9137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5" name="Google Shape;5235;p53">
              <a:extLst>
                <a:ext uri="{FF2B5EF4-FFF2-40B4-BE49-F238E27FC236}">
                  <a16:creationId xmlns:a16="http://schemas.microsoft.com/office/drawing/2014/main" id="{D9CC28AA-FBB4-DF8F-B3E3-B566F2E3BF30}"/>
                </a:ext>
              </a:extLst>
            </p:cNvPr>
            <p:cNvSpPr/>
            <p:nvPr/>
          </p:nvSpPr>
          <p:spPr>
            <a:xfrm>
              <a:off x="7415350" y="1386900"/>
              <a:ext cx="497800" cy="293450"/>
            </a:xfrm>
            <a:custGeom>
              <a:avLst/>
              <a:gdLst/>
              <a:ahLst/>
              <a:cxnLst/>
              <a:rect l="l" t="t" r="r" b="b"/>
              <a:pathLst>
                <a:path w="19912" h="11738" extrusionOk="0">
                  <a:moveTo>
                    <a:pt x="8752" y="0"/>
                  </a:moveTo>
                  <a:cubicBezTo>
                    <a:pt x="8604" y="0"/>
                    <a:pt x="8471" y="59"/>
                    <a:pt x="8368" y="155"/>
                  </a:cubicBezTo>
                  <a:cubicBezTo>
                    <a:pt x="8270" y="251"/>
                    <a:pt x="8211" y="391"/>
                    <a:pt x="8211" y="541"/>
                  </a:cubicBezTo>
                  <a:lnTo>
                    <a:pt x="8211" y="770"/>
                  </a:lnTo>
                  <a:lnTo>
                    <a:pt x="8211" y="3512"/>
                  </a:lnTo>
                  <a:lnTo>
                    <a:pt x="8211" y="3742"/>
                  </a:lnTo>
                  <a:cubicBezTo>
                    <a:pt x="8211" y="3890"/>
                    <a:pt x="8153" y="4023"/>
                    <a:pt x="8048" y="4126"/>
                  </a:cubicBezTo>
                  <a:cubicBezTo>
                    <a:pt x="7952" y="4224"/>
                    <a:pt x="7818" y="4283"/>
                    <a:pt x="7664" y="4283"/>
                  </a:cubicBezTo>
                  <a:cubicBezTo>
                    <a:pt x="7367" y="4283"/>
                    <a:pt x="7123" y="4037"/>
                    <a:pt x="7123" y="3742"/>
                  </a:cubicBezTo>
                  <a:lnTo>
                    <a:pt x="7123" y="770"/>
                  </a:lnTo>
                  <a:lnTo>
                    <a:pt x="7123" y="756"/>
                  </a:lnTo>
                  <a:lnTo>
                    <a:pt x="401" y="10277"/>
                  </a:lnTo>
                  <a:cubicBezTo>
                    <a:pt x="1" y="10848"/>
                    <a:pt x="328" y="11693"/>
                    <a:pt x="979" y="11737"/>
                  </a:cubicBezTo>
                  <a:lnTo>
                    <a:pt x="18933" y="11737"/>
                  </a:lnTo>
                  <a:cubicBezTo>
                    <a:pt x="19586" y="11693"/>
                    <a:pt x="19911" y="10839"/>
                    <a:pt x="19511" y="10277"/>
                  </a:cubicBezTo>
                  <a:lnTo>
                    <a:pt x="12561" y="496"/>
                  </a:lnTo>
                  <a:lnTo>
                    <a:pt x="12561" y="3393"/>
                  </a:lnTo>
                  <a:cubicBezTo>
                    <a:pt x="12561" y="3541"/>
                    <a:pt x="12494" y="3674"/>
                    <a:pt x="12398" y="3770"/>
                  </a:cubicBezTo>
                  <a:cubicBezTo>
                    <a:pt x="12302" y="3875"/>
                    <a:pt x="12161" y="3934"/>
                    <a:pt x="12014" y="3934"/>
                  </a:cubicBezTo>
                  <a:cubicBezTo>
                    <a:pt x="11717" y="3934"/>
                    <a:pt x="11471" y="3690"/>
                    <a:pt x="11471" y="3393"/>
                  </a:cubicBezTo>
                  <a:lnTo>
                    <a:pt x="11471" y="1592"/>
                  </a:lnTo>
                  <a:cubicBezTo>
                    <a:pt x="11471" y="1290"/>
                    <a:pt x="11227" y="1044"/>
                    <a:pt x="10923" y="1044"/>
                  </a:cubicBezTo>
                  <a:cubicBezTo>
                    <a:pt x="10776" y="1044"/>
                    <a:pt x="10642" y="1112"/>
                    <a:pt x="10537" y="1208"/>
                  </a:cubicBezTo>
                  <a:cubicBezTo>
                    <a:pt x="10441" y="1304"/>
                    <a:pt x="10383" y="1444"/>
                    <a:pt x="10383" y="1592"/>
                  </a:cubicBezTo>
                  <a:lnTo>
                    <a:pt x="10383" y="2734"/>
                  </a:lnTo>
                  <a:cubicBezTo>
                    <a:pt x="10383" y="2890"/>
                    <a:pt x="10324" y="3023"/>
                    <a:pt x="10219" y="3119"/>
                  </a:cubicBezTo>
                  <a:cubicBezTo>
                    <a:pt x="10123" y="3223"/>
                    <a:pt x="9990" y="3281"/>
                    <a:pt x="9835" y="3281"/>
                  </a:cubicBezTo>
                  <a:cubicBezTo>
                    <a:pt x="9538" y="3281"/>
                    <a:pt x="9293" y="3038"/>
                    <a:pt x="9293" y="2734"/>
                  </a:cubicBezTo>
                  <a:lnTo>
                    <a:pt x="9302" y="2734"/>
                  </a:lnTo>
                  <a:lnTo>
                    <a:pt x="9302" y="541"/>
                  </a:lnTo>
                  <a:cubicBezTo>
                    <a:pt x="9302" y="244"/>
                    <a:pt x="9056" y="0"/>
                    <a:pt x="875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6" name="Google Shape;5236;p53">
              <a:extLst>
                <a:ext uri="{FF2B5EF4-FFF2-40B4-BE49-F238E27FC236}">
                  <a16:creationId xmlns:a16="http://schemas.microsoft.com/office/drawing/2014/main" id="{992C8F3C-94BC-C54D-13C4-CC5973B8375A}"/>
                </a:ext>
              </a:extLst>
            </p:cNvPr>
            <p:cNvSpPr/>
            <p:nvPr/>
          </p:nvSpPr>
          <p:spPr>
            <a:xfrm>
              <a:off x="7593425" y="1342600"/>
              <a:ext cx="135975" cy="151375"/>
            </a:xfrm>
            <a:custGeom>
              <a:avLst/>
              <a:gdLst/>
              <a:ahLst/>
              <a:cxnLst/>
              <a:rect l="l" t="t" r="r" b="b"/>
              <a:pathLst>
                <a:path w="5439" h="6055" extrusionOk="0">
                  <a:moveTo>
                    <a:pt x="2815" y="1"/>
                  </a:moveTo>
                  <a:cubicBezTo>
                    <a:pt x="2163" y="1"/>
                    <a:pt x="1547" y="334"/>
                    <a:pt x="1147" y="897"/>
                  </a:cubicBezTo>
                  <a:lnTo>
                    <a:pt x="0" y="2528"/>
                  </a:lnTo>
                  <a:lnTo>
                    <a:pt x="0" y="2542"/>
                  </a:lnTo>
                  <a:lnTo>
                    <a:pt x="0" y="5514"/>
                  </a:lnTo>
                  <a:cubicBezTo>
                    <a:pt x="0" y="5809"/>
                    <a:pt x="244" y="6055"/>
                    <a:pt x="541" y="6055"/>
                  </a:cubicBezTo>
                  <a:cubicBezTo>
                    <a:pt x="695" y="6055"/>
                    <a:pt x="829" y="5996"/>
                    <a:pt x="925" y="5898"/>
                  </a:cubicBezTo>
                  <a:cubicBezTo>
                    <a:pt x="1030" y="5795"/>
                    <a:pt x="1088" y="5662"/>
                    <a:pt x="1088" y="5514"/>
                  </a:cubicBezTo>
                  <a:lnTo>
                    <a:pt x="1088" y="5284"/>
                  </a:lnTo>
                  <a:lnTo>
                    <a:pt x="1088" y="2542"/>
                  </a:lnTo>
                  <a:lnTo>
                    <a:pt x="1088" y="2313"/>
                  </a:lnTo>
                  <a:cubicBezTo>
                    <a:pt x="1088" y="2163"/>
                    <a:pt x="1147" y="2023"/>
                    <a:pt x="1245" y="1927"/>
                  </a:cubicBezTo>
                  <a:cubicBezTo>
                    <a:pt x="1348" y="1831"/>
                    <a:pt x="1481" y="1772"/>
                    <a:pt x="1629" y="1772"/>
                  </a:cubicBezTo>
                  <a:cubicBezTo>
                    <a:pt x="1933" y="1772"/>
                    <a:pt x="2179" y="2016"/>
                    <a:pt x="2179" y="2313"/>
                  </a:cubicBezTo>
                  <a:lnTo>
                    <a:pt x="2179" y="4506"/>
                  </a:lnTo>
                  <a:lnTo>
                    <a:pt x="2170" y="4506"/>
                  </a:lnTo>
                  <a:cubicBezTo>
                    <a:pt x="2170" y="4810"/>
                    <a:pt x="2415" y="5053"/>
                    <a:pt x="2712" y="5053"/>
                  </a:cubicBezTo>
                  <a:cubicBezTo>
                    <a:pt x="2867" y="5053"/>
                    <a:pt x="3000" y="4995"/>
                    <a:pt x="3096" y="4891"/>
                  </a:cubicBezTo>
                  <a:cubicBezTo>
                    <a:pt x="3201" y="4795"/>
                    <a:pt x="3260" y="4662"/>
                    <a:pt x="3260" y="4506"/>
                  </a:cubicBezTo>
                  <a:lnTo>
                    <a:pt x="3260" y="3364"/>
                  </a:lnTo>
                  <a:cubicBezTo>
                    <a:pt x="3260" y="3216"/>
                    <a:pt x="3318" y="3076"/>
                    <a:pt x="3414" y="2980"/>
                  </a:cubicBezTo>
                  <a:cubicBezTo>
                    <a:pt x="3519" y="2884"/>
                    <a:pt x="3653" y="2816"/>
                    <a:pt x="3800" y="2816"/>
                  </a:cubicBezTo>
                  <a:cubicBezTo>
                    <a:pt x="4104" y="2816"/>
                    <a:pt x="4348" y="3062"/>
                    <a:pt x="4348" y="3364"/>
                  </a:cubicBezTo>
                  <a:lnTo>
                    <a:pt x="4348" y="5165"/>
                  </a:lnTo>
                  <a:cubicBezTo>
                    <a:pt x="4348" y="5462"/>
                    <a:pt x="4594" y="5706"/>
                    <a:pt x="4891" y="5706"/>
                  </a:cubicBezTo>
                  <a:cubicBezTo>
                    <a:pt x="5038" y="5706"/>
                    <a:pt x="5179" y="5647"/>
                    <a:pt x="5275" y="5542"/>
                  </a:cubicBezTo>
                  <a:cubicBezTo>
                    <a:pt x="5371" y="5446"/>
                    <a:pt x="5438" y="5313"/>
                    <a:pt x="5438" y="5165"/>
                  </a:cubicBezTo>
                  <a:lnTo>
                    <a:pt x="5438" y="2268"/>
                  </a:lnTo>
                  <a:lnTo>
                    <a:pt x="4437" y="867"/>
                  </a:lnTo>
                  <a:cubicBezTo>
                    <a:pt x="4053" y="326"/>
                    <a:pt x="3452" y="1"/>
                    <a:pt x="281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7" name="Google Shape;5237;p53">
              <a:extLst>
                <a:ext uri="{FF2B5EF4-FFF2-40B4-BE49-F238E27FC236}">
                  <a16:creationId xmlns:a16="http://schemas.microsoft.com/office/drawing/2014/main" id="{57CDE18D-BCA9-962D-B397-DDFB5AADAC75}"/>
                </a:ext>
              </a:extLst>
            </p:cNvPr>
            <p:cNvSpPr/>
            <p:nvPr/>
          </p:nvSpPr>
          <p:spPr>
            <a:xfrm>
              <a:off x="7437400" y="1679925"/>
              <a:ext cx="3375" cy="425"/>
            </a:xfrm>
            <a:custGeom>
              <a:avLst/>
              <a:gdLst/>
              <a:ahLst/>
              <a:cxnLst/>
              <a:rect l="l" t="t" r="r" b="b"/>
              <a:pathLst>
                <a:path w="135" h="17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8"/>
                    <a:pt x="61" y="16"/>
                    <a:pt x="97" y="16"/>
                  </a:cubicBezTo>
                  <a:lnTo>
                    <a:pt x="134" y="16"/>
                  </a:lnTo>
                  <a:lnTo>
                    <a:pt x="97" y="16"/>
                  </a:lnTo>
                  <a:cubicBezTo>
                    <a:pt x="61" y="16"/>
                    <a:pt x="31" y="8"/>
                    <a:pt x="1" y="0"/>
                  </a:cubicBezTo>
                  <a:close/>
                </a:path>
              </a:pathLst>
            </a:custGeom>
            <a:solidFill>
              <a:srgbClr val="67717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8" name="Google Shape;5238;p53">
              <a:extLst>
                <a:ext uri="{FF2B5EF4-FFF2-40B4-BE49-F238E27FC236}">
                  <a16:creationId xmlns:a16="http://schemas.microsoft.com/office/drawing/2014/main" id="{922668E9-47FB-07F0-8187-1ADA721D9DD9}"/>
                </a:ext>
              </a:extLst>
            </p:cNvPr>
            <p:cNvSpPr/>
            <p:nvPr/>
          </p:nvSpPr>
          <p:spPr>
            <a:xfrm>
              <a:off x="7420900" y="1576550"/>
              <a:ext cx="371275" cy="103800"/>
            </a:xfrm>
            <a:custGeom>
              <a:avLst/>
              <a:gdLst/>
              <a:ahLst/>
              <a:cxnLst/>
              <a:rect l="l" t="t" r="r" b="b"/>
              <a:pathLst>
                <a:path w="14851" h="4152" extrusionOk="0">
                  <a:moveTo>
                    <a:pt x="661" y="4135"/>
                  </a:moveTo>
                  <a:cubicBezTo>
                    <a:pt x="691" y="4143"/>
                    <a:pt x="721" y="4151"/>
                    <a:pt x="757" y="4151"/>
                  </a:cubicBezTo>
                  <a:lnTo>
                    <a:pt x="6101" y="4151"/>
                  </a:lnTo>
                  <a:cubicBezTo>
                    <a:pt x="6101" y="4151"/>
                    <a:pt x="6101" y="4143"/>
                    <a:pt x="6108" y="4135"/>
                  </a:cubicBezTo>
                  <a:close/>
                  <a:moveTo>
                    <a:pt x="2076" y="1"/>
                  </a:moveTo>
                  <a:lnTo>
                    <a:pt x="179" y="2691"/>
                  </a:lnTo>
                  <a:cubicBezTo>
                    <a:pt x="69" y="2846"/>
                    <a:pt x="10" y="3024"/>
                    <a:pt x="1" y="3202"/>
                  </a:cubicBezTo>
                  <a:cubicBezTo>
                    <a:pt x="862" y="2661"/>
                    <a:pt x="2121" y="2313"/>
                    <a:pt x="3522" y="2313"/>
                  </a:cubicBezTo>
                  <a:cubicBezTo>
                    <a:pt x="4811" y="2313"/>
                    <a:pt x="5982" y="2602"/>
                    <a:pt x="6826" y="3068"/>
                  </a:cubicBezTo>
                  <a:cubicBezTo>
                    <a:pt x="7664" y="2231"/>
                    <a:pt x="8982" y="1683"/>
                    <a:pt x="10472" y="1683"/>
                  </a:cubicBezTo>
                  <a:cubicBezTo>
                    <a:pt x="12524" y="1683"/>
                    <a:pt x="14265" y="2720"/>
                    <a:pt x="14843" y="4151"/>
                  </a:cubicBezTo>
                  <a:lnTo>
                    <a:pt x="14850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9" name="Google Shape;5239;p53">
              <a:extLst>
                <a:ext uri="{FF2B5EF4-FFF2-40B4-BE49-F238E27FC236}">
                  <a16:creationId xmlns:a16="http://schemas.microsoft.com/office/drawing/2014/main" id="{0D026FEE-AB1C-A0BE-17E3-271FF9007747}"/>
                </a:ext>
              </a:extLst>
            </p:cNvPr>
            <p:cNvSpPr/>
            <p:nvPr/>
          </p:nvSpPr>
          <p:spPr>
            <a:xfrm>
              <a:off x="7697125" y="1146225"/>
              <a:ext cx="96725" cy="77300"/>
            </a:xfrm>
            <a:custGeom>
              <a:avLst/>
              <a:gdLst/>
              <a:ahLst/>
              <a:cxnLst/>
              <a:rect l="l" t="t" r="r" b="b"/>
              <a:pathLst>
                <a:path w="3869" h="3092" extrusionOk="0">
                  <a:moveTo>
                    <a:pt x="3647" y="1"/>
                  </a:moveTo>
                  <a:cubicBezTo>
                    <a:pt x="2706" y="1"/>
                    <a:pt x="1898" y="579"/>
                    <a:pt x="1557" y="1393"/>
                  </a:cubicBezTo>
                  <a:cubicBezTo>
                    <a:pt x="1505" y="1386"/>
                    <a:pt x="1445" y="1386"/>
                    <a:pt x="1393" y="1386"/>
                  </a:cubicBezTo>
                  <a:cubicBezTo>
                    <a:pt x="623" y="1386"/>
                    <a:pt x="1" y="2009"/>
                    <a:pt x="1" y="2772"/>
                  </a:cubicBezTo>
                  <a:cubicBezTo>
                    <a:pt x="1" y="2884"/>
                    <a:pt x="15" y="2987"/>
                    <a:pt x="38" y="3092"/>
                  </a:cubicBezTo>
                  <a:lnTo>
                    <a:pt x="3869" y="3092"/>
                  </a:lnTo>
                  <a:lnTo>
                    <a:pt x="3869" y="2217"/>
                  </a:lnTo>
                  <a:lnTo>
                    <a:pt x="3869" y="8"/>
                  </a:lnTo>
                  <a:cubicBezTo>
                    <a:pt x="3794" y="1"/>
                    <a:pt x="3721" y="1"/>
                    <a:pt x="3647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0" name="Google Shape;5240;p53">
              <a:extLst>
                <a:ext uri="{FF2B5EF4-FFF2-40B4-BE49-F238E27FC236}">
                  <a16:creationId xmlns:a16="http://schemas.microsoft.com/office/drawing/2014/main" id="{FFBE378C-703D-E4CC-2D93-8886DFCA7E45}"/>
                </a:ext>
              </a:extLst>
            </p:cNvPr>
            <p:cNvSpPr/>
            <p:nvPr/>
          </p:nvSpPr>
          <p:spPr>
            <a:xfrm>
              <a:off x="7397400" y="1634350"/>
              <a:ext cx="223250" cy="45600"/>
            </a:xfrm>
            <a:custGeom>
              <a:avLst/>
              <a:gdLst/>
              <a:ahLst/>
              <a:cxnLst/>
              <a:rect l="l" t="t" r="r" b="b"/>
              <a:pathLst>
                <a:path w="8930" h="1824" extrusionOk="0">
                  <a:moveTo>
                    <a:pt x="4462" y="1"/>
                  </a:moveTo>
                  <a:cubicBezTo>
                    <a:pt x="2364" y="1"/>
                    <a:pt x="585" y="772"/>
                    <a:pt x="0" y="1823"/>
                  </a:cubicBezTo>
                  <a:lnTo>
                    <a:pt x="8929" y="1823"/>
                  </a:lnTo>
                  <a:cubicBezTo>
                    <a:pt x="8344" y="772"/>
                    <a:pt x="6566" y="1"/>
                    <a:pt x="4462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1" name="Google Shape;5241;p53">
              <a:extLst>
                <a:ext uri="{FF2B5EF4-FFF2-40B4-BE49-F238E27FC236}">
                  <a16:creationId xmlns:a16="http://schemas.microsoft.com/office/drawing/2014/main" id="{667F765D-1113-249C-4AD6-A9FB4967308D}"/>
                </a:ext>
              </a:extLst>
            </p:cNvPr>
            <p:cNvSpPr/>
            <p:nvPr/>
          </p:nvSpPr>
          <p:spPr>
            <a:xfrm>
              <a:off x="7573175" y="1618625"/>
              <a:ext cx="218825" cy="62075"/>
            </a:xfrm>
            <a:custGeom>
              <a:avLst/>
              <a:gdLst/>
              <a:ahLst/>
              <a:cxnLst/>
              <a:rect l="l" t="t" r="r" b="b"/>
              <a:pathLst>
                <a:path w="8753" h="2483" extrusionOk="0">
                  <a:moveTo>
                    <a:pt x="4381" y="0"/>
                  </a:moveTo>
                  <a:cubicBezTo>
                    <a:pt x="2322" y="0"/>
                    <a:pt x="572" y="1046"/>
                    <a:pt x="1" y="2483"/>
                  </a:cubicBezTo>
                  <a:lnTo>
                    <a:pt x="8752" y="2483"/>
                  </a:lnTo>
                  <a:cubicBezTo>
                    <a:pt x="8181" y="1046"/>
                    <a:pt x="6440" y="0"/>
                    <a:pt x="438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2" name="Google Shape;5242;p53">
              <a:extLst>
                <a:ext uri="{FF2B5EF4-FFF2-40B4-BE49-F238E27FC236}">
                  <a16:creationId xmlns:a16="http://schemas.microsoft.com/office/drawing/2014/main" id="{07E275BF-5D48-EE17-1430-816FEAF8DAFE}"/>
                </a:ext>
              </a:extLst>
            </p:cNvPr>
            <p:cNvSpPr/>
            <p:nvPr/>
          </p:nvSpPr>
          <p:spPr>
            <a:xfrm>
              <a:off x="7615425" y="1633075"/>
              <a:ext cx="37450" cy="20775"/>
            </a:xfrm>
            <a:custGeom>
              <a:avLst/>
              <a:gdLst/>
              <a:ahLst/>
              <a:cxnLst/>
              <a:rect l="l" t="t" r="r" b="b"/>
              <a:pathLst>
                <a:path w="1498" h="831" extrusionOk="0">
                  <a:moveTo>
                    <a:pt x="978" y="0"/>
                  </a:moveTo>
                  <a:cubicBezTo>
                    <a:pt x="882" y="0"/>
                    <a:pt x="772" y="14"/>
                    <a:pt x="660" y="52"/>
                  </a:cubicBezTo>
                  <a:cubicBezTo>
                    <a:pt x="246" y="171"/>
                    <a:pt x="0" y="475"/>
                    <a:pt x="89" y="660"/>
                  </a:cubicBezTo>
                  <a:cubicBezTo>
                    <a:pt x="143" y="779"/>
                    <a:pt x="290" y="831"/>
                    <a:pt x="475" y="831"/>
                  </a:cubicBezTo>
                  <a:cubicBezTo>
                    <a:pt x="594" y="831"/>
                    <a:pt x="735" y="807"/>
                    <a:pt x="868" y="770"/>
                  </a:cubicBezTo>
                  <a:cubicBezTo>
                    <a:pt x="1224" y="667"/>
                    <a:pt x="1498" y="459"/>
                    <a:pt x="1467" y="260"/>
                  </a:cubicBezTo>
                  <a:cubicBezTo>
                    <a:pt x="1446" y="112"/>
                    <a:pt x="1245" y="0"/>
                    <a:pt x="978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3" name="Google Shape;5243;p53">
              <a:extLst>
                <a:ext uri="{FF2B5EF4-FFF2-40B4-BE49-F238E27FC236}">
                  <a16:creationId xmlns:a16="http://schemas.microsoft.com/office/drawing/2014/main" id="{B7451B41-B7B7-7D50-F4BD-5080E8ECD1C3}"/>
                </a:ext>
              </a:extLst>
            </p:cNvPr>
            <p:cNvSpPr/>
            <p:nvPr/>
          </p:nvSpPr>
          <p:spPr>
            <a:xfrm>
              <a:off x="7658600" y="1636225"/>
              <a:ext cx="19500" cy="10025"/>
            </a:xfrm>
            <a:custGeom>
              <a:avLst/>
              <a:gdLst/>
              <a:ahLst/>
              <a:cxnLst/>
              <a:rect l="l" t="t" r="r" b="b"/>
              <a:pathLst>
                <a:path w="780" h="401" extrusionOk="0">
                  <a:moveTo>
                    <a:pt x="393" y="0"/>
                  </a:moveTo>
                  <a:cubicBezTo>
                    <a:pt x="171" y="0"/>
                    <a:pt x="0" y="103"/>
                    <a:pt x="16" y="215"/>
                  </a:cubicBezTo>
                  <a:cubicBezTo>
                    <a:pt x="23" y="326"/>
                    <a:pt x="185" y="400"/>
                    <a:pt x="386" y="400"/>
                  </a:cubicBezTo>
                  <a:lnTo>
                    <a:pt x="393" y="400"/>
                  </a:lnTo>
                  <a:cubicBezTo>
                    <a:pt x="594" y="400"/>
                    <a:pt x="763" y="319"/>
                    <a:pt x="772" y="215"/>
                  </a:cubicBezTo>
                  <a:cubicBezTo>
                    <a:pt x="779" y="103"/>
                    <a:pt x="608" y="0"/>
                    <a:pt x="393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4" name="Google Shape;5244;p53">
              <a:extLst>
                <a:ext uri="{FF2B5EF4-FFF2-40B4-BE49-F238E27FC236}">
                  <a16:creationId xmlns:a16="http://schemas.microsoft.com/office/drawing/2014/main" id="{E9818CEF-FCB0-B1E0-BF15-581637EDE9B0}"/>
                </a:ext>
              </a:extLst>
            </p:cNvPr>
            <p:cNvSpPr/>
            <p:nvPr/>
          </p:nvSpPr>
          <p:spPr>
            <a:xfrm>
              <a:off x="7362400" y="1596950"/>
              <a:ext cx="43375" cy="54675"/>
            </a:xfrm>
            <a:custGeom>
              <a:avLst/>
              <a:gdLst/>
              <a:ahLst/>
              <a:cxnLst/>
              <a:rect l="l" t="t" r="r" b="b"/>
              <a:pathLst>
                <a:path w="1735" h="2187" extrusionOk="0">
                  <a:moveTo>
                    <a:pt x="867" y="1"/>
                  </a:moveTo>
                  <a:cubicBezTo>
                    <a:pt x="490" y="1"/>
                    <a:pt x="178" y="303"/>
                    <a:pt x="178" y="682"/>
                  </a:cubicBezTo>
                  <a:cubicBezTo>
                    <a:pt x="178" y="712"/>
                    <a:pt x="186" y="741"/>
                    <a:pt x="193" y="778"/>
                  </a:cubicBezTo>
                  <a:cubicBezTo>
                    <a:pt x="66" y="926"/>
                    <a:pt x="1" y="1112"/>
                    <a:pt x="1" y="1319"/>
                  </a:cubicBezTo>
                  <a:cubicBezTo>
                    <a:pt x="1" y="1801"/>
                    <a:pt x="385" y="2187"/>
                    <a:pt x="867" y="2187"/>
                  </a:cubicBezTo>
                  <a:cubicBezTo>
                    <a:pt x="1342" y="2187"/>
                    <a:pt x="1735" y="1801"/>
                    <a:pt x="1735" y="1319"/>
                  </a:cubicBezTo>
                  <a:cubicBezTo>
                    <a:pt x="1735" y="1112"/>
                    <a:pt x="1660" y="926"/>
                    <a:pt x="1541" y="778"/>
                  </a:cubicBezTo>
                  <a:cubicBezTo>
                    <a:pt x="1541" y="741"/>
                    <a:pt x="1550" y="712"/>
                    <a:pt x="1550" y="682"/>
                  </a:cubicBezTo>
                  <a:cubicBezTo>
                    <a:pt x="1550" y="303"/>
                    <a:pt x="1245" y="1"/>
                    <a:pt x="86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5" name="Google Shape;5245;p53">
              <a:extLst>
                <a:ext uri="{FF2B5EF4-FFF2-40B4-BE49-F238E27FC236}">
                  <a16:creationId xmlns:a16="http://schemas.microsoft.com/office/drawing/2014/main" id="{F53FB69D-29A9-F83E-D62E-FCE7DB209DB9}"/>
                </a:ext>
              </a:extLst>
            </p:cNvPr>
            <p:cNvSpPr/>
            <p:nvPr/>
          </p:nvSpPr>
          <p:spPr>
            <a:xfrm>
              <a:off x="7383875" y="1622125"/>
              <a:ext cx="1900" cy="57100"/>
            </a:xfrm>
            <a:custGeom>
              <a:avLst/>
              <a:gdLst/>
              <a:ahLst/>
              <a:cxnLst/>
              <a:rect l="l" t="t" r="r" b="b"/>
              <a:pathLst>
                <a:path w="76" h="2284" extrusionOk="0">
                  <a:moveTo>
                    <a:pt x="38" y="1"/>
                  </a:moveTo>
                  <a:lnTo>
                    <a:pt x="1" y="2247"/>
                  </a:lnTo>
                  <a:cubicBezTo>
                    <a:pt x="1" y="2268"/>
                    <a:pt x="15" y="2284"/>
                    <a:pt x="38" y="2284"/>
                  </a:cubicBezTo>
                  <a:cubicBezTo>
                    <a:pt x="59" y="2284"/>
                    <a:pt x="75" y="2268"/>
                    <a:pt x="75" y="2247"/>
                  </a:cubicBezTo>
                  <a:cubicBezTo>
                    <a:pt x="75" y="2247"/>
                    <a:pt x="59" y="1"/>
                    <a:pt x="38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6" name="Google Shape;5246;p53">
              <a:extLst>
                <a:ext uri="{FF2B5EF4-FFF2-40B4-BE49-F238E27FC236}">
                  <a16:creationId xmlns:a16="http://schemas.microsoft.com/office/drawing/2014/main" id="{BA426A71-E600-E6CA-0EFB-EB825AB7B2BC}"/>
                </a:ext>
              </a:extLst>
            </p:cNvPr>
            <p:cNvSpPr/>
            <p:nvPr/>
          </p:nvSpPr>
          <p:spPr>
            <a:xfrm>
              <a:off x="7373875" y="1635650"/>
              <a:ext cx="10950" cy="8900"/>
            </a:xfrm>
            <a:custGeom>
              <a:avLst/>
              <a:gdLst/>
              <a:ahLst/>
              <a:cxnLst/>
              <a:rect l="l" t="t" r="r" b="b"/>
              <a:pathLst>
                <a:path w="438" h="356" extrusionOk="0">
                  <a:moveTo>
                    <a:pt x="0" y="0"/>
                  </a:moveTo>
                  <a:cubicBezTo>
                    <a:pt x="205" y="342"/>
                    <a:pt x="404" y="356"/>
                    <a:pt x="434" y="356"/>
                  </a:cubicBezTo>
                  <a:cubicBezTo>
                    <a:pt x="437" y="356"/>
                    <a:pt x="438" y="356"/>
                    <a:pt x="438" y="356"/>
                  </a:cubicBezTo>
                  <a:lnTo>
                    <a:pt x="438" y="311"/>
                  </a:lnTo>
                  <a:cubicBezTo>
                    <a:pt x="438" y="311"/>
                    <a:pt x="434" y="314"/>
                    <a:pt x="422" y="314"/>
                  </a:cubicBezTo>
                  <a:cubicBezTo>
                    <a:pt x="396" y="314"/>
                    <a:pt x="334" y="300"/>
                    <a:pt x="201" y="208"/>
                  </a:cubicBezTo>
                  <a:cubicBezTo>
                    <a:pt x="82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7" name="Google Shape;5247;p53">
              <a:extLst>
                <a:ext uri="{FF2B5EF4-FFF2-40B4-BE49-F238E27FC236}">
                  <a16:creationId xmlns:a16="http://schemas.microsoft.com/office/drawing/2014/main" id="{92F612BC-B611-0D8A-7EA0-434C6CE320A5}"/>
                </a:ext>
              </a:extLst>
            </p:cNvPr>
            <p:cNvSpPr/>
            <p:nvPr/>
          </p:nvSpPr>
          <p:spPr>
            <a:xfrm>
              <a:off x="7384800" y="1633250"/>
              <a:ext cx="9450" cy="7625"/>
            </a:xfrm>
            <a:custGeom>
              <a:avLst/>
              <a:gdLst/>
              <a:ahLst/>
              <a:cxnLst/>
              <a:rect l="l" t="t" r="r" b="b"/>
              <a:pathLst>
                <a:path w="378" h="305" extrusionOk="0">
                  <a:moveTo>
                    <a:pt x="378" y="0"/>
                  </a:moveTo>
                  <a:cubicBezTo>
                    <a:pt x="378" y="0"/>
                    <a:pt x="305" y="105"/>
                    <a:pt x="209" y="171"/>
                  </a:cubicBezTo>
                  <a:cubicBezTo>
                    <a:pt x="96" y="250"/>
                    <a:pt x="41" y="263"/>
                    <a:pt x="17" y="263"/>
                  </a:cubicBezTo>
                  <a:cubicBezTo>
                    <a:pt x="5" y="263"/>
                    <a:pt x="1" y="260"/>
                    <a:pt x="1" y="260"/>
                  </a:cubicBezTo>
                  <a:lnTo>
                    <a:pt x="1" y="260"/>
                  </a:lnTo>
                  <a:lnTo>
                    <a:pt x="8" y="304"/>
                  </a:lnTo>
                  <a:cubicBezTo>
                    <a:pt x="8" y="304"/>
                    <a:pt x="8" y="304"/>
                    <a:pt x="9" y="304"/>
                  </a:cubicBezTo>
                  <a:cubicBezTo>
                    <a:pt x="24" y="304"/>
                    <a:pt x="194" y="298"/>
                    <a:pt x="378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8" name="Google Shape;5248;p53">
              <a:extLst>
                <a:ext uri="{FF2B5EF4-FFF2-40B4-BE49-F238E27FC236}">
                  <a16:creationId xmlns:a16="http://schemas.microsoft.com/office/drawing/2014/main" id="{1F033E70-7E27-50D2-2AC1-ADA8C41C7847}"/>
                </a:ext>
              </a:extLst>
            </p:cNvPr>
            <p:cNvSpPr/>
            <p:nvPr/>
          </p:nvSpPr>
          <p:spPr>
            <a:xfrm>
              <a:off x="7377200" y="1627850"/>
              <a:ext cx="7625" cy="6175"/>
            </a:xfrm>
            <a:custGeom>
              <a:avLst/>
              <a:gdLst/>
              <a:ahLst/>
              <a:cxnLst/>
              <a:rect l="l" t="t" r="r" b="b"/>
              <a:pathLst>
                <a:path w="305" h="247" extrusionOk="0">
                  <a:moveTo>
                    <a:pt x="1" y="1"/>
                  </a:moveTo>
                  <a:cubicBezTo>
                    <a:pt x="149" y="240"/>
                    <a:pt x="289" y="246"/>
                    <a:pt x="304" y="246"/>
                  </a:cubicBezTo>
                  <a:cubicBezTo>
                    <a:pt x="304" y="246"/>
                    <a:pt x="305" y="246"/>
                    <a:pt x="305" y="246"/>
                  </a:cubicBezTo>
                  <a:lnTo>
                    <a:pt x="305" y="209"/>
                  </a:lnTo>
                  <a:cubicBezTo>
                    <a:pt x="305" y="209"/>
                    <a:pt x="302" y="211"/>
                    <a:pt x="293" y="211"/>
                  </a:cubicBezTo>
                  <a:cubicBezTo>
                    <a:pt x="275" y="211"/>
                    <a:pt x="232" y="201"/>
                    <a:pt x="141" y="134"/>
                  </a:cubicBezTo>
                  <a:cubicBezTo>
                    <a:pt x="60" y="8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9" name="Google Shape;5249;p53">
              <a:extLst>
                <a:ext uri="{FF2B5EF4-FFF2-40B4-BE49-F238E27FC236}">
                  <a16:creationId xmlns:a16="http://schemas.microsoft.com/office/drawing/2014/main" id="{5EE8D116-E590-0955-E9EC-B8556BC080D1}"/>
                </a:ext>
              </a:extLst>
            </p:cNvPr>
            <p:cNvSpPr/>
            <p:nvPr/>
          </p:nvSpPr>
          <p:spPr>
            <a:xfrm>
              <a:off x="7673450" y="1502475"/>
              <a:ext cx="158950" cy="154700"/>
            </a:xfrm>
            <a:custGeom>
              <a:avLst/>
              <a:gdLst/>
              <a:ahLst/>
              <a:cxnLst/>
              <a:rect l="l" t="t" r="r" b="b"/>
              <a:pathLst>
                <a:path w="6358" h="6188" extrusionOk="0">
                  <a:moveTo>
                    <a:pt x="3090" y="1"/>
                  </a:moveTo>
                  <a:cubicBezTo>
                    <a:pt x="2978" y="1"/>
                    <a:pt x="2867" y="30"/>
                    <a:pt x="2771" y="90"/>
                  </a:cubicBezTo>
                  <a:cubicBezTo>
                    <a:pt x="2067" y="534"/>
                    <a:pt x="0" y="6188"/>
                    <a:pt x="3089" y="6188"/>
                  </a:cubicBezTo>
                  <a:cubicBezTo>
                    <a:pt x="6358" y="6188"/>
                    <a:pt x="4112" y="534"/>
                    <a:pt x="3415" y="90"/>
                  </a:cubicBezTo>
                  <a:cubicBezTo>
                    <a:pt x="3315" y="30"/>
                    <a:pt x="3202" y="1"/>
                    <a:pt x="3090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0" name="Google Shape;5250;p53">
              <a:extLst>
                <a:ext uri="{FF2B5EF4-FFF2-40B4-BE49-F238E27FC236}">
                  <a16:creationId xmlns:a16="http://schemas.microsoft.com/office/drawing/2014/main" id="{1F8F726E-9A0A-398F-BBC2-9CAC7911BE2E}"/>
                </a:ext>
              </a:extLst>
            </p:cNvPr>
            <p:cNvSpPr/>
            <p:nvPr/>
          </p:nvSpPr>
          <p:spPr>
            <a:xfrm>
              <a:off x="7673450" y="1504650"/>
              <a:ext cx="77250" cy="152525"/>
            </a:xfrm>
            <a:custGeom>
              <a:avLst/>
              <a:gdLst/>
              <a:ahLst/>
              <a:cxnLst/>
              <a:rect l="l" t="t" r="r" b="b"/>
              <a:pathLst>
                <a:path w="3090" h="6101" extrusionOk="0">
                  <a:moveTo>
                    <a:pt x="2776" y="1"/>
                  </a:moveTo>
                  <a:cubicBezTo>
                    <a:pt x="2775" y="1"/>
                    <a:pt x="2773" y="2"/>
                    <a:pt x="2771" y="3"/>
                  </a:cubicBezTo>
                  <a:cubicBezTo>
                    <a:pt x="2067" y="447"/>
                    <a:pt x="0" y="6101"/>
                    <a:pt x="3089" y="6101"/>
                  </a:cubicBezTo>
                  <a:cubicBezTo>
                    <a:pt x="3089" y="6101"/>
                    <a:pt x="2312" y="6033"/>
                    <a:pt x="2268" y="3826"/>
                  </a:cubicBezTo>
                  <a:cubicBezTo>
                    <a:pt x="2215" y="1638"/>
                    <a:pt x="2848" y="1"/>
                    <a:pt x="2776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1" name="Google Shape;5251;p53">
              <a:extLst>
                <a:ext uri="{FF2B5EF4-FFF2-40B4-BE49-F238E27FC236}">
                  <a16:creationId xmlns:a16="http://schemas.microsoft.com/office/drawing/2014/main" id="{BCB73F2C-0107-66B7-52F0-94CC65AB6E60}"/>
                </a:ext>
              </a:extLst>
            </p:cNvPr>
            <p:cNvSpPr/>
            <p:nvPr/>
          </p:nvSpPr>
          <p:spPr>
            <a:xfrm>
              <a:off x="7748275" y="1572725"/>
              <a:ext cx="11125" cy="107050"/>
            </a:xfrm>
            <a:custGeom>
              <a:avLst/>
              <a:gdLst/>
              <a:ahLst/>
              <a:cxnLst/>
              <a:rect l="l" t="t" r="r" b="b"/>
              <a:pathLst>
                <a:path w="445" h="4282" extrusionOk="0">
                  <a:moveTo>
                    <a:pt x="224" y="1"/>
                  </a:moveTo>
                  <a:cubicBezTo>
                    <a:pt x="223" y="1"/>
                    <a:pt x="222" y="6"/>
                    <a:pt x="222" y="20"/>
                  </a:cubicBezTo>
                  <a:lnTo>
                    <a:pt x="0" y="4281"/>
                  </a:lnTo>
                  <a:lnTo>
                    <a:pt x="445" y="4281"/>
                  </a:lnTo>
                  <a:cubicBezTo>
                    <a:pt x="430" y="2458"/>
                    <a:pt x="267" y="20"/>
                    <a:pt x="229" y="20"/>
                  </a:cubicBezTo>
                  <a:cubicBezTo>
                    <a:pt x="229" y="20"/>
                    <a:pt x="226" y="1"/>
                    <a:pt x="22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2" name="Google Shape;5252;p53">
              <a:extLst>
                <a:ext uri="{FF2B5EF4-FFF2-40B4-BE49-F238E27FC236}">
                  <a16:creationId xmlns:a16="http://schemas.microsoft.com/office/drawing/2014/main" id="{DF6998E1-9B4B-9A0D-53D4-535C7BAA51E5}"/>
                </a:ext>
              </a:extLst>
            </p:cNvPr>
            <p:cNvSpPr/>
            <p:nvPr/>
          </p:nvSpPr>
          <p:spPr>
            <a:xfrm>
              <a:off x="7723625" y="1610650"/>
              <a:ext cx="30400" cy="24475"/>
            </a:xfrm>
            <a:custGeom>
              <a:avLst/>
              <a:gdLst/>
              <a:ahLst/>
              <a:cxnLst/>
              <a:rect l="l" t="t" r="r" b="b"/>
              <a:pathLst>
                <a:path w="1216" h="979" extrusionOk="0">
                  <a:moveTo>
                    <a:pt x="1" y="1"/>
                  </a:moveTo>
                  <a:cubicBezTo>
                    <a:pt x="595" y="952"/>
                    <a:pt x="1136" y="979"/>
                    <a:pt x="1196" y="979"/>
                  </a:cubicBezTo>
                  <a:cubicBezTo>
                    <a:pt x="1199" y="979"/>
                    <a:pt x="1201" y="979"/>
                    <a:pt x="1201" y="979"/>
                  </a:cubicBezTo>
                  <a:lnTo>
                    <a:pt x="1215" y="838"/>
                  </a:lnTo>
                  <a:lnTo>
                    <a:pt x="1215" y="838"/>
                  </a:lnTo>
                  <a:cubicBezTo>
                    <a:pt x="1215" y="838"/>
                    <a:pt x="1203" y="847"/>
                    <a:pt x="1168" y="847"/>
                  </a:cubicBezTo>
                  <a:cubicBezTo>
                    <a:pt x="1093" y="847"/>
                    <a:pt x="919" y="806"/>
                    <a:pt x="556" y="548"/>
                  </a:cubicBezTo>
                  <a:cubicBezTo>
                    <a:pt x="245" y="33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3" name="Google Shape;5253;p53">
              <a:extLst>
                <a:ext uri="{FF2B5EF4-FFF2-40B4-BE49-F238E27FC236}">
                  <a16:creationId xmlns:a16="http://schemas.microsoft.com/office/drawing/2014/main" id="{DC32D606-3D26-9E85-5CA6-6713F93A651C}"/>
                </a:ext>
              </a:extLst>
            </p:cNvPr>
            <p:cNvSpPr/>
            <p:nvPr/>
          </p:nvSpPr>
          <p:spPr>
            <a:xfrm>
              <a:off x="7754000" y="1603800"/>
              <a:ext cx="25600" cy="20750"/>
            </a:xfrm>
            <a:custGeom>
              <a:avLst/>
              <a:gdLst/>
              <a:ahLst/>
              <a:cxnLst/>
              <a:rect l="l" t="t" r="r" b="b"/>
              <a:pathLst>
                <a:path w="1024" h="830" extrusionOk="0">
                  <a:moveTo>
                    <a:pt x="1023" y="1"/>
                  </a:moveTo>
                  <a:lnTo>
                    <a:pt x="1023" y="1"/>
                  </a:lnTo>
                  <a:cubicBezTo>
                    <a:pt x="1023" y="1"/>
                    <a:pt x="824" y="282"/>
                    <a:pt x="557" y="467"/>
                  </a:cubicBezTo>
                  <a:cubicBezTo>
                    <a:pt x="255" y="685"/>
                    <a:pt x="108" y="721"/>
                    <a:pt x="44" y="721"/>
                  </a:cubicBezTo>
                  <a:cubicBezTo>
                    <a:pt x="12" y="721"/>
                    <a:pt x="0" y="712"/>
                    <a:pt x="0" y="712"/>
                  </a:cubicBezTo>
                  <a:lnTo>
                    <a:pt x="0" y="712"/>
                  </a:lnTo>
                  <a:lnTo>
                    <a:pt x="8" y="830"/>
                  </a:lnTo>
                  <a:cubicBezTo>
                    <a:pt x="8" y="830"/>
                    <a:pt x="10" y="830"/>
                    <a:pt x="14" y="830"/>
                  </a:cubicBezTo>
                  <a:cubicBezTo>
                    <a:pt x="72" y="830"/>
                    <a:pt x="531" y="803"/>
                    <a:pt x="1023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4" name="Google Shape;5254;p53">
              <a:extLst>
                <a:ext uri="{FF2B5EF4-FFF2-40B4-BE49-F238E27FC236}">
                  <a16:creationId xmlns:a16="http://schemas.microsoft.com/office/drawing/2014/main" id="{C7A66B6F-C5FD-7884-FD47-64C5A7E28AFC}"/>
                </a:ext>
              </a:extLst>
            </p:cNvPr>
            <p:cNvSpPr/>
            <p:nvPr/>
          </p:nvSpPr>
          <p:spPr>
            <a:xfrm>
              <a:off x="7733225" y="1588950"/>
              <a:ext cx="20800" cy="16700"/>
            </a:xfrm>
            <a:custGeom>
              <a:avLst/>
              <a:gdLst/>
              <a:ahLst/>
              <a:cxnLst/>
              <a:rect l="l" t="t" r="r" b="b"/>
              <a:pathLst>
                <a:path w="832" h="668" extrusionOk="0">
                  <a:moveTo>
                    <a:pt x="1" y="1"/>
                  </a:moveTo>
                  <a:lnTo>
                    <a:pt x="1" y="1"/>
                  </a:lnTo>
                  <a:cubicBezTo>
                    <a:pt x="398" y="648"/>
                    <a:pt x="774" y="668"/>
                    <a:pt x="820" y="668"/>
                  </a:cubicBezTo>
                  <a:cubicBezTo>
                    <a:pt x="823" y="668"/>
                    <a:pt x="824" y="668"/>
                    <a:pt x="824" y="668"/>
                  </a:cubicBezTo>
                  <a:lnTo>
                    <a:pt x="831" y="572"/>
                  </a:lnTo>
                  <a:lnTo>
                    <a:pt x="831" y="572"/>
                  </a:lnTo>
                  <a:cubicBezTo>
                    <a:pt x="831" y="572"/>
                    <a:pt x="821" y="580"/>
                    <a:pt x="793" y="580"/>
                  </a:cubicBezTo>
                  <a:cubicBezTo>
                    <a:pt x="739" y="580"/>
                    <a:pt x="618" y="550"/>
                    <a:pt x="380" y="380"/>
                  </a:cubicBezTo>
                  <a:cubicBezTo>
                    <a:pt x="165" y="23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5" name="Google Shape;5255;p53">
              <a:extLst>
                <a:ext uri="{FF2B5EF4-FFF2-40B4-BE49-F238E27FC236}">
                  <a16:creationId xmlns:a16="http://schemas.microsoft.com/office/drawing/2014/main" id="{94B5FB0F-DABB-AA7B-C10C-09A63AF7FD63}"/>
                </a:ext>
              </a:extLst>
            </p:cNvPr>
            <p:cNvSpPr/>
            <p:nvPr/>
          </p:nvSpPr>
          <p:spPr>
            <a:xfrm>
              <a:off x="7517600" y="1556875"/>
              <a:ext cx="110650" cy="107700"/>
            </a:xfrm>
            <a:custGeom>
              <a:avLst/>
              <a:gdLst/>
              <a:ahLst/>
              <a:cxnLst/>
              <a:rect l="l" t="t" r="r" b="b"/>
              <a:pathLst>
                <a:path w="4426" h="4308" extrusionOk="0">
                  <a:moveTo>
                    <a:pt x="2151" y="1"/>
                  </a:moveTo>
                  <a:cubicBezTo>
                    <a:pt x="2073" y="1"/>
                    <a:pt x="1995" y="21"/>
                    <a:pt x="1929" y="62"/>
                  </a:cubicBezTo>
                  <a:cubicBezTo>
                    <a:pt x="1440" y="366"/>
                    <a:pt x="1" y="4307"/>
                    <a:pt x="2151" y="4307"/>
                  </a:cubicBezTo>
                  <a:cubicBezTo>
                    <a:pt x="4425" y="4307"/>
                    <a:pt x="2862" y="366"/>
                    <a:pt x="2373" y="62"/>
                  </a:cubicBezTo>
                  <a:cubicBezTo>
                    <a:pt x="2307" y="21"/>
                    <a:pt x="2229" y="1"/>
                    <a:pt x="2151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6" name="Google Shape;5256;p53">
              <a:extLst>
                <a:ext uri="{FF2B5EF4-FFF2-40B4-BE49-F238E27FC236}">
                  <a16:creationId xmlns:a16="http://schemas.microsoft.com/office/drawing/2014/main" id="{475907D8-B032-68AD-7288-2B96DA059BAF}"/>
                </a:ext>
              </a:extLst>
            </p:cNvPr>
            <p:cNvSpPr/>
            <p:nvPr/>
          </p:nvSpPr>
          <p:spPr>
            <a:xfrm>
              <a:off x="7517600" y="1558375"/>
              <a:ext cx="53775" cy="106200"/>
            </a:xfrm>
            <a:custGeom>
              <a:avLst/>
              <a:gdLst/>
              <a:ahLst/>
              <a:cxnLst/>
              <a:rect l="l" t="t" r="r" b="b"/>
              <a:pathLst>
                <a:path w="2151" h="4248" extrusionOk="0">
                  <a:moveTo>
                    <a:pt x="1932" y="1"/>
                  </a:moveTo>
                  <a:cubicBezTo>
                    <a:pt x="1931" y="1"/>
                    <a:pt x="1930" y="1"/>
                    <a:pt x="1929" y="2"/>
                  </a:cubicBezTo>
                  <a:cubicBezTo>
                    <a:pt x="1440" y="306"/>
                    <a:pt x="1" y="4247"/>
                    <a:pt x="2151" y="4247"/>
                  </a:cubicBezTo>
                  <a:cubicBezTo>
                    <a:pt x="2151" y="4247"/>
                    <a:pt x="1610" y="4203"/>
                    <a:pt x="1580" y="2663"/>
                  </a:cubicBezTo>
                  <a:cubicBezTo>
                    <a:pt x="1543" y="1142"/>
                    <a:pt x="1985" y="1"/>
                    <a:pt x="1932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7" name="Google Shape;5257;p53">
              <a:extLst>
                <a:ext uri="{FF2B5EF4-FFF2-40B4-BE49-F238E27FC236}">
                  <a16:creationId xmlns:a16="http://schemas.microsoft.com/office/drawing/2014/main" id="{D22358E3-FD24-5B9D-A54C-DC8FC0FB77A2}"/>
                </a:ext>
              </a:extLst>
            </p:cNvPr>
            <p:cNvSpPr/>
            <p:nvPr/>
          </p:nvSpPr>
          <p:spPr>
            <a:xfrm>
              <a:off x="7569675" y="1605800"/>
              <a:ext cx="7800" cy="74550"/>
            </a:xfrm>
            <a:custGeom>
              <a:avLst/>
              <a:gdLst/>
              <a:ahLst/>
              <a:cxnLst/>
              <a:rect l="l" t="t" r="r" b="b"/>
              <a:pathLst>
                <a:path w="312" h="2982" extrusionOk="0">
                  <a:moveTo>
                    <a:pt x="159" y="0"/>
                  </a:moveTo>
                  <a:cubicBezTo>
                    <a:pt x="158" y="0"/>
                    <a:pt x="157" y="4"/>
                    <a:pt x="157" y="17"/>
                  </a:cubicBezTo>
                  <a:lnTo>
                    <a:pt x="0" y="2981"/>
                  </a:lnTo>
                  <a:lnTo>
                    <a:pt x="312" y="2981"/>
                  </a:lnTo>
                  <a:cubicBezTo>
                    <a:pt x="304" y="1713"/>
                    <a:pt x="185" y="17"/>
                    <a:pt x="164" y="17"/>
                  </a:cubicBezTo>
                  <a:cubicBezTo>
                    <a:pt x="164" y="17"/>
                    <a:pt x="161" y="0"/>
                    <a:pt x="159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8" name="Google Shape;5258;p53">
              <a:extLst>
                <a:ext uri="{FF2B5EF4-FFF2-40B4-BE49-F238E27FC236}">
                  <a16:creationId xmlns:a16="http://schemas.microsoft.com/office/drawing/2014/main" id="{C1453878-8BF8-4C72-620E-87F649EB7E18}"/>
                </a:ext>
              </a:extLst>
            </p:cNvPr>
            <p:cNvSpPr/>
            <p:nvPr/>
          </p:nvSpPr>
          <p:spPr>
            <a:xfrm>
              <a:off x="7552650" y="1632125"/>
              <a:ext cx="20950" cy="17100"/>
            </a:xfrm>
            <a:custGeom>
              <a:avLst/>
              <a:gdLst/>
              <a:ahLst/>
              <a:cxnLst/>
              <a:rect l="l" t="t" r="r" b="b"/>
              <a:pathLst>
                <a:path w="838" h="684" extrusionOk="0">
                  <a:moveTo>
                    <a:pt x="0" y="1"/>
                  </a:moveTo>
                  <a:lnTo>
                    <a:pt x="0" y="1"/>
                  </a:lnTo>
                  <a:cubicBezTo>
                    <a:pt x="406" y="665"/>
                    <a:pt x="785" y="684"/>
                    <a:pt x="827" y="684"/>
                  </a:cubicBezTo>
                  <a:cubicBezTo>
                    <a:pt x="829" y="684"/>
                    <a:pt x="831" y="684"/>
                    <a:pt x="831" y="684"/>
                  </a:cubicBezTo>
                  <a:lnTo>
                    <a:pt x="838" y="586"/>
                  </a:lnTo>
                  <a:lnTo>
                    <a:pt x="838" y="586"/>
                  </a:lnTo>
                  <a:cubicBezTo>
                    <a:pt x="838" y="586"/>
                    <a:pt x="830" y="592"/>
                    <a:pt x="806" y="592"/>
                  </a:cubicBezTo>
                  <a:cubicBezTo>
                    <a:pt x="757" y="592"/>
                    <a:pt x="639" y="564"/>
                    <a:pt x="386" y="387"/>
                  </a:cubicBezTo>
                  <a:cubicBezTo>
                    <a:pt x="164" y="23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9" name="Google Shape;5259;p53">
              <a:extLst>
                <a:ext uri="{FF2B5EF4-FFF2-40B4-BE49-F238E27FC236}">
                  <a16:creationId xmlns:a16="http://schemas.microsoft.com/office/drawing/2014/main" id="{E069E28D-15DC-E70B-E3DD-0C9A180DCA8C}"/>
                </a:ext>
              </a:extLst>
            </p:cNvPr>
            <p:cNvSpPr/>
            <p:nvPr/>
          </p:nvSpPr>
          <p:spPr>
            <a:xfrm>
              <a:off x="7573575" y="1627500"/>
              <a:ext cx="18000" cy="14475"/>
            </a:xfrm>
            <a:custGeom>
              <a:avLst/>
              <a:gdLst/>
              <a:ahLst/>
              <a:cxnLst/>
              <a:rect l="l" t="t" r="r" b="b"/>
              <a:pathLst>
                <a:path w="720" h="579" extrusionOk="0">
                  <a:moveTo>
                    <a:pt x="719" y="1"/>
                  </a:moveTo>
                  <a:cubicBezTo>
                    <a:pt x="719" y="1"/>
                    <a:pt x="579" y="193"/>
                    <a:pt x="394" y="326"/>
                  </a:cubicBezTo>
                  <a:cubicBezTo>
                    <a:pt x="184" y="472"/>
                    <a:pt x="81" y="497"/>
                    <a:pt x="34" y="497"/>
                  </a:cubicBezTo>
                  <a:cubicBezTo>
                    <a:pt x="10" y="497"/>
                    <a:pt x="1" y="490"/>
                    <a:pt x="1" y="490"/>
                  </a:cubicBezTo>
                  <a:lnTo>
                    <a:pt x="1" y="490"/>
                  </a:lnTo>
                  <a:lnTo>
                    <a:pt x="8" y="579"/>
                  </a:lnTo>
                  <a:cubicBezTo>
                    <a:pt x="8" y="579"/>
                    <a:pt x="9" y="579"/>
                    <a:pt x="10" y="579"/>
                  </a:cubicBezTo>
                  <a:cubicBezTo>
                    <a:pt x="39" y="579"/>
                    <a:pt x="366" y="566"/>
                    <a:pt x="71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0" name="Google Shape;5260;p53">
              <a:extLst>
                <a:ext uri="{FF2B5EF4-FFF2-40B4-BE49-F238E27FC236}">
                  <a16:creationId xmlns:a16="http://schemas.microsoft.com/office/drawing/2014/main" id="{5BF15A07-DD3A-F627-5A41-69FDD3C77383}"/>
                </a:ext>
              </a:extLst>
            </p:cNvPr>
            <p:cNvSpPr/>
            <p:nvPr/>
          </p:nvSpPr>
          <p:spPr>
            <a:xfrm>
              <a:off x="7559125" y="1617150"/>
              <a:ext cx="14475" cy="11675"/>
            </a:xfrm>
            <a:custGeom>
              <a:avLst/>
              <a:gdLst/>
              <a:ahLst/>
              <a:cxnLst/>
              <a:rect l="l" t="t" r="r" b="b"/>
              <a:pathLst>
                <a:path w="579" h="467" extrusionOk="0">
                  <a:moveTo>
                    <a:pt x="1" y="0"/>
                  </a:moveTo>
                  <a:lnTo>
                    <a:pt x="1" y="0"/>
                  </a:lnTo>
                  <a:cubicBezTo>
                    <a:pt x="296" y="460"/>
                    <a:pt x="563" y="466"/>
                    <a:pt x="578" y="466"/>
                  </a:cubicBezTo>
                  <a:cubicBezTo>
                    <a:pt x="579" y="466"/>
                    <a:pt x="579" y="466"/>
                    <a:pt x="579" y="466"/>
                  </a:cubicBezTo>
                  <a:lnTo>
                    <a:pt x="579" y="393"/>
                  </a:lnTo>
                  <a:cubicBezTo>
                    <a:pt x="579" y="393"/>
                    <a:pt x="571" y="400"/>
                    <a:pt x="550" y="400"/>
                  </a:cubicBezTo>
                  <a:cubicBezTo>
                    <a:pt x="511" y="400"/>
                    <a:pt x="429" y="379"/>
                    <a:pt x="268" y="260"/>
                  </a:cubicBezTo>
                  <a:cubicBezTo>
                    <a:pt x="118" y="15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1" name="Google Shape;5261;p53">
              <a:extLst>
                <a:ext uri="{FF2B5EF4-FFF2-40B4-BE49-F238E27FC236}">
                  <a16:creationId xmlns:a16="http://schemas.microsoft.com/office/drawing/2014/main" id="{F1B4CC0B-F10D-9D79-B178-ABEE69EDB871}"/>
                </a:ext>
              </a:extLst>
            </p:cNvPr>
            <p:cNvSpPr/>
            <p:nvPr/>
          </p:nvSpPr>
          <p:spPr>
            <a:xfrm>
              <a:off x="7639875" y="1540475"/>
              <a:ext cx="120475" cy="117250"/>
            </a:xfrm>
            <a:custGeom>
              <a:avLst/>
              <a:gdLst/>
              <a:ahLst/>
              <a:cxnLst/>
              <a:rect l="l" t="t" r="r" b="b"/>
              <a:pathLst>
                <a:path w="4819" h="4690" extrusionOk="0">
                  <a:moveTo>
                    <a:pt x="2476" y="1"/>
                  </a:moveTo>
                  <a:cubicBezTo>
                    <a:pt x="2391" y="1"/>
                    <a:pt x="2306" y="25"/>
                    <a:pt x="2232" y="73"/>
                  </a:cubicBezTo>
                  <a:cubicBezTo>
                    <a:pt x="1699" y="407"/>
                    <a:pt x="0" y="4689"/>
                    <a:pt x="2476" y="4689"/>
                  </a:cubicBezTo>
                  <a:cubicBezTo>
                    <a:pt x="4818" y="4689"/>
                    <a:pt x="3255" y="407"/>
                    <a:pt x="2721" y="73"/>
                  </a:cubicBezTo>
                  <a:cubicBezTo>
                    <a:pt x="2647" y="25"/>
                    <a:pt x="2561" y="1"/>
                    <a:pt x="2476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2" name="Google Shape;5262;p53">
              <a:extLst>
                <a:ext uri="{FF2B5EF4-FFF2-40B4-BE49-F238E27FC236}">
                  <a16:creationId xmlns:a16="http://schemas.microsoft.com/office/drawing/2014/main" id="{3AC75B38-337C-5E49-D05B-C904A2203A3E}"/>
                </a:ext>
              </a:extLst>
            </p:cNvPr>
            <p:cNvSpPr/>
            <p:nvPr/>
          </p:nvSpPr>
          <p:spPr>
            <a:xfrm>
              <a:off x="7641750" y="1545575"/>
              <a:ext cx="56350" cy="111425"/>
            </a:xfrm>
            <a:custGeom>
              <a:avLst/>
              <a:gdLst/>
              <a:ahLst/>
              <a:cxnLst/>
              <a:rect l="l" t="t" r="r" b="b"/>
              <a:pathLst>
                <a:path w="2254" h="4457" extrusionOk="0">
                  <a:moveTo>
                    <a:pt x="2028" y="0"/>
                  </a:moveTo>
                  <a:cubicBezTo>
                    <a:pt x="2027" y="0"/>
                    <a:pt x="2025" y="1"/>
                    <a:pt x="2024" y="2"/>
                  </a:cubicBezTo>
                  <a:cubicBezTo>
                    <a:pt x="1505" y="322"/>
                    <a:pt x="0" y="4457"/>
                    <a:pt x="2253" y="4457"/>
                  </a:cubicBezTo>
                  <a:cubicBezTo>
                    <a:pt x="2253" y="4457"/>
                    <a:pt x="1690" y="4412"/>
                    <a:pt x="1652" y="2796"/>
                  </a:cubicBezTo>
                  <a:cubicBezTo>
                    <a:pt x="1616" y="1200"/>
                    <a:pt x="2077" y="0"/>
                    <a:pt x="202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3" name="Google Shape;5263;p53">
              <a:extLst>
                <a:ext uri="{FF2B5EF4-FFF2-40B4-BE49-F238E27FC236}">
                  <a16:creationId xmlns:a16="http://schemas.microsoft.com/office/drawing/2014/main" id="{207019E3-53B7-012C-55BF-744D4343FFAD}"/>
                </a:ext>
              </a:extLst>
            </p:cNvPr>
            <p:cNvSpPr/>
            <p:nvPr/>
          </p:nvSpPr>
          <p:spPr>
            <a:xfrm>
              <a:off x="7696200" y="1601350"/>
              <a:ext cx="8175" cy="79525"/>
            </a:xfrm>
            <a:custGeom>
              <a:avLst/>
              <a:gdLst/>
              <a:ahLst/>
              <a:cxnLst/>
              <a:rect l="l" t="t" r="r" b="b"/>
              <a:pathLst>
                <a:path w="327" h="3181" extrusionOk="0">
                  <a:moveTo>
                    <a:pt x="166" y="0"/>
                  </a:moveTo>
                  <a:cubicBezTo>
                    <a:pt x="165" y="0"/>
                    <a:pt x="164" y="5"/>
                    <a:pt x="164" y="17"/>
                  </a:cubicBezTo>
                  <a:lnTo>
                    <a:pt x="1" y="3181"/>
                  </a:lnTo>
                  <a:cubicBezTo>
                    <a:pt x="13" y="3178"/>
                    <a:pt x="49" y="3178"/>
                    <a:pt x="94" y="3178"/>
                  </a:cubicBezTo>
                  <a:cubicBezTo>
                    <a:pt x="182" y="3178"/>
                    <a:pt x="302" y="3181"/>
                    <a:pt x="326" y="3181"/>
                  </a:cubicBezTo>
                  <a:cubicBezTo>
                    <a:pt x="319" y="1826"/>
                    <a:pt x="193" y="17"/>
                    <a:pt x="171" y="17"/>
                  </a:cubicBezTo>
                  <a:cubicBezTo>
                    <a:pt x="171" y="17"/>
                    <a:pt x="168" y="0"/>
                    <a:pt x="166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4" name="Google Shape;5264;p53">
              <a:extLst>
                <a:ext uri="{FF2B5EF4-FFF2-40B4-BE49-F238E27FC236}">
                  <a16:creationId xmlns:a16="http://schemas.microsoft.com/office/drawing/2014/main" id="{17136127-1483-5E06-75A8-3DD51EB6F57D}"/>
                </a:ext>
              </a:extLst>
            </p:cNvPr>
            <p:cNvSpPr/>
            <p:nvPr/>
          </p:nvSpPr>
          <p:spPr>
            <a:xfrm>
              <a:off x="7677875" y="1629375"/>
              <a:ext cx="22450" cy="18175"/>
            </a:xfrm>
            <a:custGeom>
              <a:avLst/>
              <a:gdLst/>
              <a:ahLst/>
              <a:cxnLst/>
              <a:rect l="l" t="t" r="r" b="b"/>
              <a:pathLst>
                <a:path w="898" h="727" extrusionOk="0">
                  <a:moveTo>
                    <a:pt x="1" y="0"/>
                  </a:moveTo>
                  <a:lnTo>
                    <a:pt x="1" y="0"/>
                  </a:lnTo>
                  <a:cubicBezTo>
                    <a:pt x="433" y="706"/>
                    <a:pt x="840" y="726"/>
                    <a:pt x="886" y="726"/>
                  </a:cubicBezTo>
                  <a:cubicBezTo>
                    <a:pt x="889" y="726"/>
                    <a:pt x="890" y="726"/>
                    <a:pt x="890" y="726"/>
                  </a:cubicBezTo>
                  <a:lnTo>
                    <a:pt x="897" y="623"/>
                  </a:lnTo>
                  <a:lnTo>
                    <a:pt x="897" y="623"/>
                  </a:lnTo>
                  <a:cubicBezTo>
                    <a:pt x="897" y="623"/>
                    <a:pt x="888" y="630"/>
                    <a:pt x="862" y="630"/>
                  </a:cubicBezTo>
                  <a:cubicBezTo>
                    <a:pt x="807" y="630"/>
                    <a:pt x="678" y="600"/>
                    <a:pt x="408" y="415"/>
                  </a:cubicBezTo>
                  <a:cubicBezTo>
                    <a:pt x="179" y="25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5" name="Google Shape;5265;p53">
              <a:extLst>
                <a:ext uri="{FF2B5EF4-FFF2-40B4-BE49-F238E27FC236}">
                  <a16:creationId xmlns:a16="http://schemas.microsoft.com/office/drawing/2014/main" id="{05467856-FEAA-FD85-0F4A-F2E7632AC7FB}"/>
                </a:ext>
              </a:extLst>
            </p:cNvPr>
            <p:cNvSpPr/>
            <p:nvPr/>
          </p:nvSpPr>
          <p:spPr>
            <a:xfrm>
              <a:off x="7700300" y="162435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1"/>
                    <a:pt x="615" y="209"/>
                    <a:pt x="415" y="349"/>
                  </a:cubicBezTo>
                  <a:cubicBezTo>
                    <a:pt x="192" y="507"/>
                    <a:pt x="82" y="533"/>
                    <a:pt x="33" y="533"/>
                  </a:cubicBezTo>
                  <a:cubicBezTo>
                    <a:pt x="9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9" y="616"/>
                    <a:pt x="12" y="616"/>
                  </a:cubicBezTo>
                  <a:cubicBezTo>
                    <a:pt x="56" y="616"/>
                    <a:pt x="397" y="596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6" name="Google Shape;5266;p53">
              <a:extLst>
                <a:ext uri="{FF2B5EF4-FFF2-40B4-BE49-F238E27FC236}">
                  <a16:creationId xmlns:a16="http://schemas.microsoft.com/office/drawing/2014/main" id="{EE36CFC9-F01B-72BB-F1BA-21304BA388AB}"/>
                </a:ext>
              </a:extLst>
            </p:cNvPr>
            <p:cNvSpPr/>
            <p:nvPr/>
          </p:nvSpPr>
          <p:spPr>
            <a:xfrm>
              <a:off x="7684900" y="1613225"/>
              <a:ext cx="15425" cy="12650"/>
            </a:xfrm>
            <a:custGeom>
              <a:avLst/>
              <a:gdLst/>
              <a:ahLst/>
              <a:cxnLst/>
              <a:rect l="l" t="t" r="r" b="b"/>
              <a:pathLst>
                <a:path w="617" h="506" extrusionOk="0">
                  <a:moveTo>
                    <a:pt x="1" y="1"/>
                  </a:moveTo>
                  <a:lnTo>
                    <a:pt x="1" y="1"/>
                  </a:lnTo>
                  <a:cubicBezTo>
                    <a:pt x="303" y="493"/>
                    <a:pt x="579" y="506"/>
                    <a:pt x="607" y="506"/>
                  </a:cubicBezTo>
                  <a:cubicBezTo>
                    <a:pt x="608" y="506"/>
                    <a:pt x="609" y="506"/>
                    <a:pt x="609" y="506"/>
                  </a:cubicBezTo>
                  <a:lnTo>
                    <a:pt x="616" y="431"/>
                  </a:lnTo>
                  <a:lnTo>
                    <a:pt x="616" y="431"/>
                  </a:lnTo>
                  <a:cubicBezTo>
                    <a:pt x="616" y="431"/>
                    <a:pt x="610" y="436"/>
                    <a:pt x="593" y="436"/>
                  </a:cubicBezTo>
                  <a:cubicBezTo>
                    <a:pt x="557" y="436"/>
                    <a:pt x="469" y="415"/>
                    <a:pt x="282" y="284"/>
                  </a:cubicBezTo>
                  <a:cubicBezTo>
                    <a:pt x="127" y="17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7" name="Google Shape;5267;p53">
              <a:extLst>
                <a:ext uri="{FF2B5EF4-FFF2-40B4-BE49-F238E27FC236}">
                  <a16:creationId xmlns:a16="http://schemas.microsoft.com/office/drawing/2014/main" id="{E273D158-69F7-3D38-55A8-8BF283E8CAB5}"/>
                </a:ext>
              </a:extLst>
            </p:cNvPr>
            <p:cNvSpPr/>
            <p:nvPr/>
          </p:nvSpPr>
          <p:spPr>
            <a:xfrm>
              <a:off x="7421675" y="1540075"/>
              <a:ext cx="120425" cy="117100"/>
            </a:xfrm>
            <a:custGeom>
              <a:avLst/>
              <a:gdLst/>
              <a:ahLst/>
              <a:cxnLst/>
              <a:rect l="l" t="t" r="r" b="b"/>
              <a:pathLst>
                <a:path w="4817" h="4684" extrusionOk="0">
                  <a:moveTo>
                    <a:pt x="2475" y="1"/>
                  </a:moveTo>
                  <a:cubicBezTo>
                    <a:pt x="2390" y="1"/>
                    <a:pt x="2305" y="23"/>
                    <a:pt x="2230" y="67"/>
                  </a:cubicBezTo>
                  <a:cubicBezTo>
                    <a:pt x="1704" y="400"/>
                    <a:pt x="0" y="4684"/>
                    <a:pt x="2476" y="4684"/>
                  </a:cubicBezTo>
                  <a:cubicBezTo>
                    <a:pt x="4816" y="4684"/>
                    <a:pt x="3253" y="400"/>
                    <a:pt x="2719" y="67"/>
                  </a:cubicBezTo>
                  <a:cubicBezTo>
                    <a:pt x="2646" y="23"/>
                    <a:pt x="2561" y="1"/>
                    <a:pt x="2475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8" name="Google Shape;5268;p53">
              <a:extLst>
                <a:ext uri="{FF2B5EF4-FFF2-40B4-BE49-F238E27FC236}">
                  <a16:creationId xmlns:a16="http://schemas.microsoft.com/office/drawing/2014/main" id="{26048570-D535-0B5B-8922-23AAD9F05AA1}"/>
                </a:ext>
              </a:extLst>
            </p:cNvPr>
            <p:cNvSpPr/>
            <p:nvPr/>
          </p:nvSpPr>
          <p:spPr>
            <a:xfrm>
              <a:off x="7423525" y="1545050"/>
              <a:ext cx="56550" cy="111550"/>
            </a:xfrm>
            <a:custGeom>
              <a:avLst/>
              <a:gdLst/>
              <a:ahLst/>
              <a:cxnLst/>
              <a:rect l="l" t="t" r="r" b="b"/>
              <a:pathLst>
                <a:path w="2262" h="4462" extrusionOk="0">
                  <a:moveTo>
                    <a:pt x="2027" y="0"/>
                  </a:moveTo>
                  <a:cubicBezTo>
                    <a:pt x="2026" y="0"/>
                    <a:pt x="2024" y="1"/>
                    <a:pt x="2023" y="2"/>
                  </a:cubicBezTo>
                  <a:cubicBezTo>
                    <a:pt x="1512" y="327"/>
                    <a:pt x="1" y="4462"/>
                    <a:pt x="2261" y="4462"/>
                  </a:cubicBezTo>
                  <a:cubicBezTo>
                    <a:pt x="2261" y="4462"/>
                    <a:pt x="1690" y="4410"/>
                    <a:pt x="1653" y="2795"/>
                  </a:cubicBezTo>
                  <a:cubicBezTo>
                    <a:pt x="1623" y="1194"/>
                    <a:pt x="2088" y="0"/>
                    <a:pt x="2027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9" name="Google Shape;5269;p53">
              <a:extLst>
                <a:ext uri="{FF2B5EF4-FFF2-40B4-BE49-F238E27FC236}">
                  <a16:creationId xmlns:a16="http://schemas.microsoft.com/office/drawing/2014/main" id="{424D8CF0-4B8D-8425-E31F-FA11A8D52B01}"/>
                </a:ext>
              </a:extLst>
            </p:cNvPr>
            <p:cNvSpPr/>
            <p:nvPr/>
          </p:nvSpPr>
          <p:spPr>
            <a:xfrm>
              <a:off x="7478000" y="1600800"/>
              <a:ext cx="8325" cy="79550"/>
            </a:xfrm>
            <a:custGeom>
              <a:avLst/>
              <a:gdLst/>
              <a:ahLst/>
              <a:cxnLst/>
              <a:rect l="l" t="t" r="r" b="b"/>
              <a:pathLst>
                <a:path w="333" h="3182" extrusionOk="0">
                  <a:moveTo>
                    <a:pt x="165" y="0"/>
                  </a:moveTo>
                  <a:cubicBezTo>
                    <a:pt x="163" y="0"/>
                    <a:pt x="162" y="4"/>
                    <a:pt x="162" y="16"/>
                  </a:cubicBezTo>
                  <a:lnTo>
                    <a:pt x="0" y="3181"/>
                  </a:lnTo>
                  <a:lnTo>
                    <a:pt x="333" y="3181"/>
                  </a:lnTo>
                  <a:cubicBezTo>
                    <a:pt x="319" y="1825"/>
                    <a:pt x="200" y="16"/>
                    <a:pt x="171" y="16"/>
                  </a:cubicBezTo>
                  <a:cubicBezTo>
                    <a:pt x="171" y="16"/>
                    <a:pt x="167" y="0"/>
                    <a:pt x="165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0" name="Google Shape;5270;p53">
              <a:extLst>
                <a:ext uri="{FF2B5EF4-FFF2-40B4-BE49-F238E27FC236}">
                  <a16:creationId xmlns:a16="http://schemas.microsoft.com/office/drawing/2014/main" id="{76AA78C4-A1B9-364A-53FD-60A9E23613C8}"/>
                </a:ext>
              </a:extLst>
            </p:cNvPr>
            <p:cNvSpPr/>
            <p:nvPr/>
          </p:nvSpPr>
          <p:spPr>
            <a:xfrm>
              <a:off x="7459625" y="1628975"/>
              <a:ext cx="22675" cy="18200"/>
            </a:xfrm>
            <a:custGeom>
              <a:avLst/>
              <a:gdLst/>
              <a:ahLst/>
              <a:cxnLst/>
              <a:rect l="l" t="t" r="r" b="b"/>
              <a:pathLst>
                <a:path w="907" h="728" extrusionOk="0">
                  <a:moveTo>
                    <a:pt x="1" y="0"/>
                  </a:moveTo>
                  <a:cubicBezTo>
                    <a:pt x="443" y="709"/>
                    <a:pt x="844" y="728"/>
                    <a:pt x="886" y="728"/>
                  </a:cubicBezTo>
                  <a:cubicBezTo>
                    <a:pt x="889" y="728"/>
                    <a:pt x="890" y="728"/>
                    <a:pt x="890" y="728"/>
                  </a:cubicBezTo>
                  <a:lnTo>
                    <a:pt x="906" y="623"/>
                  </a:lnTo>
                  <a:lnTo>
                    <a:pt x="906" y="623"/>
                  </a:lnTo>
                  <a:cubicBezTo>
                    <a:pt x="906" y="623"/>
                    <a:pt x="896" y="630"/>
                    <a:pt x="868" y="630"/>
                  </a:cubicBezTo>
                  <a:cubicBezTo>
                    <a:pt x="812" y="630"/>
                    <a:pt x="681" y="599"/>
                    <a:pt x="417" y="409"/>
                  </a:cubicBezTo>
                  <a:cubicBezTo>
                    <a:pt x="186" y="246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1" name="Google Shape;5271;p53">
              <a:extLst>
                <a:ext uri="{FF2B5EF4-FFF2-40B4-BE49-F238E27FC236}">
                  <a16:creationId xmlns:a16="http://schemas.microsoft.com/office/drawing/2014/main" id="{0D747AFA-C844-F1D7-A07B-D360B89E3154}"/>
                </a:ext>
              </a:extLst>
            </p:cNvPr>
            <p:cNvSpPr/>
            <p:nvPr/>
          </p:nvSpPr>
          <p:spPr>
            <a:xfrm>
              <a:off x="7482275" y="162400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0"/>
                    <a:pt x="606" y="208"/>
                    <a:pt x="414" y="342"/>
                  </a:cubicBezTo>
                  <a:cubicBezTo>
                    <a:pt x="184" y="506"/>
                    <a:pt x="76" y="533"/>
                    <a:pt x="30" y="533"/>
                  </a:cubicBezTo>
                  <a:cubicBezTo>
                    <a:pt x="8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8" y="616"/>
                    <a:pt x="9" y="616"/>
                  </a:cubicBezTo>
                  <a:cubicBezTo>
                    <a:pt x="39" y="616"/>
                    <a:pt x="387" y="603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2" name="Google Shape;5272;p53">
              <a:extLst>
                <a:ext uri="{FF2B5EF4-FFF2-40B4-BE49-F238E27FC236}">
                  <a16:creationId xmlns:a16="http://schemas.microsoft.com/office/drawing/2014/main" id="{7DEA1CF6-8691-3F44-CF6A-3E0B88F095B0}"/>
                </a:ext>
              </a:extLst>
            </p:cNvPr>
            <p:cNvSpPr/>
            <p:nvPr/>
          </p:nvSpPr>
          <p:spPr>
            <a:xfrm>
              <a:off x="7466700" y="1612875"/>
              <a:ext cx="15600" cy="12425"/>
            </a:xfrm>
            <a:custGeom>
              <a:avLst/>
              <a:gdLst/>
              <a:ahLst/>
              <a:cxnLst/>
              <a:rect l="l" t="t" r="r" b="b"/>
              <a:pathLst>
                <a:path w="624" h="497" extrusionOk="0">
                  <a:moveTo>
                    <a:pt x="1" y="1"/>
                  </a:moveTo>
                  <a:cubicBezTo>
                    <a:pt x="302" y="484"/>
                    <a:pt x="583" y="497"/>
                    <a:pt x="612" y="497"/>
                  </a:cubicBezTo>
                  <a:cubicBezTo>
                    <a:pt x="613" y="497"/>
                    <a:pt x="614" y="497"/>
                    <a:pt x="614" y="497"/>
                  </a:cubicBezTo>
                  <a:lnTo>
                    <a:pt x="623" y="422"/>
                  </a:lnTo>
                  <a:lnTo>
                    <a:pt x="623" y="422"/>
                  </a:lnTo>
                  <a:cubicBezTo>
                    <a:pt x="623" y="422"/>
                    <a:pt x="615" y="429"/>
                    <a:pt x="591" y="429"/>
                  </a:cubicBezTo>
                  <a:cubicBezTo>
                    <a:pt x="549" y="429"/>
                    <a:pt x="458" y="407"/>
                    <a:pt x="282" y="282"/>
                  </a:cubicBezTo>
                  <a:cubicBezTo>
                    <a:pt x="125" y="17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3" name="Google Shape;5273;p53">
              <a:extLst>
                <a:ext uri="{FF2B5EF4-FFF2-40B4-BE49-F238E27FC236}">
                  <a16:creationId xmlns:a16="http://schemas.microsoft.com/office/drawing/2014/main" id="{653EC9B0-66C0-2465-3A7A-2FDBBB580408}"/>
                </a:ext>
              </a:extLst>
            </p:cNvPr>
            <p:cNvSpPr/>
            <p:nvPr/>
          </p:nvSpPr>
          <p:spPr>
            <a:xfrm>
              <a:off x="7454475" y="1518300"/>
              <a:ext cx="141725" cy="137775"/>
            </a:xfrm>
            <a:custGeom>
              <a:avLst/>
              <a:gdLst/>
              <a:ahLst/>
              <a:cxnLst/>
              <a:rect l="l" t="t" r="r" b="b"/>
              <a:pathLst>
                <a:path w="5669" h="5511" extrusionOk="0">
                  <a:moveTo>
                    <a:pt x="2909" y="1"/>
                  </a:moveTo>
                  <a:cubicBezTo>
                    <a:pt x="2808" y="1"/>
                    <a:pt x="2708" y="27"/>
                    <a:pt x="2624" y="79"/>
                  </a:cubicBezTo>
                  <a:cubicBezTo>
                    <a:pt x="2001" y="471"/>
                    <a:pt x="1" y="5510"/>
                    <a:pt x="2912" y="5510"/>
                  </a:cubicBezTo>
                  <a:cubicBezTo>
                    <a:pt x="5668" y="5510"/>
                    <a:pt x="3824" y="471"/>
                    <a:pt x="3202" y="79"/>
                  </a:cubicBezTo>
                  <a:cubicBezTo>
                    <a:pt x="3113" y="27"/>
                    <a:pt x="3011" y="1"/>
                    <a:pt x="2909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4" name="Google Shape;5274;p53">
              <a:extLst>
                <a:ext uri="{FF2B5EF4-FFF2-40B4-BE49-F238E27FC236}">
                  <a16:creationId xmlns:a16="http://schemas.microsoft.com/office/drawing/2014/main" id="{10AB08CA-E700-FFEA-2AF6-0A1157C6640B}"/>
                </a:ext>
              </a:extLst>
            </p:cNvPr>
            <p:cNvSpPr/>
            <p:nvPr/>
          </p:nvSpPr>
          <p:spPr>
            <a:xfrm>
              <a:off x="7457225" y="1524100"/>
              <a:ext cx="67075" cy="132500"/>
            </a:xfrm>
            <a:custGeom>
              <a:avLst/>
              <a:gdLst/>
              <a:ahLst/>
              <a:cxnLst/>
              <a:rect l="l" t="t" r="r" b="b"/>
              <a:pathLst>
                <a:path w="2683" h="5300" extrusionOk="0">
                  <a:moveTo>
                    <a:pt x="2413" y="1"/>
                  </a:moveTo>
                  <a:cubicBezTo>
                    <a:pt x="2412" y="1"/>
                    <a:pt x="2410" y="1"/>
                    <a:pt x="2409" y="2"/>
                  </a:cubicBezTo>
                  <a:cubicBezTo>
                    <a:pt x="1793" y="388"/>
                    <a:pt x="1" y="5300"/>
                    <a:pt x="2683" y="5300"/>
                  </a:cubicBezTo>
                  <a:cubicBezTo>
                    <a:pt x="2683" y="5300"/>
                    <a:pt x="2009" y="5241"/>
                    <a:pt x="1971" y="3322"/>
                  </a:cubicBezTo>
                  <a:cubicBezTo>
                    <a:pt x="1928" y="1421"/>
                    <a:pt x="2478" y="1"/>
                    <a:pt x="2413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5" name="Google Shape;5275;p53">
              <a:extLst>
                <a:ext uri="{FF2B5EF4-FFF2-40B4-BE49-F238E27FC236}">
                  <a16:creationId xmlns:a16="http://schemas.microsoft.com/office/drawing/2014/main" id="{0F11E117-09B3-40AA-D77A-5F96B51F2F4C}"/>
                </a:ext>
              </a:extLst>
            </p:cNvPr>
            <p:cNvSpPr/>
            <p:nvPr/>
          </p:nvSpPr>
          <p:spPr>
            <a:xfrm>
              <a:off x="7521700" y="1591900"/>
              <a:ext cx="9275" cy="88450"/>
            </a:xfrm>
            <a:custGeom>
              <a:avLst/>
              <a:gdLst/>
              <a:ahLst/>
              <a:cxnLst/>
              <a:rect l="l" t="t" r="r" b="b"/>
              <a:pathLst>
                <a:path w="371" h="3538" extrusionOk="0">
                  <a:moveTo>
                    <a:pt x="187" y="0"/>
                  </a:moveTo>
                  <a:cubicBezTo>
                    <a:pt x="186" y="0"/>
                    <a:pt x="185" y="4"/>
                    <a:pt x="185" y="16"/>
                  </a:cubicBezTo>
                  <a:lnTo>
                    <a:pt x="1" y="3537"/>
                  </a:lnTo>
                  <a:lnTo>
                    <a:pt x="370" y="3537"/>
                  </a:lnTo>
                  <a:cubicBezTo>
                    <a:pt x="356" y="2033"/>
                    <a:pt x="223" y="16"/>
                    <a:pt x="193" y="16"/>
                  </a:cubicBezTo>
                  <a:cubicBezTo>
                    <a:pt x="193" y="16"/>
                    <a:pt x="189" y="0"/>
                    <a:pt x="18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6" name="Google Shape;5276;p53">
              <a:extLst>
                <a:ext uri="{FF2B5EF4-FFF2-40B4-BE49-F238E27FC236}">
                  <a16:creationId xmlns:a16="http://schemas.microsoft.com/office/drawing/2014/main" id="{C8A08AF1-4461-9613-DD16-82319D089E00}"/>
                </a:ext>
              </a:extLst>
            </p:cNvPr>
            <p:cNvSpPr/>
            <p:nvPr/>
          </p:nvSpPr>
          <p:spPr>
            <a:xfrm>
              <a:off x="7501525" y="1623250"/>
              <a:ext cx="25000" cy="20200"/>
            </a:xfrm>
            <a:custGeom>
              <a:avLst/>
              <a:gdLst/>
              <a:ahLst/>
              <a:cxnLst/>
              <a:rect l="l" t="t" r="r" b="b"/>
              <a:pathLst>
                <a:path w="1000" h="808" extrusionOk="0">
                  <a:moveTo>
                    <a:pt x="0" y="0"/>
                  </a:moveTo>
                  <a:lnTo>
                    <a:pt x="0" y="0"/>
                  </a:lnTo>
                  <a:cubicBezTo>
                    <a:pt x="484" y="787"/>
                    <a:pt x="935" y="807"/>
                    <a:pt x="981" y="807"/>
                  </a:cubicBezTo>
                  <a:cubicBezTo>
                    <a:pt x="984" y="807"/>
                    <a:pt x="985" y="807"/>
                    <a:pt x="985" y="807"/>
                  </a:cubicBezTo>
                  <a:lnTo>
                    <a:pt x="1000" y="690"/>
                  </a:lnTo>
                  <a:lnTo>
                    <a:pt x="1000" y="690"/>
                  </a:lnTo>
                  <a:cubicBezTo>
                    <a:pt x="1000" y="690"/>
                    <a:pt x="989" y="697"/>
                    <a:pt x="960" y="697"/>
                  </a:cubicBezTo>
                  <a:cubicBezTo>
                    <a:pt x="899" y="697"/>
                    <a:pt x="755" y="664"/>
                    <a:pt x="452" y="452"/>
                  </a:cubicBezTo>
                  <a:cubicBezTo>
                    <a:pt x="199" y="27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7" name="Google Shape;5277;p53">
              <a:extLst>
                <a:ext uri="{FF2B5EF4-FFF2-40B4-BE49-F238E27FC236}">
                  <a16:creationId xmlns:a16="http://schemas.microsoft.com/office/drawing/2014/main" id="{728EFD74-E7CA-2492-6428-A7713AF720CF}"/>
                </a:ext>
              </a:extLst>
            </p:cNvPr>
            <p:cNvSpPr/>
            <p:nvPr/>
          </p:nvSpPr>
          <p:spPr>
            <a:xfrm>
              <a:off x="7526500" y="1617675"/>
              <a:ext cx="21150" cy="17100"/>
            </a:xfrm>
            <a:custGeom>
              <a:avLst/>
              <a:gdLst/>
              <a:ahLst/>
              <a:cxnLst/>
              <a:rect l="l" t="t" r="r" b="b"/>
              <a:pathLst>
                <a:path w="846" h="684" extrusionOk="0">
                  <a:moveTo>
                    <a:pt x="845" y="1"/>
                  </a:moveTo>
                  <a:cubicBezTo>
                    <a:pt x="845" y="1"/>
                    <a:pt x="676" y="230"/>
                    <a:pt x="461" y="387"/>
                  </a:cubicBezTo>
                  <a:cubicBezTo>
                    <a:pt x="210" y="564"/>
                    <a:pt x="89" y="593"/>
                    <a:pt x="37" y="593"/>
                  </a:cubicBezTo>
                  <a:cubicBezTo>
                    <a:pt x="10" y="593"/>
                    <a:pt x="1" y="586"/>
                    <a:pt x="1" y="586"/>
                  </a:cubicBezTo>
                  <a:lnTo>
                    <a:pt x="1" y="586"/>
                  </a:lnTo>
                  <a:lnTo>
                    <a:pt x="9" y="684"/>
                  </a:lnTo>
                  <a:cubicBezTo>
                    <a:pt x="9" y="684"/>
                    <a:pt x="11" y="684"/>
                    <a:pt x="13" y="684"/>
                  </a:cubicBezTo>
                  <a:cubicBezTo>
                    <a:pt x="55" y="684"/>
                    <a:pt x="434" y="665"/>
                    <a:pt x="845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8" name="Google Shape;5278;p53">
              <a:extLst>
                <a:ext uri="{FF2B5EF4-FFF2-40B4-BE49-F238E27FC236}">
                  <a16:creationId xmlns:a16="http://schemas.microsoft.com/office/drawing/2014/main" id="{50406EB8-FBA3-1B19-7A6E-4A304E36DDB9}"/>
                </a:ext>
              </a:extLst>
            </p:cNvPr>
            <p:cNvSpPr/>
            <p:nvPr/>
          </p:nvSpPr>
          <p:spPr>
            <a:xfrm>
              <a:off x="7509300" y="1605275"/>
              <a:ext cx="17225" cy="13950"/>
            </a:xfrm>
            <a:custGeom>
              <a:avLst/>
              <a:gdLst/>
              <a:ahLst/>
              <a:cxnLst/>
              <a:rect l="l" t="t" r="r" b="b"/>
              <a:pathLst>
                <a:path w="689" h="558" extrusionOk="0">
                  <a:moveTo>
                    <a:pt x="0" y="1"/>
                  </a:moveTo>
                  <a:lnTo>
                    <a:pt x="0" y="1"/>
                  </a:lnTo>
                  <a:cubicBezTo>
                    <a:pt x="339" y="544"/>
                    <a:pt x="650" y="557"/>
                    <a:pt x="679" y="557"/>
                  </a:cubicBezTo>
                  <a:cubicBezTo>
                    <a:pt x="681" y="557"/>
                    <a:pt x="681" y="557"/>
                    <a:pt x="681" y="557"/>
                  </a:cubicBezTo>
                  <a:lnTo>
                    <a:pt x="689" y="475"/>
                  </a:lnTo>
                  <a:lnTo>
                    <a:pt x="689" y="475"/>
                  </a:lnTo>
                  <a:cubicBezTo>
                    <a:pt x="689" y="475"/>
                    <a:pt x="681" y="481"/>
                    <a:pt x="660" y="481"/>
                  </a:cubicBezTo>
                  <a:cubicBezTo>
                    <a:pt x="617" y="481"/>
                    <a:pt x="517" y="457"/>
                    <a:pt x="312" y="312"/>
                  </a:cubicBezTo>
                  <a:cubicBezTo>
                    <a:pt x="141" y="193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9" name="Google Shape;5279;p53">
              <a:extLst>
                <a:ext uri="{FF2B5EF4-FFF2-40B4-BE49-F238E27FC236}">
                  <a16:creationId xmlns:a16="http://schemas.microsoft.com/office/drawing/2014/main" id="{AEDBC0A7-2C43-B23F-1E41-2AE68A133D94}"/>
                </a:ext>
              </a:extLst>
            </p:cNvPr>
            <p:cNvSpPr/>
            <p:nvPr/>
          </p:nvSpPr>
          <p:spPr>
            <a:xfrm>
              <a:off x="7404450" y="1558600"/>
              <a:ext cx="64675" cy="81525"/>
            </a:xfrm>
            <a:custGeom>
              <a:avLst/>
              <a:gdLst/>
              <a:ahLst/>
              <a:cxnLst/>
              <a:rect l="l" t="t" r="r" b="b"/>
              <a:pathLst>
                <a:path w="2587" h="3261" extrusionOk="0">
                  <a:moveTo>
                    <a:pt x="1290" y="0"/>
                  </a:moveTo>
                  <a:cubicBezTo>
                    <a:pt x="734" y="0"/>
                    <a:pt x="275" y="452"/>
                    <a:pt x="275" y="1016"/>
                  </a:cubicBezTo>
                  <a:cubicBezTo>
                    <a:pt x="275" y="1067"/>
                    <a:pt x="282" y="1112"/>
                    <a:pt x="289" y="1156"/>
                  </a:cubicBezTo>
                  <a:cubicBezTo>
                    <a:pt x="111" y="1379"/>
                    <a:pt x="1" y="1659"/>
                    <a:pt x="1" y="1964"/>
                  </a:cubicBezTo>
                  <a:cubicBezTo>
                    <a:pt x="1" y="2682"/>
                    <a:pt x="579" y="3260"/>
                    <a:pt x="1290" y="3260"/>
                  </a:cubicBezTo>
                  <a:cubicBezTo>
                    <a:pt x="2009" y="3260"/>
                    <a:pt x="2587" y="2682"/>
                    <a:pt x="2587" y="1964"/>
                  </a:cubicBezTo>
                  <a:cubicBezTo>
                    <a:pt x="2587" y="1659"/>
                    <a:pt x="2475" y="1379"/>
                    <a:pt x="2297" y="1156"/>
                  </a:cubicBezTo>
                  <a:cubicBezTo>
                    <a:pt x="2304" y="1112"/>
                    <a:pt x="2313" y="1067"/>
                    <a:pt x="2313" y="1016"/>
                  </a:cubicBezTo>
                  <a:cubicBezTo>
                    <a:pt x="2313" y="452"/>
                    <a:pt x="1852" y="0"/>
                    <a:pt x="1290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0" name="Google Shape;5280;p53">
              <a:extLst>
                <a:ext uri="{FF2B5EF4-FFF2-40B4-BE49-F238E27FC236}">
                  <a16:creationId xmlns:a16="http://schemas.microsoft.com/office/drawing/2014/main" id="{3DC63E29-5D1A-0EC0-7B2D-54887CD30FBC}"/>
                </a:ext>
              </a:extLst>
            </p:cNvPr>
            <p:cNvSpPr/>
            <p:nvPr/>
          </p:nvSpPr>
          <p:spPr>
            <a:xfrm>
              <a:off x="7436700" y="1583475"/>
              <a:ext cx="2950" cy="96875"/>
            </a:xfrm>
            <a:custGeom>
              <a:avLst/>
              <a:gdLst/>
              <a:ahLst/>
              <a:cxnLst/>
              <a:rect l="l" t="t" r="r" b="b"/>
              <a:pathLst>
                <a:path w="118" h="3875" extrusionOk="0">
                  <a:moveTo>
                    <a:pt x="54" y="0"/>
                  </a:moveTo>
                  <a:cubicBezTo>
                    <a:pt x="53" y="0"/>
                    <a:pt x="52" y="4"/>
                    <a:pt x="52" y="14"/>
                  </a:cubicBezTo>
                  <a:lnTo>
                    <a:pt x="0" y="3821"/>
                  </a:lnTo>
                  <a:cubicBezTo>
                    <a:pt x="0" y="3851"/>
                    <a:pt x="22" y="3874"/>
                    <a:pt x="52" y="3874"/>
                  </a:cubicBezTo>
                  <a:lnTo>
                    <a:pt x="59" y="3874"/>
                  </a:lnTo>
                  <a:cubicBezTo>
                    <a:pt x="96" y="3874"/>
                    <a:pt x="118" y="3851"/>
                    <a:pt x="118" y="3821"/>
                  </a:cubicBezTo>
                  <a:cubicBezTo>
                    <a:pt x="118" y="3821"/>
                    <a:pt x="96" y="14"/>
                    <a:pt x="59" y="14"/>
                  </a:cubicBezTo>
                  <a:cubicBezTo>
                    <a:pt x="59" y="14"/>
                    <a:pt x="56" y="0"/>
                    <a:pt x="54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1" name="Google Shape;5281;p53">
              <a:extLst>
                <a:ext uri="{FF2B5EF4-FFF2-40B4-BE49-F238E27FC236}">
                  <a16:creationId xmlns:a16="http://schemas.microsoft.com/office/drawing/2014/main" id="{27838BB4-F0FD-8C77-ECFA-9B32317AAC6F}"/>
                </a:ext>
              </a:extLst>
            </p:cNvPr>
            <p:cNvSpPr/>
            <p:nvPr/>
          </p:nvSpPr>
          <p:spPr>
            <a:xfrm>
              <a:off x="7419800" y="1606975"/>
              <a:ext cx="18375" cy="15000"/>
            </a:xfrm>
            <a:custGeom>
              <a:avLst/>
              <a:gdLst/>
              <a:ahLst/>
              <a:cxnLst/>
              <a:rect l="l" t="t" r="r" b="b"/>
              <a:pathLst>
                <a:path w="735" h="600" extrusionOk="0">
                  <a:moveTo>
                    <a:pt x="0" y="0"/>
                  </a:moveTo>
                  <a:lnTo>
                    <a:pt x="0" y="0"/>
                  </a:lnTo>
                  <a:cubicBezTo>
                    <a:pt x="353" y="580"/>
                    <a:pt x="679" y="600"/>
                    <a:pt x="723" y="600"/>
                  </a:cubicBezTo>
                  <a:cubicBezTo>
                    <a:pt x="726" y="600"/>
                    <a:pt x="728" y="599"/>
                    <a:pt x="728" y="599"/>
                  </a:cubicBezTo>
                  <a:lnTo>
                    <a:pt x="735" y="511"/>
                  </a:lnTo>
                  <a:lnTo>
                    <a:pt x="735" y="511"/>
                  </a:lnTo>
                  <a:cubicBezTo>
                    <a:pt x="735" y="511"/>
                    <a:pt x="726" y="517"/>
                    <a:pt x="702" y="517"/>
                  </a:cubicBezTo>
                  <a:cubicBezTo>
                    <a:pt x="656" y="517"/>
                    <a:pt x="550" y="492"/>
                    <a:pt x="335" y="340"/>
                  </a:cubicBezTo>
                  <a:cubicBezTo>
                    <a:pt x="150" y="199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2" name="Google Shape;5282;p53">
              <a:extLst>
                <a:ext uri="{FF2B5EF4-FFF2-40B4-BE49-F238E27FC236}">
                  <a16:creationId xmlns:a16="http://schemas.microsoft.com/office/drawing/2014/main" id="{E027CA72-3DBD-A016-E2A6-12BB96AD0AF9}"/>
                </a:ext>
              </a:extLst>
            </p:cNvPr>
            <p:cNvSpPr/>
            <p:nvPr/>
          </p:nvSpPr>
          <p:spPr>
            <a:xfrm>
              <a:off x="7438150" y="1602700"/>
              <a:ext cx="15600" cy="12775"/>
            </a:xfrm>
            <a:custGeom>
              <a:avLst/>
              <a:gdLst/>
              <a:ahLst/>
              <a:cxnLst/>
              <a:rect l="l" t="t" r="r" b="b"/>
              <a:pathLst>
                <a:path w="624" h="511" extrusionOk="0">
                  <a:moveTo>
                    <a:pt x="623" y="0"/>
                  </a:moveTo>
                  <a:cubicBezTo>
                    <a:pt x="623" y="0"/>
                    <a:pt x="497" y="178"/>
                    <a:pt x="342" y="289"/>
                  </a:cubicBezTo>
                  <a:cubicBezTo>
                    <a:pt x="156" y="421"/>
                    <a:pt x="67" y="444"/>
                    <a:pt x="28" y="444"/>
                  </a:cubicBezTo>
                  <a:cubicBezTo>
                    <a:pt x="8" y="444"/>
                    <a:pt x="1" y="438"/>
                    <a:pt x="1" y="438"/>
                  </a:cubicBezTo>
                  <a:lnTo>
                    <a:pt x="1" y="438"/>
                  </a:lnTo>
                  <a:lnTo>
                    <a:pt x="8" y="511"/>
                  </a:lnTo>
                  <a:cubicBezTo>
                    <a:pt x="8" y="511"/>
                    <a:pt x="9" y="511"/>
                    <a:pt x="11" y="511"/>
                  </a:cubicBezTo>
                  <a:cubicBezTo>
                    <a:pt x="42" y="511"/>
                    <a:pt x="323" y="497"/>
                    <a:pt x="62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3" name="Google Shape;5283;p53">
              <a:extLst>
                <a:ext uri="{FF2B5EF4-FFF2-40B4-BE49-F238E27FC236}">
                  <a16:creationId xmlns:a16="http://schemas.microsoft.com/office/drawing/2014/main" id="{E8C6F022-F149-A7F1-ECBA-1CF40B5743C2}"/>
                </a:ext>
              </a:extLst>
            </p:cNvPr>
            <p:cNvSpPr/>
            <p:nvPr/>
          </p:nvSpPr>
          <p:spPr>
            <a:xfrm>
              <a:off x="7425575" y="1593625"/>
              <a:ext cx="12600" cy="10200"/>
            </a:xfrm>
            <a:custGeom>
              <a:avLst/>
              <a:gdLst/>
              <a:ahLst/>
              <a:cxnLst/>
              <a:rect l="l" t="t" r="r" b="b"/>
              <a:pathLst>
                <a:path w="504" h="408" extrusionOk="0">
                  <a:moveTo>
                    <a:pt x="1" y="1"/>
                  </a:moveTo>
                  <a:lnTo>
                    <a:pt x="1" y="1"/>
                  </a:lnTo>
                  <a:cubicBezTo>
                    <a:pt x="242" y="395"/>
                    <a:pt x="467" y="408"/>
                    <a:pt x="494" y="408"/>
                  </a:cubicBezTo>
                  <a:cubicBezTo>
                    <a:pt x="496" y="408"/>
                    <a:pt x="497" y="408"/>
                    <a:pt x="497" y="408"/>
                  </a:cubicBezTo>
                  <a:lnTo>
                    <a:pt x="504" y="347"/>
                  </a:lnTo>
                  <a:lnTo>
                    <a:pt x="504" y="347"/>
                  </a:lnTo>
                  <a:cubicBezTo>
                    <a:pt x="504" y="347"/>
                    <a:pt x="497" y="353"/>
                    <a:pt x="479" y="353"/>
                  </a:cubicBezTo>
                  <a:cubicBezTo>
                    <a:pt x="446" y="353"/>
                    <a:pt x="374" y="334"/>
                    <a:pt x="230" y="230"/>
                  </a:cubicBezTo>
                  <a:cubicBezTo>
                    <a:pt x="104" y="14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4" name="Google Shape;5284;p53">
              <a:extLst>
                <a:ext uri="{FF2B5EF4-FFF2-40B4-BE49-F238E27FC236}">
                  <a16:creationId xmlns:a16="http://schemas.microsoft.com/office/drawing/2014/main" id="{49555469-4AA3-E9E6-F6E1-CE2CC60FC323}"/>
                </a:ext>
              </a:extLst>
            </p:cNvPr>
            <p:cNvSpPr/>
            <p:nvPr/>
          </p:nvSpPr>
          <p:spPr>
            <a:xfrm>
              <a:off x="7286250" y="1591750"/>
              <a:ext cx="46350" cy="58600"/>
            </a:xfrm>
            <a:custGeom>
              <a:avLst/>
              <a:gdLst/>
              <a:ahLst/>
              <a:cxnLst/>
              <a:rect l="l" t="t" r="r" b="b"/>
              <a:pathLst>
                <a:path w="1854" h="2344" extrusionOk="0">
                  <a:moveTo>
                    <a:pt x="927" y="1"/>
                  </a:moveTo>
                  <a:cubicBezTo>
                    <a:pt x="527" y="1"/>
                    <a:pt x="194" y="326"/>
                    <a:pt x="194" y="734"/>
                  </a:cubicBezTo>
                  <a:cubicBezTo>
                    <a:pt x="194" y="764"/>
                    <a:pt x="201" y="801"/>
                    <a:pt x="208" y="831"/>
                  </a:cubicBezTo>
                  <a:cubicBezTo>
                    <a:pt x="75" y="993"/>
                    <a:pt x="0" y="1194"/>
                    <a:pt x="0" y="1417"/>
                  </a:cubicBezTo>
                  <a:cubicBezTo>
                    <a:pt x="0" y="1927"/>
                    <a:pt x="416" y="2343"/>
                    <a:pt x="927" y="2343"/>
                  </a:cubicBezTo>
                  <a:cubicBezTo>
                    <a:pt x="1439" y="2343"/>
                    <a:pt x="1853" y="1927"/>
                    <a:pt x="1853" y="1417"/>
                  </a:cubicBezTo>
                  <a:cubicBezTo>
                    <a:pt x="1853" y="1194"/>
                    <a:pt x="1772" y="993"/>
                    <a:pt x="1645" y="831"/>
                  </a:cubicBezTo>
                  <a:cubicBezTo>
                    <a:pt x="1652" y="801"/>
                    <a:pt x="1652" y="764"/>
                    <a:pt x="1652" y="734"/>
                  </a:cubicBezTo>
                  <a:cubicBezTo>
                    <a:pt x="1652" y="326"/>
                    <a:pt x="1327" y="1"/>
                    <a:pt x="92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5" name="Google Shape;5285;p53">
              <a:extLst>
                <a:ext uri="{FF2B5EF4-FFF2-40B4-BE49-F238E27FC236}">
                  <a16:creationId xmlns:a16="http://schemas.microsoft.com/office/drawing/2014/main" id="{4EA0E31D-C3DD-B6B2-0B4A-23DC491DDE88}"/>
                </a:ext>
              </a:extLst>
            </p:cNvPr>
            <p:cNvSpPr/>
            <p:nvPr/>
          </p:nvSpPr>
          <p:spPr>
            <a:xfrm>
              <a:off x="7309225" y="1609675"/>
              <a:ext cx="2250" cy="69550"/>
            </a:xfrm>
            <a:custGeom>
              <a:avLst/>
              <a:gdLst/>
              <a:ahLst/>
              <a:cxnLst/>
              <a:rect l="l" t="t" r="r" b="b"/>
              <a:pathLst>
                <a:path w="90" h="2782" extrusionOk="0">
                  <a:moveTo>
                    <a:pt x="47" y="0"/>
                  </a:moveTo>
                  <a:cubicBezTo>
                    <a:pt x="46" y="0"/>
                    <a:pt x="45" y="2"/>
                    <a:pt x="45" y="10"/>
                  </a:cubicBezTo>
                  <a:lnTo>
                    <a:pt x="1" y="2738"/>
                  </a:lnTo>
                  <a:cubicBezTo>
                    <a:pt x="1" y="2759"/>
                    <a:pt x="22" y="2782"/>
                    <a:pt x="45" y="2782"/>
                  </a:cubicBezTo>
                  <a:lnTo>
                    <a:pt x="52" y="2782"/>
                  </a:lnTo>
                  <a:cubicBezTo>
                    <a:pt x="75" y="2782"/>
                    <a:pt x="90" y="2759"/>
                    <a:pt x="90" y="2738"/>
                  </a:cubicBezTo>
                  <a:cubicBezTo>
                    <a:pt x="90" y="2738"/>
                    <a:pt x="75" y="10"/>
                    <a:pt x="52" y="10"/>
                  </a:cubicBezTo>
                  <a:cubicBezTo>
                    <a:pt x="52" y="10"/>
                    <a:pt x="49" y="0"/>
                    <a:pt x="4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6" name="Google Shape;5286;p53">
              <a:extLst>
                <a:ext uri="{FF2B5EF4-FFF2-40B4-BE49-F238E27FC236}">
                  <a16:creationId xmlns:a16="http://schemas.microsoft.com/office/drawing/2014/main" id="{43A34290-793A-CF3B-7DF1-B6C79723A3C1}"/>
                </a:ext>
              </a:extLst>
            </p:cNvPr>
            <p:cNvSpPr/>
            <p:nvPr/>
          </p:nvSpPr>
          <p:spPr>
            <a:xfrm>
              <a:off x="7297175" y="1626400"/>
              <a:ext cx="13200" cy="10950"/>
            </a:xfrm>
            <a:custGeom>
              <a:avLst/>
              <a:gdLst/>
              <a:ahLst/>
              <a:cxnLst/>
              <a:rect l="l" t="t" r="r" b="b"/>
              <a:pathLst>
                <a:path w="528" h="438" extrusionOk="0">
                  <a:moveTo>
                    <a:pt x="1" y="0"/>
                  </a:moveTo>
                  <a:cubicBezTo>
                    <a:pt x="266" y="431"/>
                    <a:pt x="505" y="438"/>
                    <a:pt x="519" y="438"/>
                  </a:cubicBezTo>
                  <a:cubicBezTo>
                    <a:pt x="520" y="438"/>
                    <a:pt x="520" y="438"/>
                    <a:pt x="520" y="438"/>
                  </a:cubicBezTo>
                  <a:lnTo>
                    <a:pt x="527" y="370"/>
                  </a:lnTo>
                  <a:lnTo>
                    <a:pt x="527" y="370"/>
                  </a:lnTo>
                  <a:cubicBezTo>
                    <a:pt x="527" y="370"/>
                    <a:pt x="521" y="375"/>
                    <a:pt x="504" y="375"/>
                  </a:cubicBezTo>
                  <a:cubicBezTo>
                    <a:pt x="470" y="375"/>
                    <a:pt x="396" y="356"/>
                    <a:pt x="246" y="246"/>
                  </a:cubicBezTo>
                  <a:cubicBezTo>
                    <a:pt x="104" y="148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7" name="Google Shape;5287;p53">
              <a:extLst>
                <a:ext uri="{FF2B5EF4-FFF2-40B4-BE49-F238E27FC236}">
                  <a16:creationId xmlns:a16="http://schemas.microsoft.com/office/drawing/2014/main" id="{1FEED996-F637-4C66-125C-2872416A2C9F}"/>
                </a:ext>
              </a:extLst>
            </p:cNvPr>
            <p:cNvSpPr/>
            <p:nvPr/>
          </p:nvSpPr>
          <p:spPr>
            <a:xfrm>
              <a:off x="7310350" y="1623425"/>
              <a:ext cx="11300" cy="9300"/>
            </a:xfrm>
            <a:custGeom>
              <a:avLst/>
              <a:gdLst/>
              <a:ahLst/>
              <a:cxnLst/>
              <a:rect l="l" t="t" r="r" b="b"/>
              <a:pathLst>
                <a:path w="452" h="372" extrusionOk="0">
                  <a:moveTo>
                    <a:pt x="452" y="0"/>
                  </a:moveTo>
                  <a:lnTo>
                    <a:pt x="452" y="0"/>
                  </a:lnTo>
                  <a:cubicBezTo>
                    <a:pt x="452" y="0"/>
                    <a:pt x="356" y="126"/>
                    <a:pt x="244" y="208"/>
                  </a:cubicBezTo>
                  <a:cubicBezTo>
                    <a:pt x="102" y="308"/>
                    <a:pt x="39" y="323"/>
                    <a:pt x="14" y="323"/>
                  </a:cubicBezTo>
                  <a:cubicBezTo>
                    <a:pt x="4" y="323"/>
                    <a:pt x="0" y="320"/>
                    <a:pt x="0" y="320"/>
                  </a:cubicBezTo>
                  <a:lnTo>
                    <a:pt x="0" y="320"/>
                  </a:lnTo>
                  <a:lnTo>
                    <a:pt x="7" y="372"/>
                  </a:lnTo>
                  <a:cubicBezTo>
                    <a:pt x="7" y="372"/>
                    <a:pt x="8" y="372"/>
                    <a:pt x="8" y="372"/>
                  </a:cubicBezTo>
                  <a:cubicBezTo>
                    <a:pt x="22" y="372"/>
                    <a:pt x="224" y="365"/>
                    <a:pt x="452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8" name="Google Shape;5288;p53">
              <a:extLst>
                <a:ext uri="{FF2B5EF4-FFF2-40B4-BE49-F238E27FC236}">
                  <a16:creationId xmlns:a16="http://schemas.microsoft.com/office/drawing/2014/main" id="{B13947D0-B61E-BCAE-E96B-9F9C7A4DF215}"/>
                </a:ext>
              </a:extLst>
            </p:cNvPr>
            <p:cNvSpPr/>
            <p:nvPr/>
          </p:nvSpPr>
          <p:spPr>
            <a:xfrm>
              <a:off x="7301275" y="1616975"/>
              <a:ext cx="9100" cy="7400"/>
            </a:xfrm>
            <a:custGeom>
              <a:avLst/>
              <a:gdLst/>
              <a:ahLst/>
              <a:cxnLst/>
              <a:rect l="l" t="t" r="r" b="b"/>
              <a:pathLst>
                <a:path w="364" h="296" extrusionOk="0">
                  <a:moveTo>
                    <a:pt x="0" y="0"/>
                  </a:moveTo>
                  <a:cubicBezTo>
                    <a:pt x="184" y="289"/>
                    <a:pt x="348" y="295"/>
                    <a:pt x="362" y="295"/>
                  </a:cubicBezTo>
                  <a:cubicBezTo>
                    <a:pt x="363" y="295"/>
                    <a:pt x="363" y="295"/>
                    <a:pt x="363" y="295"/>
                  </a:cubicBezTo>
                  <a:lnTo>
                    <a:pt x="363" y="251"/>
                  </a:lnTo>
                  <a:cubicBezTo>
                    <a:pt x="363" y="251"/>
                    <a:pt x="359" y="254"/>
                    <a:pt x="347" y="254"/>
                  </a:cubicBezTo>
                  <a:cubicBezTo>
                    <a:pt x="325" y="254"/>
                    <a:pt x="274" y="241"/>
                    <a:pt x="171" y="162"/>
                  </a:cubicBezTo>
                  <a:cubicBezTo>
                    <a:pt x="73" y="9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9" name="Google Shape;5289;p53">
              <a:extLst>
                <a:ext uri="{FF2B5EF4-FFF2-40B4-BE49-F238E27FC236}">
                  <a16:creationId xmlns:a16="http://schemas.microsoft.com/office/drawing/2014/main" id="{80D86060-4B9F-B2FC-EDF5-5D3AE0BF93B9}"/>
                </a:ext>
              </a:extLst>
            </p:cNvPr>
            <p:cNvSpPr/>
            <p:nvPr/>
          </p:nvSpPr>
          <p:spPr>
            <a:xfrm>
              <a:off x="7200475" y="1642125"/>
              <a:ext cx="91000" cy="37825"/>
            </a:xfrm>
            <a:custGeom>
              <a:avLst/>
              <a:gdLst/>
              <a:ahLst/>
              <a:cxnLst/>
              <a:rect l="l" t="t" r="r" b="b"/>
              <a:pathLst>
                <a:path w="3640" h="1513" extrusionOk="0">
                  <a:moveTo>
                    <a:pt x="1215" y="1"/>
                  </a:moveTo>
                  <a:cubicBezTo>
                    <a:pt x="801" y="1"/>
                    <a:pt x="469" y="335"/>
                    <a:pt x="469" y="750"/>
                  </a:cubicBezTo>
                  <a:lnTo>
                    <a:pt x="469" y="764"/>
                  </a:lnTo>
                  <a:cubicBezTo>
                    <a:pt x="438" y="757"/>
                    <a:pt x="408" y="750"/>
                    <a:pt x="380" y="750"/>
                  </a:cubicBezTo>
                  <a:cubicBezTo>
                    <a:pt x="172" y="750"/>
                    <a:pt x="1" y="920"/>
                    <a:pt x="1" y="1128"/>
                  </a:cubicBezTo>
                  <a:cubicBezTo>
                    <a:pt x="1" y="1335"/>
                    <a:pt x="172" y="1498"/>
                    <a:pt x="380" y="1498"/>
                  </a:cubicBezTo>
                  <a:lnTo>
                    <a:pt x="380" y="1512"/>
                  </a:lnTo>
                  <a:lnTo>
                    <a:pt x="3403" y="1512"/>
                  </a:lnTo>
                  <a:lnTo>
                    <a:pt x="3403" y="1498"/>
                  </a:lnTo>
                  <a:cubicBezTo>
                    <a:pt x="3536" y="1475"/>
                    <a:pt x="3639" y="1365"/>
                    <a:pt x="3639" y="1217"/>
                  </a:cubicBezTo>
                  <a:cubicBezTo>
                    <a:pt x="3639" y="1061"/>
                    <a:pt x="3513" y="934"/>
                    <a:pt x="3358" y="934"/>
                  </a:cubicBezTo>
                  <a:cubicBezTo>
                    <a:pt x="3291" y="934"/>
                    <a:pt x="3232" y="965"/>
                    <a:pt x="3181" y="1002"/>
                  </a:cubicBezTo>
                  <a:lnTo>
                    <a:pt x="3181" y="965"/>
                  </a:lnTo>
                  <a:cubicBezTo>
                    <a:pt x="3181" y="668"/>
                    <a:pt x="2942" y="424"/>
                    <a:pt x="2647" y="424"/>
                  </a:cubicBezTo>
                  <a:cubicBezTo>
                    <a:pt x="2476" y="424"/>
                    <a:pt x="2327" y="497"/>
                    <a:pt x="2224" y="623"/>
                  </a:cubicBezTo>
                  <a:cubicBezTo>
                    <a:pt x="2186" y="609"/>
                    <a:pt x="2149" y="602"/>
                    <a:pt x="2114" y="602"/>
                  </a:cubicBezTo>
                  <a:cubicBezTo>
                    <a:pt x="2053" y="602"/>
                    <a:pt x="2001" y="616"/>
                    <a:pt x="1957" y="639"/>
                  </a:cubicBezTo>
                  <a:cubicBezTo>
                    <a:pt x="1898" y="275"/>
                    <a:pt x="1594" y="1"/>
                    <a:pt x="121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0" name="Google Shape;5290;p53">
              <a:extLst>
                <a:ext uri="{FF2B5EF4-FFF2-40B4-BE49-F238E27FC236}">
                  <a16:creationId xmlns:a16="http://schemas.microsoft.com/office/drawing/2014/main" id="{0FB35AC7-4B9B-50E4-1ADD-2D6E72A6491B}"/>
                </a:ext>
              </a:extLst>
            </p:cNvPr>
            <p:cNvSpPr/>
            <p:nvPr/>
          </p:nvSpPr>
          <p:spPr>
            <a:xfrm>
              <a:off x="7211775" y="1643250"/>
              <a:ext cx="12425" cy="17975"/>
            </a:xfrm>
            <a:custGeom>
              <a:avLst/>
              <a:gdLst/>
              <a:ahLst/>
              <a:cxnLst/>
              <a:rect l="l" t="t" r="r" b="b"/>
              <a:pathLst>
                <a:path w="497" h="719" extrusionOk="0">
                  <a:moveTo>
                    <a:pt x="497" y="0"/>
                  </a:moveTo>
                  <a:lnTo>
                    <a:pt x="497" y="0"/>
                  </a:lnTo>
                  <a:cubicBezTo>
                    <a:pt x="209" y="82"/>
                    <a:pt x="1" y="349"/>
                    <a:pt x="1" y="667"/>
                  </a:cubicBezTo>
                  <a:lnTo>
                    <a:pt x="1" y="712"/>
                  </a:lnTo>
                  <a:cubicBezTo>
                    <a:pt x="8" y="712"/>
                    <a:pt x="8" y="712"/>
                    <a:pt x="17" y="719"/>
                  </a:cubicBezTo>
                  <a:lnTo>
                    <a:pt x="17" y="705"/>
                  </a:lnTo>
                  <a:cubicBezTo>
                    <a:pt x="17" y="386"/>
                    <a:pt x="216" y="112"/>
                    <a:pt x="497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1" name="Google Shape;5291;p53">
              <a:extLst>
                <a:ext uri="{FF2B5EF4-FFF2-40B4-BE49-F238E27FC236}">
                  <a16:creationId xmlns:a16="http://schemas.microsoft.com/office/drawing/2014/main" id="{902A0A87-F690-DDDD-2CE5-C841FE4FDC72}"/>
                </a:ext>
              </a:extLst>
            </p:cNvPr>
            <p:cNvSpPr/>
            <p:nvPr/>
          </p:nvSpPr>
          <p:spPr>
            <a:xfrm>
              <a:off x="7211775" y="1642700"/>
              <a:ext cx="17100" cy="34325"/>
            </a:xfrm>
            <a:custGeom>
              <a:avLst/>
              <a:gdLst/>
              <a:ahLst/>
              <a:cxnLst/>
              <a:rect l="l" t="t" r="r" b="b"/>
              <a:pathLst>
                <a:path w="684" h="1373" extrusionOk="0">
                  <a:moveTo>
                    <a:pt x="683" y="1"/>
                  </a:moveTo>
                  <a:cubicBezTo>
                    <a:pt x="623" y="1"/>
                    <a:pt x="557" y="8"/>
                    <a:pt x="497" y="22"/>
                  </a:cubicBezTo>
                  <a:cubicBezTo>
                    <a:pt x="216" y="134"/>
                    <a:pt x="17" y="408"/>
                    <a:pt x="17" y="727"/>
                  </a:cubicBezTo>
                  <a:lnTo>
                    <a:pt x="17" y="741"/>
                  </a:lnTo>
                  <a:cubicBezTo>
                    <a:pt x="8" y="734"/>
                    <a:pt x="8" y="734"/>
                    <a:pt x="1" y="734"/>
                  </a:cubicBezTo>
                  <a:cubicBezTo>
                    <a:pt x="24" y="1089"/>
                    <a:pt x="319" y="1372"/>
                    <a:pt x="683" y="1372"/>
                  </a:cubicBezTo>
                  <a:cubicBezTo>
                    <a:pt x="683" y="1372"/>
                    <a:pt x="290" y="1246"/>
                    <a:pt x="260" y="689"/>
                  </a:cubicBezTo>
                  <a:cubicBezTo>
                    <a:pt x="230" y="179"/>
                    <a:pt x="683" y="1"/>
                    <a:pt x="683" y="1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2" name="Google Shape;5292;p53">
              <a:extLst>
                <a:ext uri="{FF2B5EF4-FFF2-40B4-BE49-F238E27FC236}">
                  <a16:creationId xmlns:a16="http://schemas.microsoft.com/office/drawing/2014/main" id="{0D8B905C-DB27-9D7B-6376-4DB9336F40F9}"/>
                </a:ext>
              </a:extLst>
            </p:cNvPr>
            <p:cNvSpPr/>
            <p:nvPr/>
          </p:nvSpPr>
          <p:spPr>
            <a:xfrm>
              <a:off x="7244575" y="1657350"/>
              <a:ext cx="18000" cy="9075"/>
            </a:xfrm>
            <a:custGeom>
              <a:avLst/>
              <a:gdLst/>
              <a:ahLst/>
              <a:cxnLst/>
              <a:rect l="l" t="t" r="r" b="b"/>
              <a:pathLst>
                <a:path w="720" h="363" extrusionOk="0">
                  <a:moveTo>
                    <a:pt x="357" y="0"/>
                  </a:moveTo>
                  <a:cubicBezTo>
                    <a:pt x="163" y="7"/>
                    <a:pt x="1" y="171"/>
                    <a:pt x="8" y="363"/>
                  </a:cubicBezTo>
                  <a:cubicBezTo>
                    <a:pt x="8" y="363"/>
                    <a:pt x="67" y="164"/>
                    <a:pt x="357" y="141"/>
                  </a:cubicBezTo>
                  <a:lnTo>
                    <a:pt x="385" y="141"/>
                  </a:lnTo>
                  <a:cubicBezTo>
                    <a:pt x="630" y="141"/>
                    <a:pt x="719" y="356"/>
                    <a:pt x="719" y="356"/>
                  </a:cubicBezTo>
                  <a:cubicBezTo>
                    <a:pt x="719" y="164"/>
                    <a:pt x="556" y="0"/>
                    <a:pt x="364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3" name="Google Shape;5293;p53">
              <a:extLst>
                <a:ext uri="{FF2B5EF4-FFF2-40B4-BE49-F238E27FC236}">
                  <a16:creationId xmlns:a16="http://schemas.microsoft.com/office/drawing/2014/main" id="{CC5D740F-B0E6-202A-CFC5-1B0982709B4F}"/>
                </a:ext>
              </a:extLst>
            </p:cNvPr>
            <p:cNvSpPr/>
            <p:nvPr/>
          </p:nvSpPr>
          <p:spPr>
            <a:xfrm>
              <a:off x="7488350" y="1497900"/>
              <a:ext cx="29500" cy="12925"/>
            </a:xfrm>
            <a:custGeom>
              <a:avLst/>
              <a:gdLst/>
              <a:ahLst/>
              <a:cxnLst/>
              <a:rect l="l" t="t" r="r" b="b"/>
              <a:pathLst>
                <a:path w="1180" h="517" extrusionOk="0">
                  <a:moveTo>
                    <a:pt x="1026" y="0"/>
                  </a:moveTo>
                  <a:cubicBezTo>
                    <a:pt x="950" y="0"/>
                    <a:pt x="859" y="34"/>
                    <a:pt x="771" y="102"/>
                  </a:cubicBezTo>
                  <a:cubicBezTo>
                    <a:pt x="698" y="154"/>
                    <a:pt x="637" y="228"/>
                    <a:pt x="609" y="294"/>
                  </a:cubicBezTo>
                  <a:cubicBezTo>
                    <a:pt x="548" y="250"/>
                    <a:pt x="468" y="220"/>
                    <a:pt x="380" y="205"/>
                  </a:cubicBezTo>
                  <a:cubicBezTo>
                    <a:pt x="346" y="200"/>
                    <a:pt x="315" y="198"/>
                    <a:pt x="285" y="198"/>
                  </a:cubicBezTo>
                  <a:cubicBezTo>
                    <a:pt x="128" y="198"/>
                    <a:pt x="20" y="263"/>
                    <a:pt x="1" y="369"/>
                  </a:cubicBezTo>
                  <a:cubicBezTo>
                    <a:pt x="1" y="369"/>
                    <a:pt x="44" y="287"/>
                    <a:pt x="248" y="287"/>
                  </a:cubicBezTo>
                  <a:cubicBezTo>
                    <a:pt x="282" y="287"/>
                    <a:pt x="320" y="289"/>
                    <a:pt x="364" y="294"/>
                  </a:cubicBezTo>
                  <a:cubicBezTo>
                    <a:pt x="460" y="301"/>
                    <a:pt x="534" y="332"/>
                    <a:pt x="586" y="362"/>
                  </a:cubicBezTo>
                  <a:lnTo>
                    <a:pt x="579" y="517"/>
                  </a:lnTo>
                  <a:lnTo>
                    <a:pt x="653" y="502"/>
                  </a:lnTo>
                  <a:lnTo>
                    <a:pt x="742" y="479"/>
                  </a:lnTo>
                  <a:lnTo>
                    <a:pt x="661" y="346"/>
                  </a:lnTo>
                  <a:cubicBezTo>
                    <a:pt x="698" y="294"/>
                    <a:pt x="742" y="236"/>
                    <a:pt x="824" y="168"/>
                  </a:cubicBezTo>
                  <a:cubicBezTo>
                    <a:pt x="938" y="77"/>
                    <a:pt x="1032" y="56"/>
                    <a:pt x="1094" y="56"/>
                  </a:cubicBezTo>
                  <a:cubicBezTo>
                    <a:pt x="1149" y="56"/>
                    <a:pt x="1180" y="72"/>
                    <a:pt x="1180" y="72"/>
                  </a:cubicBezTo>
                  <a:cubicBezTo>
                    <a:pt x="1145" y="25"/>
                    <a:pt x="1091" y="0"/>
                    <a:pt x="1026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4" name="Google Shape;5294;p53">
              <a:extLst>
                <a:ext uri="{FF2B5EF4-FFF2-40B4-BE49-F238E27FC236}">
                  <a16:creationId xmlns:a16="http://schemas.microsoft.com/office/drawing/2014/main" id="{62C63EFF-59D1-1493-4B00-9A346D730431}"/>
                </a:ext>
              </a:extLst>
            </p:cNvPr>
            <p:cNvSpPr/>
            <p:nvPr/>
          </p:nvSpPr>
          <p:spPr>
            <a:xfrm>
              <a:off x="7313675" y="1413575"/>
              <a:ext cx="24825" cy="12025"/>
            </a:xfrm>
            <a:custGeom>
              <a:avLst/>
              <a:gdLst/>
              <a:ahLst/>
              <a:cxnLst/>
              <a:rect l="l" t="t" r="r" b="b"/>
              <a:pathLst>
                <a:path w="993" h="481" extrusionOk="0">
                  <a:moveTo>
                    <a:pt x="851" y="0"/>
                  </a:moveTo>
                  <a:cubicBezTo>
                    <a:pt x="787" y="0"/>
                    <a:pt x="715" y="30"/>
                    <a:pt x="644" y="89"/>
                  </a:cubicBezTo>
                  <a:cubicBezTo>
                    <a:pt x="578" y="141"/>
                    <a:pt x="534" y="207"/>
                    <a:pt x="511" y="267"/>
                  </a:cubicBezTo>
                  <a:cubicBezTo>
                    <a:pt x="459" y="230"/>
                    <a:pt x="394" y="192"/>
                    <a:pt x="312" y="178"/>
                  </a:cubicBezTo>
                  <a:cubicBezTo>
                    <a:pt x="281" y="173"/>
                    <a:pt x="251" y="170"/>
                    <a:pt x="224" y="170"/>
                  </a:cubicBezTo>
                  <a:cubicBezTo>
                    <a:pt x="93" y="170"/>
                    <a:pt x="6" y="227"/>
                    <a:pt x="1" y="326"/>
                  </a:cubicBezTo>
                  <a:cubicBezTo>
                    <a:pt x="1" y="326"/>
                    <a:pt x="33" y="251"/>
                    <a:pt x="203" y="251"/>
                  </a:cubicBezTo>
                  <a:cubicBezTo>
                    <a:pt x="233" y="251"/>
                    <a:pt x="266" y="253"/>
                    <a:pt x="305" y="258"/>
                  </a:cubicBezTo>
                  <a:cubicBezTo>
                    <a:pt x="386" y="274"/>
                    <a:pt x="445" y="303"/>
                    <a:pt x="490" y="333"/>
                  </a:cubicBezTo>
                  <a:lnTo>
                    <a:pt x="490" y="480"/>
                  </a:lnTo>
                  <a:lnTo>
                    <a:pt x="555" y="466"/>
                  </a:lnTo>
                  <a:lnTo>
                    <a:pt x="630" y="452"/>
                  </a:lnTo>
                  <a:lnTo>
                    <a:pt x="555" y="319"/>
                  </a:lnTo>
                  <a:cubicBezTo>
                    <a:pt x="586" y="274"/>
                    <a:pt x="623" y="214"/>
                    <a:pt x="689" y="162"/>
                  </a:cubicBezTo>
                  <a:cubicBezTo>
                    <a:pt x="782" y="77"/>
                    <a:pt x="862" y="57"/>
                    <a:pt x="916" y="57"/>
                  </a:cubicBezTo>
                  <a:cubicBezTo>
                    <a:pt x="964" y="57"/>
                    <a:pt x="993" y="73"/>
                    <a:pt x="993" y="73"/>
                  </a:cubicBezTo>
                  <a:cubicBezTo>
                    <a:pt x="958" y="24"/>
                    <a:pt x="908" y="0"/>
                    <a:pt x="851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5" name="Google Shape;5295;p53">
              <a:extLst>
                <a:ext uri="{FF2B5EF4-FFF2-40B4-BE49-F238E27FC236}">
                  <a16:creationId xmlns:a16="http://schemas.microsoft.com/office/drawing/2014/main" id="{3A001F84-519E-2982-66E3-B962F5D777CC}"/>
                </a:ext>
              </a:extLst>
            </p:cNvPr>
            <p:cNvSpPr/>
            <p:nvPr/>
          </p:nvSpPr>
          <p:spPr>
            <a:xfrm>
              <a:off x="7314425" y="1458625"/>
              <a:ext cx="15025" cy="6450"/>
            </a:xfrm>
            <a:custGeom>
              <a:avLst/>
              <a:gdLst/>
              <a:ahLst/>
              <a:cxnLst/>
              <a:rect l="l" t="t" r="r" b="b"/>
              <a:pathLst>
                <a:path w="601" h="258" extrusionOk="0">
                  <a:moveTo>
                    <a:pt x="520" y="1"/>
                  </a:moveTo>
                  <a:cubicBezTo>
                    <a:pt x="482" y="1"/>
                    <a:pt x="437" y="17"/>
                    <a:pt x="392" y="50"/>
                  </a:cubicBezTo>
                  <a:cubicBezTo>
                    <a:pt x="348" y="80"/>
                    <a:pt x="326" y="110"/>
                    <a:pt x="303" y="146"/>
                  </a:cubicBezTo>
                  <a:cubicBezTo>
                    <a:pt x="275" y="124"/>
                    <a:pt x="237" y="110"/>
                    <a:pt x="193" y="101"/>
                  </a:cubicBezTo>
                  <a:cubicBezTo>
                    <a:pt x="178" y="99"/>
                    <a:pt x="164" y="98"/>
                    <a:pt x="150" y="98"/>
                  </a:cubicBezTo>
                  <a:cubicBezTo>
                    <a:pt x="68" y="98"/>
                    <a:pt x="7" y="133"/>
                    <a:pt x="1" y="183"/>
                  </a:cubicBezTo>
                  <a:cubicBezTo>
                    <a:pt x="1" y="183"/>
                    <a:pt x="23" y="143"/>
                    <a:pt x="134" y="143"/>
                  </a:cubicBezTo>
                  <a:cubicBezTo>
                    <a:pt x="150" y="143"/>
                    <a:pt x="167" y="144"/>
                    <a:pt x="186" y="146"/>
                  </a:cubicBezTo>
                  <a:cubicBezTo>
                    <a:pt x="230" y="146"/>
                    <a:pt x="268" y="162"/>
                    <a:pt x="296" y="176"/>
                  </a:cubicBezTo>
                  <a:lnTo>
                    <a:pt x="289" y="258"/>
                  </a:lnTo>
                  <a:lnTo>
                    <a:pt x="333" y="243"/>
                  </a:lnTo>
                  <a:lnTo>
                    <a:pt x="378" y="234"/>
                  </a:lnTo>
                  <a:lnTo>
                    <a:pt x="333" y="169"/>
                  </a:lnTo>
                  <a:cubicBezTo>
                    <a:pt x="348" y="146"/>
                    <a:pt x="378" y="117"/>
                    <a:pt x="415" y="87"/>
                  </a:cubicBezTo>
                  <a:cubicBezTo>
                    <a:pt x="475" y="39"/>
                    <a:pt x="524" y="28"/>
                    <a:pt x="557" y="28"/>
                  </a:cubicBezTo>
                  <a:cubicBezTo>
                    <a:pt x="585" y="28"/>
                    <a:pt x="600" y="35"/>
                    <a:pt x="600" y="35"/>
                  </a:cubicBezTo>
                  <a:cubicBezTo>
                    <a:pt x="580" y="12"/>
                    <a:pt x="552" y="1"/>
                    <a:pt x="520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6" name="Google Shape;5296;p53">
              <a:extLst>
                <a:ext uri="{FF2B5EF4-FFF2-40B4-BE49-F238E27FC236}">
                  <a16:creationId xmlns:a16="http://schemas.microsoft.com/office/drawing/2014/main" id="{360296EF-7300-3821-C9A0-91E794F327ED}"/>
                </a:ext>
              </a:extLst>
            </p:cNvPr>
            <p:cNvSpPr/>
            <p:nvPr/>
          </p:nvSpPr>
          <p:spPr>
            <a:xfrm>
              <a:off x="7228275" y="1437800"/>
              <a:ext cx="20375" cy="8725"/>
            </a:xfrm>
            <a:custGeom>
              <a:avLst/>
              <a:gdLst/>
              <a:ahLst/>
              <a:cxnLst/>
              <a:rect l="l" t="t" r="r" b="b"/>
              <a:pathLst>
                <a:path w="815" h="349" extrusionOk="0">
                  <a:moveTo>
                    <a:pt x="712" y="1"/>
                  </a:moveTo>
                  <a:cubicBezTo>
                    <a:pt x="659" y="1"/>
                    <a:pt x="596" y="23"/>
                    <a:pt x="534" y="68"/>
                  </a:cubicBezTo>
                  <a:cubicBezTo>
                    <a:pt x="482" y="105"/>
                    <a:pt x="445" y="157"/>
                    <a:pt x="424" y="201"/>
                  </a:cubicBezTo>
                  <a:cubicBezTo>
                    <a:pt x="379" y="171"/>
                    <a:pt x="326" y="150"/>
                    <a:pt x="260" y="143"/>
                  </a:cubicBezTo>
                  <a:cubicBezTo>
                    <a:pt x="237" y="139"/>
                    <a:pt x="215" y="137"/>
                    <a:pt x="194" y="137"/>
                  </a:cubicBezTo>
                  <a:cubicBezTo>
                    <a:pt x="88" y="137"/>
                    <a:pt x="12" y="184"/>
                    <a:pt x="0" y="253"/>
                  </a:cubicBezTo>
                  <a:cubicBezTo>
                    <a:pt x="0" y="253"/>
                    <a:pt x="28" y="197"/>
                    <a:pt x="176" y="197"/>
                  </a:cubicBezTo>
                  <a:cubicBezTo>
                    <a:pt x="198" y="197"/>
                    <a:pt x="224" y="198"/>
                    <a:pt x="253" y="201"/>
                  </a:cubicBezTo>
                  <a:cubicBezTo>
                    <a:pt x="319" y="209"/>
                    <a:pt x="370" y="223"/>
                    <a:pt x="400" y="246"/>
                  </a:cubicBezTo>
                  <a:lnTo>
                    <a:pt x="400" y="349"/>
                  </a:lnTo>
                  <a:lnTo>
                    <a:pt x="452" y="342"/>
                  </a:lnTo>
                  <a:lnTo>
                    <a:pt x="512" y="328"/>
                  </a:lnTo>
                  <a:lnTo>
                    <a:pt x="459" y="232"/>
                  </a:lnTo>
                  <a:cubicBezTo>
                    <a:pt x="482" y="201"/>
                    <a:pt x="512" y="157"/>
                    <a:pt x="571" y="120"/>
                  </a:cubicBezTo>
                  <a:cubicBezTo>
                    <a:pt x="656" y="51"/>
                    <a:pt x="723" y="37"/>
                    <a:pt x="766" y="37"/>
                  </a:cubicBezTo>
                  <a:cubicBezTo>
                    <a:pt x="797" y="37"/>
                    <a:pt x="815" y="45"/>
                    <a:pt x="815" y="45"/>
                  </a:cubicBezTo>
                  <a:cubicBezTo>
                    <a:pt x="792" y="15"/>
                    <a:pt x="755" y="1"/>
                    <a:pt x="712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7" name="Google Shape;5297;p53">
              <a:extLst>
                <a:ext uri="{FF2B5EF4-FFF2-40B4-BE49-F238E27FC236}">
                  <a16:creationId xmlns:a16="http://schemas.microsoft.com/office/drawing/2014/main" id="{E0967EB1-8E23-7D80-CB51-364A1AEE71A5}"/>
                </a:ext>
              </a:extLst>
            </p:cNvPr>
            <p:cNvSpPr/>
            <p:nvPr/>
          </p:nvSpPr>
          <p:spPr>
            <a:xfrm>
              <a:off x="7503925" y="1476125"/>
              <a:ext cx="10950" cy="4700"/>
            </a:xfrm>
            <a:custGeom>
              <a:avLst/>
              <a:gdLst/>
              <a:ahLst/>
              <a:cxnLst/>
              <a:rect l="l" t="t" r="r" b="b"/>
              <a:pathLst>
                <a:path w="438" h="188" extrusionOk="0">
                  <a:moveTo>
                    <a:pt x="385" y="1"/>
                  </a:moveTo>
                  <a:cubicBezTo>
                    <a:pt x="357" y="1"/>
                    <a:pt x="324" y="14"/>
                    <a:pt x="290" y="40"/>
                  </a:cubicBezTo>
                  <a:cubicBezTo>
                    <a:pt x="260" y="54"/>
                    <a:pt x="237" y="84"/>
                    <a:pt x="230" y="105"/>
                  </a:cubicBezTo>
                  <a:cubicBezTo>
                    <a:pt x="208" y="91"/>
                    <a:pt x="178" y="77"/>
                    <a:pt x="141" y="77"/>
                  </a:cubicBezTo>
                  <a:cubicBezTo>
                    <a:pt x="127" y="74"/>
                    <a:pt x="114" y="73"/>
                    <a:pt x="102" y="73"/>
                  </a:cubicBezTo>
                  <a:cubicBezTo>
                    <a:pt x="47" y="73"/>
                    <a:pt x="6" y="99"/>
                    <a:pt x="0" y="136"/>
                  </a:cubicBezTo>
                  <a:cubicBezTo>
                    <a:pt x="0" y="136"/>
                    <a:pt x="17" y="103"/>
                    <a:pt x="93" y="103"/>
                  </a:cubicBezTo>
                  <a:cubicBezTo>
                    <a:pt x="105" y="103"/>
                    <a:pt x="118" y="103"/>
                    <a:pt x="134" y="105"/>
                  </a:cubicBezTo>
                  <a:cubicBezTo>
                    <a:pt x="171" y="105"/>
                    <a:pt x="201" y="121"/>
                    <a:pt x="215" y="128"/>
                  </a:cubicBezTo>
                  <a:lnTo>
                    <a:pt x="215" y="187"/>
                  </a:lnTo>
                  <a:lnTo>
                    <a:pt x="246" y="180"/>
                  </a:lnTo>
                  <a:lnTo>
                    <a:pt x="274" y="173"/>
                  </a:lnTo>
                  <a:lnTo>
                    <a:pt x="246" y="121"/>
                  </a:lnTo>
                  <a:cubicBezTo>
                    <a:pt x="260" y="105"/>
                    <a:pt x="274" y="84"/>
                    <a:pt x="304" y="61"/>
                  </a:cubicBezTo>
                  <a:cubicBezTo>
                    <a:pt x="348" y="26"/>
                    <a:pt x="383" y="17"/>
                    <a:pt x="406" y="17"/>
                  </a:cubicBezTo>
                  <a:cubicBezTo>
                    <a:pt x="427" y="17"/>
                    <a:pt x="438" y="24"/>
                    <a:pt x="438" y="24"/>
                  </a:cubicBezTo>
                  <a:cubicBezTo>
                    <a:pt x="425" y="8"/>
                    <a:pt x="407" y="1"/>
                    <a:pt x="38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8" name="Google Shape;5298;p53">
              <a:extLst>
                <a:ext uri="{FF2B5EF4-FFF2-40B4-BE49-F238E27FC236}">
                  <a16:creationId xmlns:a16="http://schemas.microsoft.com/office/drawing/2014/main" id="{1006C834-7132-95F9-2E38-A3C723244B77}"/>
                </a:ext>
              </a:extLst>
            </p:cNvPr>
            <p:cNvSpPr/>
            <p:nvPr/>
          </p:nvSpPr>
          <p:spPr>
            <a:xfrm>
              <a:off x="7717150" y="1657150"/>
              <a:ext cx="58350" cy="24300"/>
            </a:xfrm>
            <a:custGeom>
              <a:avLst/>
              <a:gdLst/>
              <a:ahLst/>
              <a:cxnLst/>
              <a:rect l="l" t="t" r="r" b="b"/>
              <a:pathLst>
                <a:path w="2334" h="972" extrusionOk="0">
                  <a:moveTo>
                    <a:pt x="777" y="1"/>
                  </a:moveTo>
                  <a:cubicBezTo>
                    <a:pt x="511" y="1"/>
                    <a:pt x="297" y="216"/>
                    <a:pt x="297" y="474"/>
                  </a:cubicBezTo>
                  <a:lnTo>
                    <a:pt x="297" y="483"/>
                  </a:lnTo>
                  <a:cubicBezTo>
                    <a:pt x="281" y="483"/>
                    <a:pt x="260" y="474"/>
                    <a:pt x="244" y="474"/>
                  </a:cubicBezTo>
                  <a:cubicBezTo>
                    <a:pt x="110" y="474"/>
                    <a:pt x="0" y="586"/>
                    <a:pt x="0" y="719"/>
                  </a:cubicBezTo>
                  <a:cubicBezTo>
                    <a:pt x="0" y="853"/>
                    <a:pt x="110" y="956"/>
                    <a:pt x="244" y="956"/>
                  </a:cubicBezTo>
                  <a:lnTo>
                    <a:pt x="244" y="972"/>
                  </a:lnTo>
                  <a:lnTo>
                    <a:pt x="2179" y="972"/>
                  </a:lnTo>
                  <a:lnTo>
                    <a:pt x="2179" y="956"/>
                  </a:lnTo>
                  <a:cubicBezTo>
                    <a:pt x="2268" y="949"/>
                    <a:pt x="2333" y="867"/>
                    <a:pt x="2333" y="778"/>
                  </a:cubicBezTo>
                  <a:cubicBezTo>
                    <a:pt x="2333" y="682"/>
                    <a:pt x="2253" y="600"/>
                    <a:pt x="2156" y="600"/>
                  </a:cubicBezTo>
                  <a:cubicBezTo>
                    <a:pt x="2111" y="600"/>
                    <a:pt x="2076" y="616"/>
                    <a:pt x="2038" y="638"/>
                  </a:cubicBezTo>
                  <a:lnTo>
                    <a:pt x="2038" y="616"/>
                  </a:lnTo>
                  <a:cubicBezTo>
                    <a:pt x="2038" y="422"/>
                    <a:pt x="1889" y="268"/>
                    <a:pt x="1697" y="268"/>
                  </a:cubicBezTo>
                  <a:cubicBezTo>
                    <a:pt x="1587" y="268"/>
                    <a:pt x="1489" y="319"/>
                    <a:pt x="1430" y="394"/>
                  </a:cubicBezTo>
                  <a:cubicBezTo>
                    <a:pt x="1409" y="385"/>
                    <a:pt x="1378" y="385"/>
                    <a:pt x="1355" y="385"/>
                  </a:cubicBezTo>
                  <a:cubicBezTo>
                    <a:pt x="1320" y="385"/>
                    <a:pt x="1282" y="394"/>
                    <a:pt x="1252" y="408"/>
                  </a:cubicBezTo>
                  <a:cubicBezTo>
                    <a:pt x="1222" y="172"/>
                    <a:pt x="1023" y="1"/>
                    <a:pt x="77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9" name="Google Shape;5299;p53">
              <a:extLst>
                <a:ext uri="{FF2B5EF4-FFF2-40B4-BE49-F238E27FC236}">
                  <a16:creationId xmlns:a16="http://schemas.microsoft.com/office/drawing/2014/main" id="{EF04782F-8E7C-036D-C503-CD7FAE1D5A90}"/>
                </a:ext>
              </a:extLst>
            </p:cNvPr>
            <p:cNvSpPr/>
            <p:nvPr/>
          </p:nvSpPr>
          <p:spPr>
            <a:xfrm>
              <a:off x="7724350" y="1657350"/>
              <a:ext cx="10950" cy="22075"/>
            </a:xfrm>
            <a:custGeom>
              <a:avLst/>
              <a:gdLst/>
              <a:ahLst/>
              <a:cxnLst/>
              <a:rect l="l" t="t" r="r" b="b"/>
              <a:pathLst>
                <a:path w="438" h="883" extrusionOk="0">
                  <a:moveTo>
                    <a:pt x="438" y="0"/>
                  </a:moveTo>
                  <a:cubicBezTo>
                    <a:pt x="201" y="0"/>
                    <a:pt x="0" y="199"/>
                    <a:pt x="0" y="445"/>
                  </a:cubicBezTo>
                  <a:cubicBezTo>
                    <a:pt x="0" y="688"/>
                    <a:pt x="201" y="882"/>
                    <a:pt x="438" y="882"/>
                  </a:cubicBezTo>
                  <a:cubicBezTo>
                    <a:pt x="438" y="882"/>
                    <a:pt x="187" y="800"/>
                    <a:pt x="171" y="445"/>
                  </a:cubicBezTo>
                  <a:cubicBezTo>
                    <a:pt x="150" y="119"/>
                    <a:pt x="438" y="0"/>
                    <a:pt x="43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0" name="Google Shape;5300;p53">
              <a:extLst>
                <a:ext uri="{FF2B5EF4-FFF2-40B4-BE49-F238E27FC236}">
                  <a16:creationId xmlns:a16="http://schemas.microsoft.com/office/drawing/2014/main" id="{40CE486E-BFDB-5443-73E6-706CDE452AC7}"/>
                </a:ext>
              </a:extLst>
            </p:cNvPr>
            <p:cNvSpPr/>
            <p:nvPr/>
          </p:nvSpPr>
          <p:spPr>
            <a:xfrm>
              <a:off x="7745475" y="1666775"/>
              <a:ext cx="11525" cy="5975"/>
            </a:xfrm>
            <a:custGeom>
              <a:avLst/>
              <a:gdLst/>
              <a:ahLst/>
              <a:cxnLst/>
              <a:rect l="l" t="t" r="r" b="b"/>
              <a:pathLst>
                <a:path w="461" h="239" extrusionOk="0">
                  <a:moveTo>
                    <a:pt x="231" y="0"/>
                  </a:moveTo>
                  <a:cubicBezTo>
                    <a:pt x="105" y="9"/>
                    <a:pt x="0" y="112"/>
                    <a:pt x="0" y="238"/>
                  </a:cubicBezTo>
                  <a:cubicBezTo>
                    <a:pt x="0" y="238"/>
                    <a:pt x="37" y="105"/>
                    <a:pt x="231" y="89"/>
                  </a:cubicBezTo>
                  <a:cubicBezTo>
                    <a:pt x="235" y="89"/>
                    <a:pt x="239" y="89"/>
                    <a:pt x="243" y="89"/>
                  </a:cubicBezTo>
                  <a:cubicBezTo>
                    <a:pt x="403" y="89"/>
                    <a:pt x="461" y="231"/>
                    <a:pt x="461" y="231"/>
                  </a:cubicBezTo>
                  <a:cubicBezTo>
                    <a:pt x="461" y="105"/>
                    <a:pt x="356" y="0"/>
                    <a:pt x="23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1" name="Google Shape;5301;p53">
              <a:extLst>
                <a:ext uri="{FF2B5EF4-FFF2-40B4-BE49-F238E27FC236}">
                  <a16:creationId xmlns:a16="http://schemas.microsoft.com/office/drawing/2014/main" id="{1729F9A0-DCBE-4845-E587-F5D8DEACB8EA}"/>
                </a:ext>
              </a:extLst>
            </p:cNvPr>
            <p:cNvSpPr/>
            <p:nvPr/>
          </p:nvSpPr>
          <p:spPr>
            <a:xfrm>
              <a:off x="7352750" y="1654925"/>
              <a:ext cx="60225" cy="25025"/>
            </a:xfrm>
            <a:custGeom>
              <a:avLst/>
              <a:gdLst/>
              <a:ahLst/>
              <a:cxnLst/>
              <a:rect l="l" t="t" r="r" b="b"/>
              <a:pathLst>
                <a:path w="2409" h="1001" extrusionOk="0">
                  <a:moveTo>
                    <a:pt x="1608" y="1"/>
                  </a:moveTo>
                  <a:cubicBezTo>
                    <a:pt x="1358" y="1"/>
                    <a:pt x="1150" y="186"/>
                    <a:pt x="1119" y="422"/>
                  </a:cubicBezTo>
                  <a:cubicBezTo>
                    <a:pt x="1082" y="408"/>
                    <a:pt x="1054" y="401"/>
                    <a:pt x="1016" y="401"/>
                  </a:cubicBezTo>
                  <a:cubicBezTo>
                    <a:pt x="986" y="401"/>
                    <a:pt x="965" y="401"/>
                    <a:pt x="934" y="408"/>
                  </a:cubicBezTo>
                  <a:cubicBezTo>
                    <a:pt x="876" y="334"/>
                    <a:pt x="771" y="282"/>
                    <a:pt x="660" y="282"/>
                  </a:cubicBezTo>
                  <a:cubicBezTo>
                    <a:pt x="468" y="282"/>
                    <a:pt x="305" y="438"/>
                    <a:pt x="305" y="638"/>
                  </a:cubicBezTo>
                  <a:lnTo>
                    <a:pt x="305" y="661"/>
                  </a:lnTo>
                  <a:cubicBezTo>
                    <a:pt x="275" y="638"/>
                    <a:pt x="230" y="623"/>
                    <a:pt x="186" y="623"/>
                  </a:cubicBezTo>
                  <a:cubicBezTo>
                    <a:pt x="83" y="623"/>
                    <a:pt x="1" y="705"/>
                    <a:pt x="1" y="808"/>
                  </a:cubicBezTo>
                  <a:cubicBezTo>
                    <a:pt x="1" y="904"/>
                    <a:pt x="68" y="979"/>
                    <a:pt x="164" y="993"/>
                  </a:cubicBezTo>
                  <a:lnTo>
                    <a:pt x="164" y="1000"/>
                  </a:lnTo>
                  <a:lnTo>
                    <a:pt x="2165" y="1000"/>
                  </a:lnTo>
                  <a:lnTo>
                    <a:pt x="2165" y="993"/>
                  </a:lnTo>
                  <a:cubicBezTo>
                    <a:pt x="2298" y="993"/>
                    <a:pt x="2409" y="883"/>
                    <a:pt x="2409" y="750"/>
                  </a:cubicBezTo>
                  <a:cubicBezTo>
                    <a:pt x="2409" y="607"/>
                    <a:pt x="2298" y="497"/>
                    <a:pt x="2165" y="497"/>
                  </a:cubicBezTo>
                  <a:cubicBezTo>
                    <a:pt x="2142" y="497"/>
                    <a:pt x="2121" y="497"/>
                    <a:pt x="2105" y="504"/>
                  </a:cubicBezTo>
                  <a:lnTo>
                    <a:pt x="2105" y="497"/>
                  </a:lnTo>
                  <a:cubicBezTo>
                    <a:pt x="2105" y="223"/>
                    <a:pt x="1882" y="1"/>
                    <a:pt x="1608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2" name="Google Shape;5302;p53">
              <a:extLst>
                <a:ext uri="{FF2B5EF4-FFF2-40B4-BE49-F238E27FC236}">
                  <a16:creationId xmlns:a16="http://schemas.microsoft.com/office/drawing/2014/main" id="{F4495A0F-5EF7-CF18-3623-AA4E69BFDC66}"/>
                </a:ext>
              </a:extLst>
            </p:cNvPr>
            <p:cNvSpPr/>
            <p:nvPr/>
          </p:nvSpPr>
          <p:spPr>
            <a:xfrm>
              <a:off x="7397225" y="1655650"/>
              <a:ext cx="8375" cy="11900"/>
            </a:xfrm>
            <a:custGeom>
              <a:avLst/>
              <a:gdLst/>
              <a:ahLst/>
              <a:cxnLst/>
              <a:rect l="l" t="t" r="r" b="b"/>
              <a:pathLst>
                <a:path w="335" h="476" extrusionOk="0">
                  <a:moveTo>
                    <a:pt x="0" y="0"/>
                  </a:moveTo>
                  <a:lnTo>
                    <a:pt x="0" y="0"/>
                  </a:lnTo>
                  <a:cubicBezTo>
                    <a:pt x="192" y="75"/>
                    <a:pt x="326" y="253"/>
                    <a:pt x="326" y="468"/>
                  </a:cubicBezTo>
                  <a:lnTo>
                    <a:pt x="326" y="475"/>
                  </a:lnTo>
                  <a:lnTo>
                    <a:pt x="334" y="475"/>
                  </a:lnTo>
                  <a:lnTo>
                    <a:pt x="334" y="438"/>
                  </a:lnTo>
                  <a:cubicBezTo>
                    <a:pt x="334" y="232"/>
                    <a:pt x="192" y="61"/>
                    <a:pt x="0" y="0"/>
                  </a:cubicBezTo>
                  <a:close/>
                </a:path>
              </a:pathLst>
            </a:custGeom>
            <a:solidFill>
              <a:srgbClr val="EDED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3" name="Google Shape;5303;p53">
              <a:extLst>
                <a:ext uri="{FF2B5EF4-FFF2-40B4-BE49-F238E27FC236}">
                  <a16:creationId xmlns:a16="http://schemas.microsoft.com/office/drawing/2014/main" id="{26C2EDA6-DE91-E753-DFAE-2B72493AB2D4}"/>
                </a:ext>
              </a:extLst>
            </p:cNvPr>
            <p:cNvSpPr/>
            <p:nvPr/>
          </p:nvSpPr>
          <p:spPr>
            <a:xfrm>
              <a:off x="7394225" y="1655300"/>
              <a:ext cx="11375" cy="22825"/>
            </a:xfrm>
            <a:custGeom>
              <a:avLst/>
              <a:gdLst/>
              <a:ahLst/>
              <a:cxnLst/>
              <a:rect l="l" t="t" r="r" b="b"/>
              <a:pathLst>
                <a:path w="455" h="913" extrusionOk="0">
                  <a:moveTo>
                    <a:pt x="1" y="0"/>
                  </a:moveTo>
                  <a:cubicBezTo>
                    <a:pt x="1" y="0"/>
                    <a:pt x="298" y="119"/>
                    <a:pt x="284" y="452"/>
                  </a:cubicBezTo>
                  <a:cubicBezTo>
                    <a:pt x="261" y="824"/>
                    <a:pt x="1" y="913"/>
                    <a:pt x="1" y="913"/>
                  </a:cubicBezTo>
                  <a:cubicBezTo>
                    <a:pt x="239" y="913"/>
                    <a:pt x="438" y="719"/>
                    <a:pt x="454" y="489"/>
                  </a:cubicBezTo>
                  <a:lnTo>
                    <a:pt x="446" y="489"/>
                  </a:lnTo>
                  <a:lnTo>
                    <a:pt x="446" y="482"/>
                  </a:lnTo>
                  <a:cubicBezTo>
                    <a:pt x="446" y="267"/>
                    <a:pt x="312" y="89"/>
                    <a:pt x="120" y="14"/>
                  </a:cubicBezTo>
                  <a:cubicBezTo>
                    <a:pt x="83" y="7"/>
                    <a:pt x="45" y="0"/>
                    <a:pt x="1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4" name="Google Shape;5304;p53">
              <a:extLst>
                <a:ext uri="{FF2B5EF4-FFF2-40B4-BE49-F238E27FC236}">
                  <a16:creationId xmlns:a16="http://schemas.microsoft.com/office/drawing/2014/main" id="{42710EF8-789A-4820-2289-8092DD24D97C}"/>
                </a:ext>
              </a:extLst>
            </p:cNvPr>
            <p:cNvSpPr/>
            <p:nvPr/>
          </p:nvSpPr>
          <p:spPr>
            <a:xfrm>
              <a:off x="7371825" y="1665125"/>
              <a:ext cx="11900" cy="5925"/>
            </a:xfrm>
            <a:custGeom>
              <a:avLst/>
              <a:gdLst/>
              <a:ahLst/>
              <a:cxnLst/>
              <a:rect l="l" t="t" r="r" b="b"/>
              <a:pathLst>
                <a:path w="476" h="237" extrusionOk="0">
                  <a:moveTo>
                    <a:pt x="239" y="0"/>
                  </a:moveTo>
                  <a:cubicBezTo>
                    <a:pt x="113" y="0"/>
                    <a:pt x="8" y="103"/>
                    <a:pt x="1" y="230"/>
                  </a:cubicBezTo>
                  <a:cubicBezTo>
                    <a:pt x="1" y="230"/>
                    <a:pt x="61" y="89"/>
                    <a:pt x="223" y="89"/>
                  </a:cubicBezTo>
                  <a:lnTo>
                    <a:pt x="246" y="89"/>
                  </a:lnTo>
                  <a:cubicBezTo>
                    <a:pt x="438" y="103"/>
                    <a:pt x="475" y="237"/>
                    <a:pt x="475" y="237"/>
                  </a:cubicBezTo>
                  <a:cubicBezTo>
                    <a:pt x="475" y="103"/>
                    <a:pt x="372" y="0"/>
                    <a:pt x="246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5" name="Google Shape;5305;p53">
              <a:extLst>
                <a:ext uri="{FF2B5EF4-FFF2-40B4-BE49-F238E27FC236}">
                  <a16:creationId xmlns:a16="http://schemas.microsoft.com/office/drawing/2014/main" id="{5782B7E3-4D9B-C62A-9AF5-D589F9728FDD}"/>
                </a:ext>
              </a:extLst>
            </p:cNvPr>
            <p:cNvSpPr/>
            <p:nvPr/>
          </p:nvSpPr>
          <p:spPr>
            <a:xfrm>
              <a:off x="7309975" y="1567125"/>
              <a:ext cx="59475" cy="74850"/>
            </a:xfrm>
            <a:custGeom>
              <a:avLst/>
              <a:gdLst/>
              <a:ahLst/>
              <a:cxnLst/>
              <a:rect l="l" t="t" r="r" b="b"/>
              <a:pathLst>
                <a:path w="2379" h="2994" extrusionOk="0">
                  <a:moveTo>
                    <a:pt x="1185" y="1"/>
                  </a:moveTo>
                  <a:cubicBezTo>
                    <a:pt x="675" y="1"/>
                    <a:pt x="252" y="415"/>
                    <a:pt x="252" y="934"/>
                  </a:cubicBezTo>
                  <a:cubicBezTo>
                    <a:pt x="252" y="979"/>
                    <a:pt x="259" y="1023"/>
                    <a:pt x="268" y="1068"/>
                  </a:cubicBezTo>
                  <a:cubicBezTo>
                    <a:pt x="104" y="1267"/>
                    <a:pt x="1" y="1527"/>
                    <a:pt x="1" y="1808"/>
                  </a:cubicBezTo>
                  <a:cubicBezTo>
                    <a:pt x="1" y="2467"/>
                    <a:pt x="534" y="2994"/>
                    <a:pt x="1185" y="2994"/>
                  </a:cubicBezTo>
                  <a:cubicBezTo>
                    <a:pt x="1845" y="2994"/>
                    <a:pt x="2379" y="2467"/>
                    <a:pt x="2379" y="1808"/>
                  </a:cubicBezTo>
                  <a:cubicBezTo>
                    <a:pt x="2379" y="1527"/>
                    <a:pt x="2275" y="1267"/>
                    <a:pt x="2112" y="1068"/>
                  </a:cubicBezTo>
                  <a:cubicBezTo>
                    <a:pt x="2119" y="1023"/>
                    <a:pt x="2126" y="979"/>
                    <a:pt x="2126" y="934"/>
                  </a:cubicBezTo>
                  <a:cubicBezTo>
                    <a:pt x="2126" y="415"/>
                    <a:pt x="1705" y="1"/>
                    <a:pt x="118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6" name="Google Shape;5306;p53">
              <a:extLst>
                <a:ext uri="{FF2B5EF4-FFF2-40B4-BE49-F238E27FC236}">
                  <a16:creationId xmlns:a16="http://schemas.microsoft.com/office/drawing/2014/main" id="{C098AD03-044D-7F91-5B7D-F70FADE06AE9}"/>
                </a:ext>
              </a:extLst>
            </p:cNvPr>
            <p:cNvSpPr/>
            <p:nvPr/>
          </p:nvSpPr>
          <p:spPr>
            <a:xfrm>
              <a:off x="7339600" y="1590125"/>
              <a:ext cx="2825" cy="89100"/>
            </a:xfrm>
            <a:custGeom>
              <a:avLst/>
              <a:gdLst/>
              <a:ahLst/>
              <a:cxnLst/>
              <a:rect l="l" t="t" r="r" b="b"/>
              <a:pathLst>
                <a:path w="113" h="3564" extrusionOk="0">
                  <a:moveTo>
                    <a:pt x="54" y="1"/>
                  </a:moveTo>
                  <a:cubicBezTo>
                    <a:pt x="53" y="1"/>
                    <a:pt x="52" y="4"/>
                    <a:pt x="52" y="14"/>
                  </a:cubicBezTo>
                  <a:lnTo>
                    <a:pt x="0" y="3511"/>
                  </a:lnTo>
                  <a:cubicBezTo>
                    <a:pt x="0" y="3534"/>
                    <a:pt x="23" y="3564"/>
                    <a:pt x="52" y="3564"/>
                  </a:cubicBezTo>
                  <a:lnTo>
                    <a:pt x="61" y="3564"/>
                  </a:lnTo>
                  <a:cubicBezTo>
                    <a:pt x="89" y="3564"/>
                    <a:pt x="112" y="3534"/>
                    <a:pt x="112" y="3511"/>
                  </a:cubicBezTo>
                  <a:cubicBezTo>
                    <a:pt x="112" y="3511"/>
                    <a:pt x="89" y="14"/>
                    <a:pt x="61" y="14"/>
                  </a:cubicBezTo>
                  <a:cubicBezTo>
                    <a:pt x="61" y="14"/>
                    <a:pt x="57" y="1"/>
                    <a:pt x="5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7" name="Google Shape;5307;p53">
              <a:extLst>
                <a:ext uri="{FF2B5EF4-FFF2-40B4-BE49-F238E27FC236}">
                  <a16:creationId xmlns:a16="http://schemas.microsoft.com/office/drawing/2014/main" id="{89AC02A5-9998-8848-D8F5-1CB653A8A880}"/>
                </a:ext>
              </a:extLst>
            </p:cNvPr>
            <p:cNvSpPr/>
            <p:nvPr/>
          </p:nvSpPr>
          <p:spPr>
            <a:xfrm>
              <a:off x="7324025" y="1611600"/>
              <a:ext cx="16875" cy="13875"/>
            </a:xfrm>
            <a:custGeom>
              <a:avLst/>
              <a:gdLst/>
              <a:ahLst/>
              <a:cxnLst/>
              <a:rect l="l" t="t" r="r" b="b"/>
              <a:pathLst>
                <a:path w="675" h="555" extrusionOk="0">
                  <a:moveTo>
                    <a:pt x="1" y="0"/>
                  </a:moveTo>
                  <a:lnTo>
                    <a:pt x="1" y="0"/>
                  </a:lnTo>
                  <a:cubicBezTo>
                    <a:pt x="331" y="541"/>
                    <a:pt x="634" y="555"/>
                    <a:pt x="665" y="555"/>
                  </a:cubicBezTo>
                  <a:cubicBezTo>
                    <a:pt x="667" y="555"/>
                    <a:pt x="668" y="555"/>
                    <a:pt x="668" y="555"/>
                  </a:cubicBezTo>
                  <a:lnTo>
                    <a:pt x="675" y="473"/>
                  </a:lnTo>
                  <a:lnTo>
                    <a:pt x="675" y="473"/>
                  </a:lnTo>
                  <a:cubicBezTo>
                    <a:pt x="675" y="473"/>
                    <a:pt x="668" y="479"/>
                    <a:pt x="647" y="479"/>
                  </a:cubicBezTo>
                  <a:cubicBezTo>
                    <a:pt x="606" y="479"/>
                    <a:pt x="511" y="455"/>
                    <a:pt x="312" y="311"/>
                  </a:cubicBezTo>
                  <a:cubicBezTo>
                    <a:pt x="134" y="18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8" name="Google Shape;5308;p53">
              <a:extLst>
                <a:ext uri="{FF2B5EF4-FFF2-40B4-BE49-F238E27FC236}">
                  <a16:creationId xmlns:a16="http://schemas.microsoft.com/office/drawing/2014/main" id="{927DA1FB-7E85-9C78-2E41-9425EEF506A6}"/>
                </a:ext>
              </a:extLst>
            </p:cNvPr>
            <p:cNvSpPr/>
            <p:nvPr/>
          </p:nvSpPr>
          <p:spPr>
            <a:xfrm>
              <a:off x="7340875" y="1607675"/>
              <a:ext cx="14475" cy="11900"/>
            </a:xfrm>
            <a:custGeom>
              <a:avLst/>
              <a:gdLst/>
              <a:ahLst/>
              <a:cxnLst/>
              <a:rect l="l" t="t" r="r" b="b"/>
              <a:pathLst>
                <a:path w="579" h="476" extrusionOk="0">
                  <a:moveTo>
                    <a:pt x="579" y="1"/>
                  </a:moveTo>
                  <a:cubicBezTo>
                    <a:pt x="579" y="1"/>
                    <a:pt x="461" y="164"/>
                    <a:pt x="312" y="267"/>
                  </a:cubicBezTo>
                  <a:cubicBezTo>
                    <a:pt x="143" y="392"/>
                    <a:pt x="60" y="413"/>
                    <a:pt x="24" y="413"/>
                  </a:cubicBezTo>
                  <a:cubicBezTo>
                    <a:pt x="7" y="413"/>
                    <a:pt x="1" y="408"/>
                    <a:pt x="1" y="408"/>
                  </a:cubicBezTo>
                  <a:lnTo>
                    <a:pt x="1" y="408"/>
                  </a:lnTo>
                  <a:lnTo>
                    <a:pt x="10" y="475"/>
                  </a:lnTo>
                  <a:cubicBezTo>
                    <a:pt x="10" y="475"/>
                    <a:pt x="11" y="475"/>
                    <a:pt x="12" y="475"/>
                  </a:cubicBezTo>
                  <a:cubicBezTo>
                    <a:pt x="40" y="475"/>
                    <a:pt x="300" y="463"/>
                    <a:pt x="57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9" name="Google Shape;5309;p53">
              <a:extLst>
                <a:ext uri="{FF2B5EF4-FFF2-40B4-BE49-F238E27FC236}">
                  <a16:creationId xmlns:a16="http://schemas.microsoft.com/office/drawing/2014/main" id="{B06055E8-7F5A-F361-535A-A836487F340D}"/>
                </a:ext>
              </a:extLst>
            </p:cNvPr>
            <p:cNvSpPr/>
            <p:nvPr/>
          </p:nvSpPr>
          <p:spPr>
            <a:xfrm>
              <a:off x="7329425" y="1599375"/>
              <a:ext cx="11475" cy="9450"/>
            </a:xfrm>
            <a:custGeom>
              <a:avLst/>
              <a:gdLst/>
              <a:ahLst/>
              <a:cxnLst/>
              <a:rect l="l" t="t" r="r" b="b"/>
              <a:pathLst>
                <a:path w="459" h="378" extrusionOk="0">
                  <a:moveTo>
                    <a:pt x="0" y="0"/>
                  </a:moveTo>
                  <a:cubicBezTo>
                    <a:pt x="228" y="370"/>
                    <a:pt x="443" y="377"/>
                    <a:pt x="458" y="377"/>
                  </a:cubicBezTo>
                  <a:cubicBezTo>
                    <a:pt x="459" y="377"/>
                    <a:pt x="459" y="377"/>
                    <a:pt x="459" y="377"/>
                  </a:cubicBezTo>
                  <a:lnTo>
                    <a:pt x="459" y="325"/>
                  </a:lnTo>
                  <a:cubicBezTo>
                    <a:pt x="459" y="325"/>
                    <a:pt x="455" y="328"/>
                    <a:pt x="444" y="328"/>
                  </a:cubicBezTo>
                  <a:cubicBezTo>
                    <a:pt x="417" y="328"/>
                    <a:pt x="352" y="313"/>
                    <a:pt x="208" y="215"/>
                  </a:cubicBezTo>
                  <a:cubicBezTo>
                    <a:pt x="89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0" name="Google Shape;5310;p53">
              <a:extLst>
                <a:ext uri="{FF2B5EF4-FFF2-40B4-BE49-F238E27FC236}">
                  <a16:creationId xmlns:a16="http://schemas.microsoft.com/office/drawing/2014/main" id="{4BF1C5F5-408B-4E36-AB44-F2CA62347826}"/>
                </a:ext>
              </a:extLst>
            </p:cNvPr>
            <p:cNvSpPr/>
            <p:nvPr/>
          </p:nvSpPr>
          <p:spPr>
            <a:xfrm>
              <a:off x="7378150" y="1188300"/>
              <a:ext cx="26700" cy="26700"/>
            </a:xfrm>
            <a:custGeom>
              <a:avLst/>
              <a:gdLst/>
              <a:ahLst/>
              <a:cxnLst/>
              <a:rect l="l" t="t" r="r" b="b"/>
              <a:pathLst>
                <a:path w="1068" h="1068" extrusionOk="0">
                  <a:moveTo>
                    <a:pt x="534" y="0"/>
                  </a:moveTo>
                  <a:cubicBezTo>
                    <a:pt x="237" y="0"/>
                    <a:pt x="0" y="237"/>
                    <a:pt x="0" y="534"/>
                  </a:cubicBezTo>
                  <a:cubicBezTo>
                    <a:pt x="0" y="831"/>
                    <a:pt x="237" y="1067"/>
                    <a:pt x="534" y="1067"/>
                  </a:cubicBezTo>
                  <a:cubicBezTo>
                    <a:pt x="831" y="1067"/>
                    <a:pt x="1067" y="831"/>
                    <a:pt x="1067" y="534"/>
                  </a:cubicBezTo>
                  <a:cubicBezTo>
                    <a:pt x="1067" y="237"/>
                    <a:pt x="831" y="0"/>
                    <a:pt x="534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1" name="Google Shape;5311;p53">
              <a:extLst>
                <a:ext uri="{FF2B5EF4-FFF2-40B4-BE49-F238E27FC236}">
                  <a16:creationId xmlns:a16="http://schemas.microsoft.com/office/drawing/2014/main" id="{13AACAA3-7C56-5A6A-174B-4460A634404C}"/>
                </a:ext>
              </a:extLst>
            </p:cNvPr>
            <p:cNvSpPr/>
            <p:nvPr/>
          </p:nvSpPr>
          <p:spPr>
            <a:xfrm>
              <a:off x="7314200" y="1224800"/>
              <a:ext cx="9850" cy="9850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2" y="0"/>
                  </a:moveTo>
                  <a:cubicBezTo>
                    <a:pt x="90" y="0"/>
                    <a:pt x="1" y="89"/>
                    <a:pt x="1" y="192"/>
                  </a:cubicBezTo>
                  <a:cubicBezTo>
                    <a:pt x="1" y="304"/>
                    <a:pt x="90" y="393"/>
                    <a:pt x="202" y="393"/>
                  </a:cubicBezTo>
                  <a:cubicBezTo>
                    <a:pt x="312" y="393"/>
                    <a:pt x="394" y="304"/>
                    <a:pt x="394" y="192"/>
                  </a:cubicBezTo>
                  <a:cubicBezTo>
                    <a:pt x="394" y="89"/>
                    <a:pt x="312" y="0"/>
                    <a:pt x="202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2" name="Google Shape;5312;p53">
              <a:extLst>
                <a:ext uri="{FF2B5EF4-FFF2-40B4-BE49-F238E27FC236}">
                  <a16:creationId xmlns:a16="http://schemas.microsoft.com/office/drawing/2014/main" id="{34D44A0F-0468-9E6D-4E9B-8A42D5C90DAB}"/>
                </a:ext>
              </a:extLst>
            </p:cNvPr>
            <p:cNvSpPr/>
            <p:nvPr/>
          </p:nvSpPr>
          <p:spPr>
            <a:xfrm>
              <a:off x="7569850" y="1372975"/>
              <a:ext cx="12650" cy="12600"/>
            </a:xfrm>
            <a:custGeom>
              <a:avLst/>
              <a:gdLst/>
              <a:ahLst/>
              <a:cxnLst/>
              <a:rect l="l" t="t" r="r" b="b"/>
              <a:pathLst>
                <a:path w="506" h="504" extrusionOk="0">
                  <a:moveTo>
                    <a:pt x="253" y="1"/>
                  </a:moveTo>
                  <a:cubicBezTo>
                    <a:pt x="113" y="1"/>
                    <a:pt x="0" y="113"/>
                    <a:pt x="0" y="253"/>
                  </a:cubicBezTo>
                  <a:cubicBezTo>
                    <a:pt x="0" y="394"/>
                    <a:pt x="113" y="504"/>
                    <a:pt x="253" y="504"/>
                  </a:cubicBezTo>
                  <a:cubicBezTo>
                    <a:pt x="394" y="504"/>
                    <a:pt x="506" y="394"/>
                    <a:pt x="506" y="253"/>
                  </a:cubicBezTo>
                  <a:cubicBezTo>
                    <a:pt x="506" y="113"/>
                    <a:pt x="394" y="1"/>
                    <a:pt x="253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3" name="Google Shape;5313;p53">
              <a:extLst>
                <a:ext uri="{FF2B5EF4-FFF2-40B4-BE49-F238E27FC236}">
                  <a16:creationId xmlns:a16="http://schemas.microsoft.com/office/drawing/2014/main" id="{D5664168-0CDF-C7B1-09FD-3C65749E88AD}"/>
                </a:ext>
              </a:extLst>
            </p:cNvPr>
            <p:cNvSpPr/>
            <p:nvPr/>
          </p:nvSpPr>
          <p:spPr>
            <a:xfrm>
              <a:off x="7452975" y="1412050"/>
              <a:ext cx="63550" cy="63775"/>
            </a:xfrm>
            <a:custGeom>
              <a:avLst/>
              <a:gdLst/>
              <a:ahLst/>
              <a:cxnLst/>
              <a:rect l="l" t="t" r="r" b="b"/>
              <a:pathLst>
                <a:path w="2542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1972" y="2551"/>
                    <a:pt x="2541" y="1980"/>
                    <a:pt x="2541" y="1276"/>
                  </a:cubicBezTo>
                  <a:cubicBezTo>
                    <a:pt x="2541" y="572"/>
                    <a:pt x="1972" y="1"/>
                    <a:pt x="1275" y="1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4" name="Google Shape;5314;p53">
              <a:extLst>
                <a:ext uri="{FF2B5EF4-FFF2-40B4-BE49-F238E27FC236}">
                  <a16:creationId xmlns:a16="http://schemas.microsoft.com/office/drawing/2014/main" id="{38AD698E-043B-FAE5-207F-93AA3C5FBC13}"/>
                </a:ext>
              </a:extLst>
            </p:cNvPr>
            <p:cNvSpPr/>
            <p:nvPr/>
          </p:nvSpPr>
          <p:spPr>
            <a:xfrm>
              <a:off x="7452800" y="1412050"/>
              <a:ext cx="31900" cy="63775"/>
            </a:xfrm>
            <a:custGeom>
              <a:avLst/>
              <a:gdLst/>
              <a:ahLst/>
              <a:cxnLst/>
              <a:rect l="l" t="t" r="r" b="b"/>
              <a:pathLst>
                <a:path w="1276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571" y="2542"/>
                    <a:pt x="7" y="1980"/>
                    <a:pt x="7" y="1276"/>
                  </a:cubicBezTo>
                  <a:cubicBezTo>
                    <a:pt x="7" y="572"/>
                    <a:pt x="571" y="8"/>
                    <a:pt x="1275" y="1"/>
                  </a:cubicBezTo>
                  <a:close/>
                </a:path>
              </a:pathLst>
            </a:custGeom>
            <a:solidFill>
              <a:srgbClr val="99A0A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5" name="Google Shape;5315;p53">
              <a:extLst>
                <a:ext uri="{FF2B5EF4-FFF2-40B4-BE49-F238E27FC236}">
                  <a16:creationId xmlns:a16="http://schemas.microsoft.com/office/drawing/2014/main" id="{6E13B7E8-787E-0E5A-E84D-A47D0D1D2A9B}"/>
                </a:ext>
              </a:extLst>
            </p:cNvPr>
            <p:cNvSpPr/>
            <p:nvPr/>
          </p:nvSpPr>
          <p:spPr>
            <a:xfrm>
              <a:off x="7452975" y="1412050"/>
              <a:ext cx="31725" cy="63775"/>
            </a:xfrm>
            <a:custGeom>
              <a:avLst/>
              <a:gdLst/>
              <a:ahLst/>
              <a:cxnLst/>
              <a:rect l="l" t="t" r="r" b="b"/>
              <a:pathLst>
                <a:path w="1269" h="2551" extrusionOk="0">
                  <a:moveTo>
                    <a:pt x="1268" y="1"/>
                  </a:moveTo>
                  <a:cubicBezTo>
                    <a:pt x="564" y="8"/>
                    <a:pt x="0" y="572"/>
                    <a:pt x="0" y="1276"/>
                  </a:cubicBezTo>
                  <a:cubicBezTo>
                    <a:pt x="0" y="1980"/>
                    <a:pt x="564" y="2542"/>
                    <a:pt x="1268" y="2551"/>
                  </a:cubicBezTo>
                  <a:cubicBezTo>
                    <a:pt x="1268" y="2542"/>
                    <a:pt x="578" y="1913"/>
                    <a:pt x="578" y="1276"/>
                  </a:cubicBezTo>
                  <a:cubicBezTo>
                    <a:pt x="578" y="639"/>
                    <a:pt x="1268" y="8"/>
                    <a:pt x="1268" y="1"/>
                  </a:cubicBezTo>
                  <a:close/>
                </a:path>
              </a:pathLst>
            </a:custGeom>
            <a:solidFill>
              <a:srgbClr val="FFE9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6" name="Google Shape;5316;p53">
              <a:extLst>
                <a:ext uri="{FF2B5EF4-FFF2-40B4-BE49-F238E27FC236}">
                  <a16:creationId xmlns:a16="http://schemas.microsoft.com/office/drawing/2014/main" id="{682232EF-CF42-9181-1E9A-C38F69341D6D}"/>
                </a:ext>
              </a:extLst>
            </p:cNvPr>
            <p:cNvSpPr/>
            <p:nvPr/>
          </p:nvSpPr>
          <p:spPr>
            <a:xfrm>
              <a:off x="7148250" y="1678625"/>
              <a:ext cx="644150" cy="39875"/>
            </a:xfrm>
            <a:custGeom>
              <a:avLst/>
              <a:gdLst/>
              <a:ahLst/>
              <a:cxnLst/>
              <a:rect l="l" t="t" r="r" b="b"/>
              <a:pathLst>
                <a:path w="25766" h="1595" extrusionOk="0">
                  <a:moveTo>
                    <a:pt x="1615" y="1"/>
                  </a:moveTo>
                  <a:cubicBezTo>
                    <a:pt x="0" y="1"/>
                    <a:pt x="141" y="1594"/>
                    <a:pt x="1615" y="1594"/>
                  </a:cubicBezTo>
                  <a:lnTo>
                    <a:pt x="25765" y="1594"/>
                  </a:lnTo>
                  <a:lnTo>
                    <a:pt x="25765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7" name="Google Shape;5317;p53">
              <a:extLst>
                <a:ext uri="{FF2B5EF4-FFF2-40B4-BE49-F238E27FC236}">
                  <a16:creationId xmlns:a16="http://schemas.microsoft.com/office/drawing/2014/main" id="{F8848437-0F5B-E475-077E-F305CB605881}"/>
                </a:ext>
              </a:extLst>
            </p:cNvPr>
            <p:cNvSpPr/>
            <p:nvPr/>
          </p:nvSpPr>
          <p:spPr>
            <a:xfrm>
              <a:off x="7095475" y="1718475"/>
              <a:ext cx="696925" cy="39850"/>
            </a:xfrm>
            <a:custGeom>
              <a:avLst/>
              <a:gdLst/>
              <a:ahLst/>
              <a:cxnLst/>
              <a:rect l="l" t="t" r="r" b="b"/>
              <a:pathLst>
                <a:path w="27877" h="1594" extrusionOk="0">
                  <a:moveTo>
                    <a:pt x="1615" y="0"/>
                  </a:moveTo>
                  <a:cubicBezTo>
                    <a:pt x="45" y="0"/>
                    <a:pt x="0" y="1594"/>
                    <a:pt x="1615" y="1594"/>
                  </a:cubicBezTo>
                  <a:lnTo>
                    <a:pt x="27876" y="1594"/>
                  </a:lnTo>
                  <a:lnTo>
                    <a:pt x="2787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" name="Google Shape;5134;p53">
            <a:extLst>
              <a:ext uri="{FF2B5EF4-FFF2-40B4-BE49-F238E27FC236}">
                <a16:creationId xmlns:a16="http://schemas.microsoft.com/office/drawing/2014/main" id="{942AE9CB-18B1-A502-29BD-5AE70BD8802B}"/>
              </a:ext>
            </a:extLst>
          </p:cNvPr>
          <p:cNvSpPr txBox="1">
            <a:spLocks/>
          </p:cNvSpPr>
          <p:nvPr/>
        </p:nvSpPr>
        <p:spPr>
          <a:xfrm>
            <a:off x="0" y="171067"/>
            <a:ext cx="9055382" cy="899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Paytone One"/>
              <a:buNone/>
              <a:defRPr sz="4800" b="0" i="0" u="none" strike="noStrike" cap="none">
                <a:solidFill>
                  <a:schemeClr val="dk2"/>
                </a:solidFill>
                <a:latin typeface="Paytone One"/>
                <a:ea typeface="Paytone One"/>
                <a:cs typeface="Paytone One"/>
                <a:sym typeface="Paytone One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9pPr>
          </a:lstStyle>
          <a:p>
            <a:r>
              <a:rPr lang="en-US" sz="4000" b="1" dirty="0">
                <a:solidFill>
                  <a:srgbClr val="A1E1FD"/>
                </a:solidFill>
              </a:rPr>
              <a:t>2021–2024: The Biden Administration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21394061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32">
          <a:extLst>
            <a:ext uri="{FF2B5EF4-FFF2-40B4-BE49-F238E27FC236}">
              <a16:creationId xmlns:a16="http://schemas.microsoft.com/office/drawing/2014/main" id="{E61619A7-3ABB-E197-E787-6DC519E14C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3" name="Google Shape;5133;p53">
            <a:extLst>
              <a:ext uri="{FF2B5EF4-FFF2-40B4-BE49-F238E27FC236}">
                <a16:creationId xmlns:a16="http://schemas.microsoft.com/office/drawing/2014/main" id="{DC8C5B2C-3910-2729-A941-68BAA46E5822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187286" y="1121485"/>
            <a:ext cx="8751997" cy="66822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/>
            <a:r>
              <a:rPr lang="en-US" sz="2400" dirty="0">
                <a:solidFill>
                  <a:srgbClr val="FFFFFF"/>
                </a:solidFill>
                <a:latin typeface="Kumbh Sans" panose="020B0604020202020204" charset="0"/>
                <a:cs typeface="Kumbh Sans" panose="020B0604020202020204" charset="0"/>
              </a:rPr>
              <a:t>Estimate Proposed by Environmental Protection Agency (EPA): </a:t>
            </a:r>
            <a:endParaRPr sz="2400" dirty="0"/>
          </a:p>
        </p:txBody>
      </p:sp>
      <p:sp>
        <p:nvSpPr>
          <p:cNvPr id="5134" name="Google Shape;5134;p53">
            <a:extLst>
              <a:ext uri="{FF2B5EF4-FFF2-40B4-BE49-F238E27FC236}">
                <a16:creationId xmlns:a16="http://schemas.microsoft.com/office/drawing/2014/main" id="{BFB3DA80-3B20-CF19-A4CB-73A9A36E750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47253" y="890485"/>
            <a:ext cx="6644777" cy="3131529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200" dirty="0"/>
              <a:t>US $ 190/tCO</a:t>
            </a:r>
            <a:r>
              <a:rPr lang="en-US" sz="7200" baseline="-25000" dirty="0"/>
              <a:t>2</a:t>
            </a:r>
            <a:endParaRPr sz="7200" baseline="-25000" dirty="0"/>
          </a:p>
        </p:txBody>
      </p:sp>
      <p:grpSp>
        <p:nvGrpSpPr>
          <p:cNvPr id="5139" name="Google Shape;5139;p53">
            <a:extLst>
              <a:ext uri="{FF2B5EF4-FFF2-40B4-BE49-F238E27FC236}">
                <a16:creationId xmlns:a16="http://schemas.microsoft.com/office/drawing/2014/main" id="{6CCE31A8-574C-EEEF-348A-72E261535F13}"/>
              </a:ext>
            </a:extLst>
          </p:cNvPr>
          <p:cNvGrpSpPr/>
          <p:nvPr/>
        </p:nvGrpSpPr>
        <p:grpSpPr>
          <a:xfrm>
            <a:off x="1" y="2420914"/>
            <a:ext cx="2136935" cy="2183097"/>
            <a:chOff x="998550" y="1958600"/>
            <a:chExt cx="693225" cy="708200"/>
          </a:xfrm>
        </p:grpSpPr>
        <p:sp>
          <p:nvSpPr>
            <p:cNvPr id="5140" name="Google Shape;5140;p53">
              <a:extLst>
                <a:ext uri="{FF2B5EF4-FFF2-40B4-BE49-F238E27FC236}">
                  <a16:creationId xmlns:a16="http://schemas.microsoft.com/office/drawing/2014/main" id="{E20E9775-94F4-4027-D468-9D711166719E}"/>
                </a:ext>
              </a:extLst>
            </p:cNvPr>
            <p:cNvSpPr/>
            <p:nvPr/>
          </p:nvSpPr>
          <p:spPr>
            <a:xfrm>
              <a:off x="1404400" y="2326850"/>
              <a:ext cx="89175" cy="43725"/>
            </a:xfrm>
            <a:custGeom>
              <a:avLst/>
              <a:gdLst/>
              <a:ahLst/>
              <a:cxnLst/>
              <a:rect l="l" t="t" r="r" b="b"/>
              <a:pathLst>
                <a:path w="3567" h="1749" extrusionOk="0">
                  <a:moveTo>
                    <a:pt x="1566" y="0"/>
                  </a:moveTo>
                  <a:cubicBezTo>
                    <a:pt x="935" y="0"/>
                    <a:pt x="424" y="496"/>
                    <a:pt x="380" y="1112"/>
                  </a:cubicBezTo>
                  <a:cubicBezTo>
                    <a:pt x="165" y="1156"/>
                    <a:pt x="1" y="1348"/>
                    <a:pt x="1" y="1578"/>
                  </a:cubicBezTo>
                  <a:cubicBezTo>
                    <a:pt x="1" y="1638"/>
                    <a:pt x="17" y="1697"/>
                    <a:pt x="31" y="1748"/>
                  </a:cubicBezTo>
                  <a:lnTo>
                    <a:pt x="3567" y="1748"/>
                  </a:lnTo>
                  <a:lnTo>
                    <a:pt x="3567" y="1704"/>
                  </a:lnTo>
                  <a:cubicBezTo>
                    <a:pt x="3567" y="1371"/>
                    <a:pt x="3291" y="1098"/>
                    <a:pt x="2958" y="1098"/>
                  </a:cubicBezTo>
                  <a:cubicBezTo>
                    <a:pt x="2884" y="1098"/>
                    <a:pt x="2818" y="1112"/>
                    <a:pt x="2750" y="1133"/>
                  </a:cubicBezTo>
                  <a:cubicBezTo>
                    <a:pt x="2722" y="504"/>
                    <a:pt x="2203" y="0"/>
                    <a:pt x="1566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1" name="Google Shape;5141;p53">
              <a:extLst>
                <a:ext uri="{FF2B5EF4-FFF2-40B4-BE49-F238E27FC236}">
                  <a16:creationId xmlns:a16="http://schemas.microsoft.com/office/drawing/2014/main" id="{4928E776-3225-89A3-EDE0-E2EEA8AADAD8}"/>
                </a:ext>
              </a:extLst>
            </p:cNvPr>
            <p:cNvSpPr/>
            <p:nvPr/>
          </p:nvSpPr>
          <p:spPr>
            <a:xfrm>
              <a:off x="1067275" y="2387975"/>
              <a:ext cx="166575" cy="202150"/>
            </a:xfrm>
            <a:custGeom>
              <a:avLst/>
              <a:gdLst/>
              <a:ahLst/>
              <a:cxnLst/>
              <a:rect l="l" t="t" r="r" b="b"/>
              <a:pathLst>
                <a:path w="6663" h="8086" extrusionOk="0">
                  <a:moveTo>
                    <a:pt x="1" y="1"/>
                  </a:moveTo>
                  <a:lnTo>
                    <a:pt x="1" y="8085"/>
                  </a:lnTo>
                  <a:lnTo>
                    <a:pt x="6662" y="8085"/>
                  </a:lnTo>
                  <a:lnTo>
                    <a:pt x="6662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2" name="Google Shape;5142;p53">
              <a:extLst>
                <a:ext uri="{FF2B5EF4-FFF2-40B4-BE49-F238E27FC236}">
                  <a16:creationId xmlns:a16="http://schemas.microsoft.com/office/drawing/2014/main" id="{C9F4449C-8124-A2FF-2304-519A47F54407}"/>
                </a:ext>
              </a:extLst>
            </p:cNvPr>
            <p:cNvSpPr/>
            <p:nvPr/>
          </p:nvSpPr>
          <p:spPr>
            <a:xfrm>
              <a:off x="1067275" y="2460575"/>
              <a:ext cx="166575" cy="10425"/>
            </a:xfrm>
            <a:custGeom>
              <a:avLst/>
              <a:gdLst/>
              <a:ahLst/>
              <a:cxnLst/>
              <a:rect l="l" t="t" r="r" b="b"/>
              <a:pathLst>
                <a:path w="6663" h="417" extrusionOk="0">
                  <a:moveTo>
                    <a:pt x="1" y="1"/>
                  </a:moveTo>
                  <a:lnTo>
                    <a:pt x="1" y="417"/>
                  </a:lnTo>
                  <a:lnTo>
                    <a:pt x="6662" y="417"/>
                  </a:lnTo>
                  <a:lnTo>
                    <a:pt x="666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3" name="Google Shape;5143;p53">
              <a:extLst>
                <a:ext uri="{FF2B5EF4-FFF2-40B4-BE49-F238E27FC236}">
                  <a16:creationId xmlns:a16="http://schemas.microsoft.com/office/drawing/2014/main" id="{7526E206-9AF9-4363-3923-CA015E6DD685}"/>
                </a:ext>
              </a:extLst>
            </p:cNvPr>
            <p:cNvSpPr/>
            <p:nvPr/>
          </p:nvSpPr>
          <p:spPr>
            <a:xfrm>
              <a:off x="1067275" y="2498550"/>
              <a:ext cx="166575" cy="35050"/>
            </a:xfrm>
            <a:custGeom>
              <a:avLst/>
              <a:gdLst/>
              <a:ahLst/>
              <a:cxnLst/>
              <a:rect l="l" t="t" r="r" b="b"/>
              <a:pathLst>
                <a:path w="6663" h="1402" extrusionOk="0">
                  <a:moveTo>
                    <a:pt x="1" y="0"/>
                  </a:moveTo>
                  <a:lnTo>
                    <a:pt x="1" y="1402"/>
                  </a:lnTo>
                  <a:lnTo>
                    <a:pt x="6662" y="1402"/>
                  </a:lnTo>
                  <a:lnTo>
                    <a:pt x="6662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4" name="Google Shape;5144;p53">
              <a:extLst>
                <a:ext uri="{FF2B5EF4-FFF2-40B4-BE49-F238E27FC236}">
                  <a16:creationId xmlns:a16="http://schemas.microsoft.com/office/drawing/2014/main" id="{90245343-A8BB-5A3A-FEF6-177FDD3C2704}"/>
                </a:ext>
              </a:extLst>
            </p:cNvPr>
            <p:cNvSpPr/>
            <p:nvPr/>
          </p:nvSpPr>
          <p:spPr>
            <a:xfrm>
              <a:off x="1186550" y="2497075"/>
              <a:ext cx="20625" cy="37650"/>
            </a:xfrm>
            <a:custGeom>
              <a:avLst/>
              <a:gdLst/>
              <a:ahLst/>
              <a:cxnLst/>
              <a:rect l="l" t="t" r="r" b="b"/>
              <a:pathLst>
                <a:path w="825" h="1506" extrusionOk="0">
                  <a:moveTo>
                    <a:pt x="743" y="82"/>
                  </a:moveTo>
                  <a:lnTo>
                    <a:pt x="743" y="1423"/>
                  </a:lnTo>
                  <a:lnTo>
                    <a:pt x="83" y="1423"/>
                  </a:lnTo>
                  <a:lnTo>
                    <a:pt x="83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5" name="Google Shape;5145;p53">
              <a:extLst>
                <a:ext uri="{FF2B5EF4-FFF2-40B4-BE49-F238E27FC236}">
                  <a16:creationId xmlns:a16="http://schemas.microsoft.com/office/drawing/2014/main" id="{0EACFFEA-EA37-A9E7-AB1B-6BBE486A5023}"/>
                </a:ext>
              </a:extLst>
            </p:cNvPr>
            <p:cNvSpPr/>
            <p:nvPr/>
          </p:nvSpPr>
          <p:spPr>
            <a:xfrm>
              <a:off x="1149525" y="2497075"/>
              <a:ext cx="20600" cy="37650"/>
            </a:xfrm>
            <a:custGeom>
              <a:avLst/>
              <a:gdLst/>
              <a:ahLst/>
              <a:cxnLst/>
              <a:rect l="l" t="t" r="r" b="b"/>
              <a:pathLst>
                <a:path w="824" h="1506" extrusionOk="0">
                  <a:moveTo>
                    <a:pt x="742" y="82"/>
                  </a:moveTo>
                  <a:lnTo>
                    <a:pt x="742" y="1423"/>
                  </a:lnTo>
                  <a:lnTo>
                    <a:pt x="82" y="1423"/>
                  </a:lnTo>
                  <a:lnTo>
                    <a:pt x="82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6" name="Google Shape;5146;p53">
              <a:extLst>
                <a:ext uri="{FF2B5EF4-FFF2-40B4-BE49-F238E27FC236}">
                  <a16:creationId xmlns:a16="http://schemas.microsoft.com/office/drawing/2014/main" id="{EAB0F9CB-0729-AB48-D2FC-75C26BDB8F00}"/>
                </a:ext>
              </a:extLst>
            </p:cNvPr>
            <p:cNvSpPr/>
            <p:nvPr/>
          </p:nvSpPr>
          <p:spPr>
            <a:xfrm>
              <a:off x="1223825" y="2497075"/>
              <a:ext cx="10950" cy="37650"/>
            </a:xfrm>
            <a:custGeom>
              <a:avLst/>
              <a:gdLst/>
              <a:ahLst/>
              <a:cxnLst/>
              <a:rect l="l" t="t" r="r" b="b"/>
              <a:pathLst>
                <a:path w="438" h="1506" extrusionOk="0">
                  <a:moveTo>
                    <a:pt x="363" y="82"/>
                  </a:moveTo>
                  <a:lnTo>
                    <a:pt x="363" y="1423"/>
                  </a:lnTo>
                  <a:lnTo>
                    <a:pt x="75" y="1423"/>
                  </a:lnTo>
                  <a:lnTo>
                    <a:pt x="75" y="82"/>
                  </a:lnTo>
                  <a:close/>
                  <a:moveTo>
                    <a:pt x="0" y="1"/>
                  </a:moveTo>
                  <a:lnTo>
                    <a:pt x="0" y="1505"/>
                  </a:lnTo>
                  <a:lnTo>
                    <a:pt x="438" y="1505"/>
                  </a:lnTo>
                  <a:lnTo>
                    <a:pt x="438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7" name="Google Shape;5147;p53">
              <a:extLst>
                <a:ext uri="{FF2B5EF4-FFF2-40B4-BE49-F238E27FC236}">
                  <a16:creationId xmlns:a16="http://schemas.microsoft.com/office/drawing/2014/main" id="{17E04F01-5F16-6176-1BAB-3E655C779120}"/>
                </a:ext>
              </a:extLst>
            </p:cNvPr>
            <p:cNvSpPr/>
            <p:nvPr/>
          </p:nvSpPr>
          <p:spPr>
            <a:xfrm>
              <a:off x="1205100" y="2497075"/>
              <a:ext cx="20600" cy="37650"/>
            </a:xfrm>
            <a:custGeom>
              <a:avLst/>
              <a:gdLst/>
              <a:ahLst/>
              <a:cxnLst/>
              <a:rect l="l" t="t" r="r" b="b"/>
              <a:pathLst>
                <a:path w="824" h="1506" extrusionOk="0">
                  <a:moveTo>
                    <a:pt x="749" y="82"/>
                  </a:moveTo>
                  <a:lnTo>
                    <a:pt x="749" y="1423"/>
                  </a:lnTo>
                  <a:lnTo>
                    <a:pt x="82" y="1423"/>
                  </a:lnTo>
                  <a:lnTo>
                    <a:pt x="82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8" name="Google Shape;5148;p53">
              <a:extLst>
                <a:ext uri="{FF2B5EF4-FFF2-40B4-BE49-F238E27FC236}">
                  <a16:creationId xmlns:a16="http://schemas.microsoft.com/office/drawing/2014/main" id="{1A099413-3659-231B-EE48-E289FB356377}"/>
                </a:ext>
              </a:extLst>
            </p:cNvPr>
            <p:cNvSpPr/>
            <p:nvPr/>
          </p:nvSpPr>
          <p:spPr>
            <a:xfrm>
              <a:off x="1168075" y="2497075"/>
              <a:ext cx="20550" cy="37650"/>
            </a:xfrm>
            <a:custGeom>
              <a:avLst/>
              <a:gdLst/>
              <a:ahLst/>
              <a:cxnLst/>
              <a:rect l="l" t="t" r="r" b="b"/>
              <a:pathLst>
                <a:path w="822" h="1506" extrusionOk="0">
                  <a:moveTo>
                    <a:pt x="740" y="82"/>
                  </a:moveTo>
                  <a:lnTo>
                    <a:pt x="740" y="1423"/>
                  </a:lnTo>
                  <a:lnTo>
                    <a:pt x="82" y="1423"/>
                  </a:lnTo>
                  <a:lnTo>
                    <a:pt x="82" y="82"/>
                  </a:lnTo>
                  <a:close/>
                  <a:moveTo>
                    <a:pt x="0" y="1"/>
                  </a:moveTo>
                  <a:lnTo>
                    <a:pt x="0" y="1505"/>
                  </a:lnTo>
                  <a:lnTo>
                    <a:pt x="822" y="1505"/>
                  </a:lnTo>
                  <a:lnTo>
                    <a:pt x="822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9" name="Google Shape;5149;p53">
              <a:extLst>
                <a:ext uri="{FF2B5EF4-FFF2-40B4-BE49-F238E27FC236}">
                  <a16:creationId xmlns:a16="http://schemas.microsoft.com/office/drawing/2014/main" id="{BC408D42-BC79-1CB4-E733-18586B757940}"/>
                </a:ext>
              </a:extLst>
            </p:cNvPr>
            <p:cNvSpPr/>
            <p:nvPr/>
          </p:nvSpPr>
          <p:spPr>
            <a:xfrm>
              <a:off x="1066175" y="2497075"/>
              <a:ext cx="11125" cy="37650"/>
            </a:xfrm>
            <a:custGeom>
              <a:avLst/>
              <a:gdLst/>
              <a:ahLst/>
              <a:cxnLst/>
              <a:rect l="l" t="t" r="r" b="b"/>
              <a:pathLst>
                <a:path w="445" h="1506" extrusionOk="0">
                  <a:moveTo>
                    <a:pt x="363" y="82"/>
                  </a:moveTo>
                  <a:lnTo>
                    <a:pt x="363" y="1423"/>
                  </a:lnTo>
                  <a:lnTo>
                    <a:pt x="82" y="1423"/>
                  </a:lnTo>
                  <a:lnTo>
                    <a:pt x="82" y="82"/>
                  </a:lnTo>
                  <a:close/>
                  <a:moveTo>
                    <a:pt x="0" y="1"/>
                  </a:moveTo>
                  <a:lnTo>
                    <a:pt x="0" y="1505"/>
                  </a:lnTo>
                  <a:lnTo>
                    <a:pt x="445" y="1505"/>
                  </a:lnTo>
                  <a:lnTo>
                    <a:pt x="445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0" name="Google Shape;5150;p53">
              <a:extLst>
                <a:ext uri="{FF2B5EF4-FFF2-40B4-BE49-F238E27FC236}">
                  <a16:creationId xmlns:a16="http://schemas.microsoft.com/office/drawing/2014/main" id="{649BFD60-B13D-D3C7-80F6-B88A1275D9DF}"/>
                </a:ext>
              </a:extLst>
            </p:cNvPr>
            <p:cNvSpPr/>
            <p:nvPr/>
          </p:nvSpPr>
          <p:spPr>
            <a:xfrm>
              <a:off x="1075225" y="2497075"/>
              <a:ext cx="20625" cy="37650"/>
            </a:xfrm>
            <a:custGeom>
              <a:avLst/>
              <a:gdLst/>
              <a:ahLst/>
              <a:cxnLst/>
              <a:rect l="l" t="t" r="r" b="b"/>
              <a:pathLst>
                <a:path w="825" h="1506" extrusionOk="0">
                  <a:moveTo>
                    <a:pt x="750" y="82"/>
                  </a:moveTo>
                  <a:lnTo>
                    <a:pt x="750" y="1423"/>
                  </a:lnTo>
                  <a:lnTo>
                    <a:pt x="83" y="1423"/>
                  </a:lnTo>
                  <a:lnTo>
                    <a:pt x="83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1" name="Google Shape;5151;p53">
              <a:extLst>
                <a:ext uri="{FF2B5EF4-FFF2-40B4-BE49-F238E27FC236}">
                  <a16:creationId xmlns:a16="http://schemas.microsoft.com/office/drawing/2014/main" id="{F8C81C54-4B2B-AF62-6E8E-05B7CD82B7CC}"/>
                </a:ext>
              </a:extLst>
            </p:cNvPr>
            <p:cNvSpPr/>
            <p:nvPr/>
          </p:nvSpPr>
          <p:spPr>
            <a:xfrm>
              <a:off x="1093950" y="2497075"/>
              <a:ext cx="20400" cy="37650"/>
            </a:xfrm>
            <a:custGeom>
              <a:avLst/>
              <a:gdLst/>
              <a:ahLst/>
              <a:cxnLst/>
              <a:rect l="l" t="t" r="r" b="b"/>
              <a:pathLst>
                <a:path w="816" h="1506" extrusionOk="0">
                  <a:moveTo>
                    <a:pt x="742" y="82"/>
                  </a:moveTo>
                  <a:lnTo>
                    <a:pt x="742" y="1423"/>
                  </a:lnTo>
                  <a:lnTo>
                    <a:pt x="75" y="1423"/>
                  </a:lnTo>
                  <a:lnTo>
                    <a:pt x="75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15" y="1505"/>
                  </a:lnTo>
                  <a:lnTo>
                    <a:pt x="815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2" name="Google Shape;5152;p53">
              <a:extLst>
                <a:ext uri="{FF2B5EF4-FFF2-40B4-BE49-F238E27FC236}">
                  <a16:creationId xmlns:a16="http://schemas.microsoft.com/office/drawing/2014/main" id="{37239B28-7860-AD85-5710-E21434ED1B74}"/>
                </a:ext>
              </a:extLst>
            </p:cNvPr>
            <p:cNvSpPr/>
            <p:nvPr/>
          </p:nvSpPr>
          <p:spPr>
            <a:xfrm>
              <a:off x="1130975" y="2497075"/>
              <a:ext cx="20625" cy="37650"/>
            </a:xfrm>
            <a:custGeom>
              <a:avLst/>
              <a:gdLst/>
              <a:ahLst/>
              <a:cxnLst/>
              <a:rect l="l" t="t" r="r" b="b"/>
              <a:pathLst>
                <a:path w="825" h="1506" extrusionOk="0">
                  <a:moveTo>
                    <a:pt x="743" y="82"/>
                  </a:moveTo>
                  <a:lnTo>
                    <a:pt x="743" y="1423"/>
                  </a:lnTo>
                  <a:lnTo>
                    <a:pt x="83" y="1423"/>
                  </a:lnTo>
                  <a:lnTo>
                    <a:pt x="83" y="82"/>
                  </a:lnTo>
                  <a:close/>
                  <a:moveTo>
                    <a:pt x="1" y="1"/>
                  </a:moveTo>
                  <a:lnTo>
                    <a:pt x="1" y="1505"/>
                  </a:lnTo>
                  <a:lnTo>
                    <a:pt x="824" y="1505"/>
                  </a:lnTo>
                  <a:lnTo>
                    <a:pt x="824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3" name="Google Shape;5153;p53">
              <a:extLst>
                <a:ext uri="{FF2B5EF4-FFF2-40B4-BE49-F238E27FC236}">
                  <a16:creationId xmlns:a16="http://schemas.microsoft.com/office/drawing/2014/main" id="{AB7D1596-83B3-4F5A-DC23-7753421C2E2E}"/>
                </a:ext>
              </a:extLst>
            </p:cNvPr>
            <p:cNvSpPr/>
            <p:nvPr/>
          </p:nvSpPr>
          <p:spPr>
            <a:xfrm>
              <a:off x="1112500" y="2497075"/>
              <a:ext cx="20550" cy="37650"/>
            </a:xfrm>
            <a:custGeom>
              <a:avLst/>
              <a:gdLst/>
              <a:ahLst/>
              <a:cxnLst/>
              <a:rect l="l" t="t" r="r" b="b"/>
              <a:pathLst>
                <a:path w="822" h="1506" extrusionOk="0">
                  <a:moveTo>
                    <a:pt x="740" y="82"/>
                  </a:moveTo>
                  <a:lnTo>
                    <a:pt x="740" y="1423"/>
                  </a:lnTo>
                  <a:lnTo>
                    <a:pt x="73" y="1423"/>
                  </a:lnTo>
                  <a:lnTo>
                    <a:pt x="73" y="82"/>
                  </a:lnTo>
                  <a:close/>
                  <a:moveTo>
                    <a:pt x="0" y="1"/>
                  </a:moveTo>
                  <a:lnTo>
                    <a:pt x="0" y="1505"/>
                  </a:lnTo>
                  <a:lnTo>
                    <a:pt x="822" y="1505"/>
                  </a:lnTo>
                  <a:lnTo>
                    <a:pt x="822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4" name="Google Shape;5154;p53">
              <a:extLst>
                <a:ext uri="{FF2B5EF4-FFF2-40B4-BE49-F238E27FC236}">
                  <a16:creationId xmlns:a16="http://schemas.microsoft.com/office/drawing/2014/main" id="{8E7D2CB8-C072-07D8-AEED-40C3BE731F25}"/>
                </a:ext>
              </a:extLst>
            </p:cNvPr>
            <p:cNvSpPr/>
            <p:nvPr/>
          </p:nvSpPr>
          <p:spPr>
            <a:xfrm>
              <a:off x="1116350" y="2274025"/>
              <a:ext cx="52275" cy="316100"/>
            </a:xfrm>
            <a:custGeom>
              <a:avLst/>
              <a:gdLst/>
              <a:ahLst/>
              <a:cxnLst/>
              <a:rect l="l" t="t" r="r" b="b"/>
              <a:pathLst>
                <a:path w="2091" h="12644" extrusionOk="0">
                  <a:moveTo>
                    <a:pt x="565" y="1"/>
                  </a:moveTo>
                  <a:lnTo>
                    <a:pt x="1" y="12613"/>
                  </a:lnTo>
                  <a:lnTo>
                    <a:pt x="2090" y="12643"/>
                  </a:lnTo>
                  <a:lnTo>
                    <a:pt x="1824" y="17"/>
                  </a:lnTo>
                  <a:lnTo>
                    <a:pt x="565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5" name="Google Shape;5155;p53">
              <a:extLst>
                <a:ext uri="{FF2B5EF4-FFF2-40B4-BE49-F238E27FC236}">
                  <a16:creationId xmlns:a16="http://schemas.microsoft.com/office/drawing/2014/main" id="{9A29A178-24DD-2284-D76E-01B1117ABE0E}"/>
                </a:ext>
              </a:extLst>
            </p:cNvPr>
            <p:cNvSpPr/>
            <p:nvPr/>
          </p:nvSpPr>
          <p:spPr>
            <a:xfrm>
              <a:off x="1116350" y="2274250"/>
              <a:ext cx="29875" cy="312875"/>
            </a:xfrm>
            <a:custGeom>
              <a:avLst/>
              <a:gdLst/>
              <a:ahLst/>
              <a:cxnLst/>
              <a:rect l="l" t="t" r="r" b="b"/>
              <a:pathLst>
                <a:path w="1195" h="12515" extrusionOk="0">
                  <a:moveTo>
                    <a:pt x="565" y="0"/>
                  </a:moveTo>
                  <a:lnTo>
                    <a:pt x="1" y="12515"/>
                  </a:lnTo>
                  <a:lnTo>
                    <a:pt x="1047" y="12515"/>
                  </a:lnTo>
                  <a:lnTo>
                    <a:pt x="1194" y="8"/>
                  </a:lnTo>
                  <a:lnTo>
                    <a:pt x="565" y="0"/>
                  </a:lnTo>
                  <a:close/>
                </a:path>
              </a:pathLst>
            </a:custGeom>
            <a:solidFill>
              <a:srgbClr val="92939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6" name="Google Shape;5156;p53">
              <a:extLst>
                <a:ext uri="{FF2B5EF4-FFF2-40B4-BE49-F238E27FC236}">
                  <a16:creationId xmlns:a16="http://schemas.microsoft.com/office/drawing/2014/main" id="{08D9ABE5-3D59-85AE-5BAC-C2E54C7A0E0D}"/>
                </a:ext>
              </a:extLst>
            </p:cNvPr>
            <p:cNvSpPr/>
            <p:nvPr/>
          </p:nvSpPr>
          <p:spPr>
            <a:xfrm>
              <a:off x="1126375" y="2350000"/>
              <a:ext cx="37450" cy="18925"/>
            </a:xfrm>
            <a:custGeom>
              <a:avLst/>
              <a:gdLst/>
              <a:ahLst/>
              <a:cxnLst/>
              <a:rect l="l" t="t" r="r" b="b"/>
              <a:pathLst>
                <a:path w="1498" h="757" extrusionOk="0">
                  <a:moveTo>
                    <a:pt x="37" y="1"/>
                  </a:moveTo>
                  <a:lnTo>
                    <a:pt x="0" y="734"/>
                  </a:lnTo>
                  <a:lnTo>
                    <a:pt x="749" y="741"/>
                  </a:lnTo>
                  <a:lnTo>
                    <a:pt x="1497" y="757"/>
                  </a:lnTo>
                  <a:lnTo>
                    <a:pt x="1483" y="22"/>
                  </a:lnTo>
                  <a:lnTo>
                    <a:pt x="756" y="15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7" name="Google Shape;5157;p53">
              <a:extLst>
                <a:ext uri="{FF2B5EF4-FFF2-40B4-BE49-F238E27FC236}">
                  <a16:creationId xmlns:a16="http://schemas.microsoft.com/office/drawing/2014/main" id="{3E72DB09-B111-C33E-34F8-5CA75EFF6070}"/>
                </a:ext>
              </a:extLst>
            </p:cNvPr>
            <p:cNvSpPr/>
            <p:nvPr/>
          </p:nvSpPr>
          <p:spPr>
            <a:xfrm>
              <a:off x="1124150" y="2392950"/>
              <a:ext cx="40775" cy="27275"/>
            </a:xfrm>
            <a:custGeom>
              <a:avLst/>
              <a:gdLst/>
              <a:ahLst/>
              <a:cxnLst/>
              <a:rect l="l" t="t" r="r" b="b"/>
              <a:pathLst>
                <a:path w="1631" h="1091" extrusionOk="0">
                  <a:moveTo>
                    <a:pt x="45" y="1"/>
                  </a:moveTo>
                  <a:lnTo>
                    <a:pt x="0" y="1068"/>
                  </a:lnTo>
                  <a:lnTo>
                    <a:pt x="816" y="1077"/>
                  </a:lnTo>
                  <a:lnTo>
                    <a:pt x="1631" y="1091"/>
                  </a:lnTo>
                  <a:lnTo>
                    <a:pt x="1608" y="17"/>
                  </a:lnTo>
                  <a:lnTo>
                    <a:pt x="831" y="10"/>
                  </a:lnTo>
                  <a:lnTo>
                    <a:pt x="45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8" name="Google Shape;5158;p53">
              <a:extLst>
                <a:ext uri="{FF2B5EF4-FFF2-40B4-BE49-F238E27FC236}">
                  <a16:creationId xmlns:a16="http://schemas.microsoft.com/office/drawing/2014/main" id="{1B47297C-185C-CBA1-DAAD-6733E36A2B8C}"/>
                </a:ext>
              </a:extLst>
            </p:cNvPr>
            <p:cNvSpPr/>
            <p:nvPr/>
          </p:nvSpPr>
          <p:spPr>
            <a:xfrm>
              <a:off x="999125" y="2054350"/>
              <a:ext cx="117650" cy="77825"/>
            </a:xfrm>
            <a:custGeom>
              <a:avLst/>
              <a:gdLst/>
              <a:ahLst/>
              <a:cxnLst/>
              <a:rect l="l" t="t" r="r" b="b"/>
              <a:pathLst>
                <a:path w="4706" h="3113" extrusionOk="0">
                  <a:moveTo>
                    <a:pt x="0" y="1"/>
                  </a:moveTo>
                  <a:lnTo>
                    <a:pt x="0" y="8"/>
                  </a:lnTo>
                  <a:lnTo>
                    <a:pt x="0" y="2231"/>
                  </a:lnTo>
                  <a:lnTo>
                    <a:pt x="0" y="3113"/>
                  </a:lnTo>
                  <a:lnTo>
                    <a:pt x="3061" y="3113"/>
                  </a:lnTo>
                  <a:cubicBezTo>
                    <a:pt x="3075" y="3097"/>
                    <a:pt x="3089" y="3090"/>
                    <a:pt x="3105" y="3075"/>
                  </a:cubicBezTo>
                  <a:cubicBezTo>
                    <a:pt x="3112" y="3090"/>
                    <a:pt x="3120" y="3097"/>
                    <a:pt x="3120" y="3113"/>
                  </a:cubicBezTo>
                  <a:lnTo>
                    <a:pt x="4638" y="3113"/>
                  </a:lnTo>
                  <a:cubicBezTo>
                    <a:pt x="4683" y="3017"/>
                    <a:pt x="4706" y="2912"/>
                    <a:pt x="4706" y="2794"/>
                  </a:cubicBezTo>
                  <a:cubicBezTo>
                    <a:pt x="4706" y="2341"/>
                    <a:pt x="4334" y="1971"/>
                    <a:pt x="3883" y="1971"/>
                  </a:cubicBezTo>
                  <a:cubicBezTo>
                    <a:pt x="3719" y="1971"/>
                    <a:pt x="3571" y="2016"/>
                    <a:pt x="3445" y="2097"/>
                  </a:cubicBezTo>
                  <a:cubicBezTo>
                    <a:pt x="3363" y="1571"/>
                    <a:pt x="2904" y="1171"/>
                    <a:pt x="2357" y="1171"/>
                  </a:cubicBezTo>
                  <a:cubicBezTo>
                    <a:pt x="2172" y="1171"/>
                    <a:pt x="1994" y="1215"/>
                    <a:pt x="1837" y="1297"/>
                  </a:cubicBezTo>
                  <a:cubicBezTo>
                    <a:pt x="1505" y="593"/>
                    <a:pt x="815" y="82"/>
                    <a:pt x="0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9" name="Google Shape;5159;p53">
              <a:extLst>
                <a:ext uri="{FF2B5EF4-FFF2-40B4-BE49-F238E27FC236}">
                  <a16:creationId xmlns:a16="http://schemas.microsoft.com/office/drawing/2014/main" id="{A189A160-B32D-85EC-8521-AD72FCD91F81}"/>
                </a:ext>
              </a:extLst>
            </p:cNvPr>
            <p:cNvSpPr/>
            <p:nvPr/>
          </p:nvSpPr>
          <p:spPr>
            <a:xfrm>
              <a:off x="1361075" y="2415000"/>
              <a:ext cx="188075" cy="174525"/>
            </a:xfrm>
            <a:custGeom>
              <a:avLst/>
              <a:gdLst/>
              <a:ahLst/>
              <a:cxnLst/>
              <a:rect l="l" t="t" r="r" b="b"/>
              <a:pathLst>
                <a:path w="7523" h="6981" extrusionOk="0">
                  <a:moveTo>
                    <a:pt x="0" y="1"/>
                  </a:moveTo>
                  <a:lnTo>
                    <a:pt x="0" y="6981"/>
                  </a:lnTo>
                  <a:lnTo>
                    <a:pt x="7523" y="6981"/>
                  </a:lnTo>
                  <a:lnTo>
                    <a:pt x="7523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0" name="Google Shape;5160;p53">
              <a:extLst>
                <a:ext uri="{FF2B5EF4-FFF2-40B4-BE49-F238E27FC236}">
                  <a16:creationId xmlns:a16="http://schemas.microsoft.com/office/drawing/2014/main" id="{66556EB3-BEBE-DDE1-B67B-12E33F4DB2F9}"/>
                </a:ext>
              </a:extLst>
            </p:cNvPr>
            <p:cNvSpPr/>
            <p:nvPr/>
          </p:nvSpPr>
          <p:spPr>
            <a:xfrm>
              <a:off x="1549125" y="2418925"/>
              <a:ext cx="200" cy="168200"/>
            </a:xfrm>
            <a:custGeom>
              <a:avLst/>
              <a:gdLst/>
              <a:ahLst/>
              <a:cxnLst/>
              <a:rect l="l" t="t" r="r" b="b"/>
              <a:pathLst>
                <a:path w="8" h="6728" extrusionOk="0">
                  <a:moveTo>
                    <a:pt x="1" y="0"/>
                  </a:moveTo>
                  <a:lnTo>
                    <a:pt x="1" y="6728"/>
                  </a:lnTo>
                  <a:lnTo>
                    <a:pt x="8" y="6728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52596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1" name="Google Shape;5161;p53">
              <a:extLst>
                <a:ext uri="{FF2B5EF4-FFF2-40B4-BE49-F238E27FC236}">
                  <a16:creationId xmlns:a16="http://schemas.microsoft.com/office/drawing/2014/main" id="{37FDDF42-6DEB-0885-90D2-AF3A64B66067}"/>
                </a:ext>
              </a:extLst>
            </p:cNvPr>
            <p:cNvSpPr/>
            <p:nvPr/>
          </p:nvSpPr>
          <p:spPr>
            <a:xfrm>
              <a:off x="1502625" y="2418925"/>
              <a:ext cx="46525" cy="158025"/>
            </a:xfrm>
            <a:custGeom>
              <a:avLst/>
              <a:gdLst/>
              <a:ahLst/>
              <a:cxnLst/>
              <a:rect l="l" t="t" r="r" b="b"/>
              <a:pathLst>
                <a:path w="1861" h="6321" extrusionOk="0">
                  <a:moveTo>
                    <a:pt x="0" y="0"/>
                  </a:moveTo>
                  <a:lnTo>
                    <a:pt x="0" y="6321"/>
                  </a:lnTo>
                  <a:lnTo>
                    <a:pt x="1861" y="6321"/>
                  </a:lnTo>
                  <a:lnTo>
                    <a:pt x="1861" y="0"/>
                  </a:lnTo>
                  <a:close/>
                </a:path>
              </a:pathLst>
            </a:custGeom>
            <a:solidFill>
              <a:srgbClr val="85868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2" name="Google Shape;5162;p53">
              <a:extLst>
                <a:ext uri="{FF2B5EF4-FFF2-40B4-BE49-F238E27FC236}">
                  <a16:creationId xmlns:a16="http://schemas.microsoft.com/office/drawing/2014/main" id="{11DF2AD2-9C5B-0C10-533A-AC6E376392BE}"/>
                </a:ext>
              </a:extLst>
            </p:cNvPr>
            <p:cNvSpPr/>
            <p:nvPr/>
          </p:nvSpPr>
          <p:spPr>
            <a:xfrm>
              <a:off x="1353275" y="2411325"/>
              <a:ext cx="203425" cy="7625"/>
            </a:xfrm>
            <a:custGeom>
              <a:avLst/>
              <a:gdLst/>
              <a:ahLst/>
              <a:cxnLst/>
              <a:rect l="l" t="t" r="r" b="b"/>
              <a:pathLst>
                <a:path w="8137" h="305" extrusionOk="0">
                  <a:moveTo>
                    <a:pt x="150" y="0"/>
                  </a:moveTo>
                  <a:cubicBezTo>
                    <a:pt x="68" y="0"/>
                    <a:pt x="1" y="66"/>
                    <a:pt x="1" y="148"/>
                  </a:cubicBezTo>
                  <a:cubicBezTo>
                    <a:pt x="1" y="237"/>
                    <a:pt x="68" y="304"/>
                    <a:pt x="150" y="304"/>
                  </a:cubicBezTo>
                  <a:lnTo>
                    <a:pt x="7989" y="304"/>
                  </a:lnTo>
                  <a:cubicBezTo>
                    <a:pt x="8071" y="304"/>
                    <a:pt x="8137" y="237"/>
                    <a:pt x="8137" y="148"/>
                  </a:cubicBezTo>
                  <a:cubicBezTo>
                    <a:pt x="8137" y="66"/>
                    <a:pt x="8071" y="0"/>
                    <a:pt x="7989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3" name="Google Shape;5163;p53">
              <a:extLst>
                <a:ext uri="{FF2B5EF4-FFF2-40B4-BE49-F238E27FC236}">
                  <a16:creationId xmlns:a16="http://schemas.microsoft.com/office/drawing/2014/main" id="{163D1BFB-31FC-281C-3DCE-8071F1D3BA54}"/>
                </a:ext>
              </a:extLst>
            </p:cNvPr>
            <p:cNvSpPr/>
            <p:nvPr/>
          </p:nvSpPr>
          <p:spPr>
            <a:xfrm>
              <a:off x="1524450" y="2448925"/>
              <a:ext cx="11900" cy="17425"/>
            </a:xfrm>
            <a:custGeom>
              <a:avLst/>
              <a:gdLst/>
              <a:ahLst/>
              <a:cxnLst/>
              <a:rect l="l" t="t" r="r" b="b"/>
              <a:pathLst>
                <a:path w="476" h="697" extrusionOk="0">
                  <a:moveTo>
                    <a:pt x="1" y="1"/>
                  </a:moveTo>
                  <a:lnTo>
                    <a:pt x="1" y="696"/>
                  </a:lnTo>
                  <a:lnTo>
                    <a:pt x="475" y="696"/>
                  </a:lnTo>
                  <a:lnTo>
                    <a:pt x="475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4" name="Google Shape;5164;p53">
              <a:extLst>
                <a:ext uri="{FF2B5EF4-FFF2-40B4-BE49-F238E27FC236}">
                  <a16:creationId xmlns:a16="http://schemas.microsoft.com/office/drawing/2014/main" id="{775F7A24-2CDD-1070-43B5-90F25E08C470}"/>
                </a:ext>
              </a:extLst>
            </p:cNvPr>
            <p:cNvSpPr/>
            <p:nvPr/>
          </p:nvSpPr>
          <p:spPr>
            <a:xfrm>
              <a:off x="1503150" y="2448925"/>
              <a:ext cx="11725" cy="17425"/>
            </a:xfrm>
            <a:custGeom>
              <a:avLst/>
              <a:gdLst/>
              <a:ahLst/>
              <a:cxnLst/>
              <a:rect l="l" t="t" r="r" b="b"/>
              <a:pathLst>
                <a:path w="469" h="697" extrusionOk="0">
                  <a:moveTo>
                    <a:pt x="1" y="1"/>
                  </a:moveTo>
                  <a:lnTo>
                    <a:pt x="1" y="696"/>
                  </a:lnTo>
                  <a:lnTo>
                    <a:pt x="468" y="696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5" name="Google Shape;5165;p53">
              <a:extLst>
                <a:ext uri="{FF2B5EF4-FFF2-40B4-BE49-F238E27FC236}">
                  <a16:creationId xmlns:a16="http://schemas.microsoft.com/office/drawing/2014/main" id="{8E153772-26F5-B826-748A-295A10913FC3}"/>
                </a:ext>
              </a:extLst>
            </p:cNvPr>
            <p:cNvSpPr/>
            <p:nvPr/>
          </p:nvSpPr>
          <p:spPr>
            <a:xfrm>
              <a:off x="1481675" y="2448925"/>
              <a:ext cx="11675" cy="17425"/>
            </a:xfrm>
            <a:custGeom>
              <a:avLst/>
              <a:gdLst/>
              <a:ahLst/>
              <a:cxnLst/>
              <a:rect l="l" t="t" r="r" b="b"/>
              <a:pathLst>
                <a:path w="467" h="697" extrusionOk="0">
                  <a:moveTo>
                    <a:pt x="1" y="1"/>
                  </a:moveTo>
                  <a:lnTo>
                    <a:pt x="1" y="696"/>
                  </a:lnTo>
                  <a:lnTo>
                    <a:pt x="467" y="696"/>
                  </a:lnTo>
                  <a:lnTo>
                    <a:pt x="46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6" name="Google Shape;5166;p53">
              <a:extLst>
                <a:ext uri="{FF2B5EF4-FFF2-40B4-BE49-F238E27FC236}">
                  <a16:creationId xmlns:a16="http://schemas.microsoft.com/office/drawing/2014/main" id="{0FB58EEB-90DA-1DC7-0F16-E68CF6614C32}"/>
                </a:ext>
              </a:extLst>
            </p:cNvPr>
            <p:cNvSpPr/>
            <p:nvPr/>
          </p:nvSpPr>
          <p:spPr>
            <a:xfrm>
              <a:off x="1460200" y="2448925"/>
              <a:ext cx="11675" cy="17425"/>
            </a:xfrm>
            <a:custGeom>
              <a:avLst/>
              <a:gdLst/>
              <a:ahLst/>
              <a:cxnLst/>
              <a:rect l="l" t="t" r="r" b="b"/>
              <a:pathLst>
                <a:path w="467" h="697" extrusionOk="0">
                  <a:moveTo>
                    <a:pt x="1" y="1"/>
                  </a:moveTo>
                  <a:lnTo>
                    <a:pt x="1" y="696"/>
                  </a:lnTo>
                  <a:lnTo>
                    <a:pt x="467" y="696"/>
                  </a:lnTo>
                  <a:lnTo>
                    <a:pt x="46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7" name="Google Shape;5167;p53">
              <a:extLst>
                <a:ext uri="{FF2B5EF4-FFF2-40B4-BE49-F238E27FC236}">
                  <a16:creationId xmlns:a16="http://schemas.microsoft.com/office/drawing/2014/main" id="{AE537E87-C626-D891-1F02-FF1E4B0664AD}"/>
                </a:ext>
              </a:extLst>
            </p:cNvPr>
            <p:cNvSpPr/>
            <p:nvPr/>
          </p:nvSpPr>
          <p:spPr>
            <a:xfrm>
              <a:off x="1438700" y="2448925"/>
              <a:ext cx="11700" cy="17425"/>
            </a:xfrm>
            <a:custGeom>
              <a:avLst/>
              <a:gdLst/>
              <a:ahLst/>
              <a:cxnLst/>
              <a:rect l="l" t="t" r="r" b="b"/>
              <a:pathLst>
                <a:path w="468" h="697" extrusionOk="0">
                  <a:moveTo>
                    <a:pt x="0" y="1"/>
                  </a:moveTo>
                  <a:lnTo>
                    <a:pt x="0" y="696"/>
                  </a:lnTo>
                  <a:lnTo>
                    <a:pt x="468" y="696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8" name="Google Shape;5168;p53">
              <a:extLst>
                <a:ext uri="{FF2B5EF4-FFF2-40B4-BE49-F238E27FC236}">
                  <a16:creationId xmlns:a16="http://schemas.microsoft.com/office/drawing/2014/main" id="{0D457A84-3627-7979-F0FF-7185A8EB1701}"/>
                </a:ext>
              </a:extLst>
            </p:cNvPr>
            <p:cNvSpPr/>
            <p:nvPr/>
          </p:nvSpPr>
          <p:spPr>
            <a:xfrm>
              <a:off x="1417225" y="2448925"/>
              <a:ext cx="11675" cy="17425"/>
            </a:xfrm>
            <a:custGeom>
              <a:avLst/>
              <a:gdLst/>
              <a:ahLst/>
              <a:cxnLst/>
              <a:rect l="l" t="t" r="r" b="b"/>
              <a:pathLst>
                <a:path w="467" h="697" extrusionOk="0">
                  <a:moveTo>
                    <a:pt x="0" y="1"/>
                  </a:moveTo>
                  <a:lnTo>
                    <a:pt x="0" y="696"/>
                  </a:lnTo>
                  <a:lnTo>
                    <a:pt x="466" y="696"/>
                  </a:lnTo>
                  <a:lnTo>
                    <a:pt x="466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9" name="Google Shape;5169;p53">
              <a:extLst>
                <a:ext uri="{FF2B5EF4-FFF2-40B4-BE49-F238E27FC236}">
                  <a16:creationId xmlns:a16="http://schemas.microsoft.com/office/drawing/2014/main" id="{467391DC-FE00-D967-FE36-373AFC9A471C}"/>
                </a:ext>
              </a:extLst>
            </p:cNvPr>
            <p:cNvSpPr/>
            <p:nvPr/>
          </p:nvSpPr>
          <p:spPr>
            <a:xfrm>
              <a:off x="1395750" y="2448925"/>
              <a:ext cx="11675" cy="17425"/>
            </a:xfrm>
            <a:custGeom>
              <a:avLst/>
              <a:gdLst/>
              <a:ahLst/>
              <a:cxnLst/>
              <a:rect l="l" t="t" r="r" b="b"/>
              <a:pathLst>
                <a:path w="467" h="697" extrusionOk="0">
                  <a:moveTo>
                    <a:pt x="0" y="1"/>
                  </a:moveTo>
                  <a:lnTo>
                    <a:pt x="0" y="696"/>
                  </a:lnTo>
                  <a:lnTo>
                    <a:pt x="466" y="696"/>
                  </a:lnTo>
                  <a:lnTo>
                    <a:pt x="466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0" name="Google Shape;5170;p53">
              <a:extLst>
                <a:ext uri="{FF2B5EF4-FFF2-40B4-BE49-F238E27FC236}">
                  <a16:creationId xmlns:a16="http://schemas.microsoft.com/office/drawing/2014/main" id="{F8E11387-1E59-24BB-C30C-00F92F5E4D7F}"/>
                </a:ext>
              </a:extLst>
            </p:cNvPr>
            <p:cNvSpPr/>
            <p:nvPr/>
          </p:nvSpPr>
          <p:spPr>
            <a:xfrm>
              <a:off x="1374225" y="2448925"/>
              <a:ext cx="11725" cy="17425"/>
            </a:xfrm>
            <a:custGeom>
              <a:avLst/>
              <a:gdLst/>
              <a:ahLst/>
              <a:cxnLst/>
              <a:rect l="l" t="t" r="r" b="b"/>
              <a:pathLst>
                <a:path w="469" h="697" extrusionOk="0">
                  <a:moveTo>
                    <a:pt x="0" y="1"/>
                  </a:moveTo>
                  <a:lnTo>
                    <a:pt x="0" y="696"/>
                  </a:lnTo>
                  <a:lnTo>
                    <a:pt x="468" y="696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1" name="Google Shape;5171;p53">
              <a:extLst>
                <a:ext uri="{FF2B5EF4-FFF2-40B4-BE49-F238E27FC236}">
                  <a16:creationId xmlns:a16="http://schemas.microsoft.com/office/drawing/2014/main" id="{552ED1DF-93D9-E79C-A802-5AAE83AA0F65}"/>
                </a:ext>
              </a:extLst>
            </p:cNvPr>
            <p:cNvSpPr/>
            <p:nvPr/>
          </p:nvSpPr>
          <p:spPr>
            <a:xfrm>
              <a:off x="1524450" y="2482450"/>
              <a:ext cx="11900" cy="17450"/>
            </a:xfrm>
            <a:custGeom>
              <a:avLst/>
              <a:gdLst/>
              <a:ahLst/>
              <a:cxnLst/>
              <a:rect l="l" t="t" r="r" b="b"/>
              <a:pathLst>
                <a:path w="476" h="698" extrusionOk="0">
                  <a:moveTo>
                    <a:pt x="1" y="1"/>
                  </a:moveTo>
                  <a:lnTo>
                    <a:pt x="1" y="698"/>
                  </a:lnTo>
                  <a:lnTo>
                    <a:pt x="475" y="698"/>
                  </a:lnTo>
                  <a:lnTo>
                    <a:pt x="475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2" name="Google Shape;5172;p53">
              <a:extLst>
                <a:ext uri="{FF2B5EF4-FFF2-40B4-BE49-F238E27FC236}">
                  <a16:creationId xmlns:a16="http://schemas.microsoft.com/office/drawing/2014/main" id="{06D3D73D-2D80-F5A1-C7AC-206CB1097542}"/>
                </a:ext>
              </a:extLst>
            </p:cNvPr>
            <p:cNvSpPr/>
            <p:nvPr/>
          </p:nvSpPr>
          <p:spPr>
            <a:xfrm>
              <a:off x="1503150" y="2482450"/>
              <a:ext cx="11725" cy="17450"/>
            </a:xfrm>
            <a:custGeom>
              <a:avLst/>
              <a:gdLst/>
              <a:ahLst/>
              <a:cxnLst/>
              <a:rect l="l" t="t" r="r" b="b"/>
              <a:pathLst>
                <a:path w="469" h="698" extrusionOk="0">
                  <a:moveTo>
                    <a:pt x="1" y="1"/>
                  </a:moveTo>
                  <a:lnTo>
                    <a:pt x="1" y="698"/>
                  </a:lnTo>
                  <a:lnTo>
                    <a:pt x="468" y="698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3" name="Google Shape;5173;p53">
              <a:extLst>
                <a:ext uri="{FF2B5EF4-FFF2-40B4-BE49-F238E27FC236}">
                  <a16:creationId xmlns:a16="http://schemas.microsoft.com/office/drawing/2014/main" id="{2170D313-35D1-583D-9999-E2523DA63A74}"/>
                </a:ext>
              </a:extLst>
            </p:cNvPr>
            <p:cNvSpPr/>
            <p:nvPr/>
          </p:nvSpPr>
          <p:spPr>
            <a:xfrm>
              <a:off x="1481675" y="2482450"/>
              <a:ext cx="11675" cy="17450"/>
            </a:xfrm>
            <a:custGeom>
              <a:avLst/>
              <a:gdLst/>
              <a:ahLst/>
              <a:cxnLst/>
              <a:rect l="l" t="t" r="r" b="b"/>
              <a:pathLst>
                <a:path w="467" h="698" extrusionOk="0">
                  <a:moveTo>
                    <a:pt x="1" y="1"/>
                  </a:moveTo>
                  <a:lnTo>
                    <a:pt x="1" y="698"/>
                  </a:lnTo>
                  <a:lnTo>
                    <a:pt x="467" y="698"/>
                  </a:lnTo>
                  <a:lnTo>
                    <a:pt x="46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4" name="Google Shape;5174;p53">
              <a:extLst>
                <a:ext uri="{FF2B5EF4-FFF2-40B4-BE49-F238E27FC236}">
                  <a16:creationId xmlns:a16="http://schemas.microsoft.com/office/drawing/2014/main" id="{D1861ED6-0D22-E5B4-EDC7-2C63A453FDA7}"/>
                </a:ext>
              </a:extLst>
            </p:cNvPr>
            <p:cNvSpPr/>
            <p:nvPr/>
          </p:nvSpPr>
          <p:spPr>
            <a:xfrm>
              <a:off x="1460200" y="2482450"/>
              <a:ext cx="11675" cy="17450"/>
            </a:xfrm>
            <a:custGeom>
              <a:avLst/>
              <a:gdLst/>
              <a:ahLst/>
              <a:cxnLst/>
              <a:rect l="l" t="t" r="r" b="b"/>
              <a:pathLst>
                <a:path w="467" h="698" extrusionOk="0">
                  <a:moveTo>
                    <a:pt x="1" y="1"/>
                  </a:moveTo>
                  <a:lnTo>
                    <a:pt x="1" y="698"/>
                  </a:lnTo>
                  <a:lnTo>
                    <a:pt x="467" y="698"/>
                  </a:lnTo>
                  <a:lnTo>
                    <a:pt x="46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5" name="Google Shape;5175;p53">
              <a:extLst>
                <a:ext uri="{FF2B5EF4-FFF2-40B4-BE49-F238E27FC236}">
                  <a16:creationId xmlns:a16="http://schemas.microsoft.com/office/drawing/2014/main" id="{DEDBC1CE-B1E4-6362-A39C-B012B9EA0B80}"/>
                </a:ext>
              </a:extLst>
            </p:cNvPr>
            <p:cNvSpPr/>
            <p:nvPr/>
          </p:nvSpPr>
          <p:spPr>
            <a:xfrm>
              <a:off x="1438700" y="2482450"/>
              <a:ext cx="11700" cy="17450"/>
            </a:xfrm>
            <a:custGeom>
              <a:avLst/>
              <a:gdLst/>
              <a:ahLst/>
              <a:cxnLst/>
              <a:rect l="l" t="t" r="r" b="b"/>
              <a:pathLst>
                <a:path w="468" h="698" extrusionOk="0">
                  <a:moveTo>
                    <a:pt x="0" y="1"/>
                  </a:moveTo>
                  <a:lnTo>
                    <a:pt x="0" y="698"/>
                  </a:lnTo>
                  <a:lnTo>
                    <a:pt x="468" y="698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6" name="Google Shape;5176;p53">
              <a:extLst>
                <a:ext uri="{FF2B5EF4-FFF2-40B4-BE49-F238E27FC236}">
                  <a16:creationId xmlns:a16="http://schemas.microsoft.com/office/drawing/2014/main" id="{DAAAAE8B-C1FE-D383-1DEB-17C61FB77685}"/>
                </a:ext>
              </a:extLst>
            </p:cNvPr>
            <p:cNvSpPr/>
            <p:nvPr/>
          </p:nvSpPr>
          <p:spPr>
            <a:xfrm>
              <a:off x="1417225" y="2482450"/>
              <a:ext cx="11675" cy="17450"/>
            </a:xfrm>
            <a:custGeom>
              <a:avLst/>
              <a:gdLst/>
              <a:ahLst/>
              <a:cxnLst/>
              <a:rect l="l" t="t" r="r" b="b"/>
              <a:pathLst>
                <a:path w="467" h="698" extrusionOk="0">
                  <a:moveTo>
                    <a:pt x="0" y="1"/>
                  </a:moveTo>
                  <a:lnTo>
                    <a:pt x="0" y="698"/>
                  </a:lnTo>
                  <a:lnTo>
                    <a:pt x="466" y="698"/>
                  </a:lnTo>
                  <a:lnTo>
                    <a:pt x="466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7" name="Google Shape;5177;p53">
              <a:extLst>
                <a:ext uri="{FF2B5EF4-FFF2-40B4-BE49-F238E27FC236}">
                  <a16:creationId xmlns:a16="http://schemas.microsoft.com/office/drawing/2014/main" id="{3C3CAE40-D337-A9B4-122A-63781F5A8BC6}"/>
                </a:ext>
              </a:extLst>
            </p:cNvPr>
            <p:cNvSpPr/>
            <p:nvPr/>
          </p:nvSpPr>
          <p:spPr>
            <a:xfrm>
              <a:off x="1395750" y="2482450"/>
              <a:ext cx="11675" cy="17450"/>
            </a:xfrm>
            <a:custGeom>
              <a:avLst/>
              <a:gdLst/>
              <a:ahLst/>
              <a:cxnLst/>
              <a:rect l="l" t="t" r="r" b="b"/>
              <a:pathLst>
                <a:path w="467" h="698" extrusionOk="0">
                  <a:moveTo>
                    <a:pt x="0" y="1"/>
                  </a:moveTo>
                  <a:lnTo>
                    <a:pt x="0" y="698"/>
                  </a:lnTo>
                  <a:lnTo>
                    <a:pt x="466" y="698"/>
                  </a:lnTo>
                  <a:lnTo>
                    <a:pt x="466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8" name="Google Shape;5178;p53">
              <a:extLst>
                <a:ext uri="{FF2B5EF4-FFF2-40B4-BE49-F238E27FC236}">
                  <a16:creationId xmlns:a16="http://schemas.microsoft.com/office/drawing/2014/main" id="{BDFC00AD-9B72-13EE-D14E-06DA80564108}"/>
                </a:ext>
              </a:extLst>
            </p:cNvPr>
            <p:cNvSpPr/>
            <p:nvPr/>
          </p:nvSpPr>
          <p:spPr>
            <a:xfrm>
              <a:off x="1374225" y="2482450"/>
              <a:ext cx="11725" cy="17450"/>
            </a:xfrm>
            <a:custGeom>
              <a:avLst/>
              <a:gdLst/>
              <a:ahLst/>
              <a:cxnLst/>
              <a:rect l="l" t="t" r="r" b="b"/>
              <a:pathLst>
                <a:path w="469" h="698" extrusionOk="0">
                  <a:moveTo>
                    <a:pt x="0" y="1"/>
                  </a:moveTo>
                  <a:lnTo>
                    <a:pt x="0" y="698"/>
                  </a:lnTo>
                  <a:lnTo>
                    <a:pt x="468" y="698"/>
                  </a:lnTo>
                  <a:lnTo>
                    <a:pt x="468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9" name="Google Shape;5179;p53">
              <a:extLst>
                <a:ext uri="{FF2B5EF4-FFF2-40B4-BE49-F238E27FC236}">
                  <a16:creationId xmlns:a16="http://schemas.microsoft.com/office/drawing/2014/main" id="{535597DC-D968-2D0F-D5F2-CA22D01D98B0}"/>
                </a:ext>
              </a:extLst>
            </p:cNvPr>
            <p:cNvSpPr/>
            <p:nvPr/>
          </p:nvSpPr>
          <p:spPr>
            <a:xfrm>
              <a:off x="1524450" y="2515975"/>
              <a:ext cx="11900" cy="17625"/>
            </a:xfrm>
            <a:custGeom>
              <a:avLst/>
              <a:gdLst/>
              <a:ahLst/>
              <a:cxnLst/>
              <a:rect l="l" t="t" r="r" b="b"/>
              <a:pathLst>
                <a:path w="476" h="705" extrusionOk="0">
                  <a:moveTo>
                    <a:pt x="1" y="0"/>
                  </a:moveTo>
                  <a:lnTo>
                    <a:pt x="1" y="705"/>
                  </a:lnTo>
                  <a:lnTo>
                    <a:pt x="475" y="705"/>
                  </a:lnTo>
                  <a:lnTo>
                    <a:pt x="475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0" name="Google Shape;5180;p53">
              <a:extLst>
                <a:ext uri="{FF2B5EF4-FFF2-40B4-BE49-F238E27FC236}">
                  <a16:creationId xmlns:a16="http://schemas.microsoft.com/office/drawing/2014/main" id="{DF8751B0-0892-9F2A-135E-6D8B46A3B772}"/>
                </a:ext>
              </a:extLst>
            </p:cNvPr>
            <p:cNvSpPr/>
            <p:nvPr/>
          </p:nvSpPr>
          <p:spPr>
            <a:xfrm>
              <a:off x="1503150" y="2515975"/>
              <a:ext cx="11725" cy="17625"/>
            </a:xfrm>
            <a:custGeom>
              <a:avLst/>
              <a:gdLst/>
              <a:ahLst/>
              <a:cxnLst/>
              <a:rect l="l" t="t" r="r" b="b"/>
              <a:pathLst>
                <a:path w="469" h="705" extrusionOk="0">
                  <a:moveTo>
                    <a:pt x="1" y="0"/>
                  </a:moveTo>
                  <a:lnTo>
                    <a:pt x="1" y="705"/>
                  </a:lnTo>
                  <a:lnTo>
                    <a:pt x="468" y="705"/>
                  </a:lnTo>
                  <a:lnTo>
                    <a:pt x="468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1" name="Google Shape;5181;p53">
              <a:extLst>
                <a:ext uri="{FF2B5EF4-FFF2-40B4-BE49-F238E27FC236}">
                  <a16:creationId xmlns:a16="http://schemas.microsoft.com/office/drawing/2014/main" id="{6F92C2D8-0468-28F2-5E23-36C0000D504A}"/>
                </a:ext>
              </a:extLst>
            </p:cNvPr>
            <p:cNvSpPr/>
            <p:nvPr/>
          </p:nvSpPr>
          <p:spPr>
            <a:xfrm>
              <a:off x="1481675" y="2515975"/>
              <a:ext cx="11675" cy="17625"/>
            </a:xfrm>
            <a:custGeom>
              <a:avLst/>
              <a:gdLst/>
              <a:ahLst/>
              <a:cxnLst/>
              <a:rect l="l" t="t" r="r" b="b"/>
              <a:pathLst>
                <a:path w="467" h="705" extrusionOk="0">
                  <a:moveTo>
                    <a:pt x="1" y="0"/>
                  </a:moveTo>
                  <a:lnTo>
                    <a:pt x="1" y="705"/>
                  </a:lnTo>
                  <a:lnTo>
                    <a:pt x="467" y="705"/>
                  </a:lnTo>
                  <a:lnTo>
                    <a:pt x="467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2" name="Google Shape;5182;p53">
              <a:extLst>
                <a:ext uri="{FF2B5EF4-FFF2-40B4-BE49-F238E27FC236}">
                  <a16:creationId xmlns:a16="http://schemas.microsoft.com/office/drawing/2014/main" id="{8B75EC2F-005C-0183-996D-C71E894A398D}"/>
                </a:ext>
              </a:extLst>
            </p:cNvPr>
            <p:cNvSpPr/>
            <p:nvPr/>
          </p:nvSpPr>
          <p:spPr>
            <a:xfrm>
              <a:off x="1460200" y="2515975"/>
              <a:ext cx="11675" cy="17625"/>
            </a:xfrm>
            <a:custGeom>
              <a:avLst/>
              <a:gdLst/>
              <a:ahLst/>
              <a:cxnLst/>
              <a:rect l="l" t="t" r="r" b="b"/>
              <a:pathLst>
                <a:path w="467" h="705" extrusionOk="0">
                  <a:moveTo>
                    <a:pt x="1" y="0"/>
                  </a:moveTo>
                  <a:lnTo>
                    <a:pt x="1" y="705"/>
                  </a:lnTo>
                  <a:lnTo>
                    <a:pt x="467" y="705"/>
                  </a:lnTo>
                  <a:lnTo>
                    <a:pt x="467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3" name="Google Shape;5183;p53">
              <a:extLst>
                <a:ext uri="{FF2B5EF4-FFF2-40B4-BE49-F238E27FC236}">
                  <a16:creationId xmlns:a16="http://schemas.microsoft.com/office/drawing/2014/main" id="{B1B12561-D9A5-CDA0-D33B-7946EEF092A5}"/>
                </a:ext>
              </a:extLst>
            </p:cNvPr>
            <p:cNvSpPr/>
            <p:nvPr/>
          </p:nvSpPr>
          <p:spPr>
            <a:xfrm>
              <a:off x="1438700" y="2515975"/>
              <a:ext cx="11700" cy="17625"/>
            </a:xfrm>
            <a:custGeom>
              <a:avLst/>
              <a:gdLst/>
              <a:ahLst/>
              <a:cxnLst/>
              <a:rect l="l" t="t" r="r" b="b"/>
              <a:pathLst>
                <a:path w="468" h="705" extrusionOk="0">
                  <a:moveTo>
                    <a:pt x="0" y="0"/>
                  </a:moveTo>
                  <a:lnTo>
                    <a:pt x="0" y="705"/>
                  </a:lnTo>
                  <a:lnTo>
                    <a:pt x="468" y="705"/>
                  </a:lnTo>
                  <a:lnTo>
                    <a:pt x="468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4" name="Google Shape;5184;p53">
              <a:extLst>
                <a:ext uri="{FF2B5EF4-FFF2-40B4-BE49-F238E27FC236}">
                  <a16:creationId xmlns:a16="http://schemas.microsoft.com/office/drawing/2014/main" id="{89374D37-D080-074B-FDE8-70D69B94AB60}"/>
                </a:ext>
              </a:extLst>
            </p:cNvPr>
            <p:cNvSpPr/>
            <p:nvPr/>
          </p:nvSpPr>
          <p:spPr>
            <a:xfrm>
              <a:off x="1417225" y="2515975"/>
              <a:ext cx="11675" cy="17625"/>
            </a:xfrm>
            <a:custGeom>
              <a:avLst/>
              <a:gdLst/>
              <a:ahLst/>
              <a:cxnLst/>
              <a:rect l="l" t="t" r="r" b="b"/>
              <a:pathLst>
                <a:path w="467" h="705" extrusionOk="0">
                  <a:moveTo>
                    <a:pt x="0" y="0"/>
                  </a:moveTo>
                  <a:lnTo>
                    <a:pt x="0" y="705"/>
                  </a:lnTo>
                  <a:lnTo>
                    <a:pt x="466" y="705"/>
                  </a:lnTo>
                  <a:lnTo>
                    <a:pt x="466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5" name="Google Shape;5185;p53">
              <a:extLst>
                <a:ext uri="{FF2B5EF4-FFF2-40B4-BE49-F238E27FC236}">
                  <a16:creationId xmlns:a16="http://schemas.microsoft.com/office/drawing/2014/main" id="{ECB6D6C5-BFDD-5070-9F0E-D68D6C269F6D}"/>
                </a:ext>
              </a:extLst>
            </p:cNvPr>
            <p:cNvSpPr/>
            <p:nvPr/>
          </p:nvSpPr>
          <p:spPr>
            <a:xfrm>
              <a:off x="1395750" y="2515975"/>
              <a:ext cx="11675" cy="17625"/>
            </a:xfrm>
            <a:custGeom>
              <a:avLst/>
              <a:gdLst/>
              <a:ahLst/>
              <a:cxnLst/>
              <a:rect l="l" t="t" r="r" b="b"/>
              <a:pathLst>
                <a:path w="467" h="705" extrusionOk="0">
                  <a:moveTo>
                    <a:pt x="0" y="0"/>
                  </a:moveTo>
                  <a:lnTo>
                    <a:pt x="0" y="705"/>
                  </a:lnTo>
                  <a:lnTo>
                    <a:pt x="466" y="705"/>
                  </a:lnTo>
                  <a:lnTo>
                    <a:pt x="466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6" name="Google Shape;5186;p53">
              <a:extLst>
                <a:ext uri="{FF2B5EF4-FFF2-40B4-BE49-F238E27FC236}">
                  <a16:creationId xmlns:a16="http://schemas.microsoft.com/office/drawing/2014/main" id="{AE12FAF3-AC15-BD48-BCB8-F3E1E1912382}"/>
                </a:ext>
              </a:extLst>
            </p:cNvPr>
            <p:cNvSpPr/>
            <p:nvPr/>
          </p:nvSpPr>
          <p:spPr>
            <a:xfrm>
              <a:off x="1374225" y="2515975"/>
              <a:ext cx="11725" cy="17625"/>
            </a:xfrm>
            <a:custGeom>
              <a:avLst/>
              <a:gdLst/>
              <a:ahLst/>
              <a:cxnLst/>
              <a:rect l="l" t="t" r="r" b="b"/>
              <a:pathLst>
                <a:path w="469" h="705" extrusionOk="0">
                  <a:moveTo>
                    <a:pt x="0" y="0"/>
                  </a:moveTo>
                  <a:lnTo>
                    <a:pt x="0" y="705"/>
                  </a:lnTo>
                  <a:lnTo>
                    <a:pt x="468" y="705"/>
                  </a:lnTo>
                  <a:lnTo>
                    <a:pt x="468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7" name="Google Shape;5187;p53">
              <a:extLst>
                <a:ext uri="{FF2B5EF4-FFF2-40B4-BE49-F238E27FC236}">
                  <a16:creationId xmlns:a16="http://schemas.microsoft.com/office/drawing/2014/main" id="{63B440C1-2CCB-42BE-0EA7-798BCCFC43E4}"/>
                </a:ext>
              </a:extLst>
            </p:cNvPr>
            <p:cNvSpPr/>
            <p:nvPr/>
          </p:nvSpPr>
          <p:spPr>
            <a:xfrm>
              <a:off x="1360875" y="2576925"/>
              <a:ext cx="188275" cy="11150"/>
            </a:xfrm>
            <a:custGeom>
              <a:avLst/>
              <a:gdLst/>
              <a:ahLst/>
              <a:cxnLst/>
              <a:rect l="l" t="t" r="r" b="b"/>
              <a:pathLst>
                <a:path w="7531" h="446" extrusionOk="0">
                  <a:moveTo>
                    <a:pt x="1" y="1"/>
                  </a:moveTo>
                  <a:lnTo>
                    <a:pt x="1" y="445"/>
                  </a:lnTo>
                  <a:lnTo>
                    <a:pt x="7531" y="445"/>
                  </a:lnTo>
                  <a:lnTo>
                    <a:pt x="7531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8" name="Google Shape;5188;p53">
              <a:extLst>
                <a:ext uri="{FF2B5EF4-FFF2-40B4-BE49-F238E27FC236}">
                  <a16:creationId xmlns:a16="http://schemas.microsoft.com/office/drawing/2014/main" id="{A023660A-C918-D54E-4945-E6F01C329E83}"/>
                </a:ext>
              </a:extLst>
            </p:cNvPr>
            <p:cNvSpPr/>
            <p:nvPr/>
          </p:nvSpPr>
          <p:spPr>
            <a:xfrm>
              <a:off x="1232125" y="2361475"/>
              <a:ext cx="156225" cy="228650"/>
            </a:xfrm>
            <a:custGeom>
              <a:avLst/>
              <a:gdLst/>
              <a:ahLst/>
              <a:cxnLst/>
              <a:rect l="l" t="t" r="r" b="b"/>
              <a:pathLst>
                <a:path w="6249" h="9146" extrusionOk="0">
                  <a:moveTo>
                    <a:pt x="1246" y="1"/>
                  </a:moveTo>
                  <a:cubicBezTo>
                    <a:pt x="1246" y="1"/>
                    <a:pt x="854" y="8122"/>
                    <a:pt x="1" y="9145"/>
                  </a:cubicBezTo>
                  <a:lnTo>
                    <a:pt x="6248" y="9145"/>
                  </a:lnTo>
                  <a:cubicBezTo>
                    <a:pt x="6248" y="9145"/>
                    <a:pt x="4966" y="6373"/>
                    <a:pt x="4758" y="1"/>
                  </a:cubicBez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9" name="Google Shape;5189;p53">
              <a:extLst>
                <a:ext uri="{FF2B5EF4-FFF2-40B4-BE49-F238E27FC236}">
                  <a16:creationId xmlns:a16="http://schemas.microsoft.com/office/drawing/2014/main" id="{BD099C2A-A90D-0F21-77AA-7F2DB8532E4A}"/>
                </a:ext>
              </a:extLst>
            </p:cNvPr>
            <p:cNvSpPr/>
            <p:nvPr/>
          </p:nvSpPr>
          <p:spPr>
            <a:xfrm>
              <a:off x="1310150" y="2361475"/>
              <a:ext cx="76900" cy="225650"/>
            </a:xfrm>
            <a:custGeom>
              <a:avLst/>
              <a:gdLst/>
              <a:ahLst/>
              <a:cxnLst/>
              <a:rect l="l" t="t" r="r" b="b"/>
              <a:pathLst>
                <a:path w="3076" h="9026" extrusionOk="0">
                  <a:moveTo>
                    <a:pt x="1" y="1"/>
                  </a:moveTo>
                  <a:lnTo>
                    <a:pt x="1" y="9026"/>
                  </a:lnTo>
                  <a:lnTo>
                    <a:pt x="3076" y="9026"/>
                  </a:lnTo>
                  <a:cubicBezTo>
                    <a:pt x="3038" y="8944"/>
                    <a:pt x="2987" y="8804"/>
                    <a:pt x="2926" y="8619"/>
                  </a:cubicBezTo>
                  <a:cubicBezTo>
                    <a:pt x="2697" y="7959"/>
                    <a:pt x="2327" y="6684"/>
                    <a:pt x="2037" y="4706"/>
                  </a:cubicBezTo>
                  <a:cubicBezTo>
                    <a:pt x="1934" y="3981"/>
                    <a:pt x="1838" y="3164"/>
                    <a:pt x="1763" y="2247"/>
                  </a:cubicBezTo>
                  <a:cubicBezTo>
                    <a:pt x="1756" y="2186"/>
                    <a:pt x="1749" y="2128"/>
                    <a:pt x="1749" y="2069"/>
                  </a:cubicBezTo>
                  <a:cubicBezTo>
                    <a:pt x="1697" y="1423"/>
                    <a:pt x="1660" y="735"/>
                    <a:pt x="1637" y="1"/>
                  </a:cubicBezTo>
                  <a:close/>
                </a:path>
              </a:pathLst>
            </a:custGeom>
            <a:solidFill>
              <a:srgbClr val="A9645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0" name="Google Shape;5190;p53">
              <a:extLst>
                <a:ext uri="{FF2B5EF4-FFF2-40B4-BE49-F238E27FC236}">
                  <a16:creationId xmlns:a16="http://schemas.microsoft.com/office/drawing/2014/main" id="{3399E674-F410-23BE-DEF8-ADF97B0CA572}"/>
                </a:ext>
              </a:extLst>
            </p:cNvPr>
            <p:cNvSpPr/>
            <p:nvPr/>
          </p:nvSpPr>
          <p:spPr>
            <a:xfrm>
              <a:off x="1258275" y="2424650"/>
              <a:ext cx="97650" cy="11500"/>
            </a:xfrm>
            <a:custGeom>
              <a:avLst/>
              <a:gdLst/>
              <a:ahLst/>
              <a:cxnLst/>
              <a:rect l="l" t="t" r="r" b="b"/>
              <a:pathLst>
                <a:path w="3906" h="460" extrusionOk="0">
                  <a:moveTo>
                    <a:pt x="38" y="1"/>
                  </a:moveTo>
                  <a:lnTo>
                    <a:pt x="0" y="460"/>
                  </a:lnTo>
                  <a:lnTo>
                    <a:pt x="3906" y="460"/>
                  </a:lnTo>
                  <a:lnTo>
                    <a:pt x="386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1" name="Google Shape;5191;p53">
              <a:extLst>
                <a:ext uri="{FF2B5EF4-FFF2-40B4-BE49-F238E27FC236}">
                  <a16:creationId xmlns:a16="http://schemas.microsoft.com/office/drawing/2014/main" id="{D94C4CF9-998D-30AC-0123-7E92F3EEC3D6}"/>
                </a:ext>
              </a:extLst>
            </p:cNvPr>
            <p:cNvSpPr/>
            <p:nvPr/>
          </p:nvSpPr>
          <p:spPr>
            <a:xfrm>
              <a:off x="1254175" y="2469875"/>
              <a:ext cx="107325" cy="11675"/>
            </a:xfrm>
            <a:custGeom>
              <a:avLst/>
              <a:gdLst/>
              <a:ahLst/>
              <a:cxnLst/>
              <a:rect l="l" t="t" r="r" b="b"/>
              <a:pathLst>
                <a:path w="4293" h="467" extrusionOk="0">
                  <a:moveTo>
                    <a:pt x="45" y="0"/>
                  </a:moveTo>
                  <a:lnTo>
                    <a:pt x="1" y="466"/>
                  </a:lnTo>
                  <a:lnTo>
                    <a:pt x="4292" y="466"/>
                  </a:lnTo>
                  <a:lnTo>
                    <a:pt x="4224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2" name="Google Shape;5192;p53">
              <a:extLst>
                <a:ext uri="{FF2B5EF4-FFF2-40B4-BE49-F238E27FC236}">
                  <a16:creationId xmlns:a16="http://schemas.microsoft.com/office/drawing/2014/main" id="{B5E01D40-3133-928A-E349-F91B151230FF}"/>
                </a:ext>
              </a:extLst>
            </p:cNvPr>
            <p:cNvSpPr/>
            <p:nvPr/>
          </p:nvSpPr>
          <p:spPr>
            <a:xfrm>
              <a:off x="1263475" y="2361475"/>
              <a:ext cx="88000" cy="13000"/>
            </a:xfrm>
            <a:custGeom>
              <a:avLst/>
              <a:gdLst/>
              <a:ahLst/>
              <a:cxnLst/>
              <a:rect l="l" t="t" r="r" b="b"/>
              <a:pathLst>
                <a:path w="3520" h="520" extrusionOk="0">
                  <a:moveTo>
                    <a:pt x="29" y="1"/>
                  </a:moveTo>
                  <a:lnTo>
                    <a:pt x="1" y="513"/>
                  </a:lnTo>
                  <a:lnTo>
                    <a:pt x="3520" y="520"/>
                  </a:lnTo>
                  <a:lnTo>
                    <a:pt x="350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3" name="Google Shape;5193;p53">
              <a:extLst>
                <a:ext uri="{FF2B5EF4-FFF2-40B4-BE49-F238E27FC236}">
                  <a16:creationId xmlns:a16="http://schemas.microsoft.com/office/drawing/2014/main" id="{CBFD14E3-AD8A-246A-C76F-AD11C4D5BAA7}"/>
                </a:ext>
              </a:extLst>
            </p:cNvPr>
            <p:cNvSpPr/>
            <p:nvPr/>
          </p:nvSpPr>
          <p:spPr>
            <a:xfrm>
              <a:off x="998550" y="2256650"/>
              <a:ext cx="88400" cy="333475"/>
            </a:xfrm>
            <a:custGeom>
              <a:avLst/>
              <a:gdLst/>
              <a:ahLst/>
              <a:cxnLst/>
              <a:rect l="l" t="t" r="r" b="b"/>
              <a:pathLst>
                <a:path w="3536" h="13339" extrusionOk="0">
                  <a:moveTo>
                    <a:pt x="7" y="0"/>
                  </a:moveTo>
                  <a:lnTo>
                    <a:pt x="0" y="13338"/>
                  </a:lnTo>
                  <a:lnTo>
                    <a:pt x="3536" y="13338"/>
                  </a:lnTo>
                  <a:cubicBezTo>
                    <a:pt x="3536" y="13338"/>
                    <a:pt x="3491" y="5773"/>
                    <a:pt x="3395" y="5261"/>
                  </a:cubicBezTo>
                  <a:cubicBezTo>
                    <a:pt x="3306" y="4757"/>
                    <a:pt x="3009" y="3794"/>
                    <a:pt x="2076" y="2757"/>
                  </a:cubicBezTo>
                  <a:cubicBezTo>
                    <a:pt x="1149" y="1711"/>
                    <a:pt x="7" y="0"/>
                    <a:pt x="7" y="0"/>
                  </a:cubicBez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4" name="Google Shape;5194;p53">
              <a:extLst>
                <a:ext uri="{FF2B5EF4-FFF2-40B4-BE49-F238E27FC236}">
                  <a16:creationId xmlns:a16="http://schemas.microsoft.com/office/drawing/2014/main" id="{3444C6F6-F683-4529-9407-178FAD3836FE}"/>
                </a:ext>
              </a:extLst>
            </p:cNvPr>
            <p:cNvSpPr/>
            <p:nvPr/>
          </p:nvSpPr>
          <p:spPr>
            <a:xfrm>
              <a:off x="998725" y="2256650"/>
              <a:ext cx="88225" cy="330475"/>
            </a:xfrm>
            <a:custGeom>
              <a:avLst/>
              <a:gdLst/>
              <a:ahLst/>
              <a:cxnLst/>
              <a:rect l="l" t="t" r="r" b="b"/>
              <a:pathLst>
                <a:path w="3529" h="13219" extrusionOk="0">
                  <a:moveTo>
                    <a:pt x="0" y="0"/>
                  </a:moveTo>
                  <a:lnTo>
                    <a:pt x="1275" y="2853"/>
                  </a:lnTo>
                  <a:cubicBezTo>
                    <a:pt x="1334" y="2972"/>
                    <a:pt x="2261" y="4839"/>
                    <a:pt x="2268" y="6810"/>
                  </a:cubicBezTo>
                  <a:lnTo>
                    <a:pt x="2328" y="13219"/>
                  </a:lnTo>
                  <a:lnTo>
                    <a:pt x="3529" y="13219"/>
                  </a:lnTo>
                  <a:cubicBezTo>
                    <a:pt x="3529" y="12931"/>
                    <a:pt x="3521" y="12122"/>
                    <a:pt x="3513" y="11122"/>
                  </a:cubicBezTo>
                  <a:lnTo>
                    <a:pt x="3513" y="11040"/>
                  </a:lnTo>
                  <a:cubicBezTo>
                    <a:pt x="3505" y="10619"/>
                    <a:pt x="3505" y="10158"/>
                    <a:pt x="3498" y="9699"/>
                  </a:cubicBezTo>
                  <a:lnTo>
                    <a:pt x="3498" y="9618"/>
                  </a:lnTo>
                  <a:cubicBezTo>
                    <a:pt x="3491" y="9269"/>
                    <a:pt x="3491" y="8913"/>
                    <a:pt x="3484" y="8574"/>
                  </a:cubicBezTo>
                  <a:cubicBezTo>
                    <a:pt x="3484" y="8431"/>
                    <a:pt x="3477" y="8298"/>
                    <a:pt x="3477" y="8158"/>
                  </a:cubicBezTo>
                  <a:cubicBezTo>
                    <a:pt x="3454" y="6706"/>
                    <a:pt x="3424" y="5462"/>
                    <a:pt x="3388" y="5261"/>
                  </a:cubicBezTo>
                  <a:lnTo>
                    <a:pt x="3388" y="5254"/>
                  </a:lnTo>
                  <a:cubicBezTo>
                    <a:pt x="3299" y="4741"/>
                    <a:pt x="2995" y="3786"/>
                    <a:pt x="2069" y="2757"/>
                  </a:cubicBezTo>
                  <a:cubicBezTo>
                    <a:pt x="1142" y="171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A9645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5" name="Google Shape;5195;p53">
              <a:extLst>
                <a:ext uri="{FF2B5EF4-FFF2-40B4-BE49-F238E27FC236}">
                  <a16:creationId xmlns:a16="http://schemas.microsoft.com/office/drawing/2014/main" id="{EACF1FA2-AF59-163A-C0A2-50A55DB6ECD4}"/>
                </a:ext>
              </a:extLst>
            </p:cNvPr>
            <p:cNvSpPr/>
            <p:nvPr/>
          </p:nvSpPr>
          <p:spPr>
            <a:xfrm>
              <a:off x="998725" y="2394300"/>
              <a:ext cx="85825" cy="15750"/>
            </a:xfrm>
            <a:custGeom>
              <a:avLst/>
              <a:gdLst/>
              <a:ahLst/>
              <a:cxnLst/>
              <a:rect l="l" t="t" r="r" b="b"/>
              <a:pathLst>
                <a:path w="3433" h="630" extrusionOk="0">
                  <a:moveTo>
                    <a:pt x="0" y="0"/>
                  </a:moveTo>
                  <a:lnTo>
                    <a:pt x="0" y="630"/>
                  </a:lnTo>
                  <a:lnTo>
                    <a:pt x="3433" y="630"/>
                  </a:lnTo>
                  <a:lnTo>
                    <a:pt x="3433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6" name="Google Shape;5196;p53">
              <a:extLst>
                <a:ext uri="{FF2B5EF4-FFF2-40B4-BE49-F238E27FC236}">
                  <a16:creationId xmlns:a16="http://schemas.microsoft.com/office/drawing/2014/main" id="{54C4D70C-74B0-3082-26FA-998ADC27C4A4}"/>
                </a:ext>
              </a:extLst>
            </p:cNvPr>
            <p:cNvSpPr/>
            <p:nvPr/>
          </p:nvSpPr>
          <p:spPr>
            <a:xfrm>
              <a:off x="998550" y="2439100"/>
              <a:ext cx="87125" cy="3725"/>
            </a:xfrm>
            <a:custGeom>
              <a:avLst/>
              <a:gdLst/>
              <a:ahLst/>
              <a:cxnLst/>
              <a:rect l="l" t="t" r="r" b="b"/>
              <a:pathLst>
                <a:path w="3485" h="149" extrusionOk="0">
                  <a:moveTo>
                    <a:pt x="0" y="1"/>
                  </a:moveTo>
                  <a:lnTo>
                    <a:pt x="0" y="148"/>
                  </a:lnTo>
                  <a:lnTo>
                    <a:pt x="3484" y="148"/>
                  </a:lnTo>
                  <a:lnTo>
                    <a:pt x="348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7" name="Google Shape;5197;p53">
              <a:extLst>
                <a:ext uri="{FF2B5EF4-FFF2-40B4-BE49-F238E27FC236}">
                  <a16:creationId xmlns:a16="http://schemas.microsoft.com/office/drawing/2014/main" id="{26830721-8706-99E0-9DF1-DF6A76FA4045}"/>
                </a:ext>
              </a:extLst>
            </p:cNvPr>
            <p:cNvSpPr/>
            <p:nvPr/>
          </p:nvSpPr>
          <p:spPr>
            <a:xfrm>
              <a:off x="998550" y="2447825"/>
              <a:ext cx="87125" cy="3700"/>
            </a:xfrm>
            <a:custGeom>
              <a:avLst/>
              <a:gdLst/>
              <a:ahLst/>
              <a:cxnLst/>
              <a:rect l="l" t="t" r="r" b="b"/>
              <a:pathLst>
                <a:path w="3485" h="148" extrusionOk="0">
                  <a:moveTo>
                    <a:pt x="0" y="0"/>
                  </a:moveTo>
                  <a:lnTo>
                    <a:pt x="0" y="148"/>
                  </a:lnTo>
                  <a:lnTo>
                    <a:pt x="3484" y="148"/>
                  </a:lnTo>
                  <a:lnTo>
                    <a:pt x="3484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8" name="Google Shape;5198;p53">
              <a:extLst>
                <a:ext uri="{FF2B5EF4-FFF2-40B4-BE49-F238E27FC236}">
                  <a16:creationId xmlns:a16="http://schemas.microsoft.com/office/drawing/2014/main" id="{71ECA25E-3B90-2552-03B4-72FB835A3AC1}"/>
                </a:ext>
              </a:extLst>
            </p:cNvPr>
            <p:cNvSpPr/>
            <p:nvPr/>
          </p:nvSpPr>
          <p:spPr>
            <a:xfrm>
              <a:off x="998550" y="2456525"/>
              <a:ext cx="87125" cy="3725"/>
            </a:xfrm>
            <a:custGeom>
              <a:avLst/>
              <a:gdLst/>
              <a:ahLst/>
              <a:cxnLst/>
              <a:rect l="l" t="t" r="r" b="b"/>
              <a:pathLst>
                <a:path w="3485" h="149" extrusionOk="0">
                  <a:moveTo>
                    <a:pt x="0" y="1"/>
                  </a:moveTo>
                  <a:lnTo>
                    <a:pt x="0" y="148"/>
                  </a:lnTo>
                  <a:lnTo>
                    <a:pt x="3484" y="148"/>
                  </a:lnTo>
                  <a:lnTo>
                    <a:pt x="348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9" name="Google Shape;5199;p53">
              <a:extLst>
                <a:ext uri="{FF2B5EF4-FFF2-40B4-BE49-F238E27FC236}">
                  <a16:creationId xmlns:a16="http://schemas.microsoft.com/office/drawing/2014/main" id="{D7943260-639A-C00B-2A5F-21A99DE6D7FB}"/>
                </a:ext>
              </a:extLst>
            </p:cNvPr>
            <p:cNvSpPr/>
            <p:nvPr/>
          </p:nvSpPr>
          <p:spPr>
            <a:xfrm>
              <a:off x="998550" y="2465200"/>
              <a:ext cx="87125" cy="3750"/>
            </a:xfrm>
            <a:custGeom>
              <a:avLst/>
              <a:gdLst/>
              <a:ahLst/>
              <a:cxnLst/>
              <a:rect l="l" t="t" r="r" b="b"/>
              <a:pathLst>
                <a:path w="3485" h="150" extrusionOk="0">
                  <a:moveTo>
                    <a:pt x="0" y="1"/>
                  </a:moveTo>
                  <a:lnTo>
                    <a:pt x="0" y="150"/>
                  </a:lnTo>
                  <a:lnTo>
                    <a:pt x="3484" y="150"/>
                  </a:lnTo>
                  <a:lnTo>
                    <a:pt x="348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0" name="Google Shape;5200;p53">
              <a:extLst>
                <a:ext uri="{FF2B5EF4-FFF2-40B4-BE49-F238E27FC236}">
                  <a16:creationId xmlns:a16="http://schemas.microsoft.com/office/drawing/2014/main" id="{FBAC0A62-7F9D-8E05-84CD-F38202810D84}"/>
                </a:ext>
              </a:extLst>
            </p:cNvPr>
            <p:cNvSpPr/>
            <p:nvPr/>
          </p:nvSpPr>
          <p:spPr>
            <a:xfrm>
              <a:off x="998550" y="2473925"/>
              <a:ext cx="87125" cy="3750"/>
            </a:xfrm>
            <a:custGeom>
              <a:avLst/>
              <a:gdLst/>
              <a:ahLst/>
              <a:cxnLst/>
              <a:rect l="l" t="t" r="r" b="b"/>
              <a:pathLst>
                <a:path w="3485" h="150" extrusionOk="0">
                  <a:moveTo>
                    <a:pt x="0" y="0"/>
                  </a:moveTo>
                  <a:lnTo>
                    <a:pt x="0" y="150"/>
                  </a:lnTo>
                  <a:lnTo>
                    <a:pt x="3484" y="150"/>
                  </a:lnTo>
                  <a:lnTo>
                    <a:pt x="3484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1" name="Google Shape;5201;p53">
              <a:extLst>
                <a:ext uri="{FF2B5EF4-FFF2-40B4-BE49-F238E27FC236}">
                  <a16:creationId xmlns:a16="http://schemas.microsoft.com/office/drawing/2014/main" id="{01ED3F7A-1A5E-B5DE-E662-D9B42E2BD2DB}"/>
                </a:ext>
              </a:extLst>
            </p:cNvPr>
            <p:cNvSpPr/>
            <p:nvPr/>
          </p:nvSpPr>
          <p:spPr>
            <a:xfrm>
              <a:off x="1267175" y="2240900"/>
              <a:ext cx="35000" cy="35200"/>
            </a:xfrm>
            <a:custGeom>
              <a:avLst/>
              <a:gdLst/>
              <a:ahLst/>
              <a:cxnLst/>
              <a:rect l="l" t="t" r="r" b="b"/>
              <a:pathLst>
                <a:path w="1400" h="1408" extrusionOk="0">
                  <a:moveTo>
                    <a:pt x="697" y="1"/>
                  </a:moveTo>
                  <a:cubicBezTo>
                    <a:pt x="311" y="1"/>
                    <a:pt x="0" y="319"/>
                    <a:pt x="0" y="703"/>
                  </a:cubicBezTo>
                  <a:cubicBezTo>
                    <a:pt x="0" y="1089"/>
                    <a:pt x="311" y="1407"/>
                    <a:pt x="697" y="1407"/>
                  </a:cubicBezTo>
                  <a:cubicBezTo>
                    <a:pt x="1088" y="1407"/>
                    <a:pt x="1400" y="1089"/>
                    <a:pt x="1400" y="703"/>
                  </a:cubicBezTo>
                  <a:cubicBezTo>
                    <a:pt x="1400" y="319"/>
                    <a:pt x="1088" y="1"/>
                    <a:pt x="697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2" name="Google Shape;5202;p53">
              <a:extLst>
                <a:ext uri="{FF2B5EF4-FFF2-40B4-BE49-F238E27FC236}">
                  <a16:creationId xmlns:a16="http://schemas.microsoft.com/office/drawing/2014/main" id="{E023F0D0-5A87-02CF-ED06-5B8021E29F81}"/>
                </a:ext>
              </a:extLst>
            </p:cNvPr>
            <p:cNvSpPr/>
            <p:nvPr/>
          </p:nvSpPr>
          <p:spPr>
            <a:xfrm>
              <a:off x="1123775" y="2239225"/>
              <a:ext cx="22275" cy="22250"/>
            </a:xfrm>
            <a:custGeom>
              <a:avLst/>
              <a:gdLst/>
              <a:ahLst/>
              <a:cxnLst/>
              <a:rect l="l" t="t" r="r" b="b"/>
              <a:pathLst>
                <a:path w="891" h="890" extrusionOk="0">
                  <a:moveTo>
                    <a:pt x="445" y="0"/>
                  </a:moveTo>
                  <a:cubicBezTo>
                    <a:pt x="200" y="0"/>
                    <a:pt x="1" y="201"/>
                    <a:pt x="1" y="445"/>
                  </a:cubicBezTo>
                  <a:cubicBezTo>
                    <a:pt x="1" y="697"/>
                    <a:pt x="200" y="889"/>
                    <a:pt x="445" y="889"/>
                  </a:cubicBezTo>
                  <a:cubicBezTo>
                    <a:pt x="689" y="889"/>
                    <a:pt x="890" y="697"/>
                    <a:pt x="890" y="445"/>
                  </a:cubicBezTo>
                  <a:cubicBezTo>
                    <a:pt x="890" y="201"/>
                    <a:pt x="689" y="0"/>
                    <a:pt x="445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3" name="Google Shape;5203;p53">
              <a:extLst>
                <a:ext uri="{FF2B5EF4-FFF2-40B4-BE49-F238E27FC236}">
                  <a16:creationId xmlns:a16="http://schemas.microsoft.com/office/drawing/2014/main" id="{1C8822EB-F597-06CC-96BA-B7FA48A515BD}"/>
                </a:ext>
              </a:extLst>
            </p:cNvPr>
            <p:cNvSpPr/>
            <p:nvPr/>
          </p:nvSpPr>
          <p:spPr>
            <a:xfrm>
              <a:off x="1139000" y="2197150"/>
              <a:ext cx="43150" cy="43025"/>
            </a:xfrm>
            <a:custGeom>
              <a:avLst/>
              <a:gdLst/>
              <a:ahLst/>
              <a:cxnLst/>
              <a:rect l="l" t="t" r="r" b="b"/>
              <a:pathLst>
                <a:path w="1726" h="1721" extrusionOk="0">
                  <a:moveTo>
                    <a:pt x="866" y="1"/>
                  </a:moveTo>
                  <a:cubicBezTo>
                    <a:pt x="391" y="1"/>
                    <a:pt x="0" y="387"/>
                    <a:pt x="0" y="862"/>
                  </a:cubicBezTo>
                  <a:cubicBezTo>
                    <a:pt x="0" y="1335"/>
                    <a:pt x="391" y="1720"/>
                    <a:pt x="866" y="1720"/>
                  </a:cubicBezTo>
                  <a:cubicBezTo>
                    <a:pt x="1341" y="1720"/>
                    <a:pt x="1725" y="1335"/>
                    <a:pt x="1725" y="862"/>
                  </a:cubicBezTo>
                  <a:cubicBezTo>
                    <a:pt x="1725" y="387"/>
                    <a:pt x="1341" y="1"/>
                    <a:pt x="866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4" name="Google Shape;5204;p53">
              <a:extLst>
                <a:ext uri="{FF2B5EF4-FFF2-40B4-BE49-F238E27FC236}">
                  <a16:creationId xmlns:a16="http://schemas.microsoft.com/office/drawing/2014/main" id="{2A71ED97-371F-DB48-1979-C6CEA3B27F33}"/>
                </a:ext>
              </a:extLst>
            </p:cNvPr>
            <p:cNvSpPr/>
            <p:nvPr/>
          </p:nvSpPr>
          <p:spPr>
            <a:xfrm>
              <a:off x="1250850" y="2278125"/>
              <a:ext cx="14875" cy="14650"/>
            </a:xfrm>
            <a:custGeom>
              <a:avLst/>
              <a:gdLst/>
              <a:ahLst/>
              <a:cxnLst/>
              <a:rect l="l" t="t" r="r" b="b"/>
              <a:pathLst>
                <a:path w="595" h="586" extrusionOk="0">
                  <a:moveTo>
                    <a:pt x="297" y="0"/>
                  </a:moveTo>
                  <a:cubicBezTo>
                    <a:pt x="134" y="0"/>
                    <a:pt x="0" y="134"/>
                    <a:pt x="0" y="297"/>
                  </a:cubicBezTo>
                  <a:cubicBezTo>
                    <a:pt x="0" y="455"/>
                    <a:pt x="127" y="586"/>
                    <a:pt x="285" y="586"/>
                  </a:cubicBezTo>
                  <a:cubicBezTo>
                    <a:pt x="289" y="586"/>
                    <a:pt x="293" y="585"/>
                    <a:pt x="297" y="585"/>
                  </a:cubicBezTo>
                  <a:cubicBezTo>
                    <a:pt x="461" y="585"/>
                    <a:pt x="594" y="452"/>
                    <a:pt x="594" y="290"/>
                  </a:cubicBezTo>
                  <a:cubicBezTo>
                    <a:pt x="594" y="126"/>
                    <a:pt x="461" y="0"/>
                    <a:pt x="297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5" name="Google Shape;5205;p53">
              <a:extLst>
                <a:ext uri="{FF2B5EF4-FFF2-40B4-BE49-F238E27FC236}">
                  <a16:creationId xmlns:a16="http://schemas.microsoft.com/office/drawing/2014/main" id="{139735D7-605B-7227-0A6D-1662FF945395}"/>
                </a:ext>
              </a:extLst>
            </p:cNvPr>
            <p:cNvSpPr/>
            <p:nvPr/>
          </p:nvSpPr>
          <p:spPr>
            <a:xfrm>
              <a:off x="1423700" y="2188075"/>
              <a:ext cx="164350" cy="71525"/>
            </a:xfrm>
            <a:custGeom>
              <a:avLst/>
              <a:gdLst/>
              <a:ahLst/>
              <a:cxnLst/>
              <a:rect l="l" t="t" r="r" b="b"/>
              <a:pathLst>
                <a:path w="6574" h="2861" extrusionOk="0">
                  <a:moveTo>
                    <a:pt x="3078" y="1"/>
                  </a:moveTo>
                  <a:cubicBezTo>
                    <a:pt x="3067" y="1"/>
                    <a:pt x="3056" y="1"/>
                    <a:pt x="3045" y="1"/>
                  </a:cubicBezTo>
                  <a:cubicBezTo>
                    <a:pt x="2512" y="8"/>
                    <a:pt x="2083" y="401"/>
                    <a:pt x="2001" y="904"/>
                  </a:cubicBezTo>
                  <a:cubicBezTo>
                    <a:pt x="1964" y="904"/>
                    <a:pt x="1927" y="897"/>
                    <a:pt x="1889" y="897"/>
                  </a:cubicBezTo>
                  <a:cubicBezTo>
                    <a:pt x="1431" y="913"/>
                    <a:pt x="1068" y="1283"/>
                    <a:pt x="1061" y="1735"/>
                  </a:cubicBezTo>
                  <a:cubicBezTo>
                    <a:pt x="534" y="1891"/>
                    <a:pt x="127" y="2327"/>
                    <a:pt x="1" y="2861"/>
                  </a:cubicBezTo>
                  <a:lnTo>
                    <a:pt x="6574" y="2743"/>
                  </a:lnTo>
                  <a:cubicBezTo>
                    <a:pt x="6390" y="2086"/>
                    <a:pt x="6007" y="1601"/>
                    <a:pt x="5306" y="1601"/>
                  </a:cubicBezTo>
                  <a:cubicBezTo>
                    <a:pt x="5296" y="1601"/>
                    <a:pt x="5286" y="1601"/>
                    <a:pt x="5275" y="1602"/>
                  </a:cubicBezTo>
                  <a:lnTo>
                    <a:pt x="5217" y="1602"/>
                  </a:lnTo>
                  <a:cubicBezTo>
                    <a:pt x="5210" y="1101"/>
                    <a:pt x="4802" y="698"/>
                    <a:pt x="4305" y="698"/>
                  </a:cubicBezTo>
                  <a:cubicBezTo>
                    <a:pt x="4295" y="698"/>
                    <a:pt x="4286" y="698"/>
                    <a:pt x="4276" y="698"/>
                  </a:cubicBezTo>
                  <a:cubicBezTo>
                    <a:pt x="4208" y="698"/>
                    <a:pt x="4150" y="705"/>
                    <a:pt x="4084" y="719"/>
                  </a:cubicBezTo>
                  <a:cubicBezTo>
                    <a:pt x="3938" y="301"/>
                    <a:pt x="3545" y="1"/>
                    <a:pt x="3078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6" name="Google Shape;5206;p53">
              <a:extLst>
                <a:ext uri="{FF2B5EF4-FFF2-40B4-BE49-F238E27FC236}">
                  <a16:creationId xmlns:a16="http://schemas.microsoft.com/office/drawing/2014/main" id="{5FAB06C1-E181-7597-4666-3C1BF9D20E35}"/>
                </a:ext>
              </a:extLst>
            </p:cNvPr>
            <p:cNvSpPr/>
            <p:nvPr/>
          </p:nvSpPr>
          <p:spPr>
            <a:xfrm>
              <a:off x="1423700" y="2187725"/>
              <a:ext cx="165650" cy="71175"/>
            </a:xfrm>
            <a:custGeom>
              <a:avLst/>
              <a:gdLst/>
              <a:ahLst/>
              <a:cxnLst/>
              <a:rect l="l" t="t" r="r" b="b"/>
              <a:pathLst>
                <a:path w="6626" h="2847" extrusionOk="0">
                  <a:moveTo>
                    <a:pt x="3085" y="1"/>
                  </a:moveTo>
                  <a:cubicBezTo>
                    <a:pt x="3079" y="1"/>
                    <a:pt x="3074" y="1"/>
                    <a:pt x="3068" y="1"/>
                  </a:cubicBezTo>
                  <a:cubicBezTo>
                    <a:pt x="2535" y="8"/>
                    <a:pt x="2097" y="394"/>
                    <a:pt x="2016" y="904"/>
                  </a:cubicBezTo>
                  <a:cubicBezTo>
                    <a:pt x="1978" y="897"/>
                    <a:pt x="1941" y="897"/>
                    <a:pt x="1905" y="897"/>
                  </a:cubicBezTo>
                  <a:cubicBezTo>
                    <a:pt x="1445" y="897"/>
                    <a:pt x="1075" y="1267"/>
                    <a:pt x="1068" y="1728"/>
                  </a:cubicBezTo>
                  <a:cubicBezTo>
                    <a:pt x="541" y="1875"/>
                    <a:pt x="127" y="2306"/>
                    <a:pt x="1" y="2846"/>
                  </a:cubicBezTo>
                  <a:lnTo>
                    <a:pt x="6625" y="2764"/>
                  </a:lnTo>
                  <a:cubicBezTo>
                    <a:pt x="6449" y="2109"/>
                    <a:pt x="6009" y="1615"/>
                    <a:pt x="5300" y="1615"/>
                  </a:cubicBezTo>
                  <a:cubicBezTo>
                    <a:pt x="5294" y="1615"/>
                    <a:pt x="5289" y="1615"/>
                    <a:pt x="5284" y="1616"/>
                  </a:cubicBezTo>
                  <a:lnTo>
                    <a:pt x="5224" y="1616"/>
                  </a:lnTo>
                  <a:cubicBezTo>
                    <a:pt x="5224" y="1111"/>
                    <a:pt x="4811" y="705"/>
                    <a:pt x="4307" y="705"/>
                  </a:cubicBezTo>
                  <a:cubicBezTo>
                    <a:pt x="4301" y="705"/>
                    <a:pt x="4296" y="705"/>
                    <a:pt x="4290" y="705"/>
                  </a:cubicBezTo>
                  <a:cubicBezTo>
                    <a:pt x="4224" y="705"/>
                    <a:pt x="4164" y="712"/>
                    <a:pt x="4098" y="726"/>
                  </a:cubicBezTo>
                  <a:cubicBezTo>
                    <a:pt x="3952" y="301"/>
                    <a:pt x="3551" y="1"/>
                    <a:pt x="3085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7" name="Google Shape;5207;p53">
              <a:extLst>
                <a:ext uri="{FF2B5EF4-FFF2-40B4-BE49-F238E27FC236}">
                  <a16:creationId xmlns:a16="http://schemas.microsoft.com/office/drawing/2014/main" id="{44F4ACA5-5773-A4E9-CE4C-1AA897D94C10}"/>
                </a:ext>
              </a:extLst>
            </p:cNvPr>
            <p:cNvSpPr/>
            <p:nvPr/>
          </p:nvSpPr>
          <p:spPr>
            <a:xfrm>
              <a:off x="1471325" y="2209950"/>
              <a:ext cx="18150" cy="36125"/>
            </a:xfrm>
            <a:custGeom>
              <a:avLst/>
              <a:gdLst/>
              <a:ahLst/>
              <a:cxnLst/>
              <a:rect l="l" t="t" r="r" b="b"/>
              <a:pathLst>
                <a:path w="726" h="1445" extrusionOk="0">
                  <a:moveTo>
                    <a:pt x="0" y="1"/>
                  </a:moveTo>
                  <a:cubicBezTo>
                    <a:pt x="0" y="1"/>
                    <a:pt x="578" y="186"/>
                    <a:pt x="548" y="719"/>
                  </a:cubicBezTo>
                  <a:cubicBezTo>
                    <a:pt x="518" y="1312"/>
                    <a:pt x="0" y="1445"/>
                    <a:pt x="0" y="1445"/>
                  </a:cubicBezTo>
                  <a:cubicBezTo>
                    <a:pt x="401" y="1445"/>
                    <a:pt x="726" y="1120"/>
                    <a:pt x="726" y="719"/>
                  </a:cubicBezTo>
                  <a:cubicBezTo>
                    <a:pt x="726" y="326"/>
                    <a:pt x="401" y="1"/>
                    <a:pt x="0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8" name="Google Shape;5208;p53">
              <a:extLst>
                <a:ext uri="{FF2B5EF4-FFF2-40B4-BE49-F238E27FC236}">
                  <a16:creationId xmlns:a16="http://schemas.microsoft.com/office/drawing/2014/main" id="{54CD1B25-6076-697C-AC9A-FB3C0F0CC8AA}"/>
                </a:ext>
              </a:extLst>
            </p:cNvPr>
            <p:cNvSpPr/>
            <p:nvPr/>
          </p:nvSpPr>
          <p:spPr>
            <a:xfrm>
              <a:off x="1533575" y="2227925"/>
              <a:ext cx="53550" cy="27050"/>
            </a:xfrm>
            <a:custGeom>
              <a:avLst/>
              <a:gdLst/>
              <a:ahLst/>
              <a:cxnLst/>
              <a:rect l="l" t="t" r="r" b="b"/>
              <a:pathLst>
                <a:path w="2142" h="1082" extrusionOk="0">
                  <a:moveTo>
                    <a:pt x="1068" y="0"/>
                  </a:moveTo>
                  <a:cubicBezTo>
                    <a:pt x="489" y="0"/>
                    <a:pt x="7" y="471"/>
                    <a:pt x="0" y="1053"/>
                  </a:cubicBezTo>
                  <a:cubicBezTo>
                    <a:pt x="0" y="1053"/>
                    <a:pt x="272" y="206"/>
                    <a:pt x="1007" y="206"/>
                  </a:cubicBezTo>
                  <a:cubicBezTo>
                    <a:pt x="1029" y="206"/>
                    <a:pt x="1052" y="207"/>
                    <a:pt x="1074" y="208"/>
                  </a:cubicBezTo>
                  <a:cubicBezTo>
                    <a:pt x="1947" y="274"/>
                    <a:pt x="2134" y="1082"/>
                    <a:pt x="2134" y="1082"/>
                  </a:cubicBezTo>
                  <a:cubicBezTo>
                    <a:pt x="2141" y="497"/>
                    <a:pt x="1674" y="15"/>
                    <a:pt x="1081" y="0"/>
                  </a:cubicBezTo>
                  <a:cubicBezTo>
                    <a:pt x="1077" y="0"/>
                    <a:pt x="1073" y="0"/>
                    <a:pt x="1068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9" name="Google Shape;5209;p53">
              <a:extLst>
                <a:ext uri="{FF2B5EF4-FFF2-40B4-BE49-F238E27FC236}">
                  <a16:creationId xmlns:a16="http://schemas.microsoft.com/office/drawing/2014/main" id="{4F7BD8E0-CA34-536D-201A-2E37E50F86D4}"/>
                </a:ext>
              </a:extLst>
            </p:cNvPr>
            <p:cNvSpPr/>
            <p:nvPr/>
          </p:nvSpPr>
          <p:spPr>
            <a:xfrm>
              <a:off x="1162875" y="2146425"/>
              <a:ext cx="77275" cy="40575"/>
            </a:xfrm>
            <a:custGeom>
              <a:avLst/>
              <a:gdLst/>
              <a:ahLst/>
              <a:cxnLst/>
              <a:rect l="l" t="t" r="r" b="b"/>
              <a:pathLst>
                <a:path w="3091" h="1623" extrusionOk="0">
                  <a:moveTo>
                    <a:pt x="807" y="1"/>
                  </a:moveTo>
                  <a:cubicBezTo>
                    <a:pt x="363" y="1"/>
                    <a:pt x="0" y="363"/>
                    <a:pt x="0" y="815"/>
                  </a:cubicBezTo>
                  <a:cubicBezTo>
                    <a:pt x="0" y="1260"/>
                    <a:pt x="363" y="1623"/>
                    <a:pt x="807" y="1623"/>
                  </a:cubicBezTo>
                  <a:lnTo>
                    <a:pt x="2275" y="1623"/>
                  </a:lnTo>
                  <a:cubicBezTo>
                    <a:pt x="2726" y="1623"/>
                    <a:pt x="3091" y="1260"/>
                    <a:pt x="3091" y="815"/>
                  </a:cubicBezTo>
                  <a:cubicBezTo>
                    <a:pt x="3091" y="363"/>
                    <a:pt x="2726" y="1"/>
                    <a:pt x="227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0" name="Google Shape;5210;p53">
              <a:extLst>
                <a:ext uri="{FF2B5EF4-FFF2-40B4-BE49-F238E27FC236}">
                  <a16:creationId xmlns:a16="http://schemas.microsoft.com/office/drawing/2014/main" id="{F34FA49D-1450-7510-4E0B-9BEC110D9213}"/>
                </a:ext>
              </a:extLst>
            </p:cNvPr>
            <p:cNvSpPr/>
            <p:nvPr/>
          </p:nvSpPr>
          <p:spPr>
            <a:xfrm>
              <a:off x="1136775" y="1958600"/>
              <a:ext cx="77250" cy="40550"/>
            </a:xfrm>
            <a:custGeom>
              <a:avLst/>
              <a:gdLst/>
              <a:ahLst/>
              <a:cxnLst/>
              <a:rect l="l" t="t" r="r" b="b"/>
              <a:pathLst>
                <a:path w="3090" h="1622" extrusionOk="0">
                  <a:moveTo>
                    <a:pt x="808" y="0"/>
                  </a:moveTo>
                  <a:cubicBezTo>
                    <a:pt x="363" y="0"/>
                    <a:pt x="0" y="363"/>
                    <a:pt x="0" y="815"/>
                  </a:cubicBezTo>
                  <a:cubicBezTo>
                    <a:pt x="0" y="1259"/>
                    <a:pt x="363" y="1622"/>
                    <a:pt x="808" y="1622"/>
                  </a:cubicBezTo>
                  <a:lnTo>
                    <a:pt x="2282" y="1622"/>
                  </a:lnTo>
                  <a:cubicBezTo>
                    <a:pt x="2726" y="1622"/>
                    <a:pt x="3089" y="1259"/>
                    <a:pt x="3089" y="815"/>
                  </a:cubicBezTo>
                  <a:cubicBezTo>
                    <a:pt x="3089" y="363"/>
                    <a:pt x="2726" y="0"/>
                    <a:pt x="2282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1" name="Google Shape;5211;p53">
              <a:extLst>
                <a:ext uri="{FF2B5EF4-FFF2-40B4-BE49-F238E27FC236}">
                  <a16:creationId xmlns:a16="http://schemas.microsoft.com/office/drawing/2014/main" id="{6EF2469D-050A-80AC-3907-904E4E8E3818}"/>
                </a:ext>
              </a:extLst>
            </p:cNvPr>
            <p:cNvSpPr/>
            <p:nvPr/>
          </p:nvSpPr>
          <p:spPr>
            <a:xfrm>
              <a:off x="1001175" y="2198450"/>
              <a:ext cx="37975" cy="40625"/>
            </a:xfrm>
            <a:custGeom>
              <a:avLst/>
              <a:gdLst/>
              <a:ahLst/>
              <a:cxnLst/>
              <a:rect l="l" t="t" r="r" b="b"/>
              <a:pathLst>
                <a:path w="1519" h="1625" extrusionOk="0">
                  <a:moveTo>
                    <a:pt x="0" y="0"/>
                  </a:moveTo>
                  <a:lnTo>
                    <a:pt x="0" y="1624"/>
                  </a:lnTo>
                  <a:lnTo>
                    <a:pt x="703" y="1624"/>
                  </a:lnTo>
                  <a:cubicBezTo>
                    <a:pt x="1156" y="1624"/>
                    <a:pt x="1519" y="1254"/>
                    <a:pt x="1519" y="810"/>
                  </a:cubicBezTo>
                  <a:cubicBezTo>
                    <a:pt x="1519" y="365"/>
                    <a:pt x="1156" y="0"/>
                    <a:pt x="703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2" name="Google Shape;5212;p53">
              <a:extLst>
                <a:ext uri="{FF2B5EF4-FFF2-40B4-BE49-F238E27FC236}">
                  <a16:creationId xmlns:a16="http://schemas.microsoft.com/office/drawing/2014/main" id="{F08CD145-7041-1988-B41F-42B655562383}"/>
                </a:ext>
              </a:extLst>
            </p:cNvPr>
            <p:cNvSpPr/>
            <p:nvPr/>
          </p:nvSpPr>
          <p:spPr>
            <a:xfrm>
              <a:off x="1222875" y="2077875"/>
              <a:ext cx="123575" cy="64850"/>
            </a:xfrm>
            <a:custGeom>
              <a:avLst/>
              <a:gdLst/>
              <a:ahLst/>
              <a:cxnLst/>
              <a:rect l="l" t="t" r="r" b="b"/>
              <a:pathLst>
                <a:path w="4943" h="2594" extrusionOk="0">
                  <a:moveTo>
                    <a:pt x="1297" y="0"/>
                  </a:moveTo>
                  <a:cubicBezTo>
                    <a:pt x="586" y="0"/>
                    <a:pt x="1" y="578"/>
                    <a:pt x="1" y="1297"/>
                  </a:cubicBezTo>
                  <a:cubicBezTo>
                    <a:pt x="1" y="2008"/>
                    <a:pt x="586" y="2593"/>
                    <a:pt x="1297" y="2593"/>
                  </a:cubicBezTo>
                  <a:lnTo>
                    <a:pt x="3647" y="2593"/>
                  </a:lnTo>
                  <a:cubicBezTo>
                    <a:pt x="4358" y="2593"/>
                    <a:pt x="4943" y="2008"/>
                    <a:pt x="4943" y="1297"/>
                  </a:cubicBezTo>
                  <a:cubicBezTo>
                    <a:pt x="4943" y="578"/>
                    <a:pt x="4358" y="0"/>
                    <a:pt x="3647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3" name="Google Shape;5213;p53">
              <a:extLst>
                <a:ext uri="{FF2B5EF4-FFF2-40B4-BE49-F238E27FC236}">
                  <a16:creationId xmlns:a16="http://schemas.microsoft.com/office/drawing/2014/main" id="{86A6E254-2C14-B781-91D8-6CCBBCCDCCFD}"/>
                </a:ext>
              </a:extLst>
            </p:cNvPr>
            <p:cNvSpPr/>
            <p:nvPr/>
          </p:nvSpPr>
          <p:spPr>
            <a:xfrm>
              <a:off x="1271425" y="2182175"/>
              <a:ext cx="145225" cy="41325"/>
            </a:xfrm>
            <a:custGeom>
              <a:avLst/>
              <a:gdLst/>
              <a:ahLst/>
              <a:cxnLst/>
              <a:rect l="l" t="t" r="r" b="b"/>
              <a:pathLst>
                <a:path w="5809" h="1653" extrusionOk="0">
                  <a:moveTo>
                    <a:pt x="822" y="0"/>
                  </a:moveTo>
                  <a:cubicBezTo>
                    <a:pt x="371" y="0"/>
                    <a:pt x="1" y="370"/>
                    <a:pt x="1" y="822"/>
                  </a:cubicBezTo>
                  <a:cubicBezTo>
                    <a:pt x="1" y="1283"/>
                    <a:pt x="371" y="1653"/>
                    <a:pt x="822" y="1653"/>
                  </a:cubicBezTo>
                  <a:lnTo>
                    <a:pt x="4987" y="1653"/>
                  </a:lnTo>
                  <a:cubicBezTo>
                    <a:pt x="5439" y="1653"/>
                    <a:pt x="5809" y="1283"/>
                    <a:pt x="5809" y="822"/>
                  </a:cubicBezTo>
                  <a:cubicBezTo>
                    <a:pt x="5809" y="370"/>
                    <a:pt x="5439" y="0"/>
                    <a:pt x="4987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4" name="Google Shape;5214;p53">
              <a:extLst>
                <a:ext uri="{FF2B5EF4-FFF2-40B4-BE49-F238E27FC236}">
                  <a16:creationId xmlns:a16="http://schemas.microsoft.com/office/drawing/2014/main" id="{544E1194-86FC-4834-1645-9E567FE3C2E2}"/>
                </a:ext>
              </a:extLst>
            </p:cNvPr>
            <p:cNvSpPr/>
            <p:nvPr/>
          </p:nvSpPr>
          <p:spPr>
            <a:xfrm>
              <a:off x="998725" y="2587100"/>
              <a:ext cx="642450" cy="39875"/>
            </a:xfrm>
            <a:custGeom>
              <a:avLst/>
              <a:gdLst/>
              <a:ahLst/>
              <a:cxnLst/>
              <a:rect l="l" t="t" r="r" b="b"/>
              <a:pathLst>
                <a:path w="25698" h="1595" extrusionOk="0">
                  <a:moveTo>
                    <a:pt x="0" y="1"/>
                  </a:moveTo>
                  <a:lnTo>
                    <a:pt x="0" y="1594"/>
                  </a:lnTo>
                  <a:lnTo>
                    <a:pt x="24350" y="1594"/>
                  </a:lnTo>
                  <a:cubicBezTo>
                    <a:pt x="25698" y="1594"/>
                    <a:pt x="25557" y="1"/>
                    <a:pt x="2435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5" name="Google Shape;5215;p53">
              <a:extLst>
                <a:ext uri="{FF2B5EF4-FFF2-40B4-BE49-F238E27FC236}">
                  <a16:creationId xmlns:a16="http://schemas.microsoft.com/office/drawing/2014/main" id="{49F9E593-AB6A-785D-20D8-4AED0237EF9F}"/>
                </a:ext>
              </a:extLst>
            </p:cNvPr>
            <p:cNvSpPr/>
            <p:nvPr/>
          </p:nvSpPr>
          <p:spPr>
            <a:xfrm>
              <a:off x="998725" y="2626950"/>
              <a:ext cx="693050" cy="39850"/>
            </a:xfrm>
            <a:custGeom>
              <a:avLst/>
              <a:gdLst/>
              <a:ahLst/>
              <a:cxnLst/>
              <a:rect l="l" t="t" r="r" b="b"/>
              <a:pathLst>
                <a:path w="27722" h="1594" extrusionOk="0">
                  <a:moveTo>
                    <a:pt x="0" y="0"/>
                  </a:moveTo>
                  <a:lnTo>
                    <a:pt x="0" y="1578"/>
                  </a:lnTo>
                  <a:lnTo>
                    <a:pt x="20763" y="1578"/>
                  </a:lnTo>
                  <a:cubicBezTo>
                    <a:pt x="20807" y="1578"/>
                    <a:pt x="20861" y="1587"/>
                    <a:pt x="20905" y="1594"/>
                  </a:cubicBezTo>
                  <a:lnTo>
                    <a:pt x="26692" y="1594"/>
                  </a:lnTo>
                  <a:cubicBezTo>
                    <a:pt x="27670" y="1594"/>
                    <a:pt x="27722" y="164"/>
                    <a:pt x="26774" y="15"/>
                  </a:cubicBezTo>
                  <a:cubicBezTo>
                    <a:pt x="26720" y="7"/>
                    <a:pt x="26662" y="0"/>
                    <a:pt x="26610" y="0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6" name="Google Shape;5216;p53">
              <a:extLst>
                <a:ext uri="{FF2B5EF4-FFF2-40B4-BE49-F238E27FC236}">
                  <a16:creationId xmlns:a16="http://schemas.microsoft.com/office/drawing/2014/main" id="{8B52C660-3B92-8EBD-E8DE-9B0C485F1F92}"/>
                </a:ext>
              </a:extLst>
            </p:cNvPr>
            <p:cNvSpPr/>
            <p:nvPr/>
          </p:nvSpPr>
          <p:spPr>
            <a:xfrm>
              <a:off x="998725" y="2666375"/>
              <a:ext cx="522650" cy="425"/>
            </a:xfrm>
            <a:custGeom>
              <a:avLst/>
              <a:gdLst/>
              <a:ahLst/>
              <a:cxnLst/>
              <a:rect l="l" t="t" r="r" b="b"/>
              <a:pathLst>
                <a:path w="20906" h="17" extrusionOk="0">
                  <a:moveTo>
                    <a:pt x="0" y="1"/>
                  </a:moveTo>
                  <a:lnTo>
                    <a:pt x="0" y="17"/>
                  </a:lnTo>
                  <a:lnTo>
                    <a:pt x="20905" y="17"/>
                  </a:lnTo>
                  <a:cubicBezTo>
                    <a:pt x="20861" y="10"/>
                    <a:pt x="20807" y="1"/>
                    <a:pt x="20763" y="1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7" name="Google Shape;5217;p53">
              <a:extLst>
                <a:ext uri="{FF2B5EF4-FFF2-40B4-BE49-F238E27FC236}">
                  <a16:creationId xmlns:a16="http://schemas.microsoft.com/office/drawing/2014/main" id="{A48FAC35-F76F-288E-3C3F-313DE2FF4C6B}"/>
                </a:ext>
              </a:extLst>
            </p:cNvPr>
            <p:cNvSpPr/>
            <p:nvPr/>
          </p:nvSpPr>
          <p:spPr>
            <a:xfrm>
              <a:off x="1210125" y="2313150"/>
              <a:ext cx="45950" cy="276975"/>
            </a:xfrm>
            <a:custGeom>
              <a:avLst/>
              <a:gdLst/>
              <a:ahLst/>
              <a:cxnLst/>
              <a:rect l="l" t="t" r="r" b="b"/>
              <a:pathLst>
                <a:path w="1838" h="11079" extrusionOk="0">
                  <a:moveTo>
                    <a:pt x="497" y="1"/>
                  </a:moveTo>
                  <a:lnTo>
                    <a:pt x="0" y="11055"/>
                  </a:lnTo>
                  <a:lnTo>
                    <a:pt x="1838" y="11078"/>
                  </a:lnTo>
                  <a:lnTo>
                    <a:pt x="1838" y="11078"/>
                  </a:lnTo>
                  <a:lnTo>
                    <a:pt x="1601" y="15"/>
                  </a:lnTo>
                  <a:lnTo>
                    <a:pt x="497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8" name="Google Shape;5218;p53">
              <a:extLst>
                <a:ext uri="{FF2B5EF4-FFF2-40B4-BE49-F238E27FC236}">
                  <a16:creationId xmlns:a16="http://schemas.microsoft.com/office/drawing/2014/main" id="{A70ECECC-0090-6ABB-74A6-42B529835CD9}"/>
                </a:ext>
              </a:extLst>
            </p:cNvPr>
            <p:cNvSpPr/>
            <p:nvPr/>
          </p:nvSpPr>
          <p:spPr>
            <a:xfrm>
              <a:off x="1210125" y="2313150"/>
              <a:ext cx="26300" cy="276550"/>
            </a:xfrm>
            <a:custGeom>
              <a:avLst/>
              <a:gdLst/>
              <a:ahLst/>
              <a:cxnLst/>
              <a:rect l="l" t="t" r="r" b="b"/>
              <a:pathLst>
                <a:path w="1052" h="11062" extrusionOk="0">
                  <a:moveTo>
                    <a:pt x="497" y="1"/>
                  </a:moveTo>
                  <a:lnTo>
                    <a:pt x="363" y="2994"/>
                  </a:lnTo>
                  <a:lnTo>
                    <a:pt x="0" y="11055"/>
                  </a:lnTo>
                  <a:lnTo>
                    <a:pt x="918" y="11062"/>
                  </a:lnTo>
                  <a:lnTo>
                    <a:pt x="1051" y="8"/>
                  </a:lnTo>
                  <a:lnTo>
                    <a:pt x="497" y="1"/>
                  </a:lnTo>
                  <a:close/>
                </a:path>
              </a:pathLst>
            </a:custGeom>
            <a:solidFill>
              <a:srgbClr val="92939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9" name="Google Shape;5219;p53">
              <a:extLst>
                <a:ext uri="{FF2B5EF4-FFF2-40B4-BE49-F238E27FC236}">
                  <a16:creationId xmlns:a16="http://schemas.microsoft.com/office/drawing/2014/main" id="{D8FC75A4-A68F-DC6D-6C31-09B69482C1C7}"/>
                </a:ext>
              </a:extLst>
            </p:cNvPr>
            <p:cNvSpPr/>
            <p:nvPr/>
          </p:nvSpPr>
          <p:spPr>
            <a:xfrm>
              <a:off x="1219025" y="2379850"/>
              <a:ext cx="32775" cy="16475"/>
            </a:xfrm>
            <a:custGeom>
              <a:avLst/>
              <a:gdLst/>
              <a:ahLst/>
              <a:cxnLst/>
              <a:rect l="l" t="t" r="r" b="b"/>
              <a:pathLst>
                <a:path w="1311" h="659" extrusionOk="0">
                  <a:moveTo>
                    <a:pt x="29" y="0"/>
                  </a:moveTo>
                  <a:lnTo>
                    <a:pt x="0" y="637"/>
                  </a:lnTo>
                  <a:lnTo>
                    <a:pt x="651" y="651"/>
                  </a:lnTo>
                  <a:lnTo>
                    <a:pt x="1311" y="658"/>
                  </a:lnTo>
                  <a:lnTo>
                    <a:pt x="1297" y="14"/>
                  </a:lnTo>
                  <a:lnTo>
                    <a:pt x="667" y="7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0" name="Google Shape;5220;p53">
              <a:extLst>
                <a:ext uri="{FF2B5EF4-FFF2-40B4-BE49-F238E27FC236}">
                  <a16:creationId xmlns:a16="http://schemas.microsoft.com/office/drawing/2014/main" id="{F562DF9C-4A15-2C6E-A589-3FA8504AEC4F}"/>
                </a:ext>
              </a:extLst>
            </p:cNvPr>
            <p:cNvSpPr/>
            <p:nvPr/>
          </p:nvSpPr>
          <p:spPr>
            <a:xfrm>
              <a:off x="1216975" y="2417225"/>
              <a:ext cx="35775" cy="23950"/>
            </a:xfrm>
            <a:custGeom>
              <a:avLst/>
              <a:gdLst/>
              <a:ahLst/>
              <a:cxnLst/>
              <a:rect l="l" t="t" r="r" b="b"/>
              <a:pathLst>
                <a:path w="1431" h="958" extrusionOk="0">
                  <a:moveTo>
                    <a:pt x="45" y="1"/>
                  </a:moveTo>
                  <a:lnTo>
                    <a:pt x="0" y="941"/>
                  </a:lnTo>
                  <a:lnTo>
                    <a:pt x="719" y="950"/>
                  </a:lnTo>
                  <a:lnTo>
                    <a:pt x="1430" y="957"/>
                  </a:lnTo>
                  <a:lnTo>
                    <a:pt x="1416" y="24"/>
                  </a:lnTo>
                  <a:lnTo>
                    <a:pt x="726" y="8"/>
                  </a:lnTo>
                  <a:lnTo>
                    <a:pt x="45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21" name="Google Shape;5221;p53">
            <a:extLst>
              <a:ext uri="{FF2B5EF4-FFF2-40B4-BE49-F238E27FC236}">
                <a16:creationId xmlns:a16="http://schemas.microsoft.com/office/drawing/2014/main" id="{FF1B50A8-9C0F-9E71-179A-5196F0B08156}"/>
              </a:ext>
            </a:extLst>
          </p:cNvPr>
          <p:cNvGrpSpPr/>
          <p:nvPr/>
        </p:nvGrpSpPr>
        <p:grpSpPr>
          <a:xfrm>
            <a:off x="6987193" y="2679817"/>
            <a:ext cx="2520565" cy="1945481"/>
            <a:chOff x="7095475" y="1127208"/>
            <a:chExt cx="817675" cy="631117"/>
          </a:xfrm>
        </p:grpSpPr>
        <p:sp>
          <p:nvSpPr>
            <p:cNvPr id="5222" name="Google Shape;5222;p53">
              <a:extLst>
                <a:ext uri="{FF2B5EF4-FFF2-40B4-BE49-F238E27FC236}">
                  <a16:creationId xmlns:a16="http://schemas.microsoft.com/office/drawing/2014/main" id="{A4D77F3C-764D-8EA0-DF43-CEB820454335}"/>
                </a:ext>
              </a:extLst>
            </p:cNvPr>
            <p:cNvSpPr/>
            <p:nvPr/>
          </p:nvSpPr>
          <p:spPr>
            <a:xfrm>
              <a:off x="7137300" y="1488925"/>
              <a:ext cx="169725" cy="73950"/>
            </a:xfrm>
            <a:custGeom>
              <a:avLst/>
              <a:gdLst/>
              <a:ahLst/>
              <a:cxnLst/>
              <a:rect l="l" t="t" r="r" b="b"/>
              <a:pathLst>
                <a:path w="6789" h="2958" extrusionOk="0">
                  <a:moveTo>
                    <a:pt x="3232" y="0"/>
                  </a:moveTo>
                  <a:cubicBezTo>
                    <a:pt x="2690" y="0"/>
                    <a:pt x="2239" y="391"/>
                    <a:pt x="2135" y="906"/>
                  </a:cubicBezTo>
                  <a:cubicBezTo>
                    <a:pt x="2097" y="899"/>
                    <a:pt x="2062" y="899"/>
                    <a:pt x="2017" y="890"/>
                  </a:cubicBezTo>
                  <a:cubicBezTo>
                    <a:pt x="1550" y="890"/>
                    <a:pt x="1157" y="1261"/>
                    <a:pt x="1135" y="1727"/>
                  </a:cubicBezTo>
                  <a:cubicBezTo>
                    <a:pt x="586" y="1868"/>
                    <a:pt x="150" y="2305"/>
                    <a:pt x="1" y="2855"/>
                  </a:cubicBezTo>
                  <a:lnTo>
                    <a:pt x="6789" y="2958"/>
                  </a:lnTo>
                  <a:cubicBezTo>
                    <a:pt x="6625" y="2268"/>
                    <a:pt x="6241" y="1743"/>
                    <a:pt x="5499" y="1734"/>
                  </a:cubicBezTo>
                  <a:lnTo>
                    <a:pt x="5432" y="1734"/>
                  </a:lnTo>
                  <a:cubicBezTo>
                    <a:pt x="5441" y="1210"/>
                    <a:pt x="5025" y="772"/>
                    <a:pt x="4498" y="765"/>
                  </a:cubicBezTo>
                  <a:cubicBezTo>
                    <a:pt x="4425" y="765"/>
                    <a:pt x="4358" y="772"/>
                    <a:pt x="4292" y="787"/>
                  </a:cubicBezTo>
                  <a:cubicBezTo>
                    <a:pt x="4159" y="335"/>
                    <a:pt x="3742" y="9"/>
                    <a:pt x="3246" y="1"/>
                  </a:cubicBezTo>
                  <a:cubicBezTo>
                    <a:pt x="3241" y="1"/>
                    <a:pt x="3237" y="0"/>
                    <a:pt x="3232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3" name="Google Shape;5223;p53">
              <a:extLst>
                <a:ext uri="{FF2B5EF4-FFF2-40B4-BE49-F238E27FC236}">
                  <a16:creationId xmlns:a16="http://schemas.microsoft.com/office/drawing/2014/main" id="{AF4E73B2-8326-CC92-0508-EA7BC84EC8E1}"/>
                </a:ext>
              </a:extLst>
            </p:cNvPr>
            <p:cNvSpPr/>
            <p:nvPr/>
          </p:nvSpPr>
          <p:spPr>
            <a:xfrm>
              <a:off x="7191050" y="1511725"/>
              <a:ext cx="18700" cy="37475"/>
            </a:xfrm>
            <a:custGeom>
              <a:avLst/>
              <a:gdLst/>
              <a:ahLst/>
              <a:cxnLst/>
              <a:rect l="l" t="t" r="r" b="b"/>
              <a:pathLst>
                <a:path w="748" h="1499" extrusionOk="0">
                  <a:moveTo>
                    <a:pt x="1" y="1"/>
                  </a:moveTo>
                  <a:cubicBezTo>
                    <a:pt x="1" y="1"/>
                    <a:pt x="593" y="193"/>
                    <a:pt x="563" y="750"/>
                  </a:cubicBezTo>
                  <a:cubicBezTo>
                    <a:pt x="534" y="1365"/>
                    <a:pt x="1" y="1498"/>
                    <a:pt x="1" y="1498"/>
                  </a:cubicBezTo>
                  <a:cubicBezTo>
                    <a:pt x="415" y="1498"/>
                    <a:pt x="748" y="1164"/>
                    <a:pt x="748" y="750"/>
                  </a:cubicBezTo>
                  <a:cubicBezTo>
                    <a:pt x="748" y="333"/>
                    <a:pt x="415" y="1"/>
                    <a:pt x="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4" name="Google Shape;5224;p53">
              <a:extLst>
                <a:ext uri="{FF2B5EF4-FFF2-40B4-BE49-F238E27FC236}">
                  <a16:creationId xmlns:a16="http://schemas.microsoft.com/office/drawing/2014/main" id="{09B49AE9-58DF-38A7-2169-B2D1915143A2}"/>
                </a:ext>
              </a:extLst>
            </p:cNvPr>
            <p:cNvSpPr/>
            <p:nvPr/>
          </p:nvSpPr>
          <p:spPr>
            <a:xfrm>
              <a:off x="7286250" y="1534500"/>
              <a:ext cx="11300" cy="7100"/>
            </a:xfrm>
            <a:custGeom>
              <a:avLst/>
              <a:gdLst/>
              <a:ahLst/>
              <a:cxnLst/>
              <a:rect l="l" t="t" r="r" b="b"/>
              <a:pathLst>
                <a:path w="452" h="284" extrusionOk="0">
                  <a:moveTo>
                    <a:pt x="0" y="0"/>
                  </a:moveTo>
                  <a:lnTo>
                    <a:pt x="0" y="0"/>
                  </a:lnTo>
                  <a:cubicBezTo>
                    <a:pt x="164" y="61"/>
                    <a:pt x="297" y="157"/>
                    <a:pt x="416" y="283"/>
                  </a:cubicBezTo>
                  <a:lnTo>
                    <a:pt x="452" y="232"/>
                  </a:lnTo>
                  <a:cubicBezTo>
                    <a:pt x="319" y="120"/>
                    <a:pt x="171" y="38"/>
                    <a:pt x="0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5" name="Google Shape;5225;p53">
              <a:extLst>
                <a:ext uri="{FF2B5EF4-FFF2-40B4-BE49-F238E27FC236}">
                  <a16:creationId xmlns:a16="http://schemas.microsoft.com/office/drawing/2014/main" id="{FDA4C44E-B634-7BFB-55B3-BCB8077C9E8C}"/>
                </a:ext>
              </a:extLst>
            </p:cNvPr>
            <p:cNvSpPr/>
            <p:nvPr/>
          </p:nvSpPr>
          <p:spPr>
            <a:xfrm>
              <a:off x="7251975" y="1533600"/>
              <a:ext cx="44700" cy="27250"/>
            </a:xfrm>
            <a:custGeom>
              <a:avLst/>
              <a:gdLst/>
              <a:ahLst/>
              <a:cxnLst/>
              <a:rect l="l" t="t" r="r" b="b"/>
              <a:pathLst>
                <a:path w="1788" h="1090" extrusionOk="0">
                  <a:moveTo>
                    <a:pt x="1105" y="1"/>
                  </a:moveTo>
                  <a:cubicBezTo>
                    <a:pt x="505" y="1"/>
                    <a:pt x="16" y="481"/>
                    <a:pt x="0" y="1089"/>
                  </a:cubicBezTo>
                  <a:cubicBezTo>
                    <a:pt x="0" y="1089"/>
                    <a:pt x="283" y="214"/>
                    <a:pt x="1046" y="214"/>
                  </a:cubicBezTo>
                  <a:lnTo>
                    <a:pt x="1121" y="214"/>
                  </a:lnTo>
                  <a:cubicBezTo>
                    <a:pt x="1364" y="237"/>
                    <a:pt x="1565" y="312"/>
                    <a:pt x="1713" y="415"/>
                  </a:cubicBezTo>
                  <a:lnTo>
                    <a:pt x="1787" y="319"/>
                  </a:lnTo>
                  <a:cubicBezTo>
                    <a:pt x="1668" y="193"/>
                    <a:pt x="1535" y="97"/>
                    <a:pt x="1371" y="36"/>
                  </a:cubicBezTo>
                  <a:cubicBezTo>
                    <a:pt x="1298" y="15"/>
                    <a:pt x="1209" y="1"/>
                    <a:pt x="112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6" name="Google Shape;5226;p53">
              <a:extLst>
                <a:ext uri="{FF2B5EF4-FFF2-40B4-BE49-F238E27FC236}">
                  <a16:creationId xmlns:a16="http://schemas.microsoft.com/office/drawing/2014/main" id="{D15BF6B3-5FD9-9C2C-5C7F-CED243B13D12}"/>
                </a:ext>
              </a:extLst>
            </p:cNvPr>
            <p:cNvSpPr/>
            <p:nvPr/>
          </p:nvSpPr>
          <p:spPr>
            <a:xfrm>
              <a:off x="7457400" y="1303300"/>
              <a:ext cx="214200" cy="93225"/>
            </a:xfrm>
            <a:custGeom>
              <a:avLst/>
              <a:gdLst/>
              <a:ahLst/>
              <a:cxnLst/>
              <a:rect l="l" t="t" r="r" b="b"/>
              <a:pathLst>
                <a:path w="8568" h="3729" extrusionOk="0">
                  <a:moveTo>
                    <a:pt x="4485" y="1"/>
                  </a:moveTo>
                  <a:cubicBezTo>
                    <a:pt x="4480" y="1"/>
                    <a:pt x="4475" y="1"/>
                    <a:pt x="4470" y="1"/>
                  </a:cubicBezTo>
                  <a:cubicBezTo>
                    <a:pt x="3848" y="17"/>
                    <a:pt x="3328" y="424"/>
                    <a:pt x="3150" y="995"/>
                  </a:cubicBezTo>
                  <a:cubicBezTo>
                    <a:pt x="3069" y="972"/>
                    <a:pt x="2987" y="965"/>
                    <a:pt x="2898" y="965"/>
                  </a:cubicBezTo>
                  <a:cubicBezTo>
                    <a:pt x="2231" y="979"/>
                    <a:pt x="1706" y="1521"/>
                    <a:pt x="1714" y="2188"/>
                  </a:cubicBezTo>
                  <a:lnTo>
                    <a:pt x="1632" y="2188"/>
                  </a:lnTo>
                  <a:cubicBezTo>
                    <a:pt x="698" y="2202"/>
                    <a:pt x="209" y="2862"/>
                    <a:pt x="1" y="3728"/>
                  </a:cubicBezTo>
                  <a:lnTo>
                    <a:pt x="8567" y="3602"/>
                  </a:lnTo>
                  <a:cubicBezTo>
                    <a:pt x="8382" y="2907"/>
                    <a:pt x="7826" y="2357"/>
                    <a:pt x="7130" y="2179"/>
                  </a:cubicBezTo>
                  <a:cubicBezTo>
                    <a:pt x="7108" y="1592"/>
                    <a:pt x="6626" y="1128"/>
                    <a:pt x="6033" y="1128"/>
                  </a:cubicBezTo>
                  <a:cubicBezTo>
                    <a:pt x="6028" y="1128"/>
                    <a:pt x="6024" y="1128"/>
                    <a:pt x="6019" y="1128"/>
                  </a:cubicBezTo>
                  <a:cubicBezTo>
                    <a:pt x="5975" y="1128"/>
                    <a:pt x="5921" y="1135"/>
                    <a:pt x="5877" y="1143"/>
                  </a:cubicBezTo>
                  <a:cubicBezTo>
                    <a:pt x="5744" y="488"/>
                    <a:pt x="5174" y="1"/>
                    <a:pt x="4485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7" name="Google Shape;5227;p53">
              <a:extLst>
                <a:ext uri="{FF2B5EF4-FFF2-40B4-BE49-F238E27FC236}">
                  <a16:creationId xmlns:a16="http://schemas.microsoft.com/office/drawing/2014/main" id="{D1AA0437-4D4E-BA44-CB75-60588BF9B535}"/>
                </a:ext>
              </a:extLst>
            </p:cNvPr>
            <p:cNvSpPr/>
            <p:nvPr/>
          </p:nvSpPr>
          <p:spPr>
            <a:xfrm>
              <a:off x="7580250" y="1332200"/>
              <a:ext cx="23550" cy="47125"/>
            </a:xfrm>
            <a:custGeom>
              <a:avLst/>
              <a:gdLst/>
              <a:ahLst/>
              <a:cxnLst/>
              <a:rect l="l" t="t" r="r" b="b"/>
              <a:pathLst>
                <a:path w="942" h="1885" extrusionOk="0">
                  <a:moveTo>
                    <a:pt x="941" y="1"/>
                  </a:moveTo>
                  <a:cubicBezTo>
                    <a:pt x="422" y="1"/>
                    <a:pt x="1" y="424"/>
                    <a:pt x="1" y="943"/>
                  </a:cubicBezTo>
                  <a:cubicBezTo>
                    <a:pt x="1" y="1461"/>
                    <a:pt x="422" y="1884"/>
                    <a:pt x="941" y="1884"/>
                  </a:cubicBezTo>
                  <a:cubicBezTo>
                    <a:pt x="941" y="1884"/>
                    <a:pt x="274" y="1713"/>
                    <a:pt x="230" y="943"/>
                  </a:cubicBezTo>
                  <a:cubicBezTo>
                    <a:pt x="193" y="246"/>
                    <a:pt x="941" y="1"/>
                    <a:pt x="94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8" name="Google Shape;5228;p53">
              <a:extLst>
                <a:ext uri="{FF2B5EF4-FFF2-40B4-BE49-F238E27FC236}">
                  <a16:creationId xmlns:a16="http://schemas.microsoft.com/office/drawing/2014/main" id="{4C4CBC76-DE8D-2980-DD71-3759B2FDD72B}"/>
                </a:ext>
              </a:extLst>
            </p:cNvPr>
            <p:cNvSpPr/>
            <p:nvPr/>
          </p:nvSpPr>
          <p:spPr>
            <a:xfrm>
              <a:off x="7457050" y="1360750"/>
              <a:ext cx="26525" cy="34300"/>
            </a:xfrm>
            <a:custGeom>
              <a:avLst/>
              <a:gdLst/>
              <a:ahLst/>
              <a:cxnLst/>
              <a:rect l="l" t="t" r="r" b="b"/>
              <a:pathLst>
                <a:path w="1061" h="1372" extrusionOk="0">
                  <a:moveTo>
                    <a:pt x="1061" y="1"/>
                  </a:moveTo>
                  <a:cubicBezTo>
                    <a:pt x="452" y="157"/>
                    <a:pt x="1" y="712"/>
                    <a:pt x="8" y="1372"/>
                  </a:cubicBezTo>
                  <a:cubicBezTo>
                    <a:pt x="8" y="1372"/>
                    <a:pt x="38" y="1245"/>
                    <a:pt x="120" y="1082"/>
                  </a:cubicBezTo>
                  <a:cubicBezTo>
                    <a:pt x="305" y="579"/>
                    <a:pt x="600" y="185"/>
                    <a:pt x="1061" y="1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9" name="Google Shape;5229;p53">
              <a:extLst>
                <a:ext uri="{FF2B5EF4-FFF2-40B4-BE49-F238E27FC236}">
                  <a16:creationId xmlns:a16="http://schemas.microsoft.com/office/drawing/2014/main" id="{4A5CFF2E-8E26-CFAF-8814-AF88F3EDF00D}"/>
                </a:ext>
              </a:extLst>
            </p:cNvPr>
            <p:cNvSpPr/>
            <p:nvPr/>
          </p:nvSpPr>
          <p:spPr>
            <a:xfrm>
              <a:off x="7460025" y="1359825"/>
              <a:ext cx="66900" cy="34125"/>
            </a:xfrm>
            <a:custGeom>
              <a:avLst/>
              <a:gdLst/>
              <a:ahLst/>
              <a:cxnLst/>
              <a:rect l="l" t="t" r="r" b="b"/>
              <a:pathLst>
                <a:path w="2676" h="1365" extrusionOk="0">
                  <a:moveTo>
                    <a:pt x="1260" y="0"/>
                  </a:moveTo>
                  <a:cubicBezTo>
                    <a:pt x="1148" y="0"/>
                    <a:pt x="1045" y="16"/>
                    <a:pt x="942" y="38"/>
                  </a:cubicBezTo>
                  <a:cubicBezTo>
                    <a:pt x="481" y="222"/>
                    <a:pt x="186" y="616"/>
                    <a:pt x="1" y="1119"/>
                  </a:cubicBezTo>
                  <a:cubicBezTo>
                    <a:pt x="163" y="800"/>
                    <a:pt x="518" y="319"/>
                    <a:pt x="1267" y="267"/>
                  </a:cubicBezTo>
                  <a:lnTo>
                    <a:pt x="1356" y="267"/>
                  </a:lnTo>
                  <a:cubicBezTo>
                    <a:pt x="2320" y="267"/>
                    <a:pt x="2676" y="1364"/>
                    <a:pt x="2676" y="1364"/>
                  </a:cubicBezTo>
                  <a:cubicBezTo>
                    <a:pt x="2660" y="608"/>
                    <a:pt x="2037" y="0"/>
                    <a:pt x="1281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0" name="Google Shape;5230;p53">
              <a:extLst>
                <a:ext uri="{FF2B5EF4-FFF2-40B4-BE49-F238E27FC236}">
                  <a16:creationId xmlns:a16="http://schemas.microsoft.com/office/drawing/2014/main" id="{A7E3E794-973A-ADEA-1487-60154749FF96}"/>
                </a:ext>
              </a:extLst>
            </p:cNvPr>
            <p:cNvSpPr/>
            <p:nvPr/>
          </p:nvSpPr>
          <p:spPr>
            <a:xfrm>
              <a:off x="7364800" y="1192375"/>
              <a:ext cx="181725" cy="65975"/>
            </a:xfrm>
            <a:custGeom>
              <a:avLst/>
              <a:gdLst/>
              <a:ahLst/>
              <a:cxnLst/>
              <a:rect l="l" t="t" r="r" b="b"/>
              <a:pathLst>
                <a:path w="7269" h="2639" extrusionOk="0">
                  <a:moveTo>
                    <a:pt x="3113" y="1"/>
                  </a:moveTo>
                  <a:cubicBezTo>
                    <a:pt x="2305" y="1"/>
                    <a:pt x="1615" y="497"/>
                    <a:pt x="1334" y="1192"/>
                  </a:cubicBezTo>
                  <a:cubicBezTo>
                    <a:pt x="1283" y="1185"/>
                    <a:pt x="1238" y="1185"/>
                    <a:pt x="1187" y="1185"/>
                  </a:cubicBezTo>
                  <a:cubicBezTo>
                    <a:pt x="534" y="1185"/>
                    <a:pt x="1" y="1712"/>
                    <a:pt x="1" y="2371"/>
                  </a:cubicBezTo>
                  <a:cubicBezTo>
                    <a:pt x="1" y="2460"/>
                    <a:pt x="15" y="2549"/>
                    <a:pt x="38" y="2638"/>
                  </a:cubicBezTo>
                  <a:lnTo>
                    <a:pt x="5876" y="2638"/>
                  </a:lnTo>
                  <a:cubicBezTo>
                    <a:pt x="5891" y="2624"/>
                    <a:pt x="5907" y="2615"/>
                    <a:pt x="5921" y="2601"/>
                  </a:cubicBezTo>
                  <a:cubicBezTo>
                    <a:pt x="5921" y="2615"/>
                    <a:pt x="5928" y="2624"/>
                    <a:pt x="5935" y="2638"/>
                  </a:cubicBezTo>
                  <a:lnTo>
                    <a:pt x="7217" y="2638"/>
                  </a:lnTo>
                  <a:cubicBezTo>
                    <a:pt x="7248" y="2556"/>
                    <a:pt x="7269" y="2467"/>
                    <a:pt x="7269" y="2371"/>
                  </a:cubicBezTo>
                  <a:cubicBezTo>
                    <a:pt x="7269" y="1986"/>
                    <a:pt x="6958" y="1674"/>
                    <a:pt x="6573" y="1674"/>
                  </a:cubicBezTo>
                  <a:cubicBezTo>
                    <a:pt x="6440" y="1674"/>
                    <a:pt x="6314" y="1712"/>
                    <a:pt x="6202" y="1779"/>
                  </a:cubicBezTo>
                  <a:cubicBezTo>
                    <a:pt x="6136" y="1335"/>
                    <a:pt x="5750" y="993"/>
                    <a:pt x="5291" y="993"/>
                  </a:cubicBezTo>
                  <a:cubicBezTo>
                    <a:pt x="5128" y="993"/>
                    <a:pt x="4980" y="1038"/>
                    <a:pt x="4854" y="1103"/>
                  </a:cubicBezTo>
                  <a:cubicBezTo>
                    <a:pt x="4543" y="453"/>
                    <a:pt x="3883" y="1"/>
                    <a:pt x="3113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1" name="Google Shape;5231;p53">
              <a:extLst>
                <a:ext uri="{FF2B5EF4-FFF2-40B4-BE49-F238E27FC236}">
                  <a16:creationId xmlns:a16="http://schemas.microsoft.com/office/drawing/2014/main" id="{B437D985-455B-7890-5563-D4ACA6DC7281}"/>
                </a:ext>
              </a:extLst>
            </p:cNvPr>
            <p:cNvSpPr/>
            <p:nvPr/>
          </p:nvSpPr>
          <p:spPr>
            <a:xfrm>
              <a:off x="7506267" y="1127208"/>
              <a:ext cx="100825" cy="36700"/>
            </a:xfrm>
            <a:custGeom>
              <a:avLst/>
              <a:gdLst/>
              <a:ahLst/>
              <a:cxnLst/>
              <a:rect l="l" t="t" r="r" b="b"/>
              <a:pathLst>
                <a:path w="4033" h="1468" extrusionOk="0">
                  <a:moveTo>
                    <a:pt x="2306" y="0"/>
                  </a:moveTo>
                  <a:cubicBezTo>
                    <a:pt x="1875" y="0"/>
                    <a:pt x="1512" y="253"/>
                    <a:pt x="1342" y="616"/>
                  </a:cubicBezTo>
                  <a:cubicBezTo>
                    <a:pt x="1267" y="578"/>
                    <a:pt x="1187" y="557"/>
                    <a:pt x="1098" y="557"/>
                  </a:cubicBezTo>
                  <a:cubicBezTo>
                    <a:pt x="838" y="557"/>
                    <a:pt x="623" y="742"/>
                    <a:pt x="586" y="986"/>
                  </a:cubicBezTo>
                  <a:cubicBezTo>
                    <a:pt x="527" y="950"/>
                    <a:pt x="460" y="927"/>
                    <a:pt x="387" y="927"/>
                  </a:cubicBezTo>
                  <a:cubicBezTo>
                    <a:pt x="171" y="927"/>
                    <a:pt x="1" y="1105"/>
                    <a:pt x="1" y="1320"/>
                  </a:cubicBezTo>
                  <a:cubicBezTo>
                    <a:pt x="1" y="1372"/>
                    <a:pt x="8" y="1416"/>
                    <a:pt x="31" y="1468"/>
                  </a:cubicBezTo>
                  <a:lnTo>
                    <a:pt x="742" y="1468"/>
                  </a:lnTo>
                  <a:cubicBezTo>
                    <a:pt x="742" y="1460"/>
                    <a:pt x="742" y="1453"/>
                    <a:pt x="749" y="1446"/>
                  </a:cubicBezTo>
                  <a:cubicBezTo>
                    <a:pt x="757" y="1453"/>
                    <a:pt x="764" y="1460"/>
                    <a:pt x="771" y="1468"/>
                  </a:cubicBezTo>
                  <a:lnTo>
                    <a:pt x="4009" y="1468"/>
                  </a:lnTo>
                  <a:cubicBezTo>
                    <a:pt x="4023" y="1416"/>
                    <a:pt x="4032" y="1364"/>
                    <a:pt x="4032" y="1320"/>
                  </a:cubicBezTo>
                  <a:cubicBezTo>
                    <a:pt x="4032" y="957"/>
                    <a:pt x="3735" y="660"/>
                    <a:pt x="3373" y="660"/>
                  </a:cubicBezTo>
                  <a:cubicBezTo>
                    <a:pt x="3342" y="660"/>
                    <a:pt x="3321" y="660"/>
                    <a:pt x="3291" y="667"/>
                  </a:cubicBezTo>
                  <a:cubicBezTo>
                    <a:pt x="3134" y="274"/>
                    <a:pt x="2750" y="0"/>
                    <a:pt x="230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2" name="Google Shape;5232;p53">
              <a:extLst>
                <a:ext uri="{FF2B5EF4-FFF2-40B4-BE49-F238E27FC236}">
                  <a16:creationId xmlns:a16="http://schemas.microsoft.com/office/drawing/2014/main" id="{0FA76B45-EF97-9DE4-2C54-0900C5C0097E}"/>
                </a:ext>
              </a:extLst>
            </p:cNvPr>
            <p:cNvSpPr/>
            <p:nvPr/>
          </p:nvSpPr>
          <p:spPr>
            <a:xfrm>
              <a:off x="7210300" y="1305925"/>
              <a:ext cx="123225" cy="60400"/>
            </a:xfrm>
            <a:custGeom>
              <a:avLst/>
              <a:gdLst/>
              <a:ahLst/>
              <a:cxnLst/>
              <a:rect l="l" t="t" r="r" b="b"/>
              <a:pathLst>
                <a:path w="4929" h="2416" extrusionOk="0">
                  <a:moveTo>
                    <a:pt x="2165" y="1"/>
                  </a:moveTo>
                  <a:cubicBezTo>
                    <a:pt x="1290" y="1"/>
                    <a:pt x="579" y="682"/>
                    <a:pt x="527" y="1541"/>
                  </a:cubicBezTo>
                  <a:cubicBezTo>
                    <a:pt x="223" y="1601"/>
                    <a:pt x="1" y="1868"/>
                    <a:pt x="1" y="2186"/>
                  </a:cubicBezTo>
                  <a:cubicBezTo>
                    <a:pt x="1" y="2261"/>
                    <a:pt x="15" y="2341"/>
                    <a:pt x="45" y="2416"/>
                  </a:cubicBezTo>
                  <a:lnTo>
                    <a:pt x="4922" y="2416"/>
                  </a:lnTo>
                  <a:cubicBezTo>
                    <a:pt x="4922" y="2394"/>
                    <a:pt x="4929" y="2371"/>
                    <a:pt x="4929" y="2357"/>
                  </a:cubicBezTo>
                  <a:cubicBezTo>
                    <a:pt x="4929" y="1889"/>
                    <a:pt x="4550" y="1512"/>
                    <a:pt x="4084" y="1512"/>
                  </a:cubicBezTo>
                  <a:cubicBezTo>
                    <a:pt x="3988" y="1512"/>
                    <a:pt x="3890" y="1534"/>
                    <a:pt x="3810" y="1564"/>
                  </a:cubicBezTo>
                  <a:cubicBezTo>
                    <a:pt x="3766" y="696"/>
                    <a:pt x="3045" y="1"/>
                    <a:pt x="216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3" name="Google Shape;5233;p53">
              <a:extLst>
                <a:ext uri="{FF2B5EF4-FFF2-40B4-BE49-F238E27FC236}">
                  <a16:creationId xmlns:a16="http://schemas.microsoft.com/office/drawing/2014/main" id="{51097ABA-465F-086A-7312-BB65E034AC53}"/>
                </a:ext>
              </a:extLst>
            </p:cNvPr>
            <p:cNvSpPr/>
            <p:nvPr/>
          </p:nvSpPr>
          <p:spPr>
            <a:xfrm>
              <a:off x="7267000" y="1159750"/>
              <a:ext cx="166575" cy="81575"/>
            </a:xfrm>
            <a:custGeom>
              <a:avLst/>
              <a:gdLst/>
              <a:ahLst/>
              <a:cxnLst/>
              <a:rect l="l" t="t" r="r" b="b"/>
              <a:pathLst>
                <a:path w="6663" h="3263" extrusionOk="0">
                  <a:moveTo>
                    <a:pt x="3742" y="1"/>
                  </a:moveTo>
                  <a:cubicBezTo>
                    <a:pt x="2549" y="1"/>
                    <a:pt x="1578" y="934"/>
                    <a:pt x="1519" y="2113"/>
                  </a:cubicBezTo>
                  <a:cubicBezTo>
                    <a:pt x="1400" y="2069"/>
                    <a:pt x="1275" y="2046"/>
                    <a:pt x="1142" y="2046"/>
                  </a:cubicBezTo>
                  <a:cubicBezTo>
                    <a:pt x="511" y="2046"/>
                    <a:pt x="0" y="2551"/>
                    <a:pt x="0" y="3180"/>
                  </a:cubicBezTo>
                  <a:cubicBezTo>
                    <a:pt x="0" y="3209"/>
                    <a:pt x="0" y="3232"/>
                    <a:pt x="7" y="3262"/>
                  </a:cubicBezTo>
                  <a:lnTo>
                    <a:pt x="6610" y="3262"/>
                  </a:lnTo>
                  <a:cubicBezTo>
                    <a:pt x="6646" y="3164"/>
                    <a:pt x="6662" y="3061"/>
                    <a:pt x="6662" y="2951"/>
                  </a:cubicBezTo>
                  <a:cubicBezTo>
                    <a:pt x="6662" y="2520"/>
                    <a:pt x="6365" y="2165"/>
                    <a:pt x="5958" y="2076"/>
                  </a:cubicBezTo>
                  <a:cubicBezTo>
                    <a:pt x="5883" y="920"/>
                    <a:pt x="4921" y="1"/>
                    <a:pt x="3742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4" name="Google Shape;5234;p53">
              <a:extLst>
                <a:ext uri="{FF2B5EF4-FFF2-40B4-BE49-F238E27FC236}">
                  <a16:creationId xmlns:a16="http://schemas.microsoft.com/office/drawing/2014/main" id="{9150020D-D6F6-785B-54C0-1E21E2FEAFF2}"/>
                </a:ext>
              </a:extLst>
            </p:cNvPr>
            <p:cNvSpPr/>
            <p:nvPr/>
          </p:nvSpPr>
          <p:spPr>
            <a:xfrm>
              <a:off x="7225125" y="1603800"/>
              <a:ext cx="228450" cy="75025"/>
            </a:xfrm>
            <a:custGeom>
              <a:avLst/>
              <a:gdLst/>
              <a:ahLst/>
              <a:cxnLst/>
              <a:rect l="l" t="t" r="r" b="b"/>
              <a:pathLst>
                <a:path w="9138" h="3001" extrusionOk="0">
                  <a:moveTo>
                    <a:pt x="1104" y="1"/>
                  </a:moveTo>
                  <a:lnTo>
                    <a:pt x="0" y="1571"/>
                  </a:lnTo>
                  <a:cubicBezTo>
                    <a:pt x="75" y="1550"/>
                    <a:pt x="149" y="1534"/>
                    <a:pt x="229" y="1534"/>
                  </a:cubicBezTo>
                  <a:cubicBezTo>
                    <a:pt x="608" y="1534"/>
                    <a:pt x="912" y="1808"/>
                    <a:pt x="971" y="2172"/>
                  </a:cubicBezTo>
                  <a:cubicBezTo>
                    <a:pt x="1015" y="2149"/>
                    <a:pt x="1067" y="2135"/>
                    <a:pt x="1128" y="2135"/>
                  </a:cubicBezTo>
                  <a:cubicBezTo>
                    <a:pt x="1163" y="2135"/>
                    <a:pt x="1200" y="2142"/>
                    <a:pt x="1238" y="2156"/>
                  </a:cubicBezTo>
                  <a:cubicBezTo>
                    <a:pt x="1341" y="2030"/>
                    <a:pt x="1490" y="1957"/>
                    <a:pt x="1661" y="1957"/>
                  </a:cubicBezTo>
                  <a:cubicBezTo>
                    <a:pt x="1956" y="1957"/>
                    <a:pt x="2195" y="2201"/>
                    <a:pt x="2195" y="2498"/>
                  </a:cubicBezTo>
                  <a:lnTo>
                    <a:pt x="2195" y="2535"/>
                  </a:lnTo>
                  <a:cubicBezTo>
                    <a:pt x="2246" y="2498"/>
                    <a:pt x="2305" y="2467"/>
                    <a:pt x="2372" y="2467"/>
                  </a:cubicBezTo>
                  <a:cubicBezTo>
                    <a:pt x="2527" y="2467"/>
                    <a:pt x="2653" y="2594"/>
                    <a:pt x="2653" y="2750"/>
                  </a:cubicBezTo>
                  <a:cubicBezTo>
                    <a:pt x="2653" y="2860"/>
                    <a:pt x="2595" y="2957"/>
                    <a:pt x="2497" y="3001"/>
                  </a:cubicBezTo>
                  <a:lnTo>
                    <a:pt x="5188" y="3001"/>
                  </a:lnTo>
                  <a:cubicBezTo>
                    <a:pt x="5136" y="2973"/>
                    <a:pt x="5106" y="2912"/>
                    <a:pt x="5106" y="2853"/>
                  </a:cubicBezTo>
                  <a:cubicBezTo>
                    <a:pt x="5106" y="2750"/>
                    <a:pt x="5188" y="2668"/>
                    <a:pt x="5291" y="2668"/>
                  </a:cubicBezTo>
                  <a:cubicBezTo>
                    <a:pt x="5335" y="2668"/>
                    <a:pt x="5380" y="2683"/>
                    <a:pt x="5410" y="2706"/>
                  </a:cubicBezTo>
                  <a:lnTo>
                    <a:pt x="5410" y="2683"/>
                  </a:lnTo>
                  <a:cubicBezTo>
                    <a:pt x="5410" y="2483"/>
                    <a:pt x="5573" y="2327"/>
                    <a:pt x="5765" y="2327"/>
                  </a:cubicBezTo>
                  <a:cubicBezTo>
                    <a:pt x="5876" y="2327"/>
                    <a:pt x="5981" y="2379"/>
                    <a:pt x="6039" y="2453"/>
                  </a:cubicBezTo>
                  <a:cubicBezTo>
                    <a:pt x="6070" y="2446"/>
                    <a:pt x="6091" y="2446"/>
                    <a:pt x="6121" y="2446"/>
                  </a:cubicBezTo>
                  <a:cubicBezTo>
                    <a:pt x="6159" y="2446"/>
                    <a:pt x="6187" y="2453"/>
                    <a:pt x="6224" y="2467"/>
                  </a:cubicBezTo>
                  <a:cubicBezTo>
                    <a:pt x="6240" y="2357"/>
                    <a:pt x="6292" y="2261"/>
                    <a:pt x="6365" y="2186"/>
                  </a:cubicBezTo>
                  <a:lnTo>
                    <a:pt x="6388" y="734"/>
                  </a:lnTo>
                  <a:cubicBezTo>
                    <a:pt x="6402" y="734"/>
                    <a:pt x="6409" y="1505"/>
                    <a:pt x="6418" y="2142"/>
                  </a:cubicBezTo>
                  <a:cubicBezTo>
                    <a:pt x="6498" y="2083"/>
                    <a:pt x="6603" y="2046"/>
                    <a:pt x="6713" y="2046"/>
                  </a:cubicBezTo>
                  <a:cubicBezTo>
                    <a:pt x="6774" y="2046"/>
                    <a:pt x="6833" y="2060"/>
                    <a:pt x="6884" y="2074"/>
                  </a:cubicBezTo>
                  <a:cubicBezTo>
                    <a:pt x="7076" y="2135"/>
                    <a:pt x="7218" y="2306"/>
                    <a:pt x="7218" y="2512"/>
                  </a:cubicBezTo>
                  <a:lnTo>
                    <a:pt x="7218" y="2549"/>
                  </a:lnTo>
                  <a:cubicBezTo>
                    <a:pt x="7233" y="2542"/>
                    <a:pt x="7247" y="2542"/>
                    <a:pt x="7270" y="2542"/>
                  </a:cubicBezTo>
                  <a:lnTo>
                    <a:pt x="7284" y="2542"/>
                  </a:lnTo>
                  <a:cubicBezTo>
                    <a:pt x="7441" y="2386"/>
                    <a:pt x="7626" y="2245"/>
                    <a:pt x="7832" y="2112"/>
                  </a:cubicBezTo>
                  <a:cubicBezTo>
                    <a:pt x="7841" y="1934"/>
                    <a:pt x="7900" y="1756"/>
                    <a:pt x="8010" y="1601"/>
                  </a:cubicBezTo>
                  <a:lnTo>
                    <a:pt x="9137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5" name="Google Shape;5235;p53">
              <a:extLst>
                <a:ext uri="{FF2B5EF4-FFF2-40B4-BE49-F238E27FC236}">
                  <a16:creationId xmlns:a16="http://schemas.microsoft.com/office/drawing/2014/main" id="{A45CF541-6AD1-5A94-AF47-A1D06F669E78}"/>
                </a:ext>
              </a:extLst>
            </p:cNvPr>
            <p:cNvSpPr/>
            <p:nvPr/>
          </p:nvSpPr>
          <p:spPr>
            <a:xfrm>
              <a:off x="7415350" y="1386900"/>
              <a:ext cx="497800" cy="293450"/>
            </a:xfrm>
            <a:custGeom>
              <a:avLst/>
              <a:gdLst/>
              <a:ahLst/>
              <a:cxnLst/>
              <a:rect l="l" t="t" r="r" b="b"/>
              <a:pathLst>
                <a:path w="19912" h="11738" extrusionOk="0">
                  <a:moveTo>
                    <a:pt x="8752" y="0"/>
                  </a:moveTo>
                  <a:cubicBezTo>
                    <a:pt x="8604" y="0"/>
                    <a:pt x="8471" y="59"/>
                    <a:pt x="8368" y="155"/>
                  </a:cubicBezTo>
                  <a:cubicBezTo>
                    <a:pt x="8270" y="251"/>
                    <a:pt x="8211" y="391"/>
                    <a:pt x="8211" y="541"/>
                  </a:cubicBezTo>
                  <a:lnTo>
                    <a:pt x="8211" y="770"/>
                  </a:lnTo>
                  <a:lnTo>
                    <a:pt x="8211" y="3512"/>
                  </a:lnTo>
                  <a:lnTo>
                    <a:pt x="8211" y="3742"/>
                  </a:lnTo>
                  <a:cubicBezTo>
                    <a:pt x="8211" y="3890"/>
                    <a:pt x="8153" y="4023"/>
                    <a:pt x="8048" y="4126"/>
                  </a:cubicBezTo>
                  <a:cubicBezTo>
                    <a:pt x="7952" y="4224"/>
                    <a:pt x="7818" y="4283"/>
                    <a:pt x="7664" y="4283"/>
                  </a:cubicBezTo>
                  <a:cubicBezTo>
                    <a:pt x="7367" y="4283"/>
                    <a:pt x="7123" y="4037"/>
                    <a:pt x="7123" y="3742"/>
                  </a:cubicBezTo>
                  <a:lnTo>
                    <a:pt x="7123" y="770"/>
                  </a:lnTo>
                  <a:lnTo>
                    <a:pt x="7123" y="756"/>
                  </a:lnTo>
                  <a:lnTo>
                    <a:pt x="401" y="10277"/>
                  </a:lnTo>
                  <a:cubicBezTo>
                    <a:pt x="1" y="10848"/>
                    <a:pt x="328" y="11693"/>
                    <a:pt x="979" y="11737"/>
                  </a:cubicBezTo>
                  <a:lnTo>
                    <a:pt x="18933" y="11737"/>
                  </a:lnTo>
                  <a:cubicBezTo>
                    <a:pt x="19586" y="11693"/>
                    <a:pt x="19911" y="10839"/>
                    <a:pt x="19511" y="10277"/>
                  </a:cubicBezTo>
                  <a:lnTo>
                    <a:pt x="12561" y="496"/>
                  </a:lnTo>
                  <a:lnTo>
                    <a:pt x="12561" y="3393"/>
                  </a:lnTo>
                  <a:cubicBezTo>
                    <a:pt x="12561" y="3541"/>
                    <a:pt x="12494" y="3674"/>
                    <a:pt x="12398" y="3770"/>
                  </a:cubicBezTo>
                  <a:cubicBezTo>
                    <a:pt x="12302" y="3875"/>
                    <a:pt x="12161" y="3934"/>
                    <a:pt x="12014" y="3934"/>
                  </a:cubicBezTo>
                  <a:cubicBezTo>
                    <a:pt x="11717" y="3934"/>
                    <a:pt x="11471" y="3690"/>
                    <a:pt x="11471" y="3393"/>
                  </a:cubicBezTo>
                  <a:lnTo>
                    <a:pt x="11471" y="1592"/>
                  </a:lnTo>
                  <a:cubicBezTo>
                    <a:pt x="11471" y="1290"/>
                    <a:pt x="11227" y="1044"/>
                    <a:pt x="10923" y="1044"/>
                  </a:cubicBezTo>
                  <a:cubicBezTo>
                    <a:pt x="10776" y="1044"/>
                    <a:pt x="10642" y="1112"/>
                    <a:pt x="10537" y="1208"/>
                  </a:cubicBezTo>
                  <a:cubicBezTo>
                    <a:pt x="10441" y="1304"/>
                    <a:pt x="10383" y="1444"/>
                    <a:pt x="10383" y="1592"/>
                  </a:cubicBezTo>
                  <a:lnTo>
                    <a:pt x="10383" y="2734"/>
                  </a:lnTo>
                  <a:cubicBezTo>
                    <a:pt x="10383" y="2890"/>
                    <a:pt x="10324" y="3023"/>
                    <a:pt x="10219" y="3119"/>
                  </a:cubicBezTo>
                  <a:cubicBezTo>
                    <a:pt x="10123" y="3223"/>
                    <a:pt x="9990" y="3281"/>
                    <a:pt x="9835" y="3281"/>
                  </a:cubicBezTo>
                  <a:cubicBezTo>
                    <a:pt x="9538" y="3281"/>
                    <a:pt x="9293" y="3038"/>
                    <a:pt x="9293" y="2734"/>
                  </a:cubicBezTo>
                  <a:lnTo>
                    <a:pt x="9302" y="2734"/>
                  </a:lnTo>
                  <a:lnTo>
                    <a:pt x="9302" y="541"/>
                  </a:lnTo>
                  <a:cubicBezTo>
                    <a:pt x="9302" y="244"/>
                    <a:pt x="9056" y="0"/>
                    <a:pt x="875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6" name="Google Shape;5236;p53">
              <a:extLst>
                <a:ext uri="{FF2B5EF4-FFF2-40B4-BE49-F238E27FC236}">
                  <a16:creationId xmlns:a16="http://schemas.microsoft.com/office/drawing/2014/main" id="{B084D909-3A9C-301E-2463-192A8A130E46}"/>
                </a:ext>
              </a:extLst>
            </p:cNvPr>
            <p:cNvSpPr/>
            <p:nvPr/>
          </p:nvSpPr>
          <p:spPr>
            <a:xfrm>
              <a:off x="7593425" y="1342600"/>
              <a:ext cx="135975" cy="151375"/>
            </a:xfrm>
            <a:custGeom>
              <a:avLst/>
              <a:gdLst/>
              <a:ahLst/>
              <a:cxnLst/>
              <a:rect l="l" t="t" r="r" b="b"/>
              <a:pathLst>
                <a:path w="5439" h="6055" extrusionOk="0">
                  <a:moveTo>
                    <a:pt x="2815" y="1"/>
                  </a:moveTo>
                  <a:cubicBezTo>
                    <a:pt x="2163" y="1"/>
                    <a:pt x="1547" y="334"/>
                    <a:pt x="1147" y="897"/>
                  </a:cubicBezTo>
                  <a:lnTo>
                    <a:pt x="0" y="2528"/>
                  </a:lnTo>
                  <a:lnTo>
                    <a:pt x="0" y="2542"/>
                  </a:lnTo>
                  <a:lnTo>
                    <a:pt x="0" y="5514"/>
                  </a:lnTo>
                  <a:cubicBezTo>
                    <a:pt x="0" y="5809"/>
                    <a:pt x="244" y="6055"/>
                    <a:pt x="541" y="6055"/>
                  </a:cubicBezTo>
                  <a:cubicBezTo>
                    <a:pt x="695" y="6055"/>
                    <a:pt x="829" y="5996"/>
                    <a:pt x="925" y="5898"/>
                  </a:cubicBezTo>
                  <a:cubicBezTo>
                    <a:pt x="1030" y="5795"/>
                    <a:pt x="1088" y="5662"/>
                    <a:pt x="1088" y="5514"/>
                  </a:cubicBezTo>
                  <a:lnTo>
                    <a:pt x="1088" y="5284"/>
                  </a:lnTo>
                  <a:lnTo>
                    <a:pt x="1088" y="2542"/>
                  </a:lnTo>
                  <a:lnTo>
                    <a:pt x="1088" y="2313"/>
                  </a:lnTo>
                  <a:cubicBezTo>
                    <a:pt x="1088" y="2163"/>
                    <a:pt x="1147" y="2023"/>
                    <a:pt x="1245" y="1927"/>
                  </a:cubicBezTo>
                  <a:cubicBezTo>
                    <a:pt x="1348" y="1831"/>
                    <a:pt x="1481" y="1772"/>
                    <a:pt x="1629" y="1772"/>
                  </a:cubicBezTo>
                  <a:cubicBezTo>
                    <a:pt x="1933" y="1772"/>
                    <a:pt x="2179" y="2016"/>
                    <a:pt x="2179" y="2313"/>
                  </a:cubicBezTo>
                  <a:lnTo>
                    <a:pt x="2179" y="4506"/>
                  </a:lnTo>
                  <a:lnTo>
                    <a:pt x="2170" y="4506"/>
                  </a:lnTo>
                  <a:cubicBezTo>
                    <a:pt x="2170" y="4810"/>
                    <a:pt x="2415" y="5053"/>
                    <a:pt x="2712" y="5053"/>
                  </a:cubicBezTo>
                  <a:cubicBezTo>
                    <a:pt x="2867" y="5053"/>
                    <a:pt x="3000" y="4995"/>
                    <a:pt x="3096" y="4891"/>
                  </a:cubicBezTo>
                  <a:cubicBezTo>
                    <a:pt x="3201" y="4795"/>
                    <a:pt x="3260" y="4662"/>
                    <a:pt x="3260" y="4506"/>
                  </a:cubicBezTo>
                  <a:lnTo>
                    <a:pt x="3260" y="3364"/>
                  </a:lnTo>
                  <a:cubicBezTo>
                    <a:pt x="3260" y="3216"/>
                    <a:pt x="3318" y="3076"/>
                    <a:pt x="3414" y="2980"/>
                  </a:cubicBezTo>
                  <a:cubicBezTo>
                    <a:pt x="3519" y="2884"/>
                    <a:pt x="3653" y="2816"/>
                    <a:pt x="3800" y="2816"/>
                  </a:cubicBezTo>
                  <a:cubicBezTo>
                    <a:pt x="4104" y="2816"/>
                    <a:pt x="4348" y="3062"/>
                    <a:pt x="4348" y="3364"/>
                  </a:cubicBezTo>
                  <a:lnTo>
                    <a:pt x="4348" y="5165"/>
                  </a:lnTo>
                  <a:cubicBezTo>
                    <a:pt x="4348" y="5462"/>
                    <a:pt x="4594" y="5706"/>
                    <a:pt x="4891" y="5706"/>
                  </a:cubicBezTo>
                  <a:cubicBezTo>
                    <a:pt x="5038" y="5706"/>
                    <a:pt x="5179" y="5647"/>
                    <a:pt x="5275" y="5542"/>
                  </a:cubicBezTo>
                  <a:cubicBezTo>
                    <a:pt x="5371" y="5446"/>
                    <a:pt x="5438" y="5313"/>
                    <a:pt x="5438" y="5165"/>
                  </a:cubicBezTo>
                  <a:lnTo>
                    <a:pt x="5438" y="2268"/>
                  </a:lnTo>
                  <a:lnTo>
                    <a:pt x="4437" y="867"/>
                  </a:lnTo>
                  <a:cubicBezTo>
                    <a:pt x="4053" y="326"/>
                    <a:pt x="3452" y="1"/>
                    <a:pt x="281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7" name="Google Shape;5237;p53">
              <a:extLst>
                <a:ext uri="{FF2B5EF4-FFF2-40B4-BE49-F238E27FC236}">
                  <a16:creationId xmlns:a16="http://schemas.microsoft.com/office/drawing/2014/main" id="{E3E14555-CCC1-0E57-B4D6-2C78C505C4B4}"/>
                </a:ext>
              </a:extLst>
            </p:cNvPr>
            <p:cNvSpPr/>
            <p:nvPr/>
          </p:nvSpPr>
          <p:spPr>
            <a:xfrm>
              <a:off x="7437400" y="1679925"/>
              <a:ext cx="3375" cy="425"/>
            </a:xfrm>
            <a:custGeom>
              <a:avLst/>
              <a:gdLst/>
              <a:ahLst/>
              <a:cxnLst/>
              <a:rect l="l" t="t" r="r" b="b"/>
              <a:pathLst>
                <a:path w="135" h="17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8"/>
                    <a:pt x="61" y="16"/>
                    <a:pt x="97" y="16"/>
                  </a:cubicBezTo>
                  <a:lnTo>
                    <a:pt x="134" y="16"/>
                  </a:lnTo>
                  <a:lnTo>
                    <a:pt x="97" y="16"/>
                  </a:lnTo>
                  <a:cubicBezTo>
                    <a:pt x="61" y="16"/>
                    <a:pt x="31" y="8"/>
                    <a:pt x="1" y="0"/>
                  </a:cubicBezTo>
                  <a:close/>
                </a:path>
              </a:pathLst>
            </a:custGeom>
            <a:solidFill>
              <a:srgbClr val="67717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8" name="Google Shape;5238;p53">
              <a:extLst>
                <a:ext uri="{FF2B5EF4-FFF2-40B4-BE49-F238E27FC236}">
                  <a16:creationId xmlns:a16="http://schemas.microsoft.com/office/drawing/2014/main" id="{C01FE8D9-6C75-3214-8985-DA9E19273855}"/>
                </a:ext>
              </a:extLst>
            </p:cNvPr>
            <p:cNvSpPr/>
            <p:nvPr/>
          </p:nvSpPr>
          <p:spPr>
            <a:xfrm>
              <a:off x="7420900" y="1576550"/>
              <a:ext cx="371275" cy="103800"/>
            </a:xfrm>
            <a:custGeom>
              <a:avLst/>
              <a:gdLst/>
              <a:ahLst/>
              <a:cxnLst/>
              <a:rect l="l" t="t" r="r" b="b"/>
              <a:pathLst>
                <a:path w="14851" h="4152" extrusionOk="0">
                  <a:moveTo>
                    <a:pt x="661" y="4135"/>
                  </a:moveTo>
                  <a:cubicBezTo>
                    <a:pt x="691" y="4143"/>
                    <a:pt x="721" y="4151"/>
                    <a:pt x="757" y="4151"/>
                  </a:cubicBezTo>
                  <a:lnTo>
                    <a:pt x="6101" y="4151"/>
                  </a:lnTo>
                  <a:cubicBezTo>
                    <a:pt x="6101" y="4151"/>
                    <a:pt x="6101" y="4143"/>
                    <a:pt x="6108" y="4135"/>
                  </a:cubicBezTo>
                  <a:close/>
                  <a:moveTo>
                    <a:pt x="2076" y="1"/>
                  </a:moveTo>
                  <a:lnTo>
                    <a:pt x="179" y="2691"/>
                  </a:lnTo>
                  <a:cubicBezTo>
                    <a:pt x="69" y="2846"/>
                    <a:pt x="10" y="3024"/>
                    <a:pt x="1" y="3202"/>
                  </a:cubicBezTo>
                  <a:cubicBezTo>
                    <a:pt x="862" y="2661"/>
                    <a:pt x="2121" y="2313"/>
                    <a:pt x="3522" y="2313"/>
                  </a:cubicBezTo>
                  <a:cubicBezTo>
                    <a:pt x="4811" y="2313"/>
                    <a:pt x="5982" y="2602"/>
                    <a:pt x="6826" y="3068"/>
                  </a:cubicBezTo>
                  <a:cubicBezTo>
                    <a:pt x="7664" y="2231"/>
                    <a:pt x="8982" y="1683"/>
                    <a:pt x="10472" y="1683"/>
                  </a:cubicBezTo>
                  <a:cubicBezTo>
                    <a:pt x="12524" y="1683"/>
                    <a:pt x="14265" y="2720"/>
                    <a:pt x="14843" y="4151"/>
                  </a:cubicBezTo>
                  <a:lnTo>
                    <a:pt x="14850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9" name="Google Shape;5239;p53">
              <a:extLst>
                <a:ext uri="{FF2B5EF4-FFF2-40B4-BE49-F238E27FC236}">
                  <a16:creationId xmlns:a16="http://schemas.microsoft.com/office/drawing/2014/main" id="{7FDD085F-0769-8841-E543-9743E0E4DDAA}"/>
                </a:ext>
              </a:extLst>
            </p:cNvPr>
            <p:cNvSpPr/>
            <p:nvPr/>
          </p:nvSpPr>
          <p:spPr>
            <a:xfrm>
              <a:off x="7697125" y="1146225"/>
              <a:ext cx="96725" cy="77300"/>
            </a:xfrm>
            <a:custGeom>
              <a:avLst/>
              <a:gdLst/>
              <a:ahLst/>
              <a:cxnLst/>
              <a:rect l="l" t="t" r="r" b="b"/>
              <a:pathLst>
                <a:path w="3869" h="3092" extrusionOk="0">
                  <a:moveTo>
                    <a:pt x="3647" y="1"/>
                  </a:moveTo>
                  <a:cubicBezTo>
                    <a:pt x="2706" y="1"/>
                    <a:pt x="1898" y="579"/>
                    <a:pt x="1557" y="1393"/>
                  </a:cubicBezTo>
                  <a:cubicBezTo>
                    <a:pt x="1505" y="1386"/>
                    <a:pt x="1445" y="1386"/>
                    <a:pt x="1393" y="1386"/>
                  </a:cubicBezTo>
                  <a:cubicBezTo>
                    <a:pt x="623" y="1386"/>
                    <a:pt x="1" y="2009"/>
                    <a:pt x="1" y="2772"/>
                  </a:cubicBezTo>
                  <a:cubicBezTo>
                    <a:pt x="1" y="2884"/>
                    <a:pt x="15" y="2987"/>
                    <a:pt x="38" y="3092"/>
                  </a:cubicBezTo>
                  <a:lnTo>
                    <a:pt x="3869" y="3092"/>
                  </a:lnTo>
                  <a:lnTo>
                    <a:pt x="3869" y="2217"/>
                  </a:lnTo>
                  <a:lnTo>
                    <a:pt x="3869" y="8"/>
                  </a:lnTo>
                  <a:cubicBezTo>
                    <a:pt x="3794" y="1"/>
                    <a:pt x="3721" y="1"/>
                    <a:pt x="3647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0" name="Google Shape;5240;p53">
              <a:extLst>
                <a:ext uri="{FF2B5EF4-FFF2-40B4-BE49-F238E27FC236}">
                  <a16:creationId xmlns:a16="http://schemas.microsoft.com/office/drawing/2014/main" id="{F8A794A1-5DE7-7E5E-3470-5B602895BA9E}"/>
                </a:ext>
              </a:extLst>
            </p:cNvPr>
            <p:cNvSpPr/>
            <p:nvPr/>
          </p:nvSpPr>
          <p:spPr>
            <a:xfrm>
              <a:off x="7397400" y="1634350"/>
              <a:ext cx="223250" cy="45600"/>
            </a:xfrm>
            <a:custGeom>
              <a:avLst/>
              <a:gdLst/>
              <a:ahLst/>
              <a:cxnLst/>
              <a:rect l="l" t="t" r="r" b="b"/>
              <a:pathLst>
                <a:path w="8930" h="1824" extrusionOk="0">
                  <a:moveTo>
                    <a:pt x="4462" y="1"/>
                  </a:moveTo>
                  <a:cubicBezTo>
                    <a:pt x="2364" y="1"/>
                    <a:pt x="585" y="772"/>
                    <a:pt x="0" y="1823"/>
                  </a:cubicBezTo>
                  <a:lnTo>
                    <a:pt x="8929" y="1823"/>
                  </a:lnTo>
                  <a:cubicBezTo>
                    <a:pt x="8344" y="772"/>
                    <a:pt x="6566" y="1"/>
                    <a:pt x="4462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1" name="Google Shape;5241;p53">
              <a:extLst>
                <a:ext uri="{FF2B5EF4-FFF2-40B4-BE49-F238E27FC236}">
                  <a16:creationId xmlns:a16="http://schemas.microsoft.com/office/drawing/2014/main" id="{4F4B2A5F-6A09-9CDA-6921-5483D8D76749}"/>
                </a:ext>
              </a:extLst>
            </p:cNvPr>
            <p:cNvSpPr/>
            <p:nvPr/>
          </p:nvSpPr>
          <p:spPr>
            <a:xfrm>
              <a:off x="7573175" y="1618625"/>
              <a:ext cx="218825" cy="62075"/>
            </a:xfrm>
            <a:custGeom>
              <a:avLst/>
              <a:gdLst/>
              <a:ahLst/>
              <a:cxnLst/>
              <a:rect l="l" t="t" r="r" b="b"/>
              <a:pathLst>
                <a:path w="8753" h="2483" extrusionOk="0">
                  <a:moveTo>
                    <a:pt x="4381" y="0"/>
                  </a:moveTo>
                  <a:cubicBezTo>
                    <a:pt x="2322" y="0"/>
                    <a:pt x="572" y="1046"/>
                    <a:pt x="1" y="2483"/>
                  </a:cubicBezTo>
                  <a:lnTo>
                    <a:pt x="8752" y="2483"/>
                  </a:lnTo>
                  <a:cubicBezTo>
                    <a:pt x="8181" y="1046"/>
                    <a:pt x="6440" y="0"/>
                    <a:pt x="438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2" name="Google Shape;5242;p53">
              <a:extLst>
                <a:ext uri="{FF2B5EF4-FFF2-40B4-BE49-F238E27FC236}">
                  <a16:creationId xmlns:a16="http://schemas.microsoft.com/office/drawing/2014/main" id="{3EB3C73F-0989-E490-9999-F30A7A6FF2B6}"/>
                </a:ext>
              </a:extLst>
            </p:cNvPr>
            <p:cNvSpPr/>
            <p:nvPr/>
          </p:nvSpPr>
          <p:spPr>
            <a:xfrm>
              <a:off x="7615425" y="1633075"/>
              <a:ext cx="37450" cy="20775"/>
            </a:xfrm>
            <a:custGeom>
              <a:avLst/>
              <a:gdLst/>
              <a:ahLst/>
              <a:cxnLst/>
              <a:rect l="l" t="t" r="r" b="b"/>
              <a:pathLst>
                <a:path w="1498" h="831" extrusionOk="0">
                  <a:moveTo>
                    <a:pt x="978" y="0"/>
                  </a:moveTo>
                  <a:cubicBezTo>
                    <a:pt x="882" y="0"/>
                    <a:pt x="772" y="14"/>
                    <a:pt x="660" y="52"/>
                  </a:cubicBezTo>
                  <a:cubicBezTo>
                    <a:pt x="246" y="171"/>
                    <a:pt x="0" y="475"/>
                    <a:pt x="89" y="660"/>
                  </a:cubicBezTo>
                  <a:cubicBezTo>
                    <a:pt x="143" y="779"/>
                    <a:pt x="290" y="831"/>
                    <a:pt x="475" y="831"/>
                  </a:cubicBezTo>
                  <a:cubicBezTo>
                    <a:pt x="594" y="831"/>
                    <a:pt x="735" y="807"/>
                    <a:pt x="868" y="770"/>
                  </a:cubicBezTo>
                  <a:cubicBezTo>
                    <a:pt x="1224" y="667"/>
                    <a:pt x="1498" y="459"/>
                    <a:pt x="1467" y="260"/>
                  </a:cubicBezTo>
                  <a:cubicBezTo>
                    <a:pt x="1446" y="112"/>
                    <a:pt x="1245" y="0"/>
                    <a:pt x="978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3" name="Google Shape;5243;p53">
              <a:extLst>
                <a:ext uri="{FF2B5EF4-FFF2-40B4-BE49-F238E27FC236}">
                  <a16:creationId xmlns:a16="http://schemas.microsoft.com/office/drawing/2014/main" id="{1FA8B4D1-FDBF-4BCB-EC65-CE36CA29589B}"/>
                </a:ext>
              </a:extLst>
            </p:cNvPr>
            <p:cNvSpPr/>
            <p:nvPr/>
          </p:nvSpPr>
          <p:spPr>
            <a:xfrm>
              <a:off x="7658600" y="1636225"/>
              <a:ext cx="19500" cy="10025"/>
            </a:xfrm>
            <a:custGeom>
              <a:avLst/>
              <a:gdLst/>
              <a:ahLst/>
              <a:cxnLst/>
              <a:rect l="l" t="t" r="r" b="b"/>
              <a:pathLst>
                <a:path w="780" h="401" extrusionOk="0">
                  <a:moveTo>
                    <a:pt x="393" y="0"/>
                  </a:moveTo>
                  <a:cubicBezTo>
                    <a:pt x="171" y="0"/>
                    <a:pt x="0" y="103"/>
                    <a:pt x="16" y="215"/>
                  </a:cubicBezTo>
                  <a:cubicBezTo>
                    <a:pt x="23" y="326"/>
                    <a:pt x="185" y="400"/>
                    <a:pt x="386" y="400"/>
                  </a:cubicBezTo>
                  <a:lnTo>
                    <a:pt x="393" y="400"/>
                  </a:lnTo>
                  <a:cubicBezTo>
                    <a:pt x="594" y="400"/>
                    <a:pt x="763" y="319"/>
                    <a:pt x="772" y="215"/>
                  </a:cubicBezTo>
                  <a:cubicBezTo>
                    <a:pt x="779" y="103"/>
                    <a:pt x="608" y="0"/>
                    <a:pt x="393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4" name="Google Shape;5244;p53">
              <a:extLst>
                <a:ext uri="{FF2B5EF4-FFF2-40B4-BE49-F238E27FC236}">
                  <a16:creationId xmlns:a16="http://schemas.microsoft.com/office/drawing/2014/main" id="{89B8CD09-8FA9-2A7B-3150-410402FC0631}"/>
                </a:ext>
              </a:extLst>
            </p:cNvPr>
            <p:cNvSpPr/>
            <p:nvPr/>
          </p:nvSpPr>
          <p:spPr>
            <a:xfrm>
              <a:off x="7362400" y="1596950"/>
              <a:ext cx="43375" cy="54675"/>
            </a:xfrm>
            <a:custGeom>
              <a:avLst/>
              <a:gdLst/>
              <a:ahLst/>
              <a:cxnLst/>
              <a:rect l="l" t="t" r="r" b="b"/>
              <a:pathLst>
                <a:path w="1735" h="2187" extrusionOk="0">
                  <a:moveTo>
                    <a:pt x="867" y="1"/>
                  </a:moveTo>
                  <a:cubicBezTo>
                    <a:pt x="490" y="1"/>
                    <a:pt x="178" y="303"/>
                    <a:pt x="178" y="682"/>
                  </a:cubicBezTo>
                  <a:cubicBezTo>
                    <a:pt x="178" y="712"/>
                    <a:pt x="186" y="741"/>
                    <a:pt x="193" y="778"/>
                  </a:cubicBezTo>
                  <a:cubicBezTo>
                    <a:pt x="66" y="926"/>
                    <a:pt x="1" y="1112"/>
                    <a:pt x="1" y="1319"/>
                  </a:cubicBezTo>
                  <a:cubicBezTo>
                    <a:pt x="1" y="1801"/>
                    <a:pt x="385" y="2187"/>
                    <a:pt x="867" y="2187"/>
                  </a:cubicBezTo>
                  <a:cubicBezTo>
                    <a:pt x="1342" y="2187"/>
                    <a:pt x="1735" y="1801"/>
                    <a:pt x="1735" y="1319"/>
                  </a:cubicBezTo>
                  <a:cubicBezTo>
                    <a:pt x="1735" y="1112"/>
                    <a:pt x="1660" y="926"/>
                    <a:pt x="1541" y="778"/>
                  </a:cubicBezTo>
                  <a:cubicBezTo>
                    <a:pt x="1541" y="741"/>
                    <a:pt x="1550" y="712"/>
                    <a:pt x="1550" y="682"/>
                  </a:cubicBezTo>
                  <a:cubicBezTo>
                    <a:pt x="1550" y="303"/>
                    <a:pt x="1245" y="1"/>
                    <a:pt x="86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5" name="Google Shape;5245;p53">
              <a:extLst>
                <a:ext uri="{FF2B5EF4-FFF2-40B4-BE49-F238E27FC236}">
                  <a16:creationId xmlns:a16="http://schemas.microsoft.com/office/drawing/2014/main" id="{1E372537-F8C0-3349-C9CE-DBA29293AC82}"/>
                </a:ext>
              </a:extLst>
            </p:cNvPr>
            <p:cNvSpPr/>
            <p:nvPr/>
          </p:nvSpPr>
          <p:spPr>
            <a:xfrm>
              <a:off x="7383875" y="1622125"/>
              <a:ext cx="1900" cy="57100"/>
            </a:xfrm>
            <a:custGeom>
              <a:avLst/>
              <a:gdLst/>
              <a:ahLst/>
              <a:cxnLst/>
              <a:rect l="l" t="t" r="r" b="b"/>
              <a:pathLst>
                <a:path w="76" h="2284" extrusionOk="0">
                  <a:moveTo>
                    <a:pt x="38" y="1"/>
                  </a:moveTo>
                  <a:lnTo>
                    <a:pt x="1" y="2247"/>
                  </a:lnTo>
                  <a:cubicBezTo>
                    <a:pt x="1" y="2268"/>
                    <a:pt x="15" y="2284"/>
                    <a:pt x="38" y="2284"/>
                  </a:cubicBezTo>
                  <a:cubicBezTo>
                    <a:pt x="59" y="2284"/>
                    <a:pt x="75" y="2268"/>
                    <a:pt x="75" y="2247"/>
                  </a:cubicBezTo>
                  <a:cubicBezTo>
                    <a:pt x="75" y="2247"/>
                    <a:pt x="59" y="1"/>
                    <a:pt x="38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6" name="Google Shape;5246;p53">
              <a:extLst>
                <a:ext uri="{FF2B5EF4-FFF2-40B4-BE49-F238E27FC236}">
                  <a16:creationId xmlns:a16="http://schemas.microsoft.com/office/drawing/2014/main" id="{9DC86F30-6BF2-8511-130C-2EA883DE3ECB}"/>
                </a:ext>
              </a:extLst>
            </p:cNvPr>
            <p:cNvSpPr/>
            <p:nvPr/>
          </p:nvSpPr>
          <p:spPr>
            <a:xfrm>
              <a:off x="7373875" y="1635650"/>
              <a:ext cx="10950" cy="8900"/>
            </a:xfrm>
            <a:custGeom>
              <a:avLst/>
              <a:gdLst/>
              <a:ahLst/>
              <a:cxnLst/>
              <a:rect l="l" t="t" r="r" b="b"/>
              <a:pathLst>
                <a:path w="438" h="356" extrusionOk="0">
                  <a:moveTo>
                    <a:pt x="0" y="0"/>
                  </a:moveTo>
                  <a:cubicBezTo>
                    <a:pt x="205" y="342"/>
                    <a:pt x="404" y="356"/>
                    <a:pt x="434" y="356"/>
                  </a:cubicBezTo>
                  <a:cubicBezTo>
                    <a:pt x="437" y="356"/>
                    <a:pt x="438" y="356"/>
                    <a:pt x="438" y="356"/>
                  </a:cubicBezTo>
                  <a:lnTo>
                    <a:pt x="438" y="311"/>
                  </a:lnTo>
                  <a:cubicBezTo>
                    <a:pt x="438" y="311"/>
                    <a:pt x="434" y="314"/>
                    <a:pt x="422" y="314"/>
                  </a:cubicBezTo>
                  <a:cubicBezTo>
                    <a:pt x="396" y="314"/>
                    <a:pt x="334" y="300"/>
                    <a:pt x="201" y="208"/>
                  </a:cubicBezTo>
                  <a:cubicBezTo>
                    <a:pt x="82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7" name="Google Shape;5247;p53">
              <a:extLst>
                <a:ext uri="{FF2B5EF4-FFF2-40B4-BE49-F238E27FC236}">
                  <a16:creationId xmlns:a16="http://schemas.microsoft.com/office/drawing/2014/main" id="{C27EE1DC-C406-DF5B-72A9-41C315F97DBA}"/>
                </a:ext>
              </a:extLst>
            </p:cNvPr>
            <p:cNvSpPr/>
            <p:nvPr/>
          </p:nvSpPr>
          <p:spPr>
            <a:xfrm>
              <a:off x="7384800" y="1633250"/>
              <a:ext cx="9450" cy="7625"/>
            </a:xfrm>
            <a:custGeom>
              <a:avLst/>
              <a:gdLst/>
              <a:ahLst/>
              <a:cxnLst/>
              <a:rect l="l" t="t" r="r" b="b"/>
              <a:pathLst>
                <a:path w="378" h="305" extrusionOk="0">
                  <a:moveTo>
                    <a:pt x="378" y="0"/>
                  </a:moveTo>
                  <a:cubicBezTo>
                    <a:pt x="378" y="0"/>
                    <a:pt x="305" y="105"/>
                    <a:pt x="209" y="171"/>
                  </a:cubicBezTo>
                  <a:cubicBezTo>
                    <a:pt x="96" y="250"/>
                    <a:pt x="41" y="263"/>
                    <a:pt x="17" y="263"/>
                  </a:cubicBezTo>
                  <a:cubicBezTo>
                    <a:pt x="5" y="263"/>
                    <a:pt x="1" y="260"/>
                    <a:pt x="1" y="260"/>
                  </a:cubicBezTo>
                  <a:lnTo>
                    <a:pt x="1" y="260"/>
                  </a:lnTo>
                  <a:lnTo>
                    <a:pt x="8" y="304"/>
                  </a:lnTo>
                  <a:cubicBezTo>
                    <a:pt x="8" y="304"/>
                    <a:pt x="8" y="304"/>
                    <a:pt x="9" y="304"/>
                  </a:cubicBezTo>
                  <a:cubicBezTo>
                    <a:pt x="24" y="304"/>
                    <a:pt x="194" y="298"/>
                    <a:pt x="378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8" name="Google Shape;5248;p53">
              <a:extLst>
                <a:ext uri="{FF2B5EF4-FFF2-40B4-BE49-F238E27FC236}">
                  <a16:creationId xmlns:a16="http://schemas.microsoft.com/office/drawing/2014/main" id="{59008131-C5BF-DBBC-D99E-A020E178B8E5}"/>
                </a:ext>
              </a:extLst>
            </p:cNvPr>
            <p:cNvSpPr/>
            <p:nvPr/>
          </p:nvSpPr>
          <p:spPr>
            <a:xfrm>
              <a:off x="7377200" y="1627850"/>
              <a:ext cx="7625" cy="6175"/>
            </a:xfrm>
            <a:custGeom>
              <a:avLst/>
              <a:gdLst/>
              <a:ahLst/>
              <a:cxnLst/>
              <a:rect l="l" t="t" r="r" b="b"/>
              <a:pathLst>
                <a:path w="305" h="247" extrusionOk="0">
                  <a:moveTo>
                    <a:pt x="1" y="1"/>
                  </a:moveTo>
                  <a:cubicBezTo>
                    <a:pt x="149" y="240"/>
                    <a:pt x="289" y="246"/>
                    <a:pt x="304" y="246"/>
                  </a:cubicBezTo>
                  <a:cubicBezTo>
                    <a:pt x="304" y="246"/>
                    <a:pt x="305" y="246"/>
                    <a:pt x="305" y="246"/>
                  </a:cubicBezTo>
                  <a:lnTo>
                    <a:pt x="305" y="209"/>
                  </a:lnTo>
                  <a:cubicBezTo>
                    <a:pt x="305" y="209"/>
                    <a:pt x="302" y="211"/>
                    <a:pt x="293" y="211"/>
                  </a:cubicBezTo>
                  <a:cubicBezTo>
                    <a:pt x="275" y="211"/>
                    <a:pt x="232" y="201"/>
                    <a:pt x="141" y="134"/>
                  </a:cubicBezTo>
                  <a:cubicBezTo>
                    <a:pt x="60" y="8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9" name="Google Shape;5249;p53">
              <a:extLst>
                <a:ext uri="{FF2B5EF4-FFF2-40B4-BE49-F238E27FC236}">
                  <a16:creationId xmlns:a16="http://schemas.microsoft.com/office/drawing/2014/main" id="{7F243DD8-77BB-33C2-7B84-D6D97AB81790}"/>
                </a:ext>
              </a:extLst>
            </p:cNvPr>
            <p:cNvSpPr/>
            <p:nvPr/>
          </p:nvSpPr>
          <p:spPr>
            <a:xfrm>
              <a:off x="7673450" y="1502475"/>
              <a:ext cx="158950" cy="154700"/>
            </a:xfrm>
            <a:custGeom>
              <a:avLst/>
              <a:gdLst/>
              <a:ahLst/>
              <a:cxnLst/>
              <a:rect l="l" t="t" r="r" b="b"/>
              <a:pathLst>
                <a:path w="6358" h="6188" extrusionOk="0">
                  <a:moveTo>
                    <a:pt x="3090" y="1"/>
                  </a:moveTo>
                  <a:cubicBezTo>
                    <a:pt x="2978" y="1"/>
                    <a:pt x="2867" y="30"/>
                    <a:pt x="2771" y="90"/>
                  </a:cubicBezTo>
                  <a:cubicBezTo>
                    <a:pt x="2067" y="534"/>
                    <a:pt x="0" y="6188"/>
                    <a:pt x="3089" y="6188"/>
                  </a:cubicBezTo>
                  <a:cubicBezTo>
                    <a:pt x="6358" y="6188"/>
                    <a:pt x="4112" y="534"/>
                    <a:pt x="3415" y="90"/>
                  </a:cubicBezTo>
                  <a:cubicBezTo>
                    <a:pt x="3315" y="30"/>
                    <a:pt x="3202" y="1"/>
                    <a:pt x="3090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0" name="Google Shape;5250;p53">
              <a:extLst>
                <a:ext uri="{FF2B5EF4-FFF2-40B4-BE49-F238E27FC236}">
                  <a16:creationId xmlns:a16="http://schemas.microsoft.com/office/drawing/2014/main" id="{40567DBE-5096-5CE0-F0C3-1943490CF4B4}"/>
                </a:ext>
              </a:extLst>
            </p:cNvPr>
            <p:cNvSpPr/>
            <p:nvPr/>
          </p:nvSpPr>
          <p:spPr>
            <a:xfrm>
              <a:off x="7673450" y="1504650"/>
              <a:ext cx="77250" cy="152525"/>
            </a:xfrm>
            <a:custGeom>
              <a:avLst/>
              <a:gdLst/>
              <a:ahLst/>
              <a:cxnLst/>
              <a:rect l="l" t="t" r="r" b="b"/>
              <a:pathLst>
                <a:path w="3090" h="6101" extrusionOk="0">
                  <a:moveTo>
                    <a:pt x="2776" y="1"/>
                  </a:moveTo>
                  <a:cubicBezTo>
                    <a:pt x="2775" y="1"/>
                    <a:pt x="2773" y="2"/>
                    <a:pt x="2771" y="3"/>
                  </a:cubicBezTo>
                  <a:cubicBezTo>
                    <a:pt x="2067" y="447"/>
                    <a:pt x="0" y="6101"/>
                    <a:pt x="3089" y="6101"/>
                  </a:cubicBezTo>
                  <a:cubicBezTo>
                    <a:pt x="3089" y="6101"/>
                    <a:pt x="2312" y="6033"/>
                    <a:pt x="2268" y="3826"/>
                  </a:cubicBezTo>
                  <a:cubicBezTo>
                    <a:pt x="2215" y="1638"/>
                    <a:pt x="2848" y="1"/>
                    <a:pt x="2776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1" name="Google Shape;5251;p53">
              <a:extLst>
                <a:ext uri="{FF2B5EF4-FFF2-40B4-BE49-F238E27FC236}">
                  <a16:creationId xmlns:a16="http://schemas.microsoft.com/office/drawing/2014/main" id="{840B5174-8B97-3BF7-DF96-8BE2240A8652}"/>
                </a:ext>
              </a:extLst>
            </p:cNvPr>
            <p:cNvSpPr/>
            <p:nvPr/>
          </p:nvSpPr>
          <p:spPr>
            <a:xfrm>
              <a:off x="7748275" y="1572725"/>
              <a:ext cx="11125" cy="107050"/>
            </a:xfrm>
            <a:custGeom>
              <a:avLst/>
              <a:gdLst/>
              <a:ahLst/>
              <a:cxnLst/>
              <a:rect l="l" t="t" r="r" b="b"/>
              <a:pathLst>
                <a:path w="445" h="4282" extrusionOk="0">
                  <a:moveTo>
                    <a:pt x="224" y="1"/>
                  </a:moveTo>
                  <a:cubicBezTo>
                    <a:pt x="223" y="1"/>
                    <a:pt x="222" y="6"/>
                    <a:pt x="222" y="20"/>
                  </a:cubicBezTo>
                  <a:lnTo>
                    <a:pt x="0" y="4281"/>
                  </a:lnTo>
                  <a:lnTo>
                    <a:pt x="445" y="4281"/>
                  </a:lnTo>
                  <a:cubicBezTo>
                    <a:pt x="430" y="2458"/>
                    <a:pt x="267" y="20"/>
                    <a:pt x="229" y="20"/>
                  </a:cubicBezTo>
                  <a:cubicBezTo>
                    <a:pt x="229" y="20"/>
                    <a:pt x="226" y="1"/>
                    <a:pt x="22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2" name="Google Shape;5252;p53">
              <a:extLst>
                <a:ext uri="{FF2B5EF4-FFF2-40B4-BE49-F238E27FC236}">
                  <a16:creationId xmlns:a16="http://schemas.microsoft.com/office/drawing/2014/main" id="{9D6BE025-D41C-71DA-32A0-9DE3C877185B}"/>
                </a:ext>
              </a:extLst>
            </p:cNvPr>
            <p:cNvSpPr/>
            <p:nvPr/>
          </p:nvSpPr>
          <p:spPr>
            <a:xfrm>
              <a:off x="7723625" y="1610650"/>
              <a:ext cx="30400" cy="24475"/>
            </a:xfrm>
            <a:custGeom>
              <a:avLst/>
              <a:gdLst/>
              <a:ahLst/>
              <a:cxnLst/>
              <a:rect l="l" t="t" r="r" b="b"/>
              <a:pathLst>
                <a:path w="1216" h="979" extrusionOk="0">
                  <a:moveTo>
                    <a:pt x="1" y="1"/>
                  </a:moveTo>
                  <a:cubicBezTo>
                    <a:pt x="595" y="952"/>
                    <a:pt x="1136" y="979"/>
                    <a:pt x="1196" y="979"/>
                  </a:cubicBezTo>
                  <a:cubicBezTo>
                    <a:pt x="1199" y="979"/>
                    <a:pt x="1201" y="979"/>
                    <a:pt x="1201" y="979"/>
                  </a:cubicBezTo>
                  <a:lnTo>
                    <a:pt x="1215" y="838"/>
                  </a:lnTo>
                  <a:lnTo>
                    <a:pt x="1215" y="838"/>
                  </a:lnTo>
                  <a:cubicBezTo>
                    <a:pt x="1215" y="838"/>
                    <a:pt x="1203" y="847"/>
                    <a:pt x="1168" y="847"/>
                  </a:cubicBezTo>
                  <a:cubicBezTo>
                    <a:pt x="1093" y="847"/>
                    <a:pt x="919" y="806"/>
                    <a:pt x="556" y="548"/>
                  </a:cubicBezTo>
                  <a:cubicBezTo>
                    <a:pt x="245" y="33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3" name="Google Shape;5253;p53">
              <a:extLst>
                <a:ext uri="{FF2B5EF4-FFF2-40B4-BE49-F238E27FC236}">
                  <a16:creationId xmlns:a16="http://schemas.microsoft.com/office/drawing/2014/main" id="{0C09285B-52F5-5D82-3D32-13D50F816F2D}"/>
                </a:ext>
              </a:extLst>
            </p:cNvPr>
            <p:cNvSpPr/>
            <p:nvPr/>
          </p:nvSpPr>
          <p:spPr>
            <a:xfrm>
              <a:off x="7754000" y="1603800"/>
              <a:ext cx="25600" cy="20750"/>
            </a:xfrm>
            <a:custGeom>
              <a:avLst/>
              <a:gdLst/>
              <a:ahLst/>
              <a:cxnLst/>
              <a:rect l="l" t="t" r="r" b="b"/>
              <a:pathLst>
                <a:path w="1024" h="830" extrusionOk="0">
                  <a:moveTo>
                    <a:pt x="1023" y="1"/>
                  </a:moveTo>
                  <a:lnTo>
                    <a:pt x="1023" y="1"/>
                  </a:lnTo>
                  <a:cubicBezTo>
                    <a:pt x="1023" y="1"/>
                    <a:pt x="824" y="282"/>
                    <a:pt x="557" y="467"/>
                  </a:cubicBezTo>
                  <a:cubicBezTo>
                    <a:pt x="255" y="685"/>
                    <a:pt x="108" y="721"/>
                    <a:pt x="44" y="721"/>
                  </a:cubicBezTo>
                  <a:cubicBezTo>
                    <a:pt x="12" y="721"/>
                    <a:pt x="0" y="712"/>
                    <a:pt x="0" y="712"/>
                  </a:cubicBezTo>
                  <a:lnTo>
                    <a:pt x="0" y="712"/>
                  </a:lnTo>
                  <a:lnTo>
                    <a:pt x="8" y="830"/>
                  </a:lnTo>
                  <a:cubicBezTo>
                    <a:pt x="8" y="830"/>
                    <a:pt x="10" y="830"/>
                    <a:pt x="14" y="830"/>
                  </a:cubicBezTo>
                  <a:cubicBezTo>
                    <a:pt x="72" y="830"/>
                    <a:pt x="531" y="803"/>
                    <a:pt x="1023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4" name="Google Shape;5254;p53">
              <a:extLst>
                <a:ext uri="{FF2B5EF4-FFF2-40B4-BE49-F238E27FC236}">
                  <a16:creationId xmlns:a16="http://schemas.microsoft.com/office/drawing/2014/main" id="{19B3F87C-4528-2238-C014-03AF8F3E7338}"/>
                </a:ext>
              </a:extLst>
            </p:cNvPr>
            <p:cNvSpPr/>
            <p:nvPr/>
          </p:nvSpPr>
          <p:spPr>
            <a:xfrm>
              <a:off x="7733225" y="1588950"/>
              <a:ext cx="20800" cy="16700"/>
            </a:xfrm>
            <a:custGeom>
              <a:avLst/>
              <a:gdLst/>
              <a:ahLst/>
              <a:cxnLst/>
              <a:rect l="l" t="t" r="r" b="b"/>
              <a:pathLst>
                <a:path w="832" h="668" extrusionOk="0">
                  <a:moveTo>
                    <a:pt x="1" y="1"/>
                  </a:moveTo>
                  <a:lnTo>
                    <a:pt x="1" y="1"/>
                  </a:lnTo>
                  <a:cubicBezTo>
                    <a:pt x="398" y="648"/>
                    <a:pt x="774" y="668"/>
                    <a:pt x="820" y="668"/>
                  </a:cubicBezTo>
                  <a:cubicBezTo>
                    <a:pt x="823" y="668"/>
                    <a:pt x="824" y="668"/>
                    <a:pt x="824" y="668"/>
                  </a:cubicBezTo>
                  <a:lnTo>
                    <a:pt x="831" y="572"/>
                  </a:lnTo>
                  <a:lnTo>
                    <a:pt x="831" y="572"/>
                  </a:lnTo>
                  <a:cubicBezTo>
                    <a:pt x="831" y="572"/>
                    <a:pt x="821" y="580"/>
                    <a:pt x="793" y="580"/>
                  </a:cubicBezTo>
                  <a:cubicBezTo>
                    <a:pt x="739" y="580"/>
                    <a:pt x="618" y="550"/>
                    <a:pt x="380" y="380"/>
                  </a:cubicBezTo>
                  <a:cubicBezTo>
                    <a:pt x="165" y="23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5" name="Google Shape;5255;p53">
              <a:extLst>
                <a:ext uri="{FF2B5EF4-FFF2-40B4-BE49-F238E27FC236}">
                  <a16:creationId xmlns:a16="http://schemas.microsoft.com/office/drawing/2014/main" id="{7A3B811C-E798-59F6-398F-55286289B421}"/>
                </a:ext>
              </a:extLst>
            </p:cNvPr>
            <p:cNvSpPr/>
            <p:nvPr/>
          </p:nvSpPr>
          <p:spPr>
            <a:xfrm>
              <a:off x="7517600" y="1556875"/>
              <a:ext cx="110650" cy="107700"/>
            </a:xfrm>
            <a:custGeom>
              <a:avLst/>
              <a:gdLst/>
              <a:ahLst/>
              <a:cxnLst/>
              <a:rect l="l" t="t" r="r" b="b"/>
              <a:pathLst>
                <a:path w="4426" h="4308" extrusionOk="0">
                  <a:moveTo>
                    <a:pt x="2151" y="1"/>
                  </a:moveTo>
                  <a:cubicBezTo>
                    <a:pt x="2073" y="1"/>
                    <a:pt x="1995" y="21"/>
                    <a:pt x="1929" y="62"/>
                  </a:cubicBezTo>
                  <a:cubicBezTo>
                    <a:pt x="1440" y="366"/>
                    <a:pt x="1" y="4307"/>
                    <a:pt x="2151" y="4307"/>
                  </a:cubicBezTo>
                  <a:cubicBezTo>
                    <a:pt x="4425" y="4307"/>
                    <a:pt x="2862" y="366"/>
                    <a:pt x="2373" y="62"/>
                  </a:cubicBezTo>
                  <a:cubicBezTo>
                    <a:pt x="2307" y="21"/>
                    <a:pt x="2229" y="1"/>
                    <a:pt x="2151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6" name="Google Shape;5256;p53">
              <a:extLst>
                <a:ext uri="{FF2B5EF4-FFF2-40B4-BE49-F238E27FC236}">
                  <a16:creationId xmlns:a16="http://schemas.microsoft.com/office/drawing/2014/main" id="{2C90AB35-CA48-098E-7DF7-F8FC4427A8E1}"/>
                </a:ext>
              </a:extLst>
            </p:cNvPr>
            <p:cNvSpPr/>
            <p:nvPr/>
          </p:nvSpPr>
          <p:spPr>
            <a:xfrm>
              <a:off x="7517600" y="1558375"/>
              <a:ext cx="53775" cy="106200"/>
            </a:xfrm>
            <a:custGeom>
              <a:avLst/>
              <a:gdLst/>
              <a:ahLst/>
              <a:cxnLst/>
              <a:rect l="l" t="t" r="r" b="b"/>
              <a:pathLst>
                <a:path w="2151" h="4248" extrusionOk="0">
                  <a:moveTo>
                    <a:pt x="1932" y="1"/>
                  </a:moveTo>
                  <a:cubicBezTo>
                    <a:pt x="1931" y="1"/>
                    <a:pt x="1930" y="1"/>
                    <a:pt x="1929" y="2"/>
                  </a:cubicBezTo>
                  <a:cubicBezTo>
                    <a:pt x="1440" y="306"/>
                    <a:pt x="1" y="4247"/>
                    <a:pt x="2151" y="4247"/>
                  </a:cubicBezTo>
                  <a:cubicBezTo>
                    <a:pt x="2151" y="4247"/>
                    <a:pt x="1610" y="4203"/>
                    <a:pt x="1580" y="2663"/>
                  </a:cubicBezTo>
                  <a:cubicBezTo>
                    <a:pt x="1543" y="1142"/>
                    <a:pt x="1985" y="1"/>
                    <a:pt x="1932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7" name="Google Shape;5257;p53">
              <a:extLst>
                <a:ext uri="{FF2B5EF4-FFF2-40B4-BE49-F238E27FC236}">
                  <a16:creationId xmlns:a16="http://schemas.microsoft.com/office/drawing/2014/main" id="{375DA673-A048-0793-3EFB-75CB28159C52}"/>
                </a:ext>
              </a:extLst>
            </p:cNvPr>
            <p:cNvSpPr/>
            <p:nvPr/>
          </p:nvSpPr>
          <p:spPr>
            <a:xfrm>
              <a:off x="7569675" y="1605800"/>
              <a:ext cx="7800" cy="74550"/>
            </a:xfrm>
            <a:custGeom>
              <a:avLst/>
              <a:gdLst/>
              <a:ahLst/>
              <a:cxnLst/>
              <a:rect l="l" t="t" r="r" b="b"/>
              <a:pathLst>
                <a:path w="312" h="2982" extrusionOk="0">
                  <a:moveTo>
                    <a:pt x="159" y="0"/>
                  </a:moveTo>
                  <a:cubicBezTo>
                    <a:pt x="158" y="0"/>
                    <a:pt x="157" y="4"/>
                    <a:pt x="157" y="17"/>
                  </a:cubicBezTo>
                  <a:lnTo>
                    <a:pt x="0" y="2981"/>
                  </a:lnTo>
                  <a:lnTo>
                    <a:pt x="312" y="2981"/>
                  </a:lnTo>
                  <a:cubicBezTo>
                    <a:pt x="304" y="1713"/>
                    <a:pt x="185" y="17"/>
                    <a:pt x="164" y="17"/>
                  </a:cubicBezTo>
                  <a:cubicBezTo>
                    <a:pt x="164" y="17"/>
                    <a:pt x="161" y="0"/>
                    <a:pt x="159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8" name="Google Shape;5258;p53">
              <a:extLst>
                <a:ext uri="{FF2B5EF4-FFF2-40B4-BE49-F238E27FC236}">
                  <a16:creationId xmlns:a16="http://schemas.microsoft.com/office/drawing/2014/main" id="{E7AD0653-9D40-35F2-0B08-423CCBE59CEE}"/>
                </a:ext>
              </a:extLst>
            </p:cNvPr>
            <p:cNvSpPr/>
            <p:nvPr/>
          </p:nvSpPr>
          <p:spPr>
            <a:xfrm>
              <a:off x="7552650" y="1632125"/>
              <a:ext cx="20950" cy="17100"/>
            </a:xfrm>
            <a:custGeom>
              <a:avLst/>
              <a:gdLst/>
              <a:ahLst/>
              <a:cxnLst/>
              <a:rect l="l" t="t" r="r" b="b"/>
              <a:pathLst>
                <a:path w="838" h="684" extrusionOk="0">
                  <a:moveTo>
                    <a:pt x="0" y="1"/>
                  </a:moveTo>
                  <a:lnTo>
                    <a:pt x="0" y="1"/>
                  </a:lnTo>
                  <a:cubicBezTo>
                    <a:pt x="406" y="665"/>
                    <a:pt x="785" y="684"/>
                    <a:pt x="827" y="684"/>
                  </a:cubicBezTo>
                  <a:cubicBezTo>
                    <a:pt x="829" y="684"/>
                    <a:pt x="831" y="684"/>
                    <a:pt x="831" y="684"/>
                  </a:cubicBezTo>
                  <a:lnTo>
                    <a:pt x="838" y="586"/>
                  </a:lnTo>
                  <a:lnTo>
                    <a:pt x="838" y="586"/>
                  </a:lnTo>
                  <a:cubicBezTo>
                    <a:pt x="838" y="586"/>
                    <a:pt x="830" y="592"/>
                    <a:pt x="806" y="592"/>
                  </a:cubicBezTo>
                  <a:cubicBezTo>
                    <a:pt x="757" y="592"/>
                    <a:pt x="639" y="564"/>
                    <a:pt x="386" y="387"/>
                  </a:cubicBezTo>
                  <a:cubicBezTo>
                    <a:pt x="164" y="23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9" name="Google Shape;5259;p53">
              <a:extLst>
                <a:ext uri="{FF2B5EF4-FFF2-40B4-BE49-F238E27FC236}">
                  <a16:creationId xmlns:a16="http://schemas.microsoft.com/office/drawing/2014/main" id="{E7C4E616-1650-DE4E-5ECD-33583190B019}"/>
                </a:ext>
              </a:extLst>
            </p:cNvPr>
            <p:cNvSpPr/>
            <p:nvPr/>
          </p:nvSpPr>
          <p:spPr>
            <a:xfrm>
              <a:off x="7573575" y="1627500"/>
              <a:ext cx="18000" cy="14475"/>
            </a:xfrm>
            <a:custGeom>
              <a:avLst/>
              <a:gdLst/>
              <a:ahLst/>
              <a:cxnLst/>
              <a:rect l="l" t="t" r="r" b="b"/>
              <a:pathLst>
                <a:path w="720" h="579" extrusionOk="0">
                  <a:moveTo>
                    <a:pt x="719" y="1"/>
                  </a:moveTo>
                  <a:cubicBezTo>
                    <a:pt x="719" y="1"/>
                    <a:pt x="579" y="193"/>
                    <a:pt x="394" y="326"/>
                  </a:cubicBezTo>
                  <a:cubicBezTo>
                    <a:pt x="184" y="472"/>
                    <a:pt x="81" y="497"/>
                    <a:pt x="34" y="497"/>
                  </a:cubicBezTo>
                  <a:cubicBezTo>
                    <a:pt x="10" y="497"/>
                    <a:pt x="1" y="490"/>
                    <a:pt x="1" y="490"/>
                  </a:cubicBezTo>
                  <a:lnTo>
                    <a:pt x="1" y="490"/>
                  </a:lnTo>
                  <a:lnTo>
                    <a:pt x="8" y="579"/>
                  </a:lnTo>
                  <a:cubicBezTo>
                    <a:pt x="8" y="579"/>
                    <a:pt x="9" y="579"/>
                    <a:pt x="10" y="579"/>
                  </a:cubicBezTo>
                  <a:cubicBezTo>
                    <a:pt x="39" y="579"/>
                    <a:pt x="366" y="566"/>
                    <a:pt x="71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0" name="Google Shape;5260;p53">
              <a:extLst>
                <a:ext uri="{FF2B5EF4-FFF2-40B4-BE49-F238E27FC236}">
                  <a16:creationId xmlns:a16="http://schemas.microsoft.com/office/drawing/2014/main" id="{DDEC12E4-3EBA-A264-E21A-E5C214789F15}"/>
                </a:ext>
              </a:extLst>
            </p:cNvPr>
            <p:cNvSpPr/>
            <p:nvPr/>
          </p:nvSpPr>
          <p:spPr>
            <a:xfrm>
              <a:off x="7559125" y="1617150"/>
              <a:ext cx="14475" cy="11675"/>
            </a:xfrm>
            <a:custGeom>
              <a:avLst/>
              <a:gdLst/>
              <a:ahLst/>
              <a:cxnLst/>
              <a:rect l="l" t="t" r="r" b="b"/>
              <a:pathLst>
                <a:path w="579" h="467" extrusionOk="0">
                  <a:moveTo>
                    <a:pt x="1" y="0"/>
                  </a:moveTo>
                  <a:lnTo>
                    <a:pt x="1" y="0"/>
                  </a:lnTo>
                  <a:cubicBezTo>
                    <a:pt x="296" y="460"/>
                    <a:pt x="563" y="466"/>
                    <a:pt x="578" y="466"/>
                  </a:cubicBezTo>
                  <a:cubicBezTo>
                    <a:pt x="579" y="466"/>
                    <a:pt x="579" y="466"/>
                    <a:pt x="579" y="466"/>
                  </a:cubicBezTo>
                  <a:lnTo>
                    <a:pt x="579" y="393"/>
                  </a:lnTo>
                  <a:cubicBezTo>
                    <a:pt x="579" y="393"/>
                    <a:pt x="571" y="400"/>
                    <a:pt x="550" y="400"/>
                  </a:cubicBezTo>
                  <a:cubicBezTo>
                    <a:pt x="511" y="400"/>
                    <a:pt x="429" y="379"/>
                    <a:pt x="268" y="260"/>
                  </a:cubicBezTo>
                  <a:cubicBezTo>
                    <a:pt x="118" y="15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1" name="Google Shape;5261;p53">
              <a:extLst>
                <a:ext uri="{FF2B5EF4-FFF2-40B4-BE49-F238E27FC236}">
                  <a16:creationId xmlns:a16="http://schemas.microsoft.com/office/drawing/2014/main" id="{5FDDD4E0-F1EA-A986-08D7-C6E62667D2C4}"/>
                </a:ext>
              </a:extLst>
            </p:cNvPr>
            <p:cNvSpPr/>
            <p:nvPr/>
          </p:nvSpPr>
          <p:spPr>
            <a:xfrm>
              <a:off x="7639875" y="1540475"/>
              <a:ext cx="120475" cy="117250"/>
            </a:xfrm>
            <a:custGeom>
              <a:avLst/>
              <a:gdLst/>
              <a:ahLst/>
              <a:cxnLst/>
              <a:rect l="l" t="t" r="r" b="b"/>
              <a:pathLst>
                <a:path w="4819" h="4690" extrusionOk="0">
                  <a:moveTo>
                    <a:pt x="2476" y="1"/>
                  </a:moveTo>
                  <a:cubicBezTo>
                    <a:pt x="2391" y="1"/>
                    <a:pt x="2306" y="25"/>
                    <a:pt x="2232" y="73"/>
                  </a:cubicBezTo>
                  <a:cubicBezTo>
                    <a:pt x="1699" y="407"/>
                    <a:pt x="0" y="4689"/>
                    <a:pt x="2476" y="4689"/>
                  </a:cubicBezTo>
                  <a:cubicBezTo>
                    <a:pt x="4818" y="4689"/>
                    <a:pt x="3255" y="407"/>
                    <a:pt x="2721" y="73"/>
                  </a:cubicBezTo>
                  <a:cubicBezTo>
                    <a:pt x="2647" y="25"/>
                    <a:pt x="2561" y="1"/>
                    <a:pt x="2476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2" name="Google Shape;5262;p53">
              <a:extLst>
                <a:ext uri="{FF2B5EF4-FFF2-40B4-BE49-F238E27FC236}">
                  <a16:creationId xmlns:a16="http://schemas.microsoft.com/office/drawing/2014/main" id="{616B8EF7-84B1-0312-BA2C-358603A65CA4}"/>
                </a:ext>
              </a:extLst>
            </p:cNvPr>
            <p:cNvSpPr/>
            <p:nvPr/>
          </p:nvSpPr>
          <p:spPr>
            <a:xfrm>
              <a:off x="7641750" y="1545575"/>
              <a:ext cx="56350" cy="111425"/>
            </a:xfrm>
            <a:custGeom>
              <a:avLst/>
              <a:gdLst/>
              <a:ahLst/>
              <a:cxnLst/>
              <a:rect l="l" t="t" r="r" b="b"/>
              <a:pathLst>
                <a:path w="2254" h="4457" extrusionOk="0">
                  <a:moveTo>
                    <a:pt x="2028" y="0"/>
                  </a:moveTo>
                  <a:cubicBezTo>
                    <a:pt x="2027" y="0"/>
                    <a:pt x="2025" y="1"/>
                    <a:pt x="2024" y="2"/>
                  </a:cubicBezTo>
                  <a:cubicBezTo>
                    <a:pt x="1505" y="322"/>
                    <a:pt x="0" y="4457"/>
                    <a:pt x="2253" y="4457"/>
                  </a:cubicBezTo>
                  <a:cubicBezTo>
                    <a:pt x="2253" y="4457"/>
                    <a:pt x="1690" y="4412"/>
                    <a:pt x="1652" y="2796"/>
                  </a:cubicBezTo>
                  <a:cubicBezTo>
                    <a:pt x="1616" y="1200"/>
                    <a:pt x="2077" y="0"/>
                    <a:pt x="202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3" name="Google Shape;5263;p53">
              <a:extLst>
                <a:ext uri="{FF2B5EF4-FFF2-40B4-BE49-F238E27FC236}">
                  <a16:creationId xmlns:a16="http://schemas.microsoft.com/office/drawing/2014/main" id="{B9AB9824-0AE2-DEE9-B034-37B4DA258585}"/>
                </a:ext>
              </a:extLst>
            </p:cNvPr>
            <p:cNvSpPr/>
            <p:nvPr/>
          </p:nvSpPr>
          <p:spPr>
            <a:xfrm>
              <a:off x="7696200" y="1601350"/>
              <a:ext cx="8175" cy="79525"/>
            </a:xfrm>
            <a:custGeom>
              <a:avLst/>
              <a:gdLst/>
              <a:ahLst/>
              <a:cxnLst/>
              <a:rect l="l" t="t" r="r" b="b"/>
              <a:pathLst>
                <a:path w="327" h="3181" extrusionOk="0">
                  <a:moveTo>
                    <a:pt x="166" y="0"/>
                  </a:moveTo>
                  <a:cubicBezTo>
                    <a:pt x="165" y="0"/>
                    <a:pt x="164" y="5"/>
                    <a:pt x="164" y="17"/>
                  </a:cubicBezTo>
                  <a:lnTo>
                    <a:pt x="1" y="3181"/>
                  </a:lnTo>
                  <a:cubicBezTo>
                    <a:pt x="13" y="3178"/>
                    <a:pt x="49" y="3178"/>
                    <a:pt x="94" y="3178"/>
                  </a:cubicBezTo>
                  <a:cubicBezTo>
                    <a:pt x="182" y="3178"/>
                    <a:pt x="302" y="3181"/>
                    <a:pt x="326" y="3181"/>
                  </a:cubicBezTo>
                  <a:cubicBezTo>
                    <a:pt x="319" y="1826"/>
                    <a:pt x="193" y="17"/>
                    <a:pt x="171" y="17"/>
                  </a:cubicBezTo>
                  <a:cubicBezTo>
                    <a:pt x="171" y="17"/>
                    <a:pt x="168" y="0"/>
                    <a:pt x="166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4" name="Google Shape;5264;p53">
              <a:extLst>
                <a:ext uri="{FF2B5EF4-FFF2-40B4-BE49-F238E27FC236}">
                  <a16:creationId xmlns:a16="http://schemas.microsoft.com/office/drawing/2014/main" id="{DB137192-9891-2ED4-07F2-2AD08798F989}"/>
                </a:ext>
              </a:extLst>
            </p:cNvPr>
            <p:cNvSpPr/>
            <p:nvPr/>
          </p:nvSpPr>
          <p:spPr>
            <a:xfrm>
              <a:off x="7677875" y="1629375"/>
              <a:ext cx="22450" cy="18175"/>
            </a:xfrm>
            <a:custGeom>
              <a:avLst/>
              <a:gdLst/>
              <a:ahLst/>
              <a:cxnLst/>
              <a:rect l="l" t="t" r="r" b="b"/>
              <a:pathLst>
                <a:path w="898" h="727" extrusionOk="0">
                  <a:moveTo>
                    <a:pt x="1" y="0"/>
                  </a:moveTo>
                  <a:lnTo>
                    <a:pt x="1" y="0"/>
                  </a:lnTo>
                  <a:cubicBezTo>
                    <a:pt x="433" y="706"/>
                    <a:pt x="840" y="726"/>
                    <a:pt x="886" y="726"/>
                  </a:cubicBezTo>
                  <a:cubicBezTo>
                    <a:pt x="889" y="726"/>
                    <a:pt x="890" y="726"/>
                    <a:pt x="890" y="726"/>
                  </a:cubicBezTo>
                  <a:lnTo>
                    <a:pt x="897" y="623"/>
                  </a:lnTo>
                  <a:lnTo>
                    <a:pt x="897" y="623"/>
                  </a:lnTo>
                  <a:cubicBezTo>
                    <a:pt x="897" y="623"/>
                    <a:pt x="888" y="630"/>
                    <a:pt x="862" y="630"/>
                  </a:cubicBezTo>
                  <a:cubicBezTo>
                    <a:pt x="807" y="630"/>
                    <a:pt x="678" y="600"/>
                    <a:pt x="408" y="415"/>
                  </a:cubicBezTo>
                  <a:cubicBezTo>
                    <a:pt x="179" y="25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5" name="Google Shape;5265;p53">
              <a:extLst>
                <a:ext uri="{FF2B5EF4-FFF2-40B4-BE49-F238E27FC236}">
                  <a16:creationId xmlns:a16="http://schemas.microsoft.com/office/drawing/2014/main" id="{79C0F412-ED75-CD53-3661-EC25A26FDFBE}"/>
                </a:ext>
              </a:extLst>
            </p:cNvPr>
            <p:cNvSpPr/>
            <p:nvPr/>
          </p:nvSpPr>
          <p:spPr>
            <a:xfrm>
              <a:off x="7700300" y="162435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1"/>
                    <a:pt x="615" y="209"/>
                    <a:pt x="415" y="349"/>
                  </a:cubicBezTo>
                  <a:cubicBezTo>
                    <a:pt x="192" y="507"/>
                    <a:pt x="82" y="533"/>
                    <a:pt x="33" y="533"/>
                  </a:cubicBezTo>
                  <a:cubicBezTo>
                    <a:pt x="9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9" y="616"/>
                    <a:pt x="12" y="616"/>
                  </a:cubicBezTo>
                  <a:cubicBezTo>
                    <a:pt x="56" y="616"/>
                    <a:pt x="397" y="596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6" name="Google Shape;5266;p53">
              <a:extLst>
                <a:ext uri="{FF2B5EF4-FFF2-40B4-BE49-F238E27FC236}">
                  <a16:creationId xmlns:a16="http://schemas.microsoft.com/office/drawing/2014/main" id="{111AFB72-2F77-D615-2EBE-88A250C0B522}"/>
                </a:ext>
              </a:extLst>
            </p:cNvPr>
            <p:cNvSpPr/>
            <p:nvPr/>
          </p:nvSpPr>
          <p:spPr>
            <a:xfrm>
              <a:off x="7684900" y="1613225"/>
              <a:ext cx="15425" cy="12650"/>
            </a:xfrm>
            <a:custGeom>
              <a:avLst/>
              <a:gdLst/>
              <a:ahLst/>
              <a:cxnLst/>
              <a:rect l="l" t="t" r="r" b="b"/>
              <a:pathLst>
                <a:path w="617" h="506" extrusionOk="0">
                  <a:moveTo>
                    <a:pt x="1" y="1"/>
                  </a:moveTo>
                  <a:lnTo>
                    <a:pt x="1" y="1"/>
                  </a:lnTo>
                  <a:cubicBezTo>
                    <a:pt x="303" y="493"/>
                    <a:pt x="579" y="506"/>
                    <a:pt x="607" y="506"/>
                  </a:cubicBezTo>
                  <a:cubicBezTo>
                    <a:pt x="608" y="506"/>
                    <a:pt x="609" y="506"/>
                    <a:pt x="609" y="506"/>
                  </a:cubicBezTo>
                  <a:lnTo>
                    <a:pt x="616" y="431"/>
                  </a:lnTo>
                  <a:lnTo>
                    <a:pt x="616" y="431"/>
                  </a:lnTo>
                  <a:cubicBezTo>
                    <a:pt x="616" y="431"/>
                    <a:pt x="610" y="436"/>
                    <a:pt x="593" y="436"/>
                  </a:cubicBezTo>
                  <a:cubicBezTo>
                    <a:pt x="557" y="436"/>
                    <a:pt x="469" y="415"/>
                    <a:pt x="282" y="284"/>
                  </a:cubicBezTo>
                  <a:cubicBezTo>
                    <a:pt x="127" y="17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7" name="Google Shape;5267;p53">
              <a:extLst>
                <a:ext uri="{FF2B5EF4-FFF2-40B4-BE49-F238E27FC236}">
                  <a16:creationId xmlns:a16="http://schemas.microsoft.com/office/drawing/2014/main" id="{602DD1DC-E484-EBC3-81F7-C09CC4FB7FC2}"/>
                </a:ext>
              </a:extLst>
            </p:cNvPr>
            <p:cNvSpPr/>
            <p:nvPr/>
          </p:nvSpPr>
          <p:spPr>
            <a:xfrm>
              <a:off x="7421675" y="1540075"/>
              <a:ext cx="120425" cy="117100"/>
            </a:xfrm>
            <a:custGeom>
              <a:avLst/>
              <a:gdLst/>
              <a:ahLst/>
              <a:cxnLst/>
              <a:rect l="l" t="t" r="r" b="b"/>
              <a:pathLst>
                <a:path w="4817" h="4684" extrusionOk="0">
                  <a:moveTo>
                    <a:pt x="2475" y="1"/>
                  </a:moveTo>
                  <a:cubicBezTo>
                    <a:pt x="2390" y="1"/>
                    <a:pt x="2305" y="23"/>
                    <a:pt x="2230" y="67"/>
                  </a:cubicBezTo>
                  <a:cubicBezTo>
                    <a:pt x="1704" y="400"/>
                    <a:pt x="0" y="4684"/>
                    <a:pt x="2476" y="4684"/>
                  </a:cubicBezTo>
                  <a:cubicBezTo>
                    <a:pt x="4816" y="4684"/>
                    <a:pt x="3253" y="400"/>
                    <a:pt x="2719" y="67"/>
                  </a:cubicBezTo>
                  <a:cubicBezTo>
                    <a:pt x="2646" y="23"/>
                    <a:pt x="2561" y="1"/>
                    <a:pt x="2475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8" name="Google Shape;5268;p53">
              <a:extLst>
                <a:ext uri="{FF2B5EF4-FFF2-40B4-BE49-F238E27FC236}">
                  <a16:creationId xmlns:a16="http://schemas.microsoft.com/office/drawing/2014/main" id="{A4193842-B9D3-591B-352E-F0F6E4BBFFF1}"/>
                </a:ext>
              </a:extLst>
            </p:cNvPr>
            <p:cNvSpPr/>
            <p:nvPr/>
          </p:nvSpPr>
          <p:spPr>
            <a:xfrm>
              <a:off x="7423525" y="1545050"/>
              <a:ext cx="56550" cy="111550"/>
            </a:xfrm>
            <a:custGeom>
              <a:avLst/>
              <a:gdLst/>
              <a:ahLst/>
              <a:cxnLst/>
              <a:rect l="l" t="t" r="r" b="b"/>
              <a:pathLst>
                <a:path w="2262" h="4462" extrusionOk="0">
                  <a:moveTo>
                    <a:pt x="2027" y="0"/>
                  </a:moveTo>
                  <a:cubicBezTo>
                    <a:pt x="2026" y="0"/>
                    <a:pt x="2024" y="1"/>
                    <a:pt x="2023" y="2"/>
                  </a:cubicBezTo>
                  <a:cubicBezTo>
                    <a:pt x="1512" y="327"/>
                    <a:pt x="1" y="4462"/>
                    <a:pt x="2261" y="4462"/>
                  </a:cubicBezTo>
                  <a:cubicBezTo>
                    <a:pt x="2261" y="4462"/>
                    <a:pt x="1690" y="4410"/>
                    <a:pt x="1653" y="2795"/>
                  </a:cubicBezTo>
                  <a:cubicBezTo>
                    <a:pt x="1623" y="1194"/>
                    <a:pt x="2088" y="0"/>
                    <a:pt x="2027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9" name="Google Shape;5269;p53">
              <a:extLst>
                <a:ext uri="{FF2B5EF4-FFF2-40B4-BE49-F238E27FC236}">
                  <a16:creationId xmlns:a16="http://schemas.microsoft.com/office/drawing/2014/main" id="{793451C7-18AF-A79F-6B25-0AC2004F4170}"/>
                </a:ext>
              </a:extLst>
            </p:cNvPr>
            <p:cNvSpPr/>
            <p:nvPr/>
          </p:nvSpPr>
          <p:spPr>
            <a:xfrm>
              <a:off x="7478000" y="1600800"/>
              <a:ext cx="8325" cy="79550"/>
            </a:xfrm>
            <a:custGeom>
              <a:avLst/>
              <a:gdLst/>
              <a:ahLst/>
              <a:cxnLst/>
              <a:rect l="l" t="t" r="r" b="b"/>
              <a:pathLst>
                <a:path w="333" h="3182" extrusionOk="0">
                  <a:moveTo>
                    <a:pt x="165" y="0"/>
                  </a:moveTo>
                  <a:cubicBezTo>
                    <a:pt x="163" y="0"/>
                    <a:pt x="162" y="4"/>
                    <a:pt x="162" y="16"/>
                  </a:cubicBezTo>
                  <a:lnTo>
                    <a:pt x="0" y="3181"/>
                  </a:lnTo>
                  <a:lnTo>
                    <a:pt x="333" y="3181"/>
                  </a:lnTo>
                  <a:cubicBezTo>
                    <a:pt x="319" y="1825"/>
                    <a:pt x="200" y="16"/>
                    <a:pt x="171" y="16"/>
                  </a:cubicBezTo>
                  <a:cubicBezTo>
                    <a:pt x="171" y="16"/>
                    <a:pt x="167" y="0"/>
                    <a:pt x="165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0" name="Google Shape;5270;p53">
              <a:extLst>
                <a:ext uri="{FF2B5EF4-FFF2-40B4-BE49-F238E27FC236}">
                  <a16:creationId xmlns:a16="http://schemas.microsoft.com/office/drawing/2014/main" id="{0C4FCC51-BF6C-6001-92E0-42B9F1A05132}"/>
                </a:ext>
              </a:extLst>
            </p:cNvPr>
            <p:cNvSpPr/>
            <p:nvPr/>
          </p:nvSpPr>
          <p:spPr>
            <a:xfrm>
              <a:off x="7459625" y="1628975"/>
              <a:ext cx="22675" cy="18200"/>
            </a:xfrm>
            <a:custGeom>
              <a:avLst/>
              <a:gdLst/>
              <a:ahLst/>
              <a:cxnLst/>
              <a:rect l="l" t="t" r="r" b="b"/>
              <a:pathLst>
                <a:path w="907" h="728" extrusionOk="0">
                  <a:moveTo>
                    <a:pt x="1" y="0"/>
                  </a:moveTo>
                  <a:cubicBezTo>
                    <a:pt x="443" y="709"/>
                    <a:pt x="844" y="728"/>
                    <a:pt x="886" y="728"/>
                  </a:cubicBezTo>
                  <a:cubicBezTo>
                    <a:pt x="889" y="728"/>
                    <a:pt x="890" y="728"/>
                    <a:pt x="890" y="728"/>
                  </a:cubicBezTo>
                  <a:lnTo>
                    <a:pt x="906" y="623"/>
                  </a:lnTo>
                  <a:lnTo>
                    <a:pt x="906" y="623"/>
                  </a:lnTo>
                  <a:cubicBezTo>
                    <a:pt x="906" y="623"/>
                    <a:pt x="896" y="630"/>
                    <a:pt x="868" y="630"/>
                  </a:cubicBezTo>
                  <a:cubicBezTo>
                    <a:pt x="812" y="630"/>
                    <a:pt x="681" y="599"/>
                    <a:pt x="417" y="409"/>
                  </a:cubicBezTo>
                  <a:cubicBezTo>
                    <a:pt x="186" y="246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1" name="Google Shape;5271;p53">
              <a:extLst>
                <a:ext uri="{FF2B5EF4-FFF2-40B4-BE49-F238E27FC236}">
                  <a16:creationId xmlns:a16="http://schemas.microsoft.com/office/drawing/2014/main" id="{997EE37B-E9B8-F5EC-FDA3-A9C1ECCF3778}"/>
                </a:ext>
              </a:extLst>
            </p:cNvPr>
            <p:cNvSpPr/>
            <p:nvPr/>
          </p:nvSpPr>
          <p:spPr>
            <a:xfrm>
              <a:off x="7482275" y="162400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0"/>
                    <a:pt x="606" y="208"/>
                    <a:pt x="414" y="342"/>
                  </a:cubicBezTo>
                  <a:cubicBezTo>
                    <a:pt x="184" y="506"/>
                    <a:pt x="76" y="533"/>
                    <a:pt x="30" y="533"/>
                  </a:cubicBezTo>
                  <a:cubicBezTo>
                    <a:pt x="8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8" y="616"/>
                    <a:pt x="9" y="616"/>
                  </a:cubicBezTo>
                  <a:cubicBezTo>
                    <a:pt x="39" y="616"/>
                    <a:pt x="387" y="603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2" name="Google Shape;5272;p53">
              <a:extLst>
                <a:ext uri="{FF2B5EF4-FFF2-40B4-BE49-F238E27FC236}">
                  <a16:creationId xmlns:a16="http://schemas.microsoft.com/office/drawing/2014/main" id="{4B2E2FD0-9C03-4F4F-C14C-2B146F308DAD}"/>
                </a:ext>
              </a:extLst>
            </p:cNvPr>
            <p:cNvSpPr/>
            <p:nvPr/>
          </p:nvSpPr>
          <p:spPr>
            <a:xfrm>
              <a:off x="7466700" y="1612875"/>
              <a:ext cx="15600" cy="12425"/>
            </a:xfrm>
            <a:custGeom>
              <a:avLst/>
              <a:gdLst/>
              <a:ahLst/>
              <a:cxnLst/>
              <a:rect l="l" t="t" r="r" b="b"/>
              <a:pathLst>
                <a:path w="624" h="497" extrusionOk="0">
                  <a:moveTo>
                    <a:pt x="1" y="1"/>
                  </a:moveTo>
                  <a:cubicBezTo>
                    <a:pt x="302" y="484"/>
                    <a:pt x="583" y="497"/>
                    <a:pt x="612" y="497"/>
                  </a:cubicBezTo>
                  <a:cubicBezTo>
                    <a:pt x="613" y="497"/>
                    <a:pt x="614" y="497"/>
                    <a:pt x="614" y="497"/>
                  </a:cubicBezTo>
                  <a:lnTo>
                    <a:pt x="623" y="422"/>
                  </a:lnTo>
                  <a:lnTo>
                    <a:pt x="623" y="422"/>
                  </a:lnTo>
                  <a:cubicBezTo>
                    <a:pt x="623" y="422"/>
                    <a:pt x="615" y="429"/>
                    <a:pt x="591" y="429"/>
                  </a:cubicBezTo>
                  <a:cubicBezTo>
                    <a:pt x="549" y="429"/>
                    <a:pt x="458" y="407"/>
                    <a:pt x="282" y="282"/>
                  </a:cubicBezTo>
                  <a:cubicBezTo>
                    <a:pt x="125" y="17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3" name="Google Shape;5273;p53">
              <a:extLst>
                <a:ext uri="{FF2B5EF4-FFF2-40B4-BE49-F238E27FC236}">
                  <a16:creationId xmlns:a16="http://schemas.microsoft.com/office/drawing/2014/main" id="{46872B20-92D8-D8FD-8ED9-D0598C105F5E}"/>
                </a:ext>
              </a:extLst>
            </p:cNvPr>
            <p:cNvSpPr/>
            <p:nvPr/>
          </p:nvSpPr>
          <p:spPr>
            <a:xfrm>
              <a:off x="7454475" y="1518300"/>
              <a:ext cx="141725" cy="137775"/>
            </a:xfrm>
            <a:custGeom>
              <a:avLst/>
              <a:gdLst/>
              <a:ahLst/>
              <a:cxnLst/>
              <a:rect l="l" t="t" r="r" b="b"/>
              <a:pathLst>
                <a:path w="5669" h="5511" extrusionOk="0">
                  <a:moveTo>
                    <a:pt x="2909" y="1"/>
                  </a:moveTo>
                  <a:cubicBezTo>
                    <a:pt x="2808" y="1"/>
                    <a:pt x="2708" y="27"/>
                    <a:pt x="2624" y="79"/>
                  </a:cubicBezTo>
                  <a:cubicBezTo>
                    <a:pt x="2001" y="471"/>
                    <a:pt x="1" y="5510"/>
                    <a:pt x="2912" y="5510"/>
                  </a:cubicBezTo>
                  <a:cubicBezTo>
                    <a:pt x="5668" y="5510"/>
                    <a:pt x="3824" y="471"/>
                    <a:pt x="3202" y="79"/>
                  </a:cubicBezTo>
                  <a:cubicBezTo>
                    <a:pt x="3113" y="27"/>
                    <a:pt x="3011" y="1"/>
                    <a:pt x="2909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4" name="Google Shape;5274;p53">
              <a:extLst>
                <a:ext uri="{FF2B5EF4-FFF2-40B4-BE49-F238E27FC236}">
                  <a16:creationId xmlns:a16="http://schemas.microsoft.com/office/drawing/2014/main" id="{E9CD8E71-152D-F138-E1E6-7FB8B29F0C42}"/>
                </a:ext>
              </a:extLst>
            </p:cNvPr>
            <p:cNvSpPr/>
            <p:nvPr/>
          </p:nvSpPr>
          <p:spPr>
            <a:xfrm>
              <a:off x="7457225" y="1524100"/>
              <a:ext cx="67075" cy="132500"/>
            </a:xfrm>
            <a:custGeom>
              <a:avLst/>
              <a:gdLst/>
              <a:ahLst/>
              <a:cxnLst/>
              <a:rect l="l" t="t" r="r" b="b"/>
              <a:pathLst>
                <a:path w="2683" h="5300" extrusionOk="0">
                  <a:moveTo>
                    <a:pt x="2413" y="1"/>
                  </a:moveTo>
                  <a:cubicBezTo>
                    <a:pt x="2412" y="1"/>
                    <a:pt x="2410" y="1"/>
                    <a:pt x="2409" y="2"/>
                  </a:cubicBezTo>
                  <a:cubicBezTo>
                    <a:pt x="1793" y="388"/>
                    <a:pt x="1" y="5300"/>
                    <a:pt x="2683" y="5300"/>
                  </a:cubicBezTo>
                  <a:cubicBezTo>
                    <a:pt x="2683" y="5300"/>
                    <a:pt x="2009" y="5241"/>
                    <a:pt x="1971" y="3322"/>
                  </a:cubicBezTo>
                  <a:cubicBezTo>
                    <a:pt x="1928" y="1421"/>
                    <a:pt x="2478" y="1"/>
                    <a:pt x="2413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5" name="Google Shape;5275;p53">
              <a:extLst>
                <a:ext uri="{FF2B5EF4-FFF2-40B4-BE49-F238E27FC236}">
                  <a16:creationId xmlns:a16="http://schemas.microsoft.com/office/drawing/2014/main" id="{5D2BADA2-724C-9C27-195B-4C0BAE189539}"/>
                </a:ext>
              </a:extLst>
            </p:cNvPr>
            <p:cNvSpPr/>
            <p:nvPr/>
          </p:nvSpPr>
          <p:spPr>
            <a:xfrm>
              <a:off x="7521700" y="1591900"/>
              <a:ext cx="9275" cy="88450"/>
            </a:xfrm>
            <a:custGeom>
              <a:avLst/>
              <a:gdLst/>
              <a:ahLst/>
              <a:cxnLst/>
              <a:rect l="l" t="t" r="r" b="b"/>
              <a:pathLst>
                <a:path w="371" h="3538" extrusionOk="0">
                  <a:moveTo>
                    <a:pt x="187" y="0"/>
                  </a:moveTo>
                  <a:cubicBezTo>
                    <a:pt x="186" y="0"/>
                    <a:pt x="185" y="4"/>
                    <a:pt x="185" y="16"/>
                  </a:cubicBezTo>
                  <a:lnTo>
                    <a:pt x="1" y="3537"/>
                  </a:lnTo>
                  <a:lnTo>
                    <a:pt x="370" y="3537"/>
                  </a:lnTo>
                  <a:cubicBezTo>
                    <a:pt x="356" y="2033"/>
                    <a:pt x="223" y="16"/>
                    <a:pt x="193" y="16"/>
                  </a:cubicBezTo>
                  <a:cubicBezTo>
                    <a:pt x="193" y="16"/>
                    <a:pt x="189" y="0"/>
                    <a:pt x="18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6" name="Google Shape;5276;p53">
              <a:extLst>
                <a:ext uri="{FF2B5EF4-FFF2-40B4-BE49-F238E27FC236}">
                  <a16:creationId xmlns:a16="http://schemas.microsoft.com/office/drawing/2014/main" id="{7EDC1695-D3E8-D7B4-9586-1BB6D8F28154}"/>
                </a:ext>
              </a:extLst>
            </p:cNvPr>
            <p:cNvSpPr/>
            <p:nvPr/>
          </p:nvSpPr>
          <p:spPr>
            <a:xfrm>
              <a:off x="7501525" y="1623250"/>
              <a:ext cx="25000" cy="20200"/>
            </a:xfrm>
            <a:custGeom>
              <a:avLst/>
              <a:gdLst/>
              <a:ahLst/>
              <a:cxnLst/>
              <a:rect l="l" t="t" r="r" b="b"/>
              <a:pathLst>
                <a:path w="1000" h="808" extrusionOk="0">
                  <a:moveTo>
                    <a:pt x="0" y="0"/>
                  </a:moveTo>
                  <a:lnTo>
                    <a:pt x="0" y="0"/>
                  </a:lnTo>
                  <a:cubicBezTo>
                    <a:pt x="484" y="787"/>
                    <a:pt x="935" y="807"/>
                    <a:pt x="981" y="807"/>
                  </a:cubicBezTo>
                  <a:cubicBezTo>
                    <a:pt x="984" y="807"/>
                    <a:pt x="985" y="807"/>
                    <a:pt x="985" y="807"/>
                  </a:cubicBezTo>
                  <a:lnTo>
                    <a:pt x="1000" y="690"/>
                  </a:lnTo>
                  <a:lnTo>
                    <a:pt x="1000" y="690"/>
                  </a:lnTo>
                  <a:cubicBezTo>
                    <a:pt x="1000" y="690"/>
                    <a:pt x="989" y="697"/>
                    <a:pt x="960" y="697"/>
                  </a:cubicBezTo>
                  <a:cubicBezTo>
                    <a:pt x="899" y="697"/>
                    <a:pt x="755" y="664"/>
                    <a:pt x="452" y="452"/>
                  </a:cubicBezTo>
                  <a:cubicBezTo>
                    <a:pt x="199" y="27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7" name="Google Shape;5277;p53">
              <a:extLst>
                <a:ext uri="{FF2B5EF4-FFF2-40B4-BE49-F238E27FC236}">
                  <a16:creationId xmlns:a16="http://schemas.microsoft.com/office/drawing/2014/main" id="{2FEDDF1E-ACA7-AAB9-8333-279C51D9BD81}"/>
                </a:ext>
              </a:extLst>
            </p:cNvPr>
            <p:cNvSpPr/>
            <p:nvPr/>
          </p:nvSpPr>
          <p:spPr>
            <a:xfrm>
              <a:off x="7526500" y="1617675"/>
              <a:ext cx="21150" cy="17100"/>
            </a:xfrm>
            <a:custGeom>
              <a:avLst/>
              <a:gdLst/>
              <a:ahLst/>
              <a:cxnLst/>
              <a:rect l="l" t="t" r="r" b="b"/>
              <a:pathLst>
                <a:path w="846" h="684" extrusionOk="0">
                  <a:moveTo>
                    <a:pt x="845" y="1"/>
                  </a:moveTo>
                  <a:cubicBezTo>
                    <a:pt x="845" y="1"/>
                    <a:pt x="676" y="230"/>
                    <a:pt x="461" y="387"/>
                  </a:cubicBezTo>
                  <a:cubicBezTo>
                    <a:pt x="210" y="564"/>
                    <a:pt x="89" y="593"/>
                    <a:pt x="37" y="593"/>
                  </a:cubicBezTo>
                  <a:cubicBezTo>
                    <a:pt x="10" y="593"/>
                    <a:pt x="1" y="586"/>
                    <a:pt x="1" y="586"/>
                  </a:cubicBezTo>
                  <a:lnTo>
                    <a:pt x="1" y="586"/>
                  </a:lnTo>
                  <a:lnTo>
                    <a:pt x="9" y="684"/>
                  </a:lnTo>
                  <a:cubicBezTo>
                    <a:pt x="9" y="684"/>
                    <a:pt x="11" y="684"/>
                    <a:pt x="13" y="684"/>
                  </a:cubicBezTo>
                  <a:cubicBezTo>
                    <a:pt x="55" y="684"/>
                    <a:pt x="434" y="665"/>
                    <a:pt x="845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8" name="Google Shape;5278;p53">
              <a:extLst>
                <a:ext uri="{FF2B5EF4-FFF2-40B4-BE49-F238E27FC236}">
                  <a16:creationId xmlns:a16="http://schemas.microsoft.com/office/drawing/2014/main" id="{1B4B68C9-2FA7-7D8C-4E10-7492A572ED1A}"/>
                </a:ext>
              </a:extLst>
            </p:cNvPr>
            <p:cNvSpPr/>
            <p:nvPr/>
          </p:nvSpPr>
          <p:spPr>
            <a:xfrm>
              <a:off x="7509300" y="1605275"/>
              <a:ext cx="17225" cy="13950"/>
            </a:xfrm>
            <a:custGeom>
              <a:avLst/>
              <a:gdLst/>
              <a:ahLst/>
              <a:cxnLst/>
              <a:rect l="l" t="t" r="r" b="b"/>
              <a:pathLst>
                <a:path w="689" h="558" extrusionOk="0">
                  <a:moveTo>
                    <a:pt x="0" y="1"/>
                  </a:moveTo>
                  <a:lnTo>
                    <a:pt x="0" y="1"/>
                  </a:lnTo>
                  <a:cubicBezTo>
                    <a:pt x="339" y="544"/>
                    <a:pt x="650" y="557"/>
                    <a:pt x="679" y="557"/>
                  </a:cubicBezTo>
                  <a:cubicBezTo>
                    <a:pt x="681" y="557"/>
                    <a:pt x="681" y="557"/>
                    <a:pt x="681" y="557"/>
                  </a:cubicBezTo>
                  <a:lnTo>
                    <a:pt x="689" y="475"/>
                  </a:lnTo>
                  <a:lnTo>
                    <a:pt x="689" y="475"/>
                  </a:lnTo>
                  <a:cubicBezTo>
                    <a:pt x="689" y="475"/>
                    <a:pt x="681" y="481"/>
                    <a:pt x="660" y="481"/>
                  </a:cubicBezTo>
                  <a:cubicBezTo>
                    <a:pt x="617" y="481"/>
                    <a:pt x="517" y="457"/>
                    <a:pt x="312" y="312"/>
                  </a:cubicBezTo>
                  <a:cubicBezTo>
                    <a:pt x="141" y="193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9" name="Google Shape;5279;p53">
              <a:extLst>
                <a:ext uri="{FF2B5EF4-FFF2-40B4-BE49-F238E27FC236}">
                  <a16:creationId xmlns:a16="http://schemas.microsoft.com/office/drawing/2014/main" id="{2F3CA61F-6A96-DAEC-1BBA-5CBE0395F5CF}"/>
                </a:ext>
              </a:extLst>
            </p:cNvPr>
            <p:cNvSpPr/>
            <p:nvPr/>
          </p:nvSpPr>
          <p:spPr>
            <a:xfrm>
              <a:off x="7404450" y="1558600"/>
              <a:ext cx="64675" cy="81525"/>
            </a:xfrm>
            <a:custGeom>
              <a:avLst/>
              <a:gdLst/>
              <a:ahLst/>
              <a:cxnLst/>
              <a:rect l="l" t="t" r="r" b="b"/>
              <a:pathLst>
                <a:path w="2587" h="3261" extrusionOk="0">
                  <a:moveTo>
                    <a:pt x="1290" y="0"/>
                  </a:moveTo>
                  <a:cubicBezTo>
                    <a:pt x="734" y="0"/>
                    <a:pt x="275" y="452"/>
                    <a:pt x="275" y="1016"/>
                  </a:cubicBezTo>
                  <a:cubicBezTo>
                    <a:pt x="275" y="1067"/>
                    <a:pt x="282" y="1112"/>
                    <a:pt x="289" y="1156"/>
                  </a:cubicBezTo>
                  <a:cubicBezTo>
                    <a:pt x="111" y="1379"/>
                    <a:pt x="1" y="1659"/>
                    <a:pt x="1" y="1964"/>
                  </a:cubicBezTo>
                  <a:cubicBezTo>
                    <a:pt x="1" y="2682"/>
                    <a:pt x="579" y="3260"/>
                    <a:pt x="1290" y="3260"/>
                  </a:cubicBezTo>
                  <a:cubicBezTo>
                    <a:pt x="2009" y="3260"/>
                    <a:pt x="2587" y="2682"/>
                    <a:pt x="2587" y="1964"/>
                  </a:cubicBezTo>
                  <a:cubicBezTo>
                    <a:pt x="2587" y="1659"/>
                    <a:pt x="2475" y="1379"/>
                    <a:pt x="2297" y="1156"/>
                  </a:cubicBezTo>
                  <a:cubicBezTo>
                    <a:pt x="2304" y="1112"/>
                    <a:pt x="2313" y="1067"/>
                    <a:pt x="2313" y="1016"/>
                  </a:cubicBezTo>
                  <a:cubicBezTo>
                    <a:pt x="2313" y="452"/>
                    <a:pt x="1852" y="0"/>
                    <a:pt x="1290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0" name="Google Shape;5280;p53">
              <a:extLst>
                <a:ext uri="{FF2B5EF4-FFF2-40B4-BE49-F238E27FC236}">
                  <a16:creationId xmlns:a16="http://schemas.microsoft.com/office/drawing/2014/main" id="{2490E899-567F-E8E6-47B2-8403133F9B4B}"/>
                </a:ext>
              </a:extLst>
            </p:cNvPr>
            <p:cNvSpPr/>
            <p:nvPr/>
          </p:nvSpPr>
          <p:spPr>
            <a:xfrm>
              <a:off x="7436700" y="1583475"/>
              <a:ext cx="2950" cy="96875"/>
            </a:xfrm>
            <a:custGeom>
              <a:avLst/>
              <a:gdLst/>
              <a:ahLst/>
              <a:cxnLst/>
              <a:rect l="l" t="t" r="r" b="b"/>
              <a:pathLst>
                <a:path w="118" h="3875" extrusionOk="0">
                  <a:moveTo>
                    <a:pt x="54" y="0"/>
                  </a:moveTo>
                  <a:cubicBezTo>
                    <a:pt x="53" y="0"/>
                    <a:pt x="52" y="4"/>
                    <a:pt x="52" y="14"/>
                  </a:cubicBezTo>
                  <a:lnTo>
                    <a:pt x="0" y="3821"/>
                  </a:lnTo>
                  <a:cubicBezTo>
                    <a:pt x="0" y="3851"/>
                    <a:pt x="22" y="3874"/>
                    <a:pt x="52" y="3874"/>
                  </a:cubicBezTo>
                  <a:lnTo>
                    <a:pt x="59" y="3874"/>
                  </a:lnTo>
                  <a:cubicBezTo>
                    <a:pt x="96" y="3874"/>
                    <a:pt x="118" y="3851"/>
                    <a:pt x="118" y="3821"/>
                  </a:cubicBezTo>
                  <a:cubicBezTo>
                    <a:pt x="118" y="3821"/>
                    <a:pt x="96" y="14"/>
                    <a:pt x="59" y="14"/>
                  </a:cubicBezTo>
                  <a:cubicBezTo>
                    <a:pt x="59" y="14"/>
                    <a:pt x="56" y="0"/>
                    <a:pt x="54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1" name="Google Shape;5281;p53">
              <a:extLst>
                <a:ext uri="{FF2B5EF4-FFF2-40B4-BE49-F238E27FC236}">
                  <a16:creationId xmlns:a16="http://schemas.microsoft.com/office/drawing/2014/main" id="{2B84401E-FA4F-A3C2-57EA-EB9B7EFB0917}"/>
                </a:ext>
              </a:extLst>
            </p:cNvPr>
            <p:cNvSpPr/>
            <p:nvPr/>
          </p:nvSpPr>
          <p:spPr>
            <a:xfrm>
              <a:off x="7419800" y="1606975"/>
              <a:ext cx="18375" cy="15000"/>
            </a:xfrm>
            <a:custGeom>
              <a:avLst/>
              <a:gdLst/>
              <a:ahLst/>
              <a:cxnLst/>
              <a:rect l="l" t="t" r="r" b="b"/>
              <a:pathLst>
                <a:path w="735" h="600" extrusionOk="0">
                  <a:moveTo>
                    <a:pt x="0" y="0"/>
                  </a:moveTo>
                  <a:lnTo>
                    <a:pt x="0" y="0"/>
                  </a:lnTo>
                  <a:cubicBezTo>
                    <a:pt x="353" y="580"/>
                    <a:pt x="679" y="600"/>
                    <a:pt x="723" y="600"/>
                  </a:cubicBezTo>
                  <a:cubicBezTo>
                    <a:pt x="726" y="600"/>
                    <a:pt x="728" y="599"/>
                    <a:pt x="728" y="599"/>
                  </a:cubicBezTo>
                  <a:lnTo>
                    <a:pt x="735" y="511"/>
                  </a:lnTo>
                  <a:lnTo>
                    <a:pt x="735" y="511"/>
                  </a:lnTo>
                  <a:cubicBezTo>
                    <a:pt x="735" y="511"/>
                    <a:pt x="726" y="517"/>
                    <a:pt x="702" y="517"/>
                  </a:cubicBezTo>
                  <a:cubicBezTo>
                    <a:pt x="656" y="517"/>
                    <a:pt x="550" y="492"/>
                    <a:pt x="335" y="340"/>
                  </a:cubicBezTo>
                  <a:cubicBezTo>
                    <a:pt x="150" y="199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2" name="Google Shape;5282;p53">
              <a:extLst>
                <a:ext uri="{FF2B5EF4-FFF2-40B4-BE49-F238E27FC236}">
                  <a16:creationId xmlns:a16="http://schemas.microsoft.com/office/drawing/2014/main" id="{FEDC27CB-E6CD-1B32-1C84-E21EB373CB03}"/>
                </a:ext>
              </a:extLst>
            </p:cNvPr>
            <p:cNvSpPr/>
            <p:nvPr/>
          </p:nvSpPr>
          <p:spPr>
            <a:xfrm>
              <a:off x="7438150" y="1602700"/>
              <a:ext cx="15600" cy="12775"/>
            </a:xfrm>
            <a:custGeom>
              <a:avLst/>
              <a:gdLst/>
              <a:ahLst/>
              <a:cxnLst/>
              <a:rect l="l" t="t" r="r" b="b"/>
              <a:pathLst>
                <a:path w="624" h="511" extrusionOk="0">
                  <a:moveTo>
                    <a:pt x="623" y="0"/>
                  </a:moveTo>
                  <a:cubicBezTo>
                    <a:pt x="623" y="0"/>
                    <a:pt x="497" y="178"/>
                    <a:pt x="342" y="289"/>
                  </a:cubicBezTo>
                  <a:cubicBezTo>
                    <a:pt x="156" y="421"/>
                    <a:pt x="67" y="444"/>
                    <a:pt x="28" y="444"/>
                  </a:cubicBezTo>
                  <a:cubicBezTo>
                    <a:pt x="8" y="444"/>
                    <a:pt x="1" y="438"/>
                    <a:pt x="1" y="438"/>
                  </a:cubicBezTo>
                  <a:lnTo>
                    <a:pt x="1" y="438"/>
                  </a:lnTo>
                  <a:lnTo>
                    <a:pt x="8" y="511"/>
                  </a:lnTo>
                  <a:cubicBezTo>
                    <a:pt x="8" y="511"/>
                    <a:pt x="9" y="511"/>
                    <a:pt x="11" y="511"/>
                  </a:cubicBezTo>
                  <a:cubicBezTo>
                    <a:pt x="42" y="511"/>
                    <a:pt x="323" y="497"/>
                    <a:pt x="62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3" name="Google Shape;5283;p53">
              <a:extLst>
                <a:ext uri="{FF2B5EF4-FFF2-40B4-BE49-F238E27FC236}">
                  <a16:creationId xmlns:a16="http://schemas.microsoft.com/office/drawing/2014/main" id="{4CB54714-8586-7A03-D7B2-4A409CF5D879}"/>
                </a:ext>
              </a:extLst>
            </p:cNvPr>
            <p:cNvSpPr/>
            <p:nvPr/>
          </p:nvSpPr>
          <p:spPr>
            <a:xfrm>
              <a:off x="7425575" y="1593625"/>
              <a:ext cx="12600" cy="10200"/>
            </a:xfrm>
            <a:custGeom>
              <a:avLst/>
              <a:gdLst/>
              <a:ahLst/>
              <a:cxnLst/>
              <a:rect l="l" t="t" r="r" b="b"/>
              <a:pathLst>
                <a:path w="504" h="408" extrusionOk="0">
                  <a:moveTo>
                    <a:pt x="1" y="1"/>
                  </a:moveTo>
                  <a:lnTo>
                    <a:pt x="1" y="1"/>
                  </a:lnTo>
                  <a:cubicBezTo>
                    <a:pt x="242" y="395"/>
                    <a:pt x="467" y="408"/>
                    <a:pt x="494" y="408"/>
                  </a:cubicBezTo>
                  <a:cubicBezTo>
                    <a:pt x="496" y="408"/>
                    <a:pt x="497" y="408"/>
                    <a:pt x="497" y="408"/>
                  </a:cubicBezTo>
                  <a:lnTo>
                    <a:pt x="504" y="347"/>
                  </a:lnTo>
                  <a:lnTo>
                    <a:pt x="504" y="347"/>
                  </a:lnTo>
                  <a:cubicBezTo>
                    <a:pt x="504" y="347"/>
                    <a:pt x="497" y="353"/>
                    <a:pt x="479" y="353"/>
                  </a:cubicBezTo>
                  <a:cubicBezTo>
                    <a:pt x="446" y="353"/>
                    <a:pt x="374" y="334"/>
                    <a:pt x="230" y="230"/>
                  </a:cubicBezTo>
                  <a:cubicBezTo>
                    <a:pt x="104" y="14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4" name="Google Shape;5284;p53">
              <a:extLst>
                <a:ext uri="{FF2B5EF4-FFF2-40B4-BE49-F238E27FC236}">
                  <a16:creationId xmlns:a16="http://schemas.microsoft.com/office/drawing/2014/main" id="{BF91AEA8-A340-4558-721B-1B3AD02D76B0}"/>
                </a:ext>
              </a:extLst>
            </p:cNvPr>
            <p:cNvSpPr/>
            <p:nvPr/>
          </p:nvSpPr>
          <p:spPr>
            <a:xfrm>
              <a:off x="7286250" y="1591750"/>
              <a:ext cx="46350" cy="58600"/>
            </a:xfrm>
            <a:custGeom>
              <a:avLst/>
              <a:gdLst/>
              <a:ahLst/>
              <a:cxnLst/>
              <a:rect l="l" t="t" r="r" b="b"/>
              <a:pathLst>
                <a:path w="1854" h="2344" extrusionOk="0">
                  <a:moveTo>
                    <a:pt x="927" y="1"/>
                  </a:moveTo>
                  <a:cubicBezTo>
                    <a:pt x="527" y="1"/>
                    <a:pt x="194" y="326"/>
                    <a:pt x="194" y="734"/>
                  </a:cubicBezTo>
                  <a:cubicBezTo>
                    <a:pt x="194" y="764"/>
                    <a:pt x="201" y="801"/>
                    <a:pt x="208" y="831"/>
                  </a:cubicBezTo>
                  <a:cubicBezTo>
                    <a:pt x="75" y="993"/>
                    <a:pt x="0" y="1194"/>
                    <a:pt x="0" y="1417"/>
                  </a:cubicBezTo>
                  <a:cubicBezTo>
                    <a:pt x="0" y="1927"/>
                    <a:pt x="416" y="2343"/>
                    <a:pt x="927" y="2343"/>
                  </a:cubicBezTo>
                  <a:cubicBezTo>
                    <a:pt x="1439" y="2343"/>
                    <a:pt x="1853" y="1927"/>
                    <a:pt x="1853" y="1417"/>
                  </a:cubicBezTo>
                  <a:cubicBezTo>
                    <a:pt x="1853" y="1194"/>
                    <a:pt x="1772" y="993"/>
                    <a:pt x="1645" y="831"/>
                  </a:cubicBezTo>
                  <a:cubicBezTo>
                    <a:pt x="1652" y="801"/>
                    <a:pt x="1652" y="764"/>
                    <a:pt x="1652" y="734"/>
                  </a:cubicBezTo>
                  <a:cubicBezTo>
                    <a:pt x="1652" y="326"/>
                    <a:pt x="1327" y="1"/>
                    <a:pt x="92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5" name="Google Shape;5285;p53">
              <a:extLst>
                <a:ext uri="{FF2B5EF4-FFF2-40B4-BE49-F238E27FC236}">
                  <a16:creationId xmlns:a16="http://schemas.microsoft.com/office/drawing/2014/main" id="{41E6FE68-107C-430A-64FE-72D47AFEEC1C}"/>
                </a:ext>
              </a:extLst>
            </p:cNvPr>
            <p:cNvSpPr/>
            <p:nvPr/>
          </p:nvSpPr>
          <p:spPr>
            <a:xfrm>
              <a:off x="7309225" y="1609675"/>
              <a:ext cx="2250" cy="69550"/>
            </a:xfrm>
            <a:custGeom>
              <a:avLst/>
              <a:gdLst/>
              <a:ahLst/>
              <a:cxnLst/>
              <a:rect l="l" t="t" r="r" b="b"/>
              <a:pathLst>
                <a:path w="90" h="2782" extrusionOk="0">
                  <a:moveTo>
                    <a:pt x="47" y="0"/>
                  </a:moveTo>
                  <a:cubicBezTo>
                    <a:pt x="46" y="0"/>
                    <a:pt x="45" y="2"/>
                    <a:pt x="45" y="10"/>
                  </a:cubicBezTo>
                  <a:lnTo>
                    <a:pt x="1" y="2738"/>
                  </a:lnTo>
                  <a:cubicBezTo>
                    <a:pt x="1" y="2759"/>
                    <a:pt x="22" y="2782"/>
                    <a:pt x="45" y="2782"/>
                  </a:cubicBezTo>
                  <a:lnTo>
                    <a:pt x="52" y="2782"/>
                  </a:lnTo>
                  <a:cubicBezTo>
                    <a:pt x="75" y="2782"/>
                    <a:pt x="90" y="2759"/>
                    <a:pt x="90" y="2738"/>
                  </a:cubicBezTo>
                  <a:cubicBezTo>
                    <a:pt x="90" y="2738"/>
                    <a:pt x="75" y="10"/>
                    <a:pt x="52" y="10"/>
                  </a:cubicBezTo>
                  <a:cubicBezTo>
                    <a:pt x="52" y="10"/>
                    <a:pt x="49" y="0"/>
                    <a:pt x="4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6" name="Google Shape;5286;p53">
              <a:extLst>
                <a:ext uri="{FF2B5EF4-FFF2-40B4-BE49-F238E27FC236}">
                  <a16:creationId xmlns:a16="http://schemas.microsoft.com/office/drawing/2014/main" id="{26F8953B-63E0-AD79-BA8C-5564D066539D}"/>
                </a:ext>
              </a:extLst>
            </p:cNvPr>
            <p:cNvSpPr/>
            <p:nvPr/>
          </p:nvSpPr>
          <p:spPr>
            <a:xfrm>
              <a:off x="7297175" y="1626400"/>
              <a:ext cx="13200" cy="10950"/>
            </a:xfrm>
            <a:custGeom>
              <a:avLst/>
              <a:gdLst/>
              <a:ahLst/>
              <a:cxnLst/>
              <a:rect l="l" t="t" r="r" b="b"/>
              <a:pathLst>
                <a:path w="528" h="438" extrusionOk="0">
                  <a:moveTo>
                    <a:pt x="1" y="0"/>
                  </a:moveTo>
                  <a:cubicBezTo>
                    <a:pt x="266" y="431"/>
                    <a:pt x="505" y="438"/>
                    <a:pt x="519" y="438"/>
                  </a:cubicBezTo>
                  <a:cubicBezTo>
                    <a:pt x="520" y="438"/>
                    <a:pt x="520" y="438"/>
                    <a:pt x="520" y="438"/>
                  </a:cubicBezTo>
                  <a:lnTo>
                    <a:pt x="527" y="370"/>
                  </a:lnTo>
                  <a:lnTo>
                    <a:pt x="527" y="370"/>
                  </a:lnTo>
                  <a:cubicBezTo>
                    <a:pt x="527" y="370"/>
                    <a:pt x="521" y="375"/>
                    <a:pt x="504" y="375"/>
                  </a:cubicBezTo>
                  <a:cubicBezTo>
                    <a:pt x="470" y="375"/>
                    <a:pt x="396" y="356"/>
                    <a:pt x="246" y="246"/>
                  </a:cubicBezTo>
                  <a:cubicBezTo>
                    <a:pt x="104" y="148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7" name="Google Shape;5287;p53">
              <a:extLst>
                <a:ext uri="{FF2B5EF4-FFF2-40B4-BE49-F238E27FC236}">
                  <a16:creationId xmlns:a16="http://schemas.microsoft.com/office/drawing/2014/main" id="{53FB4B66-8884-2192-FFC2-AE5D3AE2D600}"/>
                </a:ext>
              </a:extLst>
            </p:cNvPr>
            <p:cNvSpPr/>
            <p:nvPr/>
          </p:nvSpPr>
          <p:spPr>
            <a:xfrm>
              <a:off x="7310350" y="1623425"/>
              <a:ext cx="11300" cy="9300"/>
            </a:xfrm>
            <a:custGeom>
              <a:avLst/>
              <a:gdLst/>
              <a:ahLst/>
              <a:cxnLst/>
              <a:rect l="l" t="t" r="r" b="b"/>
              <a:pathLst>
                <a:path w="452" h="372" extrusionOk="0">
                  <a:moveTo>
                    <a:pt x="452" y="0"/>
                  </a:moveTo>
                  <a:lnTo>
                    <a:pt x="452" y="0"/>
                  </a:lnTo>
                  <a:cubicBezTo>
                    <a:pt x="452" y="0"/>
                    <a:pt x="356" y="126"/>
                    <a:pt x="244" y="208"/>
                  </a:cubicBezTo>
                  <a:cubicBezTo>
                    <a:pt x="102" y="308"/>
                    <a:pt x="39" y="323"/>
                    <a:pt x="14" y="323"/>
                  </a:cubicBezTo>
                  <a:cubicBezTo>
                    <a:pt x="4" y="323"/>
                    <a:pt x="0" y="320"/>
                    <a:pt x="0" y="320"/>
                  </a:cubicBezTo>
                  <a:lnTo>
                    <a:pt x="0" y="320"/>
                  </a:lnTo>
                  <a:lnTo>
                    <a:pt x="7" y="372"/>
                  </a:lnTo>
                  <a:cubicBezTo>
                    <a:pt x="7" y="372"/>
                    <a:pt x="8" y="372"/>
                    <a:pt x="8" y="372"/>
                  </a:cubicBezTo>
                  <a:cubicBezTo>
                    <a:pt x="22" y="372"/>
                    <a:pt x="224" y="365"/>
                    <a:pt x="452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8" name="Google Shape;5288;p53">
              <a:extLst>
                <a:ext uri="{FF2B5EF4-FFF2-40B4-BE49-F238E27FC236}">
                  <a16:creationId xmlns:a16="http://schemas.microsoft.com/office/drawing/2014/main" id="{EC2AF3CF-F796-4C01-C152-B544D03A02A4}"/>
                </a:ext>
              </a:extLst>
            </p:cNvPr>
            <p:cNvSpPr/>
            <p:nvPr/>
          </p:nvSpPr>
          <p:spPr>
            <a:xfrm>
              <a:off x="7301275" y="1616975"/>
              <a:ext cx="9100" cy="7400"/>
            </a:xfrm>
            <a:custGeom>
              <a:avLst/>
              <a:gdLst/>
              <a:ahLst/>
              <a:cxnLst/>
              <a:rect l="l" t="t" r="r" b="b"/>
              <a:pathLst>
                <a:path w="364" h="296" extrusionOk="0">
                  <a:moveTo>
                    <a:pt x="0" y="0"/>
                  </a:moveTo>
                  <a:cubicBezTo>
                    <a:pt x="184" y="289"/>
                    <a:pt x="348" y="295"/>
                    <a:pt x="362" y="295"/>
                  </a:cubicBezTo>
                  <a:cubicBezTo>
                    <a:pt x="363" y="295"/>
                    <a:pt x="363" y="295"/>
                    <a:pt x="363" y="295"/>
                  </a:cubicBezTo>
                  <a:lnTo>
                    <a:pt x="363" y="251"/>
                  </a:lnTo>
                  <a:cubicBezTo>
                    <a:pt x="363" y="251"/>
                    <a:pt x="359" y="254"/>
                    <a:pt x="347" y="254"/>
                  </a:cubicBezTo>
                  <a:cubicBezTo>
                    <a:pt x="325" y="254"/>
                    <a:pt x="274" y="241"/>
                    <a:pt x="171" y="162"/>
                  </a:cubicBezTo>
                  <a:cubicBezTo>
                    <a:pt x="73" y="9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9" name="Google Shape;5289;p53">
              <a:extLst>
                <a:ext uri="{FF2B5EF4-FFF2-40B4-BE49-F238E27FC236}">
                  <a16:creationId xmlns:a16="http://schemas.microsoft.com/office/drawing/2014/main" id="{6BB296D0-CD64-31CF-40A7-FE36C5693B1D}"/>
                </a:ext>
              </a:extLst>
            </p:cNvPr>
            <p:cNvSpPr/>
            <p:nvPr/>
          </p:nvSpPr>
          <p:spPr>
            <a:xfrm>
              <a:off x="7200475" y="1642125"/>
              <a:ext cx="91000" cy="37825"/>
            </a:xfrm>
            <a:custGeom>
              <a:avLst/>
              <a:gdLst/>
              <a:ahLst/>
              <a:cxnLst/>
              <a:rect l="l" t="t" r="r" b="b"/>
              <a:pathLst>
                <a:path w="3640" h="1513" extrusionOk="0">
                  <a:moveTo>
                    <a:pt x="1215" y="1"/>
                  </a:moveTo>
                  <a:cubicBezTo>
                    <a:pt x="801" y="1"/>
                    <a:pt x="469" y="335"/>
                    <a:pt x="469" y="750"/>
                  </a:cubicBezTo>
                  <a:lnTo>
                    <a:pt x="469" y="764"/>
                  </a:lnTo>
                  <a:cubicBezTo>
                    <a:pt x="438" y="757"/>
                    <a:pt x="408" y="750"/>
                    <a:pt x="380" y="750"/>
                  </a:cubicBezTo>
                  <a:cubicBezTo>
                    <a:pt x="172" y="750"/>
                    <a:pt x="1" y="920"/>
                    <a:pt x="1" y="1128"/>
                  </a:cubicBezTo>
                  <a:cubicBezTo>
                    <a:pt x="1" y="1335"/>
                    <a:pt x="172" y="1498"/>
                    <a:pt x="380" y="1498"/>
                  </a:cubicBezTo>
                  <a:lnTo>
                    <a:pt x="380" y="1512"/>
                  </a:lnTo>
                  <a:lnTo>
                    <a:pt x="3403" y="1512"/>
                  </a:lnTo>
                  <a:lnTo>
                    <a:pt x="3403" y="1498"/>
                  </a:lnTo>
                  <a:cubicBezTo>
                    <a:pt x="3536" y="1475"/>
                    <a:pt x="3639" y="1365"/>
                    <a:pt x="3639" y="1217"/>
                  </a:cubicBezTo>
                  <a:cubicBezTo>
                    <a:pt x="3639" y="1061"/>
                    <a:pt x="3513" y="934"/>
                    <a:pt x="3358" y="934"/>
                  </a:cubicBezTo>
                  <a:cubicBezTo>
                    <a:pt x="3291" y="934"/>
                    <a:pt x="3232" y="965"/>
                    <a:pt x="3181" y="1002"/>
                  </a:cubicBezTo>
                  <a:lnTo>
                    <a:pt x="3181" y="965"/>
                  </a:lnTo>
                  <a:cubicBezTo>
                    <a:pt x="3181" y="668"/>
                    <a:pt x="2942" y="424"/>
                    <a:pt x="2647" y="424"/>
                  </a:cubicBezTo>
                  <a:cubicBezTo>
                    <a:pt x="2476" y="424"/>
                    <a:pt x="2327" y="497"/>
                    <a:pt x="2224" y="623"/>
                  </a:cubicBezTo>
                  <a:cubicBezTo>
                    <a:pt x="2186" y="609"/>
                    <a:pt x="2149" y="602"/>
                    <a:pt x="2114" y="602"/>
                  </a:cubicBezTo>
                  <a:cubicBezTo>
                    <a:pt x="2053" y="602"/>
                    <a:pt x="2001" y="616"/>
                    <a:pt x="1957" y="639"/>
                  </a:cubicBezTo>
                  <a:cubicBezTo>
                    <a:pt x="1898" y="275"/>
                    <a:pt x="1594" y="1"/>
                    <a:pt x="121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0" name="Google Shape;5290;p53">
              <a:extLst>
                <a:ext uri="{FF2B5EF4-FFF2-40B4-BE49-F238E27FC236}">
                  <a16:creationId xmlns:a16="http://schemas.microsoft.com/office/drawing/2014/main" id="{B74F27D2-5FF2-875B-34FE-08CE3E0CCE40}"/>
                </a:ext>
              </a:extLst>
            </p:cNvPr>
            <p:cNvSpPr/>
            <p:nvPr/>
          </p:nvSpPr>
          <p:spPr>
            <a:xfrm>
              <a:off x="7211775" y="1643250"/>
              <a:ext cx="12425" cy="17975"/>
            </a:xfrm>
            <a:custGeom>
              <a:avLst/>
              <a:gdLst/>
              <a:ahLst/>
              <a:cxnLst/>
              <a:rect l="l" t="t" r="r" b="b"/>
              <a:pathLst>
                <a:path w="497" h="719" extrusionOk="0">
                  <a:moveTo>
                    <a:pt x="497" y="0"/>
                  </a:moveTo>
                  <a:lnTo>
                    <a:pt x="497" y="0"/>
                  </a:lnTo>
                  <a:cubicBezTo>
                    <a:pt x="209" y="82"/>
                    <a:pt x="1" y="349"/>
                    <a:pt x="1" y="667"/>
                  </a:cubicBezTo>
                  <a:lnTo>
                    <a:pt x="1" y="712"/>
                  </a:lnTo>
                  <a:cubicBezTo>
                    <a:pt x="8" y="712"/>
                    <a:pt x="8" y="712"/>
                    <a:pt x="17" y="719"/>
                  </a:cubicBezTo>
                  <a:lnTo>
                    <a:pt x="17" y="705"/>
                  </a:lnTo>
                  <a:cubicBezTo>
                    <a:pt x="17" y="386"/>
                    <a:pt x="216" y="112"/>
                    <a:pt x="497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1" name="Google Shape;5291;p53">
              <a:extLst>
                <a:ext uri="{FF2B5EF4-FFF2-40B4-BE49-F238E27FC236}">
                  <a16:creationId xmlns:a16="http://schemas.microsoft.com/office/drawing/2014/main" id="{059E6CDB-8016-50D8-9B28-FA6A5E28846B}"/>
                </a:ext>
              </a:extLst>
            </p:cNvPr>
            <p:cNvSpPr/>
            <p:nvPr/>
          </p:nvSpPr>
          <p:spPr>
            <a:xfrm>
              <a:off x="7211775" y="1642700"/>
              <a:ext cx="17100" cy="34325"/>
            </a:xfrm>
            <a:custGeom>
              <a:avLst/>
              <a:gdLst/>
              <a:ahLst/>
              <a:cxnLst/>
              <a:rect l="l" t="t" r="r" b="b"/>
              <a:pathLst>
                <a:path w="684" h="1373" extrusionOk="0">
                  <a:moveTo>
                    <a:pt x="683" y="1"/>
                  </a:moveTo>
                  <a:cubicBezTo>
                    <a:pt x="623" y="1"/>
                    <a:pt x="557" y="8"/>
                    <a:pt x="497" y="22"/>
                  </a:cubicBezTo>
                  <a:cubicBezTo>
                    <a:pt x="216" y="134"/>
                    <a:pt x="17" y="408"/>
                    <a:pt x="17" y="727"/>
                  </a:cubicBezTo>
                  <a:lnTo>
                    <a:pt x="17" y="741"/>
                  </a:lnTo>
                  <a:cubicBezTo>
                    <a:pt x="8" y="734"/>
                    <a:pt x="8" y="734"/>
                    <a:pt x="1" y="734"/>
                  </a:cubicBezTo>
                  <a:cubicBezTo>
                    <a:pt x="24" y="1089"/>
                    <a:pt x="319" y="1372"/>
                    <a:pt x="683" y="1372"/>
                  </a:cubicBezTo>
                  <a:cubicBezTo>
                    <a:pt x="683" y="1372"/>
                    <a:pt x="290" y="1246"/>
                    <a:pt x="260" y="689"/>
                  </a:cubicBezTo>
                  <a:cubicBezTo>
                    <a:pt x="230" y="179"/>
                    <a:pt x="683" y="1"/>
                    <a:pt x="683" y="1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2" name="Google Shape;5292;p53">
              <a:extLst>
                <a:ext uri="{FF2B5EF4-FFF2-40B4-BE49-F238E27FC236}">
                  <a16:creationId xmlns:a16="http://schemas.microsoft.com/office/drawing/2014/main" id="{565953D6-9F5F-FBD9-19B6-DBA9017980C1}"/>
                </a:ext>
              </a:extLst>
            </p:cNvPr>
            <p:cNvSpPr/>
            <p:nvPr/>
          </p:nvSpPr>
          <p:spPr>
            <a:xfrm>
              <a:off x="7244575" y="1657350"/>
              <a:ext cx="18000" cy="9075"/>
            </a:xfrm>
            <a:custGeom>
              <a:avLst/>
              <a:gdLst/>
              <a:ahLst/>
              <a:cxnLst/>
              <a:rect l="l" t="t" r="r" b="b"/>
              <a:pathLst>
                <a:path w="720" h="363" extrusionOk="0">
                  <a:moveTo>
                    <a:pt x="357" y="0"/>
                  </a:moveTo>
                  <a:cubicBezTo>
                    <a:pt x="163" y="7"/>
                    <a:pt x="1" y="171"/>
                    <a:pt x="8" y="363"/>
                  </a:cubicBezTo>
                  <a:cubicBezTo>
                    <a:pt x="8" y="363"/>
                    <a:pt x="67" y="164"/>
                    <a:pt x="357" y="141"/>
                  </a:cubicBezTo>
                  <a:lnTo>
                    <a:pt x="385" y="141"/>
                  </a:lnTo>
                  <a:cubicBezTo>
                    <a:pt x="630" y="141"/>
                    <a:pt x="719" y="356"/>
                    <a:pt x="719" y="356"/>
                  </a:cubicBezTo>
                  <a:cubicBezTo>
                    <a:pt x="719" y="164"/>
                    <a:pt x="556" y="0"/>
                    <a:pt x="364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3" name="Google Shape;5293;p53">
              <a:extLst>
                <a:ext uri="{FF2B5EF4-FFF2-40B4-BE49-F238E27FC236}">
                  <a16:creationId xmlns:a16="http://schemas.microsoft.com/office/drawing/2014/main" id="{F77B4D99-38E3-6647-58B6-79ADFF51CEF6}"/>
                </a:ext>
              </a:extLst>
            </p:cNvPr>
            <p:cNvSpPr/>
            <p:nvPr/>
          </p:nvSpPr>
          <p:spPr>
            <a:xfrm>
              <a:off x="7488350" y="1497900"/>
              <a:ext cx="29500" cy="12925"/>
            </a:xfrm>
            <a:custGeom>
              <a:avLst/>
              <a:gdLst/>
              <a:ahLst/>
              <a:cxnLst/>
              <a:rect l="l" t="t" r="r" b="b"/>
              <a:pathLst>
                <a:path w="1180" h="517" extrusionOk="0">
                  <a:moveTo>
                    <a:pt x="1026" y="0"/>
                  </a:moveTo>
                  <a:cubicBezTo>
                    <a:pt x="950" y="0"/>
                    <a:pt x="859" y="34"/>
                    <a:pt x="771" y="102"/>
                  </a:cubicBezTo>
                  <a:cubicBezTo>
                    <a:pt x="698" y="154"/>
                    <a:pt x="637" y="228"/>
                    <a:pt x="609" y="294"/>
                  </a:cubicBezTo>
                  <a:cubicBezTo>
                    <a:pt x="548" y="250"/>
                    <a:pt x="468" y="220"/>
                    <a:pt x="380" y="205"/>
                  </a:cubicBezTo>
                  <a:cubicBezTo>
                    <a:pt x="346" y="200"/>
                    <a:pt x="315" y="198"/>
                    <a:pt x="285" y="198"/>
                  </a:cubicBezTo>
                  <a:cubicBezTo>
                    <a:pt x="128" y="198"/>
                    <a:pt x="20" y="263"/>
                    <a:pt x="1" y="369"/>
                  </a:cubicBezTo>
                  <a:cubicBezTo>
                    <a:pt x="1" y="369"/>
                    <a:pt x="44" y="287"/>
                    <a:pt x="248" y="287"/>
                  </a:cubicBezTo>
                  <a:cubicBezTo>
                    <a:pt x="282" y="287"/>
                    <a:pt x="320" y="289"/>
                    <a:pt x="364" y="294"/>
                  </a:cubicBezTo>
                  <a:cubicBezTo>
                    <a:pt x="460" y="301"/>
                    <a:pt x="534" y="332"/>
                    <a:pt x="586" y="362"/>
                  </a:cubicBezTo>
                  <a:lnTo>
                    <a:pt x="579" y="517"/>
                  </a:lnTo>
                  <a:lnTo>
                    <a:pt x="653" y="502"/>
                  </a:lnTo>
                  <a:lnTo>
                    <a:pt x="742" y="479"/>
                  </a:lnTo>
                  <a:lnTo>
                    <a:pt x="661" y="346"/>
                  </a:lnTo>
                  <a:cubicBezTo>
                    <a:pt x="698" y="294"/>
                    <a:pt x="742" y="236"/>
                    <a:pt x="824" y="168"/>
                  </a:cubicBezTo>
                  <a:cubicBezTo>
                    <a:pt x="938" y="77"/>
                    <a:pt x="1032" y="56"/>
                    <a:pt x="1094" y="56"/>
                  </a:cubicBezTo>
                  <a:cubicBezTo>
                    <a:pt x="1149" y="56"/>
                    <a:pt x="1180" y="72"/>
                    <a:pt x="1180" y="72"/>
                  </a:cubicBezTo>
                  <a:cubicBezTo>
                    <a:pt x="1145" y="25"/>
                    <a:pt x="1091" y="0"/>
                    <a:pt x="1026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4" name="Google Shape;5294;p53">
              <a:extLst>
                <a:ext uri="{FF2B5EF4-FFF2-40B4-BE49-F238E27FC236}">
                  <a16:creationId xmlns:a16="http://schemas.microsoft.com/office/drawing/2014/main" id="{FE4BB4FC-056E-AD35-0122-62153BB5FA5F}"/>
                </a:ext>
              </a:extLst>
            </p:cNvPr>
            <p:cNvSpPr/>
            <p:nvPr/>
          </p:nvSpPr>
          <p:spPr>
            <a:xfrm>
              <a:off x="7313675" y="1413575"/>
              <a:ext cx="24825" cy="12025"/>
            </a:xfrm>
            <a:custGeom>
              <a:avLst/>
              <a:gdLst/>
              <a:ahLst/>
              <a:cxnLst/>
              <a:rect l="l" t="t" r="r" b="b"/>
              <a:pathLst>
                <a:path w="993" h="481" extrusionOk="0">
                  <a:moveTo>
                    <a:pt x="851" y="0"/>
                  </a:moveTo>
                  <a:cubicBezTo>
                    <a:pt x="787" y="0"/>
                    <a:pt x="715" y="30"/>
                    <a:pt x="644" y="89"/>
                  </a:cubicBezTo>
                  <a:cubicBezTo>
                    <a:pt x="578" y="141"/>
                    <a:pt x="534" y="207"/>
                    <a:pt x="511" y="267"/>
                  </a:cubicBezTo>
                  <a:cubicBezTo>
                    <a:pt x="459" y="230"/>
                    <a:pt x="394" y="192"/>
                    <a:pt x="312" y="178"/>
                  </a:cubicBezTo>
                  <a:cubicBezTo>
                    <a:pt x="281" y="173"/>
                    <a:pt x="251" y="170"/>
                    <a:pt x="224" y="170"/>
                  </a:cubicBezTo>
                  <a:cubicBezTo>
                    <a:pt x="93" y="170"/>
                    <a:pt x="6" y="227"/>
                    <a:pt x="1" y="326"/>
                  </a:cubicBezTo>
                  <a:cubicBezTo>
                    <a:pt x="1" y="326"/>
                    <a:pt x="33" y="251"/>
                    <a:pt x="203" y="251"/>
                  </a:cubicBezTo>
                  <a:cubicBezTo>
                    <a:pt x="233" y="251"/>
                    <a:pt x="266" y="253"/>
                    <a:pt x="305" y="258"/>
                  </a:cubicBezTo>
                  <a:cubicBezTo>
                    <a:pt x="386" y="274"/>
                    <a:pt x="445" y="303"/>
                    <a:pt x="490" y="333"/>
                  </a:cubicBezTo>
                  <a:lnTo>
                    <a:pt x="490" y="480"/>
                  </a:lnTo>
                  <a:lnTo>
                    <a:pt x="555" y="466"/>
                  </a:lnTo>
                  <a:lnTo>
                    <a:pt x="630" y="452"/>
                  </a:lnTo>
                  <a:lnTo>
                    <a:pt x="555" y="319"/>
                  </a:lnTo>
                  <a:cubicBezTo>
                    <a:pt x="586" y="274"/>
                    <a:pt x="623" y="214"/>
                    <a:pt x="689" y="162"/>
                  </a:cubicBezTo>
                  <a:cubicBezTo>
                    <a:pt x="782" y="77"/>
                    <a:pt x="862" y="57"/>
                    <a:pt x="916" y="57"/>
                  </a:cubicBezTo>
                  <a:cubicBezTo>
                    <a:pt x="964" y="57"/>
                    <a:pt x="993" y="73"/>
                    <a:pt x="993" y="73"/>
                  </a:cubicBezTo>
                  <a:cubicBezTo>
                    <a:pt x="958" y="24"/>
                    <a:pt x="908" y="0"/>
                    <a:pt x="851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5" name="Google Shape;5295;p53">
              <a:extLst>
                <a:ext uri="{FF2B5EF4-FFF2-40B4-BE49-F238E27FC236}">
                  <a16:creationId xmlns:a16="http://schemas.microsoft.com/office/drawing/2014/main" id="{D12F1A96-CFE4-4E67-DCC7-3C42C49DD7F4}"/>
                </a:ext>
              </a:extLst>
            </p:cNvPr>
            <p:cNvSpPr/>
            <p:nvPr/>
          </p:nvSpPr>
          <p:spPr>
            <a:xfrm>
              <a:off x="7314425" y="1458625"/>
              <a:ext cx="15025" cy="6450"/>
            </a:xfrm>
            <a:custGeom>
              <a:avLst/>
              <a:gdLst/>
              <a:ahLst/>
              <a:cxnLst/>
              <a:rect l="l" t="t" r="r" b="b"/>
              <a:pathLst>
                <a:path w="601" h="258" extrusionOk="0">
                  <a:moveTo>
                    <a:pt x="520" y="1"/>
                  </a:moveTo>
                  <a:cubicBezTo>
                    <a:pt x="482" y="1"/>
                    <a:pt x="437" y="17"/>
                    <a:pt x="392" y="50"/>
                  </a:cubicBezTo>
                  <a:cubicBezTo>
                    <a:pt x="348" y="80"/>
                    <a:pt x="326" y="110"/>
                    <a:pt x="303" y="146"/>
                  </a:cubicBezTo>
                  <a:cubicBezTo>
                    <a:pt x="275" y="124"/>
                    <a:pt x="237" y="110"/>
                    <a:pt x="193" y="101"/>
                  </a:cubicBezTo>
                  <a:cubicBezTo>
                    <a:pt x="178" y="99"/>
                    <a:pt x="164" y="98"/>
                    <a:pt x="150" y="98"/>
                  </a:cubicBezTo>
                  <a:cubicBezTo>
                    <a:pt x="68" y="98"/>
                    <a:pt x="7" y="133"/>
                    <a:pt x="1" y="183"/>
                  </a:cubicBezTo>
                  <a:cubicBezTo>
                    <a:pt x="1" y="183"/>
                    <a:pt x="23" y="143"/>
                    <a:pt x="134" y="143"/>
                  </a:cubicBezTo>
                  <a:cubicBezTo>
                    <a:pt x="150" y="143"/>
                    <a:pt x="167" y="144"/>
                    <a:pt x="186" y="146"/>
                  </a:cubicBezTo>
                  <a:cubicBezTo>
                    <a:pt x="230" y="146"/>
                    <a:pt x="268" y="162"/>
                    <a:pt x="296" y="176"/>
                  </a:cubicBezTo>
                  <a:lnTo>
                    <a:pt x="289" y="258"/>
                  </a:lnTo>
                  <a:lnTo>
                    <a:pt x="333" y="243"/>
                  </a:lnTo>
                  <a:lnTo>
                    <a:pt x="378" y="234"/>
                  </a:lnTo>
                  <a:lnTo>
                    <a:pt x="333" y="169"/>
                  </a:lnTo>
                  <a:cubicBezTo>
                    <a:pt x="348" y="146"/>
                    <a:pt x="378" y="117"/>
                    <a:pt x="415" y="87"/>
                  </a:cubicBezTo>
                  <a:cubicBezTo>
                    <a:pt x="475" y="39"/>
                    <a:pt x="524" y="28"/>
                    <a:pt x="557" y="28"/>
                  </a:cubicBezTo>
                  <a:cubicBezTo>
                    <a:pt x="585" y="28"/>
                    <a:pt x="600" y="35"/>
                    <a:pt x="600" y="35"/>
                  </a:cubicBezTo>
                  <a:cubicBezTo>
                    <a:pt x="580" y="12"/>
                    <a:pt x="552" y="1"/>
                    <a:pt x="520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6" name="Google Shape;5296;p53">
              <a:extLst>
                <a:ext uri="{FF2B5EF4-FFF2-40B4-BE49-F238E27FC236}">
                  <a16:creationId xmlns:a16="http://schemas.microsoft.com/office/drawing/2014/main" id="{85598F08-D734-13CB-EF90-8DB77BA054D8}"/>
                </a:ext>
              </a:extLst>
            </p:cNvPr>
            <p:cNvSpPr/>
            <p:nvPr/>
          </p:nvSpPr>
          <p:spPr>
            <a:xfrm>
              <a:off x="7228275" y="1437800"/>
              <a:ext cx="20375" cy="8725"/>
            </a:xfrm>
            <a:custGeom>
              <a:avLst/>
              <a:gdLst/>
              <a:ahLst/>
              <a:cxnLst/>
              <a:rect l="l" t="t" r="r" b="b"/>
              <a:pathLst>
                <a:path w="815" h="349" extrusionOk="0">
                  <a:moveTo>
                    <a:pt x="712" y="1"/>
                  </a:moveTo>
                  <a:cubicBezTo>
                    <a:pt x="659" y="1"/>
                    <a:pt x="596" y="23"/>
                    <a:pt x="534" y="68"/>
                  </a:cubicBezTo>
                  <a:cubicBezTo>
                    <a:pt x="482" y="105"/>
                    <a:pt x="445" y="157"/>
                    <a:pt x="424" y="201"/>
                  </a:cubicBezTo>
                  <a:cubicBezTo>
                    <a:pt x="379" y="171"/>
                    <a:pt x="326" y="150"/>
                    <a:pt x="260" y="143"/>
                  </a:cubicBezTo>
                  <a:cubicBezTo>
                    <a:pt x="237" y="139"/>
                    <a:pt x="215" y="137"/>
                    <a:pt x="194" y="137"/>
                  </a:cubicBezTo>
                  <a:cubicBezTo>
                    <a:pt x="88" y="137"/>
                    <a:pt x="12" y="184"/>
                    <a:pt x="0" y="253"/>
                  </a:cubicBezTo>
                  <a:cubicBezTo>
                    <a:pt x="0" y="253"/>
                    <a:pt x="28" y="197"/>
                    <a:pt x="176" y="197"/>
                  </a:cubicBezTo>
                  <a:cubicBezTo>
                    <a:pt x="198" y="197"/>
                    <a:pt x="224" y="198"/>
                    <a:pt x="253" y="201"/>
                  </a:cubicBezTo>
                  <a:cubicBezTo>
                    <a:pt x="319" y="209"/>
                    <a:pt x="370" y="223"/>
                    <a:pt x="400" y="246"/>
                  </a:cubicBezTo>
                  <a:lnTo>
                    <a:pt x="400" y="349"/>
                  </a:lnTo>
                  <a:lnTo>
                    <a:pt x="452" y="342"/>
                  </a:lnTo>
                  <a:lnTo>
                    <a:pt x="512" y="328"/>
                  </a:lnTo>
                  <a:lnTo>
                    <a:pt x="459" y="232"/>
                  </a:lnTo>
                  <a:cubicBezTo>
                    <a:pt x="482" y="201"/>
                    <a:pt x="512" y="157"/>
                    <a:pt x="571" y="120"/>
                  </a:cubicBezTo>
                  <a:cubicBezTo>
                    <a:pt x="656" y="51"/>
                    <a:pt x="723" y="37"/>
                    <a:pt x="766" y="37"/>
                  </a:cubicBezTo>
                  <a:cubicBezTo>
                    <a:pt x="797" y="37"/>
                    <a:pt x="815" y="45"/>
                    <a:pt x="815" y="45"/>
                  </a:cubicBezTo>
                  <a:cubicBezTo>
                    <a:pt x="792" y="15"/>
                    <a:pt x="755" y="1"/>
                    <a:pt x="712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7" name="Google Shape;5297;p53">
              <a:extLst>
                <a:ext uri="{FF2B5EF4-FFF2-40B4-BE49-F238E27FC236}">
                  <a16:creationId xmlns:a16="http://schemas.microsoft.com/office/drawing/2014/main" id="{4D5817F1-D0FA-0E46-CC20-5F857B3058B0}"/>
                </a:ext>
              </a:extLst>
            </p:cNvPr>
            <p:cNvSpPr/>
            <p:nvPr/>
          </p:nvSpPr>
          <p:spPr>
            <a:xfrm>
              <a:off x="7503925" y="1476125"/>
              <a:ext cx="10950" cy="4700"/>
            </a:xfrm>
            <a:custGeom>
              <a:avLst/>
              <a:gdLst/>
              <a:ahLst/>
              <a:cxnLst/>
              <a:rect l="l" t="t" r="r" b="b"/>
              <a:pathLst>
                <a:path w="438" h="188" extrusionOk="0">
                  <a:moveTo>
                    <a:pt x="385" y="1"/>
                  </a:moveTo>
                  <a:cubicBezTo>
                    <a:pt x="357" y="1"/>
                    <a:pt x="324" y="14"/>
                    <a:pt x="290" y="40"/>
                  </a:cubicBezTo>
                  <a:cubicBezTo>
                    <a:pt x="260" y="54"/>
                    <a:pt x="237" y="84"/>
                    <a:pt x="230" y="105"/>
                  </a:cubicBezTo>
                  <a:cubicBezTo>
                    <a:pt x="208" y="91"/>
                    <a:pt x="178" y="77"/>
                    <a:pt x="141" y="77"/>
                  </a:cubicBezTo>
                  <a:cubicBezTo>
                    <a:pt x="127" y="74"/>
                    <a:pt x="114" y="73"/>
                    <a:pt x="102" y="73"/>
                  </a:cubicBezTo>
                  <a:cubicBezTo>
                    <a:pt x="47" y="73"/>
                    <a:pt x="6" y="99"/>
                    <a:pt x="0" y="136"/>
                  </a:cubicBezTo>
                  <a:cubicBezTo>
                    <a:pt x="0" y="136"/>
                    <a:pt x="17" y="103"/>
                    <a:pt x="93" y="103"/>
                  </a:cubicBezTo>
                  <a:cubicBezTo>
                    <a:pt x="105" y="103"/>
                    <a:pt x="118" y="103"/>
                    <a:pt x="134" y="105"/>
                  </a:cubicBezTo>
                  <a:cubicBezTo>
                    <a:pt x="171" y="105"/>
                    <a:pt x="201" y="121"/>
                    <a:pt x="215" y="128"/>
                  </a:cubicBezTo>
                  <a:lnTo>
                    <a:pt x="215" y="187"/>
                  </a:lnTo>
                  <a:lnTo>
                    <a:pt x="246" y="180"/>
                  </a:lnTo>
                  <a:lnTo>
                    <a:pt x="274" y="173"/>
                  </a:lnTo>
                  <a:lnTo>
                    <a:pt x="246" y="121"/>
                  </a:lnTo>
                  <a:cubicBezTo>
                    <a:pt x="260" y="105"/>
                    <a:pt x="274" y="84"/>
                    <a:pt x="304" y="61"/>
                  </a:cubicBezTo>
                  <a:cubicBezTo>
                    <a:pt x="348" y="26"/>
                    <a:pt x="383" y="17"/>
                    <a:pt x="406" y="17"/>
                  </a:cubicBezTo>
                  <a:cubicBezTo>
                    <a:pt x="427" y="17"/>
                    <a:pt x="438" y="24"/>
                    <a:pt x="438" y="24"/>
                  </a:cubicBezTo>
                  <a:cubicBezTo>
                    <a:pt x="425" y="8"/>
                    <a:pt x="407" y="1"/>
                    <a:pt x="38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8" name="Google Shape;5298;p53">
              <a:extLst>
                <a:ext uri="{FF2B5EF4-FFF2-40B4-BE49-F238E27FC236}">
                  <a16:creationId xmlns:a16="http://schemas.microsoft.com/office/drawing/2014/main" id="{1075D35D-1288-8AB3-EABA-61B3F3A3DFC6}"/>
                </a:ext>
              </a:extLst>
            </p:cNvPr>
            <p:cNvSpPr/>
            <p:nvPr/>
          </p:nvSpPr>
          <p:spPr>
            <a:xfrm>
              <a:off x="7717150" y="1657150"/>
              <a:ext cx="58350" cy="24300"/>
            </a:xfrm>
            <a:custGeom>
              <a:avLst/>
              <a:gdLst/>
              <a:ahLst/>
              <a:cxnLst/>
              <a:rect l="l" t="t" r="r" b="b"/>
              <a:pathLst>
                <a:path w="2334" h="972" extrusionOk="0">
                  <a:moveTo>
                    <a:pt x="777" y="1"/>
                  </a:moveTo>
                  <a:cubicBezTo>
                    <a:pt x="511" y="1"/>
                    <a:pt x="297" y="216"/>
                    <a:pt x="297" y="474"/>
                  </a:cubicBezTo>
                  <a:lnTo>
                    <a:pt x="297" y="483"/>
                  </a:lnTo>
                  <a:cubicBezTo>
                    <a:pt x="281" y="483"/>
                    <a:pt x="260" y="474"/>
                    <a:pt x="244" y="474"/>
                  </a:cubicBezTo>
                  <a:cubicBezTo>
                    <a:pt x="110" y="474"/>
                    <a:pt x="0" y="586"/>
                    <a:pt x="0" y="719"/>
                  </a:cubicBezTo>
                  <a:cubicBezTo>
                    <a:pt x="0" y="853"/>
                    <a:pt x="110" y="956"/>
                    <a:pt x="244" y="956"/>
                  </a:cubicBezTo>
                  <a:lnTo>
                    <a:pt x="244" y="972"/>
                  </a:lnTo>
                  <a:lnTo>
                    <a:pt x="2179" y="972"/>
                  </a:lnTo>
                  <a:lnTo>
                    <a:pt x="2179" y="956"/>
                  </a:lnTo>
                  <a:cubicBezTo>
                    <a:pt x="2268" y="949"/>
                    <a:pt x="2333" y="867"/>
                    <a:pt x="2333" y="778"/>
                  </a:cubicBezTo>
                  <a:cubicBezTo>
                    <a:pt x="2333" y="682"/>
                    <a:pt x="2253" y="600"/>
                    <a:pt x="2156" y="600"/>
                  </a:cubicBezTo>
                  <a:cubicBezTo>
                    <a:pt x="2111" y="600"/>
                    <a:pt x="2076" y="616"/>
                    <a:pt x="2038" y="638"/>
                  </a:cubicBezTo>
                  <a:lnTo>
                    <a:pt x="2038" y="616"/>
                  </a:lnTo>
                  <a:cubicBezTo>
                    <a:pt x="2038" y="422"/>
                    <a:pt x="1889" y="268"/>
                    <a:pt x="1697" y="268"/>
                  </a:cubicBezTo>
                  <a:cubicBezTo>
                    <a:pt x="1587" y="268"/>
                    <a:pt x="1489" y="319"/>
                    <a:pt x="1430" y="394"/>
                  </a:cubicBezTo>
                  <a:cubicBezTo>
                    <a:pt x="1409" y="385"/>
                    <a:pt x="1378" y="385"/>
                    <a:pt x="1355" y="385"/>
                  </a:cubicBezTo>
                  <a:cubicBezTo>
                    <a:pt x="1320" y="385"/>
                    <a:pt x="1282" y="394"/>
                    <a:pt x="1252" y="408"/>
                  </a:cubicBezTo>
                  <a:cubicBezTo>
                    <a:pt x="1222" y="172"/>
                    <a:pt x="1023" y="1"/>
                    <a:pt x="77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9" name="Google Shape;5299;p53">
              <a:extLst>
                <a:ext uri="{FF2B5EF4-FFF2-40B4-BE49-F238E27FC236}">
                  <a16:creationId xmlns:a16="http://schemas.microsoft.com/office/drawing/2014/main" id="{21D91134-5B83-2FDD-D092-ED6F34AB978D}"/>
                </a:ext>
              </a:extLst>
            </p:cNvPr>
            <p:cNvSpPr/>
            <p:nvPr/>
          </p:nvSpPr>
          <p:spPr>
            <a:xfrm>
              <a:off x="7724350" y="1657350"/>
              <a:ext cx="10950" cy="22075"/>
            </a:xfrm>
            <a:custGeom>
              <a:avLst/>
              <a:gdLst/>
              <a:ahLst/>
              <a:cxnLst/>
              <a:rect l="l" t="t" r="r" b="b"/>
              <a:pathLst>
                <a:path w="438" h="883" extrusionOk="0">
                  <a:moveTo>
                    <a:pt x="438" y="0"/>
                  </a:moveTo>
                  <a:cubicBezTo>
                    <a:pt x="201" y="0"/>
                    <a:pt x="0" y="199"/>
                    <a:pt x="0" y="445"/>
                  </a:cubicBezTo>
                  <a:cubicBezTo>
                    <a:pt x="0" y="688"/>
                    <a:pt x="201" y="882"/>
                    <a:pt x="438" y="882"/>
                  </a:cubicBezTo>
                  <a:cubicBezTo>
                    <a:pt x="438" y="882"/>
                    <a:pt x="187" y="800"/>
                    <a:pt x="171" y="445"/>
                  </a:cubicBezTo>
                  <a:cubicBezTo>
                    <a:pt x="150" y="119"/>
                    <a:pt x="438" y="0"/>
                    <a:pt x="43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0" name="Google Shape;5300;p53">
              <a:extLst>
                <a:ext uri="{FF2B5EF4-FFF2-40B4-BE49-F238E27FC236}">
                  <a16:creationId xmlns:a16="http://schemas.microsoft.com/office/drawing/2014/main" id="{EE61DF86-33A9-59B3-DF6C-44D88E5F76AD}"/>
                </a:ext>
              </a:extLst>
            </p:cNvPr>
            <p:cNvSpPr/>
            <p:nvPr/>
          </p:nvSpPr>
          <p:spPr>
            <a:xfrm>
              <a:off x="7745475" y="1666775"/>
              <a:ext cx="11525" cy="5975"/>
            </a:xfrm>
            <a:custGeom>
              <a:avLst/>
              <a:gdLst/>
              <a:ahLst/>
              <a:cxnLst/>
              <a:rect l="l" t="t" r="r" b="b"/>
              <a:pathLst>
                <a:path w="461" h="239" extrusionOk="0">
                  <a:moveTo>
                    <a:pt x="231" y="0"/>
                  </a:moveTo>
                  <a:cubicBezTo>
                    <a:pt x="105" y="9"/>
                    <a:pt x="0" y="112"/>
                    <a:pt x="0" y="238"/>
                  </a:cubicBezTo>
                  <a:cubicBezTo>
                    <a:pt x="0" y="238"/>
                    <a:pt x="37" y="105"/>
                    <a:pt x="231" y="89"/>
                  </a:cubicBezTo>
                  <a:cubicBezTo>
                    <a:pt x="235" y="89"/>
                    <a:pt x="239" y="89"/>
                    <a:pt x="243" y="89"/>
                  </a:cubicBezTo>
                  <a:cubicBezTo>
                    <a:pt x="403" y="89"/>
                    <a:pt x="461" y="231"/>
                    <a:pt x="461" y="231"/>
                  </a:cubicBezTo>
                  <a:cubicBezTo>
                    <a:pt x="461" y="105"/>
                    <a:pt x="356" y="0"/>
                    <a:pt x="23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1" name="Google Shape;5301;p53">
              <a:extLst>
                <a:ext uri="{FF2B5EF4-FFF2-40B4-BE49-F238E27FC236}">
                  <a16:creationId xmlns:a16="http://schemas.microsoft.com/office/drawing/2014/main" id="{CA55C99C-A4FA-C6FB-03F7-AA84639CA268}"/>
                </a:ext>
              </a:extLst>
            </p:cNvPr>
            <p:cNvSpPr/>
            <p:nvPr/>
          </p:nvSpPr>
          <p:spPr>
            <a:xfrm>
              <a:off x="7352750" y="1654925"/>
              <a:ext cx="60225" cy="25025"/>
            </a:xfrm>
            <a:custGeom>
              <a:avLst/>
              <a:gdLst/>
              <a:ahLst/>
              <a:cxnLst/>
              <a:rect l="l" t="t" r="r" b="b"/>
              <a:pathLst>
                <a:path w="2409" h="1001" extrusionOk="0">
                  <a:moveTo>
                    <a:pt x="1608" y="1"/>
                  </a:moveTo>
                  <a:cubicBezTo>
                    <a:pt x="1358" y="1"/>
                    <a:pt x="1150" y="186"/>
                    <a:pt x="1119" y="422"/>
                  </a:cubicBezTo>
                  <a:cubicBezTo>
                    <a:pt x="1082" y="408"/>
                    <a:pt x="1054" y="401"/>
                    <a:pt x="1016" y="401"/>
                  </a:cubicBezTo>
                  <a:cubicBezTo>
                    <a:pt x="986" y="401"/>
                    <a:pt x="965" y="401"/>
                    <a:pt x="934" y="408"/>
                  </a:cubicBezTo>
                  <a:cubicBezTo>
                    <a:pt x="876" y="334"/>
                    <a:pt x="771" y="282"/>
                    <a:pt x="660" y="282"/>
                  </a:cubicBezTo>
                  <a:cubicBezTo>
                    <a:pt x="468" y="282"/>
                    <a:pt x="305" y="438"/>
                    <a:pt x="305" y="638"/>
                  </a:cubicBezTo>
                  <a:lnTo>
                    <a:pt x="305" y="661"/>
                  </a:lnTo>
                  <a:cubicBezTo>
                    <a:pt x="275" y="638"/>
                    <a:pt x="230" y="623"/>
                    <a:pt x="186" y="623"/>
                  </a:cubicBezTo>
                  <a:cubicBezTo>
                    <a:pt x="83" y="623"/>
                    <a:pt x="1" y="705"/>
                    <a:pt x="1" y="808"/>
                  </a:cubicBezTo>
                  <a:cubicBezTo>
                    <a:pt x="1" y="904"/>
                    <a:pt x="68" y="979"/>
                    <a:pt x="164" y="993"/>
                  </a:cubicBezTo>
                  <a:lnTo>
                    <a:pt x="164" y="1000"/>
                  </a:lnTo>
                  <a:lnTo>
                    <a:pt x="2165" y="1000"/>
                  </a:lnTo>
                  <a:lnTo>
                    <a:pt x="2165" y="993"/>
                  </a:lnTo>
                  <a:cubicBezTo>
                    <a:pt x="2298" y="993"/>
                    <a:pt x="2409" y="883"/>
                    <a:pt x="2409" y="750"/>
                  </a:cubicBezTo>
                  <a:cubicBezTo>
                    <a:pt x="2409" y="607"/>
                    <a:pt x="2298" y="497"/>
                    <a:pt x="2165" y="497"/>
                  </a:cubicBezTo>
                  <a:cubicBezTo>
                    <a:pt x="2142" y="497"/>
                    <a:pt x="2121" y="497"/>
                    <a:pt x="2105" y="504"/>
                  </a:cubicBezTo>
                  <a:lnTo>
                    <a:pt x="2105" y="497"/>
                  </a:lnTo>
                  <a:cubicBezTo>
                    <a:pt x="2105" y="223"/>
                    <a:pt x="1882" y="1"/>
                    <a:pt x="1608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2" name="Google Shape;5302;p53">
              <a:extLst>
                <a:ext uri="{FF2B5EF4-FFF2-40B4-BE49-F238E27FC236}">
                  <a16:creationId xmlns:a16="http://schemas.microsoft.com/office/drawing/2014/main" id="{BE71D8B9-0056-89CD-8548-19463F913F40}"/>
                </a:ext>
              </a:extLst>
            </p:cNvPr>
            <p:cNvSpPr/>
            <p:nvPr/>
          </p:nvSpPr>
          <p:spPr>
            <a:xfrm>
              <a:off x="7397225" y="1655650"/>
              <a:ext cx="8375" cy="11900"/>
            </a:xfrm>
            <a:custGeom>
              <a:avLst/>
              <a:gdLst/>
              <a:ahLst/>
              <a:cxnLst/>
              <a:rect l="l" t="t" r="r" b="b"/>
              <a:pathLst>
                <a:path w="335" h="476" extrusionOk="0">
                  <a:moveTo>
                    <a:pt x="0" y="0"/>
                  </a:moveTo>
                  <a:lnTo>
                    <a:pt x="0" y="0"/>
                  </a:lnTo>
                  <a:cubicBezTo>
                    <a:pt x="192" y="75"/>
                    <a:pt x="326" y="253"/>
                    <a:pt x="326" y="468"/>
                  </a:cubicBezTo>
                  <a:lnTo>
                    <a:pt x="326" y="475"/>
                  </a:lnTo>
                  <a:lnTo>
                    <a:pt x="334" y="475"/>
                  </a:lnTo>
                  <a:lnTo>
                    <a:pt x="334" y="438"/>
                  </a:lnTo>
                  <a:cubicBezTo>
                    <a:pt x="334" y="232"/>
                    <a:pt x="192" y="61"/>
                    <a:pt x="0" y="0"/>
                  </a:cubicBezTo>
                  <a:close/>
                </a:path>
              </a:pathLst>
            </a:custGeom>
            <a:solidFill>
              <a:srgbClr val="EDED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3" name="Google Shape;5303;p53">
              <a:extLst>
                <a:ext uri="{FF2B5EF4-FFF2-40B4-BE49-F238E27FC236}">
                  <a16:creationId xmlns:a16="http://schemas.microsoft.com/office/drawing/2014/main" id="{E27E4EA9-8E27-D2CD-64C8-30DE77E1A4F0}"/>
                </a:ext>
              </a:extLst>
            </p:cNvPr>
            <p:cNvSpPr/>
            <p:nvPr/>
          </p:nvSpPr>
          <p:spPr>
            <a:xfrm>
              <a:off x="7394225" y="1655300"/>
              <a:ext cx="11375" cy="22825"/>
            </a:xfrm>
            <a:custGeom>
              <a:avLst/>
              <a:gdLst/>
              <a:ahLst/>
              <a:cxnLst/>
              <a:rect l="l" t="t" r="r" b="b"/>
              <a:pathLst>
                <a:path w="455" h="913" extrusionOk="0">
                  <a:moveTo>
                    <a:pt x="1" y="0"/>
                  </a:moveTo>
                  <a:cubicBezTo>
                    <a:pt x="1" y="0"/>
                    <a:pt x="298" y="119"/>
                    <a:pt x="284" y="452"/>
                  </a:cubicBezTo>
                  <a:cubicBezTo>
                    <a:pt x="261" y="824"/>
                    <a:pt x="1" y="913"/>
                    <a:pt x="1" y="913"/>
                  </a:cubicBezTo>
                  <a:cubicBezTo>
                    <a:pt x="239" y="913"/>
                    <a:pt x="438" y="719"/>
                    <a:pt x="454" y="489"/>
                  </a:cubicBezTo>
                  <a:lnTo>
                    <a:pt x="446" y="489"/>
                  </a:lnTo>
                  <a:lnTo>
                    <a:pt x="446" y="482"/>
                  </a:lnTo>
                  <a:cubicBezTo>
                    <a:pt x="446" y="267"/>
                    <a:pt x="312" y="89"/>
                    <a:pt x="120" y="14"/>
                  </a:cubicBezTo>
                  <a:cubicBezTo>
                    <a:pt x="83" y="7"/>
                    <a:pt x="45" y="0"/>
                    <a:pt x="1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4" name="Google Shape;5304;p53">
              <a:extLst>
                <a:ext uri="{FF2B5EF4-FFF2-40B4-BE49-F238E27FC236}">
                  <a16:creationId xmlns:a16="http://schemas.microsoft.com/office/drawing/2014/main" id="{C439D425-1BD0-8F16-7E63-EE4E140D8196}"/>
                </a:ext>
              </a:extLst>
            </p:cNvPr>
            <p:cNvSpPr/>
            <p:nvPr/>
          </p:nvSpPr>
          <p:spPr>
            <a:xfrm>
              <a:off x="7371825" y="1665125"/>
              <a:ext cx="11900" cy="5925"/>
            </a:xfrm>
            <a:custGeom>
              <a:avLst/>
              <a:gdLst/>
              <a:ahLst/>
              <a:cxnLst/>
              <a:rect l="l" t="t" r="r" b="b"/>
              <a:pathLst>
                <a:path w="476" h="237" extrusionOk="0">
                  <a:moveTo>
                    <a:pt x="239" y="0"/>
                  </a:moveTo>
                  <a:cubicBezTo>
                    <a:pt x="113" y="0"/>
                    <a:pt x="8" y="103"/>
                    <a:pt x="1" y="230"/>
                  </a:cubicBezTo>
                  <a:cubicBezTo>
                    <a:pt x="1" y="230"/>
                    <a:pt x="61" y="89"/>
                    <a:pt x="223" y="89"/>
                  </a:cubicBezTo>
                  <a:lnTo>
                    <a:pt x="246" y="89"/>
                  </a:lnTo>
                  <a:cubicBezTo>
                    <a:pt x="438" y="103"/>
                    <a:pt x="475" y="237"/>
                    <a:pt x="475" y="237"/>
                  </a:cubicBezTo>
                  <a:cubicBezTo>
                    <a:pt x="475" y="103"/>
                    <a:pt x="372" y="0"/>
                    <a:pt x="246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5" name="Google Shape;5305;p53">
              <a:extLst>
                <a:ext uri="{FF2B5EF4-FFF2-40B4-BE49-F238E27FC236}">
                  <a16:creationId xmlns:a16="http://schemas.microsoft.com/office/drawing/2014/main" id="{9153758D-8DB3-DF78-6D04-9E35CADBC2B4}"/>
                </a:ext>
              </a:extLst>
            </p:cNvPr>
            <p:cNvSpPr/>
            <p:nvPr/>
          </p:nvSpPr>
          <p:spPr>
            <a:xfrm>
              <a:off x="7309975" y="1567125"/>
              <a:ext cx="59475" cy="74850"/>
            </a:xfrm>
            <a:custGeom>
              <a:avLst/>
              <a:gdLst/>
              <a:ahLst/>
              <a:cxnLst/>
              <a:rect l="l" t="t" r="r" b="b"/>
              <a:pathLst>
                <a:path w="2379" h="2994" extrusionOk="0">
                  <a:moveTo>
                    <a:pt x="1185" y="1"/>
                  </a:moveTo>
                  <a:cubicBezTo>
                    <a:pt x="675" y="1"/>
                    <a:pt x="252" y="415"/>
                    <a:pt x="252" y="934"/>
                  </a:cubicBezTo>
                  <a:cubicBezTo>
                    <a:pt x="252" y="979"/>
                    <a:pt x="259" y="1023"/>
                    <a:pt x="268" y="1068"/>
                  </a:cubicBezTo>
                  <a:cubicBezTo>
                    <a:pt x="104" y="1267"/>
                    <a:pt x="1" y="1527"/>
                    <a:pt x="1" y="1808"/>
                  </a:cubicBezTo>
                  <a:cubicBezTo>
                    <a:pt x="1" y="2467"/>
                    <a:pt x="534" y="2994"/>
                    <a:pt x="1185" y="2994"/>
                  </a:cubicBezTo>
                  <a:cubicBezTo>
                    <a:pt x="1845" y="2994"/>
                    <a:pt x="2379" y="2467"/>
                    <a:pt x="2379" y="1808"/>
                  </a:cubicBezTo>
                  <a:cubicBezTo>
                    <a:pt x="2379" y="1527"/>
                    <a:pt x="2275" y="1267"/>
                    <a:pt x="2112" y="1068"/>
                  </a:cubicBezTo>
                  <a:cubicBezTo>
                    <a:pt x="2119" y="1023"/>
                    <a:pt x="2126" y="979"/>
                    <a:pt x="2126" y="934"/>
                  </a:cubicBezTo>
                  <a:cubicBezTo>
                    <a:pt x="2126" y="415"/>
                    <a:pt x="1705" y="1"/>
                    <a:pt x="118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6" name="Google Shape;5306;p53">
              <a:extLst>
                <a:ext uri="{FF2B5EF4-FFF2-40B4-BE49-F238E27FC236}">
                  <a16:creationId xmlns:a16="http://schemas.microsoft.com/office/drawing/2014/main" id="{862AC46C-2BD7-7AEE-6EA9-5EE57F2ABAF1}"/>
                </a:ext>
              </a:extLst>
            </p:cNvPr>
            <p:cNvSpPr/>
            <p:nvPr/>
          </p:nvSpPr>
          <p:spPr>
            <a:xfrm>
              <a:off x="7339600" y="1590125"/>
              <a:ext cx="2825" cy="89100"/>
            </a:xfrm>
            <a:custGeom>
              <a:avLst/>
              <a:gdLst/>
              <a:ahLst/>
              <a:cxnLst/>
              <a:rect l="l" t="t" r="r" b="b"/>
              <a:pathLst>
                <a:path w="113" h="3564" extrusionOk="0">
                  <a:moveTo>
                    <a:pt x="54" y="1"/>
                  </a:moveTo>
                  <a:cubicBezTo>
                    <a:pt x="53" y="1"/>
                    <a:pt x="52" y="4"/>
                    <a:pt x="52" y="14"/>
                  </a:cubicBezTo>
                  <a:lnTo>
                    <a:pt x="0" y="3511"/>
                  </a:lnTo>
                  <a:cubicBezTo>
                    <a:pt x="0" y="3534"/>
                    <a:pt x="23" y="3564"/>
                    <a:pt x="52" y="3564"/>
                  </a:cubicBezTo>
                  <a:lnTo>
                    <a:pt x="61" y="3564"/>
                  </a:lnTo>
                  <a:cubicBezTo>
                    <a:pt x="89" y="3564"/>
                    <a:pt x="112" y="3534"/>
                    <a:pt x="112" y="3511"/>
                  </a:cubicBezTo>
                  <a:cubicBezTo>
                    <a:pt x="112" y="3511"/>
                    <a:pt x="89" y="14"/>
                    <a:pt x="61" y="14"/>
                  </a:cubicBezTo>
                  <a:cubicBezTo>
                    <a:pt x="61" y="14"/>
                    <a:pt x="57" y="1"/>
                    <a:pt x="5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7" name="Google Shape;5307;p53">
              <a:extLst>
                <a:ext uri="{FF2B5EF4-FFF2-40B4-BE49-F238E27FC236}">
                  <a16:creationId xmlns:a16="http://schemas.microsoft.com/office/drawing/2014/main" id="{959CF9F2-92B5-36A0-B11A-CD391933C91E}"/>
                </a:ext>
              </a:extLst>
            </p:cNvPr>
            <p:cNvSpPr/>
            <p:nvPr/>
          </p:nvSpPr>
          <p:spPr>
            <a:xfrm>
              <a:off x="7324025" y="1611600"/>
              <a:ext cx="16875" cy="13875"/>
            </a:xfrm>
            <a:custGeom>
              <a:avLst/>
              <a:gdLst/>
              <a:ahLst/>
              <a:cxnLst/>
              <a:rect l="l" t="t" r="r" b="b"/>
              <a:pathLst>
                <a:path w="675" h="555" extrusionOk="0">
                  <a:moveTo>
                    <a:pt x="1" y="0"/>
                  </a:moveTo>
                  <a:lnTo>
                    <a:pt x="1" y="0"/>
                  </a:lnTo>
                  <a:cubicBezTo>
                    <a:pt x="331" y="541"/>
                    <a:pt x="634" y="555"/>
                    <a:pt x="665" y="555"/>
                  </a:cubicBezTo>
                  <a:cubicBezTo>
                    <a:pt x="667" y="555"/>
                    <a:pt x="668" y="555"/>
                    <a:pt x="668" y="555"/>
                  </a:cubicBezTo>
                  <a:lnTo>
                    <a:pt x="675" y="473"/>
                  </a:lnTo>
                  <a:lnTo>
                    <a:pt x="675" y="473"/>
                  </a:lnTo>
                  <a:cubicBezTo>
                    <a:pt x="675" y="473"/>
                    <a:pt x="668" y="479"/>
                    <a:pt x="647" y="479"/>
                  </a:cubicBezTo>
                  <a:cubicBezTo>
                    <a:pt x="606" y="479"/>
                    <a:pt x="511" y="455"/>
                    <a:pt x="312" y="311"/>
                  </a:cubicBezTo>
                  <a:cubicBezTo>
                    <a:pt x="134" y="18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8" name="Google Shape;5308;p53">
              <a:extLst>
                <a:ext uri="{FF2B5EF4-FFF2-40B4-BE49-F238E27FC236}">
                  <a16:creationId xmlns:a16="http://schemas.microsoft.com/office/drawing/2014/main" id="{4340AB78-C67C-AC15-BE0E-FD48D9A760C1}"/>
                </a:ext>
              </a:extLst>
            </p:cNvPr>
            <p:cNvSpPr/>
            <p:nvPr/>
          </p:nvSpPr>
          <p:spPr>
            <a:xfrm>
              <a:off x="7340875" y="1607675"/>
              <a:ext cx="14475" cy="11900"/>
            </a:xfrm>
            <a:custGeom>
              <a:avLst/>
              <a:gdLst/>
              <a:ahLst/>
              <a:cxnLst/>
              <a:rect l="l" t="t" r="r" b="b"/>
              <a:pathLst>
                <a:path w="579" h="476" extrusionOk="0">
                  <a:moveTo>
                    <a:pt x="579" y="1"/>
                  </a:moveTo>
                  <a:cubicBezTo>
                    <a:pt x="579" y="1"/>
                    <a:pt x="461" y="164"/>
                    <a:pt x="312" y="267"/>
                  </a:cubicBezTo>
                  <a:cubicBezTo>
                    <a:pt x="143" y="392"/>
                    <a:pt x="60" y="413"/>
                    <a:pt x="24" y="413"/>
                  </a:cubicBezTo>
                  <a:cubicBezTo>
                    <a:pt x="7" y="413"/>
                    <a:pt x="1" y="408"/>
                    <a:pt x="1" y="408"/>
                  </a:cubicBezTo>
                  <a:lnTo>
                    <a:pt x="1" y="408"/>
                  </a:lnTo>
                  <a:lnTo>
                    <a:pt x="10" y="475"/>
                  </a:lnTo>
                  <a:cubicBezTo>
                    <a:pt x="10" y="475"/>
                    <a:pt x="11" y="475"/>
                    <a:pt x="12" y="475"/>
                  </a:cubicBezTo>
                  <a:cubicBezTo>
                    <a:pt x="40" y="475"/>
                    <a:pt x="300" y="463"/>
                    <a:pt x="57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9" name="Google Shape;5309;p53">
              <a:extLst>
                <a:ext uri="{FF2B5EF4-FFF2-40B4-BE49-F238E27FC236}">
                  <a16:creationId xmlns:a16="http://schemas.microsoft.com/office/drawing/2014/main" id="{DBCF8B0A-1C21-4AA1-782E-52E686BA4149}"/>
                </a:ext>
              </a:extLst>
            </p:cNvPr>
            <p:cNvSpPr/>
            <p:nvPr/>
          </p:nvSpPr>
          <p:spPr>
            <a:xfrm>
              <a:off x="7329425" y="1599375"/>
              <a:ext cx="11475" cy="9450"/>
            </a:xfrm>
            <a:custGeom>
              <a:avLst/>
              <a:gdLst/>
              <a:ahLst/>
              <a:cxnLst/>
              <a:rect l="l" t="t" r="r" b="b"/>
              <a:pathLst>
                <a:path w="459" h="378" extrusionOk="0">
                  <a:moveTo>
                    <a:pt x="0" y="0"/>
                  </a:moveTo>
                  <a:cubicBezTo>
                    <a:pt x="228" y="370"/>
                    <a:pt x="443" y="377"/>
                    <a:pt x="458" y="377"/>
                  </a:cubicBezTo>
                  <a:cubicBezTo>
                    <a:pt x="459" y="377"/>
                    <a:pt x="459" y="377"/>
                    <a:pt x="459" y="377"/>
                  </a:cubicBezTo>
                  <a:lnTo>
                    <a:pt x="459" y="325"/>
                  </a:lnTo>
                  <a:cubicBezTo>
                    <a:pt x="459" y="325"/>
                    <a:pt x="455" y="328"/>
                    <a:pt x="444" y="328"/>
                  </a:cubicBezTo>
                  <a:cubicBezTo>
                    <a:pt x="417" y="328"/>
                    <a:pt x="352" y="313"/>
                    <a:pt x="208" y="215"/>
                  </a:cubicBezTo>
                  <a:cubicBezTo>
                    <a:pt x="89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0" name="Google Shape;5310;p53">
              <a:extLst>
                <a:ext uri="{FF2B5EF4-FFF2-40B4-BE49-F238E27FC236}">
                  <a16:creationId xmlns:a16="http://schemas.microsoft.com/office/drawing/2014/main" id="{DD461F36-AC77-EB6F-92F5-E6BC9D55D8E8}"/>
                </a:ext>
              </a:extLst>
            </p:cNvPr>
            <p:cNvSpPr/>
            <p:nvPr/>
          </p:nvSpPr>
          <p:spPr>
            <a:xfrm>
              <a:off x="7378150" y="1188300"/>
              <a:ext cx="26700" cy="26700"/>
            </a:xfrm>
            <a:custGeom>
              <a:avLst/>
              <a:gdLst/>
              <a:ahLst/>
              <a:cxnLst/>
              <a:rect l="l" t="t" r="r" b="b"/>
              <a:pathLst>
                <a:path w="1068" h="1068" extrusionOk="0">
                  <a:moveTo>
                    <a:pt x="534" y="0"/>
                  </a:moveTo>
                  <a:cubicBezTo>
                    <a:pt x="237" y="0"/>
                    <a:pt x="0" y="237"/>
                    <a:pt x="0" y="534"/>
                  </a:cubicBezTo>
                  <a:cubicBezTo>
                    <a:pt x="0" y="831"/>
                    <a:pt x="237" y="1067"/>
                    <a:pt x="534" y="1067"/>
                  </a:cubicBezTo>
                  <a:cubicBezTo>
                    <a:pt x="831" y="1067"/>
                    <a:pt x="1067" y="831"/>
                    <a:pt x="1067" y="534"/>
                  </a:cubicBezTo>
                  <a:cubicBezTo>
                    <a:pt x="1067" y="237"/>
                    <a:pt x="831" y="0"/>
                    <a:pt x="534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1" name="Google Shape;5311;p53">
              <a:extLst>
                <a:ext uri="{FF2B5EF4-FFF2-40B4-BE49-F238E27FC236}">
                  <a16:creationId xmlns:a16="http://schemas.microsoft.com/office/drawing/2014/main" id="{C0676EA5-0E56-98F8-3465-DAA8CC4087ED}"/>
                </a:ext>
              </a:extLst>
            </p:cNvPr>
            <p:cNvSpPr/>
            <p:nvPr/>
          </p:nvSpPr>
          <p:spPr>
            <a:xfrm>
              <a:off x="7314200" y="1224800"/>
              <a:ext cx="9850" cy="9850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2" y="0"/>
                  </a:moveTo>
                  <a:cubicBezTo>
                    <a:pt x="90" y="0"/>
                    <a:pt x="1" y="89"/>
                    <a:pt x="1" y="192"/>
                  </a:cubicBezTo>
                  <a:cubicBezTo>
                    <a:pt x="1" y="304"/>
                    <a:pt x="90" y="393"/>
                    <a:pt x="202" y="393"/>
                  </a:cubicBezTo>
                  <a:cubicBezTo>
                    <a:pt x="312" y="393"/>
                    <a:pt x="394" y="304"/>
                    <a:pt x="394" y="192"/>
                  </a:cubicBezTo>
                  <a:cubicBezTo>
                    <a:pt x="394" y="89"/>
                    <a:pt x="312" y="0"/>
                    <a:pt x="202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2" name="Google Shape;5312;p53">
              <a:extLst>
                <a:ext uri="{FF2B5EF4-FFF2-40B4-BE49-F238E27FC236}">
                  <a16:creationId xmlns:a16="http://schemas.microsoft.com/office/drawing/2014/main" id="{369CCE6F-A5B9-0C70-47ED-8408F61F3DD5}"/>
                </a:ext>
              </a:extLst>
            </p:cNvPr>
            <p:cNvSpPr/>
            <p:nvPr/>
          </p:nvSpPr>
          <p:spPr>
            <a:xfrm>
              <a:off x="7569850" y="1372975"/>
              <a:ext cx="12650" cy="12600"/>
            </a:xfrm>
            <a:custGeom>
              <a:avLst/>
              <a:gdLst/>
              <a:ahLst/>
              <a:cxnLst/>
              <a:rect l="l" t="t" r="r" b="b"/>
              <a:pathLst>
                <a:path w="506" h="504" extrusionOk="0">
                  <a:moveTo>
                    <a:pt x="253" y="1"/>
                  </a:moveTo>
                  <a:cubicBezTo>
                    <a:pt x="113" y="1"/>
                    <a:pt x="0" y="113"/>
                    <a:pt x="0" y="253"/>
                  </a:cubicBezTo>
                  <a:cubicBezTo>
                    <a:pt x="0" y="394"/>
                    <a:pt x="113" y="504"/>
                    <a:pt x="253" y="504"/>
                  </a:cubicBezTo>
                  <a:cubicBezTo>
                    <a:pt x="394" y="504"/>
                    <a:pt x="506" y="394"/>
                    <a:pt x="506" y="253"/>
                  </a:cubicBezTo>
                  <a:cubicBezTo>
                    <a:pt x="506" y="113"/>
                    <a:pt x="394" y="1"/>
                    <a:pt x="253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3" name="Google Shape;5313;p53">
              <a:extLst>
                <a:ext uri="{FF2B5EF4-FFF2-40B4-BE49-F238E27FC236}">
                  <a16:creationId xmlns:a16="http://schemas.microsoft.com/office/drawing/2014/main" id="{66841AC6-1B92-2B9A-5600-B12EC5B10053}"/>
                </a:ext>
              </a:extLst>
            </p:cNvPr>
            <p:cNvSpPr/>
            <p:nvPr/>
          </p:nvSpPr>
          <p:spPr>
            <a:xfrm>
              <a:off x="7452975" y="1412050"/>
              <a:ext cx="63550" cy="63775"/>
            </a:xfrm>
            <a:custGeom>
              <a:avLst/>
              <a:gdLst/>
              <a:ahLst/>
              <a:cxnLst/>
              <a:rect l="l" t="t" r="r" b="b"/>
              <a:pathLst>
                <a:path w="2542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1972" y="2551"/>
                    <a:pt x="2541" y="1980"/>
                    <a:pt x="2541" y="1276"/>
                  </a:cubicBezTo>
                  <a:cubicBezTo>
                    <a:pt x="2541" y="572"/>
                    <a:pt x="1972" y="1"/>
                    <a:pt x="1275" y="1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4" name="Google Shape;5314;p53">
              <a:extLst>
                <a:ext uri="{FF2B5EF4-FFF2-40B4-BE49-F238E27FC236}">
                  <a16:creationId xmlns:a16="http://schemas.microsoft.com/office/drawing/2014/main" id="{E56C927A-3B08-93F9-20F3-A301D9F52C65}"/>
                </a:ext>
              </a:extLst>
            </p:cNvPr>
            <p:cNvSpPr/>
            <p:nvPr/>
          </p:nvSpPr>
          <p:spPr>
            <a:xfrm>
              <a:off x="7452800" y="1412050"/>
              <a:ext cx="31900" cy="63775"/>
            </a:xfrm>
            <a:custGeom>
              <a:avLst/>
              <a:gdLst/>
              <a:ahLst/>
              <a:cxnLst/>
              <a:rect l="l" t="t" r="r" b="b"/>
              <a:pathLst>
                <a:path w="1276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571" y="2542"/>
                    <a:pt x="7" y="1980"/>
                    <a:pt x="7" y="1276"/>
                  </a:cubicBezTo>
                  <a:cubicBezTo>
                    <a:pt x="7" y="572"/>
                    <a:pt x="571" y="8"/>
                    <a:pt x="1275" y="1"/>
                  </a:cubicBezTo>
                  <a:close/>
                </a:path>
              </a:pathLst>
            </a:custGeom>
            <a:solidFill>
              <a:srgbClr val="99A0A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5" name="Google Shape;5315;p53">
              <a:extLst>
                <a:ext uri="{FF2B5EF4-FFF2-40B4-BE49-F238E27FC236}">
                  <a16:creationId xmlns:a16="http://schemas.microsoft.com/office/drawing/2014/main" id="{F2A08870-8EF5-9451-B7A6-BE0A8F7DD41E}"/>
                </a:ext>
              </a:extLst>
            </p:cNvPr>
            <p:cNvSpPr/>
            <p:nvPr/>
          </p:nvSpPr>
          <p:spPr>
            <a:xfrm>
              <a:off x="7452975" y="1412050"/>
              <a:ext cx="31725" cy="63775"/>
            </a:xfrm>
            <a:custGeom>
              <a:avLst/>
              <a:gdLst/>
              <a:ahLst/>
              <a:cxnLst/>
              <a:rect l="l" t="t" r="r" b="b"/>
              <a:pathLst>
                <a:path w="1269" h="2551" extrusionOk="0">
                  <a:moveTo>
                    <a:pt x="1268" y="1"/>
                  </a:moveTo>
                  <a:cubicBezTo>
                    <a:pt x="564" y="8"/>
                    <a:pt x="0" y="572"/>
                    <a:pt x="0" y="1276"/>
                  </a:cubicBezTo>
                  <a:cubicBezTo>
                    <a:pt x="0" y="1980"/>
                    <a:pt x="564" y="2542"/>
                    <a:pt x="1268" y="2551"/>
                  </a:cubicBezTo>
                  <a:cubicBezTo>
                    <a:pt x="1268" y="2542"/>
                    <a:pt x="578" y="1913"/>
                    <a:pt x="578" y="1276"/>
                  </a:cubicBezTo>
                  <a:cubicBezTo>
                    <a:pt x="578" y="639"/>
                    <a:pt x="1268" y="8"/>
                    <a:pt x="1268" y="1"/>
                  </a:cubicBezTo>
                  <a:close/>
                </a:path>
              </a:pathLst>
            </a:custGeom>
            <a:solidFill>
              <a:srgbClr val="FFE9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6" name="Google Shape;5316;p53">
              <a:extLst>
                <a:ext uri="{FF2B5EF4-FFF2-40B4-BE49-F238E27FC236}">
                  <a16:creationId xmlns:a16="http://schemas.microsoft.com/office/drawing/2014/main" id="{BD83695F-E5BF-69BB-64A4-F570B4336749}"/>
                </a:ext>
              </a:extLst>
            </p:cNvPr>
            <p:cNvSpPr/>
            <p:nvPr/>
          </p:nvSpPr>
          <p:spPr>
            <a:xfrm>
              <a:off x="7148250" y="1678625"/>
              <a:ext cx="644150" cy="39875"/>
            </a:xfrm>
            <a:custGeom>
              <a:avLst/>
              <a:gdLst/>
              <a:ahLst/>
              <a:cxnLst/>
              <a:rect l="l" t="t" r="r" b="b"/>
              <a:pathLst>
                <a:path w="25766" h="1595" extrusionOk="0">
                  <a:moveTo>
                    <a:pt x="1615" y="1"/>
                  </a:moveTo>
                  <a:cubicBezTo>
                    <a:pt x="0" y="1"/>
                    <a:pt x="141" y="1594"/>
                    <a:pt x="1615" y="1594"/>
                  </a:cubicBezTo>
                  <a:lnTo>
                    <a:pt x="25765" y="1594"/>
                  </a:lnTo>
                  <a:lnTo>
                    <a:pt x="25765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7" name="Google Shape;5317;p53">
              <a:extLst>
                <a:ext uri="{FF2B5EF4-FFF2-40B4-BE49-F238E27FC236}">
                  <a16:creationId xmlns:a16="http://schemas.microsoft.com/office/drawing/2014/main" id="{B9CEFFF5-A372-CA56-11B8-5715211B77D2}"/>
                </a:ext>
              </a:extLst>
            </p:cNvPr>
            <p:cNvSpPr/>
            <p:nvPr/>
          </p:nvSpPr>
          <p:spPr>
            <a:xfrm>
              <a:off x="7095475" y="1718475"/>
              <a:ext cx="696925" cy="39850"/>
            </a:xfrm>
            <a:custGeom>
              <a:avLst/>
              <a:gdLst/>
              <a:ahLst/>
              <a:cxnLst/>
              <a:rect l="l" t="t" r="r" b="b"/>
              <a:pathLst>
                <a:path w="27877" h="1594" extrusionOk="0">
                  <a:moveTo>
                    <a:pt x="1615" y="0"/>
                  </a:moveTo>
                  <a:cubicBezTo>
                    <a:pt x="45" y="0"/>
                    <a:pt x="0" y="1594"/>
                    <a:pt x="1615" y="1594"/>
                  </a:cubicBezTo>
                  <a:lnTo>
                    <a:pt x="27876" y="1594"/>
                  </a:lnTo>
                  <a:lnTo>
                    <a:pt x="2787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" name="Google Shape;5134;p53">
            <a:extLst>
              <a:ext uri="{FF2B5EF4-FFF2-40B4-BE49-F238E27FC236}">
                <a16:creationId xmlns:a16="http://schemas.microsoft.com/office/drawing/2014/main" id="{6ACE0DFF-F8E7-C46A-95C5-5940A84E765C}"/>
              </a:ext>
            </a:extLst>
          </p:cNvPr>
          <p:cNvSpPr txBox="1">
            <a:spLocks/>
          </p:cNvSpPr>
          <p:nvPr/>
        </p:nvSpPr>
        <p:spPr>
          <a:xfrm>
            <a:off x="-58050" y="106766"/>
            <a:ext cx="9055382" cy="899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Paytone One"/>
              <a:buNone/>
              <a:defRPr sz="4800" b="0" i="0" u="none" strike="noStrike" cap="none">
                <a:solidFill>
                  <a:schemeClr val="dk2"/>
                </a:solidFill>
                <a:latin typeface="Paytone One"/>
                <a:ea typeface="Paytone One"/>
                <a:cs typeface="Paytone One"/>
                <a:sym typeface="Paytone One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Bebas Neue"/>
              <a:buNone/>
              <a:defRPr sz="6000" b="0" i="0" u="none" strike="noStrike" cap="none">
                <a:solidFill>
                  <a:schemeClr val="dk2"/>
                </a:solidFill>
                <a:latin typeface="Bebas Neue"/>
                <a:ea typeface="Bebas Neue"/>
                <a:cs typeface="Bebas Neue"/>
                <a:sym typeface="Bebas Neue"/>
              </a:defRPr>
            </a:lvl9pPr>
          </a:lstStyle>
          <a:p>
            <a:r>
              <a:rPr lang="en-US" sz="4000" b="1" dirty="0">
                <a:solidFill>
                  <a:srgbClr val="A1E1FD"/>
                </a:solidFill>
              </a:rPr>
              <a:t>2021–2024: The Biden Administration</a:t>
            </a:r>
            <a:endParaRPr lang="en-US" sz="4000" dirty="0"/>
          </a:p>
        </p:txBody>
      </p:sp>
      <p:sp>
        <p:nvSpPr>
          <p:cNvPr id="3" name="Speech Bubble: Oval 2">
            <a:extLst>
              <a:ext uri="{FF2B5EF4-FFF2-40B4-BE49-F238E27FC236}">
                <a16:creationId xmlns:a16="http://schemas.microsoft.com/office/drawing/2014/main" id="{8A52BAA7-5E4C-B180-E7DE-FB91518623DB}"/>
              </a:ext>
            </a:extLst>
          </p:cNvPr>
          <p:cNvSpPr/>
          <p:nvPr/>
        </p:nvSpPr>
        <p:spPr>
          <a:xfrm rot="10800000">
            <a:off x="3548418" y="3237267"/>
            <a:ext cx="2627193" cy="1512154"/>
          </a:xfrm>
          <a:prstGeom prst="wedgeEllipseCallout">
            <a:avLst>
              <a:gd name="adj1" fmla="val 23611"/>
              <a:gd name="adj2" fmla="val 65978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Google Shape;5133;p53">
            <a:extLst>
              <a:ext uri="{FF2B5EF4-FFF2-40B4-BE49-F238E27FC236}">
                <a16:creationId xmlns:a16="http://schemas.microsoft.com/office/drawing/2014/main" id="{4BE275BF-24CF-39A5-3120-A2827CEFF0FA}"/>
              </a:ext>
            </a:extLst>
          </p:cNvPr>
          <p:cNvSpPr txBox="1">
            <a:spLocks/>
          </p:cNvSpPr>
          <p:nvPr/>
        </p:nvSpPr>
        <p:spPr>
          <a:xfrm>
            <a:off x="3698542" y="3526530"/>
            <a:ext cx="3439237" cy="887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PT Sans"/>
              <a:buNone/>
              <a:defRPr sz="1600" b="0" i="0" u="none" strike="noStrike" cap="none">
                <a:solidFill>
                  <a:schemeClr val="dk1"/>
                </a:solidFill>
                <a:latin typeface="Kumbh Sans"/>
                <a:ea typeface="Kumbh Sans"/>
                <a:cs typeface="Kumbh Sans"/>
                <a:sym typeface="Kumbh Sans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Roboto"/>
              <a:buNone/>
              <a:defRPr sz="21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371600" marR="0" lvl="2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Roboto"/>
              <a:buNone/>
              <a:defRPr sz="21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1828800" marR="0" lvl="3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 b="0" i="0" u="none" strike="noStrike" cap="none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4pPr>
            <a:lvl5pPr marL="2286000" marR="0" lvl="4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 b="0" i="0" u="none" strike="noStrike" cap="none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5pPr>
            <a:lvl6pPr marL="2743200" marR="0" lvl="5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 b="0" i="0" u="none" strike="noStrike" cap="none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6pPr>
            <a:lvl7pPr marL="3200400" marR="0" lvl="6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 b="0" i="0" u="none" strike="noStrike" cap="none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7pPr>
            <a:lvl8pPr marL="3657600" marR="0" lvl="7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 b="0" i="0" u="none" strike="noStrike" cap="none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8pPr>
            <a:lvl9pPr marL="4114800" marR="0" lvl="8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 b="0" i="0" u="none" strike="noStrike" cap="none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9pPr>
          </a:lstStyle>
          <a:p>
            <a:pPr marL="0" indent="0" algn="l"/>
            <a:r>
              <a:rPr lang="en-US" sz="2800" b="1">
                <a:solidFill>
                  <a:srgbClr val="FF0000"/>
                </a:solidFill>
                <a:latin typeface="Kumbh Sans" panose="020B0604020202020204" charset="0"/>
                <a:cs typeface="Kumbh Sans" panose="020B0604020202020204" charset="0"/>
              </a:rPr>
              <a:t>Not adopted</a:t>
            </a:r>
            <a:endParaRPr lang="en-US" sz="2800" b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89392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32">
          <a:extLst>
            <a:ext uri="{FF2B5EF4-FFF2-40B4-BE49-F238E27FC236}">
              <a16:creationId xmlns:a16="http://schemas.microsoft.com/office/drawing/2014/main" id="{8BF88E73-B4ED-8076-DAF5-A979C799B3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A7308E2-B939-DBF5-6D83-7C8FC85DED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4459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7308E2-B939-DBF5-6D83-7C8FC85DE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oogle Shape;5221;p53">
            <a:extLst>
              <a:ext uri="{FF2B5EF4-FFF2-40B4-BE49-F238E27FC236}">
                <a16:creationId xmlns:a16="http://schemas.microsoft.com/office/drawing/2014/main" id="{1889E481-D2DC-209E-DBD5-F56A0AFC65E3}"/>
              </a:ext>
            </a:extLst>
          </p:cNvPr>
          <p:cNvGrpSpPr/>
          <p:nvPr/>
        </p:nvGrpSpPr>
        <p:grpSpPr>
          <a:xfrm>
            <a:off x="7963727" y="-943392"/>
            <a:ext cx="2520565" cy="1945481"/>
            <a:chOff x="7095475" y="1127208"/>
            <a:chExt cx="817675" cy="631117"/>
          </a:xfrm>
        </p:grpSpPr>
        <p:sp>
          <p:nvSpPr>
            <p:cNvPr id="12" name="Google Shape;5222;p53">
              <a:extLst>
                <a:ext uri="{FF2B5EF4-FFF2-40B4-BE49-F238E27FC236}">
                  <a16:creationId xmlns:a16="http://schemas.microsoft.com/office/drawing/2014/main" id="{BF580303-314F-AD68-FF23-98CA664B457B}"/>
                </a:ext>
              </a:extLst>
            </p:cNvPr>
            <p:cNvSpPr/>
            <p:nvPr/>
          </p:nvSpPr>
          <p:spPr>
            <a:xfrm>
              <a:off x="7137300" y="1488925"/>
              <a:ext cx="169725" cy="73950"/>
            </a:xfrm>
            <a:custGeom>
              <a:avLst/>
              <a:gdLst/>
              <a:ahLst/>
              <a:cxnLst/>
              <a:rect l="l" t="t" r="r" b="b"/>
              <a:pathLst>
                <a:path w="6789" h="2958" extrusionOk="0">
                  <a:moveTo>
                    <a:pt x="3232" y="0"/>
                  </a:moveTo>
                  <a:cubicBezTo>
                    <a:pt x="2690" y="0"/>
                    <a:pt x="2239" y="391"/>
                    <a:pt x="2135" y="906"/>
                  </a:cubicBezTo>
                  <a:cubicBezTo>
                    <a:pt x="2097" y="899"/>
                    <a:pt x="2062" y="899"/>
                    <a:pt x="2017" y="890"/>
                  </a:cubicBezTo>
                  <a:cubicBezTo>
                    <a:pt x="1550" y="890"/>
                    <a:pt x="1157" y="1261"/>
                    <a:pt x="1135" y="1727"/>
                  </a:cubicBezTo>
                  <a:cubicBezTo>
                    <a:pt x="586" y="1868"/>
                    <a:pt x="150" y="2305"/>
                    <a:pt x="1" y="2855"/>
                  </a:cubicBezTo>
                  <a:lnTo>
                    <a:pt x="6789" y="2958"/>
                  </a:lnTo>
                  <a:cubicBezTo>
                    <a:pt x="6625" y="2268"/>
                    <a:pt x="6241" y="1743"/>
                    <a:pt x="5499" y="1734"/>
                  </a:cubicBezTo>
                  <a:lnTo>
                    <a:pt x="5432" y="1734"/>
                  </a:lnTo>
                  <a:cubicBezTo>
                    <a:pt x="5441" y="1210"/>
                    <a:pt x="5025" y="772"/>
                    <a:pt x="4498" y="765"/>
                  </a:cubicBezTo>
                  <a:cubicBezTo>
                    <a:pt x="4425" y="765"/>
                    <a:pt x="4358" y="772"/>
                    <a:pt x="4292" y="787"/>
                  </a:cubicBezTo>
                  <a:cubicBezTo>
                    <a:pt x="4159" y="335"/>
                    <a:pt x="3742" y="9"/>
                    <a:pt x="3246" y="1"/>
                  </a:cubicBezTo>
                  <a:cubicBezTo>
                    <a:pt x="3241" y="1"/>
                    <a:pt x="3237" y="0"/>
                    <a:pt x="3232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5223;p53">
              <a:extLst>
                <a:ext uri="{FF2B5EF4-FFF2-40B4-BE49-F238E27FC236}">
                  <a16:creationId xmlns:a16="http://schemas.microsoft.com/office/drawing/2014/main" id="{E9E86F88-4FCD-19C6-AAC1-94AB3ACFC605}"/>
                </a:ext>
              </a:extLst>
            </p:cNvPr>
            <p:cNvSpPr/>
            <p:nvPr/>
          </p:nvSpPr>
          <p:spPr>
            <a:xfrm>
              <a:off x="7191050" y="1511725"/>
              <a:ext cx="18700" cy="37475"/>
            </a:xfrm>
            <a:custGeom>
              <a:avLst/>
              <a:gdLst/>
              <a:ahLst/>
              <a:cxnLst/>
              <a:rect l="l" t="t" r="r" b="b"/>
              <a:pathLst>
                <a:path w="748" h="1499" extrusionOk="0">
                  <a:moveTo>
                    <a:pt x="1" y="1"/>
                  </a:moveTo>
                  <a:cubicBezTo>
                    <a:pt x="1" y="1"/>
                    <a:pt x="593" y="193"/>
                    <a:pt x="563" y="750"/>
                  </a:cubicBezTo>
                  <a:cubicBezTo>
                    <a:pt x="534" y="1365"/>
                    <a:pt x="1" y="1498"/>
                    <a:pt x="1" y="1498"/>
                  </a:cubicBezTo>
                  <a:cubicBezTo>
                    <a:pt x="415" y="1498"/>
                    <a:pt x="748" y="1164"/>
                    <a:pt x="748" y="750"/>
                  </a:cubicBezTo>
                  <a:cubicBezTo>
                    <a:pt x="748" y="333"/>
                    <a:pt x="415" y="1"/>
                    <a:pt x="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5224;p53">
              <a:extLst>
                <a:ext uri="{FF2B5EF4-FFF2-40B4-BE49-F238E27FC236}">
                  <a16:creationId xmlns:a16="http://schemas.microsoft.com/office/drawing/2014/main" id="{7EF0388B-9AC8-9B45-9A91-1132AE5D72AF}"/>
                </a:ext>
              </a:extLst>
            </p:cNvPr>
            <p:cNvSpPr/>
            <p:nvPr/>
          </p:nvSpPr>
          <p:spPr>
            <a:xfrm>
              <a:off x="7286250" y="1534500"/>
              <a:ext cx="11300" cy="7100"/>
            </a:xfrm>
            <a:custGeom>
              <a:avLst/>
              <a:gdLst/>
              <a:ahLst/>
              <a:cxnLst/>
              <a:rect l="l" t="t" r="r" b="b"/>
              <a:pathLst>
                <a:path w="452" h="284" extrusionOk="0">
                  <a:moveTo>
                    <a:pt x="0" y="0"/>
                  </a:moveTo>
                  <a:lnTo>
                    <a:pt x="0" y="0"/>
                  </a:lnTo>
                  <a:cubicBezTo>
                    <a:pt x="164" y="61"/>
                    <a:pt x="297" y="157"/>
                    <a:pt x="416" y="283"/>
                  </a:cubicBezTo>
                  <a:lnTo>
                    <a:pt x="452" y="232"/>
                  </a:lnTo>
                  <a:cubicBezTo>
                    <a:pt x="319" y="120"/>
                    <a:pt x="171" y="38"/>
                    <a:pt x="0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5225;p53">
              <a:extLst>
                <a:ext uri="{FF2B5EF4-FFF2-40B4-BE49-F238E27FC236}">
                  <a16:creationId xmlns:a16="http://schemas.microsoft.com/office/drawing/2014/main" id="{D914C4E9-D64D-69FD-9B3D-51BA4E1DA814}"/>
                </a:ext>
              </a:extLst>
            </p:cNvPr>
            <p:cNvSpPr/>
            <p:nvPr/>
          </p:nvSpPr>
          <p:spPr>
            <a:xfrm>
              <a:off x="7251975" y="1533600"/>
              <a:ext cx="44700" cy="27250"/>
            </a:xfrm>
            <a:custGeom>
              <a:avLst/>
              <a:gdLst/>
              <a:ahLst/>
              <a:cxnLst/>
              <a:rect l="l" t="t" r="r" b="b"/>
              <a:pathLst>
                <a:path w="1788" h="1090" extrusionOk="0">
                  <a:moveTo>
                    <a:pt x="1105" y="1"/>
                  </a:moveTo>
                  <a:cubicBezTo>
                    <a:pt x="505" y="1"/>
                    <a:pt x="16" y="481"/>
                    <a:pt x="0" y="1089"/>
                  </a:cubicBezTo>
                  <a:cubicBezTo>
                    <a:pt x="0" y="1089"/>
                    <a:pt x="283" y="214"/>
                    <a:pt x="1046" y="214"/>
                  </a:cubicBezTo>
                  <a:lnTo>
                    <a:pt x="1121" y="214"/>
                  </a:lnTo>
                  <a:cubicBezTo>
                    <a:pt x="1364" y="237"/>
                    <a:pt x="1565" y="312"/>
                    <a:pt x="1713" y="415"/>
                  </a:cubicBezTo>
                  <a:lnTo>
                    <a:pt x="1787" y="319"/>
                  </a:lnTo>
                  <a:cubicBezTo>
                    <a:pt x="1668" y="193"/>
                    <a:pt x="1535" y="97"/>
                    <a:pt x="1371" y="36"/>
                  </a:cubicBezTo>
                  <a:cubicBezTo>
                    <a:pt x="1298" y="15"/>
                    <a:pt x="1209" y="1"/>
                    <a:pt x="112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5226;p53">
              <a:extLst>
                <a:ext uri="{FF2B5EF4-FFF2-40B4-BE49-F238E27FC236}">
                  <a16:creationId xmlns:a16="http://schemas.microsoft.com/office/drawing/2014/main" id="{C53A7B0D-541B-D6F0-EA3D-6622EBBDA9D7}"/>
                </a:ext>
              </a:extLst>
            </p:cNvPr>
            <p:cNvSpPr/>
            <p:nvPr/>
          </p:nvSpPr>
          <p:spPr>
            <a:xfrm>
              <a:off x="7457400" y="1303300"/>
              <a:ext cx="214200" cy="93225"/>
            </a:xfrm>
            <a:custGeom>
              <a:avLst/>
              <a:gdLst/>
              <a:ahLst/>
              <a:cxnLst/>
              <a:rect l="l" t="t" r="r" b="b"/>
              <a:pathLst>
                <a:path w="8568" h="3729" extrusionOk="0">
                  <a:moveTo>
                    <a:pt x="4485" y="1"/>
                  </a:moveTo>
                  <a:cubicBezTo>
                    <a:pt x="4480" y="1"/>
                    <a:pt x="4475" y="1"/>
                    <a:pt x="4470" y="1"/>
                  </a:cubicBezTo>
                  <a:cubicBezTo>
                    <a:pt x="3848" y="17"/>
                    <a:pt x="3328" y="424"/>
                    <a:pt x="3150" y="995"/>
                  </a:cubicBezTo>
                  <a:cubicBezTo>
                    <a:pt x="3069" y="972"/>
                    <a:pt x="2987" y="965"/>
                    <a:pt x="2898" y="965"/>
                  </a:cubicBezTo>
                  <a:cubicBezTo>
                    <a:pt x="2231" y="979"/>
                    <a:pt x="1706" y="1521"/>
                    <a:pt x="1714" y="2188"/>
                  </a:cubicBezTo>
                  <a:lnTo>
                    <a:pt x="1632" y="2188"/>
                  </a:lnTo>
                  <a:cubicBezTo>
                    <a:pt x="698" y="2202"/>
                    <a:pt x="209" y="2862"/>
                    <a:pt x="1" y="3728"/>
                  </a:cubicBezTo>
                  <a:lnTo>
                    <a:pt x="8567" y="3602"/>
                  </a:lnTo>
                  <a:cubicBezTo>
                    <a:pt x="8382" y="2907"/>
                    <a:pt x="7826" y="2357"/>
                    <a:pt x="7130" y="2179"/>
                  </a:cubicBezTo>
                  <a:cubicBezTo>
                    <a:pt x="7108" y="1592"/>
                    <a:pt x="6626" y="1128"/>
                    <a:pt x="6033" y="1128"/>
                  </a:cubicBezTo>
                  <a:cubicBezTo>
                    <a:pt x="6028" y="1128"/>
                    <a:pt x="6024" y="1128"/>
                    <a:pt x="6019" y="1128"/>
                  </a:cubicBezTo>
                  <a:cubicBezTo>
                    <a:pt x="5975" y="1128"/>
                    <a:pt x="5921" y="1135"/>
                    <a:pt x="5877" y="1143"/>
                  </a:cubicBezTo>
                  <a:cubicBezTo>
                    <a:pt x="5744" y="488"/>
                    <a:pt x="5174" y="1"/>
                    <a:pt x="4485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5227;p53">
              <a:extLst>
                <a:ext uri="{FF2B5EF4-FFF2-40B4-BE49-F238E27FC236}">
                  <a16:creationId xmlns:a16="http://schemas.microsoft.com/office/drawing/2014/main" id="{721BFE61-D699-58B4-A5B8-3F6F94A6A7FC}"/>
                </a:ext>
              </a:extLst>
            </p:cNvPr>
            <p:cNvSpPr/>
            <p:nvPr/>
          </p:nvSpPr>
          <p:spPr>
            <a:xfrm>
              <a:off x="7580250" y="1332200"/>
              <a:ext cx="23550" cy="47125"/>
            </a:xfrm>
            <a:custGeom>
              <a:avLst/>
              <a:gdLst/>
              <a:ahLst/>
              <a:cxnLst/>
              <a:rect l="l" t="t" r="r" b="b"/>
              <a:pathLst>
                <a:path w="942" h="1885" extrusionOk="0">
                  <a:moveTo>
                    <a:pt x="941" y="1"/>
                  </a:moveTo>
                  <a:cubicBezTo>
                    <a:pt x="422" y="1"/>
                    <a:pt x="1" y="424"/>
                    <a:pt x="1" y="943"/>
                  </a:cubicBezTo>
                  <a:cubicBezTo>
                    <a:pt x="1" y="1461"/>
                    <a:pt x="422" y="1884"/>
                    <a:pt x="941" y="1884"/>
                  </a:cubicBezTo>
                  <a:cubicBezTo>
                    <a:pt x="941" y="1884"/>
                    <a:pt x="274" y="1713"/>
                    <a:pt x="230" y="943"/>
                  </a:cubicBezTo>
                  <a:cubicBezTo>
                    <a:pt x="193" y="246"/>
                    <a:pt x="941" y="1"/>
                    <a:pt x="94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5228;p53">
              <a:extLst>
                <a:ext uri="{FF2B5EF4-FFF2-40B4-BE49-F238E27FC236}">
                  <a16:creationId xmlns:a16="http://schemas.microsoft.com/office/drawing/2014/main" id="{C80DA95D-A262-7006-6195-A345456259B5}"/>
                </a:ext>
              </a:extLst>
            </p:cNvPr>
            <p:cNvSpPr/>
            <p:nvPr/>
          </p:nvSpPr>
          <p:spPr>
            <a:xfrm>
              <a:off x="7457050" y="1360750"/>
              <a:ext cx="26525" cy="34300"/>
            </a:xfrm>
            <a:custGeom>
              <a:avLst/>
              <a:gdLst/>
              <a:ahLst/>
              <a:cxnLst/>
              <a:rect l="l" t="t" r="r" b="b"/>
              <a:pathLst>
                <a:path w="1061" h="1372" extrusionOk="0">
                  <a:moveTo>
                    <a:pt x="1061" y="1"/>
                  </a:moveTo>
                  <a:cubicBezTo>
                    <a:pt x="452" y="157"/>
                    <a:pt x="1" y="712"/>
                    <a:pt x="8" y="1372"/>
                  </a:cubicBezTo>
                  <a:cubicBezTo>
                    <a:pt x="8" y="1372"/>
                    <a:pt x="38" y="1245"/>
                    <a:pt x="120" y="1082"/>
                  </a:cubicBezTo>
                  <a:cubicBezTo>
                    <a:pt x="305" y="579"/>
                    <a:pt x="600" y="185"/>
                    <a:pt x="1061" y="1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5229;p53">
              <a:extLst>
                <a:ext uri="{FF2B5EF4-FFF2-40B4-BE49-F238E27FC236}">
                  <a16:creationId xmlns:a16="http://schemas.microsoft.com/office/drawing/2014/main" id="{1D57AD18-B9F2-1A5A-5AC0-3D5C99AFD549}"/>
                </a:ext>
              </a:extLst>
            </p:cNvPr>
            <p:cNvSpPr/>
            <p:nvPr/>
          </p:nvSpPr>
          <p:spPr>
            <a:xfrm>
              <a:off x="7460025" y="1359825"/>
              <a:ext cx="66900" cy="34125"/>
            </a:xfrm>
            <a:custGeom>
              <a:avLst/>
              <a:gdLst/>
              <a:ahLst/>
              <a:cxnLst/>
              <a:rect l="l" t="t" r="r" b="b"/>
              <a:pathLst>
                <a:path w="2676" h="1365" extrusionOk="0">
                  <a:moveTo>
                    <a:pt x="1260" y="0"/>
                  </a:moveTo>
                  <a:cubicBezTo>
                    <a:pt x="1148" y="0"/>
                    <a:pt x="1045" y="16"/>
                    <a:pt x="942" y="38"/>
                  </a:cubicBezTo>
                  <a:cubicBezTo>
                    <a:pt x="481" y="222"/>
                    <a:pt x="186" y="616"/>
                    <a:pt x="1" y="1119"/>
                  </a:cubicBezTo>
                  <a:cubicBezTo>
                    <a:pt x="163" y="800"/>
                    <a:pt x="518" y="319"/>
                    <a:pt x="1267" y="267"/>
                  </a:cubicBezTo>
                  <a:lnTo>
                    <a:pt x="1356" y="267"/>
                  </a:lnTo>
                  <a:cubicBezTo>
                    <a:pt x="2320" y="267"/>
                    <a:pt x="2676" y="1364"/>
                    <a:pt x="2676" y="1364"/>
                  </a:cubicBezTo>
                  <a:cubicBezTo>
                    <a:pt x="2660" y="608"/>
                    <a:pt x="2037" y="0"/>
                    <a:pt x="1281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5230;p53">
              <a:extLst>
                <a:ext uri="{FF2B5EF4-FFF2-40B4-BE49-F238E27FC236}">
                  <a16:creationId xmlns:a16="http://schemas.microsoft.com/office/drawing/2014/main" id="{75116E67-6F68-5618-8511-D5EFA71FBD7E}"/>
                </a:ext>
              </a:extLst>
            </p:cNvPr>
            <p:cNvSpPr/>
            <p:nvPr/>
          </p:nvSpPr>
          <p:spPr>
            <a:xfrm>
              <a:off x="7364800" y="1192375"/>
              <a:ext cx="181725" cy="65975"/>
            </a:xfrm>
            <a:custGeom>
              <a:avLst/>
              <a:gdLst/>
              <a:ahLst/>
              <a:cxnLst/>
              <a:rect l="l" t="t" r="r" b="b"/>
              <a:pathLst>
                <a:path w="7269" h="2639" extrusionOk="0">
                  <a:moveTo>
                    <a:pt x="3113" y="1"/>
                  </a:moveTo>
                  <a:cubicBezTo>
                    <a:pt x="2305" y="1"/>
                    <a:pt x="1615" y="497"/>
                    <a:pt x="1334" y="1192"/>
                  </a:cubicBezTo>
                  <a:cubicBezTo>
                    <a:pt x="1283" y="1185"/>
                    <a:pt x="1238" y="1185"/>
                    <a:pt x="1187" y="1185"/>
                  </a:cubicBezTo>
                  <a:cubicBezTo>
                    <a:pt x="534" y="1185"/>
                    <a:pt x="1" y="1712"/>
                    <a:pt x="1" y="2371"/>
                  </a:cubicBezTo>
                  <a:cubicBezTo>
                    <a:pt x="1" y="2460"/>
                    <a:pt x="15" y="2549"/>
                    <a:pt x="38" y="2638"/>
                  </a:cubicBezTo>
                  <a:lnTo>
                    <a:pt x="5876" y="2638"/>
                  </a:lnTo>
                  <a:cubicBezTo>
                    <a:pt x="5891" y="2624"/>
                    <a:pt x="5907" y="2615"/>
                    <a:pt x="5921" y="2601"/>
                  </a:cubicBezTo>
                  <a:cubicBezTo>
                    <a:pt x="5921" y="2615"/>
                    <a:pt x="5928" y="2624"/>
                    <a:pt x="5935" y="2638"/>
                  </a:cubicBezTo>
                  <a:lnTo>
                    <a:pt x="7217" y="2638"/>
                  </a:lnTo>
                  <a:cubicBezTo>
                    <a:pt x="7248" y="2556"/>
                    <a:pt x="7269" y="2467"/>
                    <a:pt x="7269" y="2371"/>
                  </a:cubicBezTo>
                  <a:cubicBezTo>
                    <a:pt x="7269" y="1986"/>
                    <a:pt x="6958" y="1674"/>
                    <a:pt x="6573" y="1674"/>
                  </a:cubicBezTo>
                  <a:cubicBezTo>
                    <a:pt x="6440" y="1674"/>
                    <a:pt x="6314" y="1712"/>
                    <a:pt x="6202" y="1779"/>
                  </a:cubicBezTo>
                  <a:cubicBezTo>
                    <a:pt x="6136" y="1335"/>
                    <a:pt x="5750" y="993"/>
                    <a:pt x="5291" y="993"/>
                  </a:cubicBezTo>
                  <a:cubicBezTo>
                    <a:pt x="5128" y="993"/>
                    <a:pt x="4980" y="1038"/>
                    <a:pt x="4854" y="1103"/>
                  </a:cubicBezTo>
                  <a:cubicBezTo>
                    <a:pt x="4543" y="453"/>
                    <a:pt x="3883" y="1"/>
                    <a:pt x="3113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5231;p53">
              <a:extLst>
                <a:ext uri="{FF2B5EF4-FFF2-40B4-BE49-F238E27FC236}">
                  <a16:creationId xmlns:a16="http://schemas.microsoft.com/office/drawing/2014/main" id="{D3ABC193-A221-581B-1C03-C4E85567A1A1}"/>
                </a:ext>
              </a:extLst>
            </p:cNvPr>
            <p:cNvSpPr/>
            <p:nvPr/>
          </p:nvSpPr>
          <p:spPr>
            <a:xfrm>
              <a:off x="7506267" y="1127208"/>
              <a:ext cx="100825" cy="36700"/>
            </a:xfrm>
            <a:custGeom>
              <a:avLst/>
              <a:gdLst/>
              <a:ahLst/>
              <a:cxnLst/>
              <a:rect l="l" t="t" r="r" b="b"/>
              <a:pathLst>
                <a:path w="4033" h="1468" extrusionOk="0">
                  <a:moveTo>
                    <a:pt x="2306" y="0"/>
                  </a:moveTo>
                  <a:cubicBezTo>
                    <a:pt x="1875" y="0"/>
                    <a:pt x="1512" y="253"/>
                    <a:pt x="1342" y="616"/>
                  </a:cubicBezTo>
                  <a:cubicBezTo>
                    <a:pt x="1267" y="578"/>
                    <a:pt x="1187" y="557"/>
                    <a:pt x="1098" y="557"/>
                  </a:cubicBezTo>
                  <a:cubicBezTo>
                    <a:pt x="838" y="557"/>
                    <a:pt x="623" y="742"/>
                    <a:pt x="586" y="986"/>
                  </a:cubicBezTo>
                  <a:cubicBezTo>
                    <a:pt x="527" y="950"/>
                    <a:pt x="460" y="927"/>
                    <a:pt x="387" y="927"/>
                  </a:cubicBezTo>
                  <a:cubicBezTo>
                    <a:pt x="171" y="927"/>
                    <a:pt x="1" y="1105"/>
                    <a:pt x="1" y="1320"/>
                  </a:cubicBezTo>
                  <a:cubicBezTo>
                    <a:pt x="1" y="1372"/>
                    <a:pt x="8" y="1416"/>
                    <a:pt x="31" y="1468"/>
                  </a:cubicBezTo>
                  <a:lnTo>
                    <a:pt x="742" y="1468"/>
                  </a:lnTo>
                  <a:cubicBezTo>
                    <a:pt x="742" y="1460"/>
                    <a:pt x="742" y="1453"/>
                    <a:pt x="749" y="1446"/>
                  </a:cubicBezTo>
                  <a:cubicBezTo>
                    <a:pt x="757" y="1453"/>
                    <a:pt x="764" y="1460"/>
                    <a:pt x="771" y="1468"/>
                  </a:cubicBezTo>
                  <a:lnTo>
                    <a:pt x="4009" y="1468"/>
                  </a:lnTo>
                  <a:cubicBezTo>
                    <a:pt x="4023" y="1416"/>
                    <a:pt x="4032" y="1364"/>
                    <a:pt x="4032" y="1320"/>
                  </a:cubicBezTo>
                  <a:cubicBezTo>
                    <a:pt x="4032" y="957"/>
                    <a:pt x="3735" y="660"/>
                    <a:pt x="3373" y="660"/>
                  </a:cubicBezTo>
                  <a:cubicBezTo>
                    <a:pt x="3342" y="660"/>
                    <a:pt x="3321" y="660"/>
                    <a:pt x="3291" y="667"/>
                  </a:cubicBezTo>
                  <a:cubicBezTo>
                    <a:pt x="3134" y="274"/>
                    <a:pt x="2750" y="0"/>
                    <a:pt x="230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5232;p53">
              <a:extLst>
                <a:ext uri="{FF2B5EF4-FFF2-40B4-BE49-F238E27FC236}">
                  <a16:creationId xmlns:a16="http://schemas.microsoft.com/office/drawing/2014/main" id="{D9780534-5508-A149-B506-93E4A8695B53}"/>
                </a:ext>
              </a:extLst>
            </p:cNvPr>
            <p:cNvSpPr/>
            <p:nvPr/>
          </p:nvSpPr>
          <p:spPr>
            <a:xfrm>
              <a:off x="7210300" y="1305925"/>
              <a:ext cx="123225" cy="60400"/>
            </a:xfrm>
            <a:custGeom>
              <a:avLst/>
              <a:gdLst/>
              <a:ahLst/>
              <a:cxnLst/>
              <a:rect l="l" t="t" r="r" b="b"/>
              <a:pathLst>
                <a:path w="4929" h="2416" extrusionOk="0">
                  <a:moveTo>
                    <a:pt x="2165" y="1"/>
                  </a:moveTo>
                  <a:cubicBezTo>
                    <a:pt x="1290" y="1"/>
                    <a:pt x="579" y="682"/>
                    <a:pt x="527" y="1541"/>
                  </a:cubicBezTo>
                  <a:cubicBezTo>
                    <a:pt x="223" y="1601"/>
                    <a:pt x="1" y="1868"/>
                    <a:pt x="1" y="2186"/>
                  </a:cubicBezTo>
                  <a:cubicBezTo>
                    <a:pt x="1" y="2261"/>
                    <a:pt x="15" y="2341"/>
                    <a:pt x="45" y="2416"/>
                  </a:cubicBezTo>
                  <a:lnTo>
                    <a:pt x="4922" y="2416"/>
                  </a:lnTo>
                  <a:cubicBezTo>
                    <a:pt x="4922" y="2394"/>
                    <a:pt x="4929" y="2371"/>
                    <a:pt x="4929" y="2357"/>
                  </a:cubicBezTo>
                  <a:cubicBezTo>
                    <a:pt x="4929" y="1889"/>
                    <a:pt x="4550" y="1512"/>
                    <a:pt x="4084" y="1512"/>
                  </a:cubicBezTo>
                  <a:cubicBezTo>
                    <a:pt x="3988" y="1512"/>
                    <a:pt x="3890" y="1534"/>
                    <a:pt x="3810" y="1564"/>
                  </a:cubicBezTo>
                  <a:cubicBezTo>
                    <a:pt x="3766" y="696"/>
                    <a:pt x="3045" y="1"/>
                    <a:pt x="216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5233;p53">
              <a:extLst>
                <a:ext uri="{FF2B5EF4-FFF2-40B4-BE49-F238E27FC236}">
                  <a16:creationId xmlns:a16="http://schemas.microsoft.com/office/drawing/2014/main" id="{F32481BF-3027-B89B-43C0-FEB49809DC99}"/>
                </a:ext>
              </a:extLst>
            </p:cNvPr>
            <p:cNvSpPr/>
            <p:nvPr/>
          </p:nvSpPr>
          <p:spPr>
            <a:xfrm>
              <a:off x="7267000" y="1159750"/>
              <a:ext cx="166575" cy="81575"/>
            </a:xfrm>
            <a:custGeom>
              <a:avLst/>
              <a:gdLst/>
              <a:ahLst/>
              <a:cxnLst/>
              <a:rect l="l" t="t" r="r" b="b"/>
              <a:pathLst>
                <a:path w="6663" h="3263" extrusionOk="0">
                  <a:moveTo>
                    <a:pt x="3742" y="1"/>
                  </a:moveTo>
                  <a:cubicBezTo>
                    <a:pt x="2549" y="1"/>
                    <a:pt x="1578" y="934"/>
                    <a:pt x="1519" y="2113"/>
                  </a:cubicBezTo>
                  <a:cubicBezTo>
                    <a:pt x="1400" y="2069"/>
                    <a:pt x="1275" y="2046"/>
                    <a:pt x="1142" y="2046"/>
                  </a:cubicBezTo>
                  <a:cubicBezTo>
                    <a:pt x="511" y="2046"/>
                    <a:pt x="0" y="2551"/>
                    <a:pt x="0" y="3180"/>
                  </a:cubicBezTo>
                  <a:cubicBezTo>
                    <a:pt x="0" y="3209"/>
                    <a:pt x="0" y="3232"/>
                    <a:pt x="7" y="3262"/>
                  </a:cubicBezTo>
                  <a:lnTo>
                    <a:pt x="6610" y="3262"/>
                  </a:lnTo>
                  <a:cubicBezTo>
                    <a:pt x="6646" y="3164"/>
                    <a:pt x="6662" y="3061"/>
                    <a:pt x="6662" y="2951"/>
                  </a:cubicBezTo>
                  <a:cubicBezTo>
                    <a:pt x="6662" y="2520"/>
                    <a:pt x="6365" y="2165"/>
                    <a:pt x="5958" y="2076"/>
                  </a:cubicBezTo>
                  <a:cubicBezTo>
                    <a:pt x="5883" y="920"/>
                    <a:pt x="4921" y="1"/>
                    <a:pt x="3742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5234;p53">
              <a:extLst>
                <a:ext uri="{FF2B5EF4-FFF2-40B4-BE49-F238E27FC236}">
                  <a16:creationId xmlns:a16="http://schemas.microsoft.com/office/drawing/2014/main" id="{B94720DF-6AA2-F0DC-C200-45688B26E4ED}"/>
                </a:ext>
              </a:extLst>
            </p:cNvPr>
            <p:cNvSpPr/>
            <p:nvPr/>
          </p:nvSpPr>
          <p:spPr>
            <a:xfrm>
              <a:off x="7225125" y="1603800"/>
              <a:ext cx="228450" cy="75025"/>
            </a:xfrm>
            <a:custGeom>
              <a:avLst/>
              <a:gdLst/>
              <a:ahLst/>
              <a:cxnLst/>
              <a:rect l="l" t="t" r="r" b="b"/>
              <a:pathLst>
                <a:path w="9138" h="3001" extrusionOk="0">
                  <a:moveTo>
                    <a:pt x="1104" y="1"/>
                  </a:moveTo>
                  <a:lnTo>
                    <a:pt x="0" y="1571"/>
                  </a:lnTo>
                  <a:cubicBezTo>
                    <a:pt x="75" y="1550"/>
                    <a:pt x="149" y="1534"/>
                    <a:pt x="229" y="1534"/>
                  </a:cubicBezTo>
                  <a:cubicBezTo>
                    <a:pt x="608" y="1534"/>
                    <a:pt x="912" y="1808"/>
                    <a:pt x="971" y="2172"/>
                  </a:cubicBezTo>
                  <a:cubicBezTo>
                    <a:pt x="1015" y="2149"/>
                    <a:pt x="1067" y="2135"/>
                    <a:pt x="1128" y="2135"/>
                  </a:cubicBezTo>
                  <a:cubicBezTo>
                    <a:pt x="1163" y="2135"/>
                    <a:pt x="1200" y="2142"/>
                    <a:pt x="1238" y="2156"/>
                  </a:cubicBezTo>
                  <a:cubicBezTo>
                    <a:pt x="1341" y="2030"/>
                    <a:pt x="1490" y="1957"/>
                    <a:pt x="1661" y="1957"/>
                  </a:cubicBezTo>
                  <a:cubicBezTo>
                    <a:pt x="1956" y="1957"/>
                    <a:pt x="2195" y="2201"/>
                    <a:pt x="2195" y="2498"/>
                  </a:cubicBezTo>
                  <a:lnTo>
                    <a:pt x="2195" y="2535"/>
                  </a:lnTo>
                  <a:cubicBezTo>
                    <a:pt x="2246" y="2498"/>
                    <a:pt x="2305" y="2467"/>
                    <a:pt x="2372" y="2467"/>
                  </a:cubicBezTo>
                  <a:cubicBezTo>
                    <a:pt x="2527" y="2467"/>
                    <a:pt x="2653" y="2594"/>
                    <a:pt x="2653" y="2750"/>
                  </a:cubicBezTo>
                  <a:cubicBezTo>
                    <a:pt x="2653" y="2860"/>
                    <a:pt x="2595" y="2957"/>
                    <a:pt x="2497" y="3001"/>
                  </a:cubicBezTo>
                  <a:lnTo>
                    <a:pt x="5188" y="3001"/>
                  </a:lnTo>
                  <a:cubicBezTo>
                    <a:pt x="5136" y="2973"/>
                    <a:pt x="5106" y="2912"/>
                    <a:pt x="5106" y="2853"/>
                  </a:cubicBezTo>
                  <a:cubicBezTo>
                    <a:pt x="5106" y="2750"/>
                    <a:pt x="5188" y="2668"/>
                    <a:pt x="5291" y="2668"/>
                  </a:cubicBezTo>
                  <a:cubicBezTo>
                    <a:pt x="5335" y="2668"/>
                    <a:pt x="5380" y="2683"/>
                    <a:pt x="5410" y="2706"/>
                  </a:cubicBezTo>
                  <a:lnTo>
                    <a:pt x="5410" y="2683"/>
                  </a:lnTo>
                  <a:cubicBezTo>
                    <a:pt x="5410" y="2483"/>
                    <a:pt x="5573" y="2327"/>
                    <a:pt x="5765" y="2327"/>
                  </a:cubicBezTo>
                  <a:cubicBezTo>
                    <a:pt x="5876" y="2327"/>
                    <a:pt x="5981" y="2379"/>
                    <a:pt x="6039" y="2453"/>
                  </a:cubicBezTo>
                  <a:cubicBezTo>
                    <a:pt x="6070" y="2446"/>
                    <a:pt x="6091" y="2446"/>
                    <a:pt x="6121" y="2446"/>
                  </a:cubicBezTo>
                  <a:cubicBezTo>
                    <a:pt x="6159" y="2446"/>
                    <a:pt x="6187" y="2453"/>
                    <a:pt x="6224" y="2467"/>
                  </a:cubicBezTo>
                  <a:cubicBezTo>
                    <a:pt x="6240" y="2357"/>
                    <a:pt x="6292" y="2261"/>
                    <a:pt x="6365" y="2186"/>
                  </a:cubicBezTo>
                  <a:lnTo>
                    <a:pt x="6388" y="734"/>
                  </a:lnTo>
                  <a:cubicBezTo>
                    <a:pt x="6402" y="734"/>
                    <a:pt x="6409" y="1505"/>
                    <a:pt x="6418" y="2142"/>
                  </a:cubicBezTo>
                  <a:cubicBezTo>
                    <a:pt x="6498" y="2083"/>
                    <a:pt x="6603" y="2046"/>
                    <a:pt x="6713" y="2046"/>
                  </a:cubicBezTo>
                  <a:cubicBezTo>
                    <a:pt x="6774" y="2046"/>
                    <a:pt x="6833" y="2060"/>
                    <a:pt x="6884" y="2074"/>
                  </a:cubicBezTo>
                  <a:cubicBezTo>
                    <a:pt x="7076" y="2135"/>
                    <a:pt x="7218" y="2306"/>
                    <a:pt x="7218" y="2512"/>
                  </a:cubicBezTo>
                  <a:lnTo>
                    <a:pt x="7218" y="2549"/>
                  </a:lnTo>
                  <a:cubicBezTo>
                    <a:pt x="7233" y="2542"/>
                    <a:pt x="7247" y="2542"/>
                    <a:pt x="7270" y="2542"/>
                  </a:cubicBezTo>
                  <a:lnTo>
                    <a:pt x="7284" y="2542"/>
                  </a:lnTo>
                  <a:cubicBezTo>
                    <a:pt x="7441" y="2386"/>
                    <a:pt x="7626" y="2245"/>
                    <a:pt x="7832" y="2112"/>
                  </a:cubicBezTo>
                  <a:cubicBezTo>
                    <a:pt x="7841" y="1934"/>
                    <a:pt x="7900" y="1756"/>
                    <a:pt x="8010" y="1601"/>
                  </a:cubicBezTo>
                  <a:lnTo>
                    <a:pt x="9137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5235;p53">
              <a:extLst>
                <a:ext uri="{FF2B5EF4-FFF2-40B4-BE49-F238E27FC236}">
                  <a16:creationId xmlns:a16="http://schemas.microsoft.com/office/drawing/2014/main" id="{8FE9527A-4E48-A761-D1CE-6CE391F41090}"/>
                </a:ext>
              </a:extLst>
            </p:cNvPr>
            <p:cNvSpPr/>
            <p:nvPr/>
          </p:nvSpPr>
          <p:spPr>
            <a:xfrm>
              <a:off x="7415350" y="1386900"/>
              <a:ext cx="497800" cy="293450"/>
            </a:xfrm>
            <a:custGeom>
              <a:avLst/>
              <a:gdLst/>
              <a:ahLst/>
              <a:cxnLst/>
              <a:rect l="l" t="t" r="r" b="b"/>
              <a:pathLst>
                <a:path w="19912" h="11738" extrusionOk="0">
                  <a:moveTo>
                    <a:pt x="8752" y="0"/>
                  </a:moveTo>
                  <a:cubicBezTo>
                    <a:pt x="8604" y="0"/>
                    <a:pt x="8471" y="59"/>
                    <a:pt x="8368" y="155"/>
                  </a:cubicBezTo>
                  <a:cubicBezTo>
                    <a:pt x="8270" y="251"/>
                    <a:pt x="8211" y="391"/>
                    <a:pt x="8211" y="541"/>
                  </a:cubicBezTo>
                  <a:lnTo>
                    <a:pt x="8211" y="770"/>
                  </a:lnTo>
                  <a:lnTo>
                    <a:pt x="8211" y="3512"/>
                  </a:lnTo>
                  <a:lnTo>
                    <a:pt x="8211" y="3742"/>
                  </a:lnTo>
                  <a:cubicBezTo>
                    <a:pt x="8211" y="3890"/>
                    <a:pt x="8153" y="4023"/>
                    <a:pt x="8048" y="4126"/>
                  </a:cubicBezTo>
                  <a:cubicBezTo>
                    <a:pt x="7952" y="4224"/>
                    <a:pt x="7818" y="4283"/>
                    <a:pt x="7664" y="4283"/>
                  </a:cubicBezTo>
                  <a:cubicBezTo>
                    <a:pt x="7367" y="4283"/>
                    <a:pt x="7123" y="4037"/>
                    <a:pt x="7123" y="3742"/>
                  </a:cubicBezTo>
                  <a:lnTo>
                    <a:pt x="7123" y="770"/>
                  </a:lnTo>
                  <a:lnTo>
                    <a:pt x="7123" y="756"/>
                  </a:lnTo>
                  <a:lnTo>
                    <a:pt x="401" y="10277"/>
                  </a:lnTo>
                  <a:cubicBezTo>
                    <a:pt x="1" y="10848"/>
                    <a:pt x="328" y="11693"/>
                    <a:pt x="979" y="11737"/>
                  </a:cubicBezTo>
                  <a:lnTo>
                    <a:pt x="18933" y="11737"/>
                  </a:lnTo>
                  <a:cubicBezTo>
                    <a:pt x="19586" y="11693"/>
                    <a:pt x="19911" y="10839"/>
                    <a:pt x="19511" y="10277"/>
                  </a:cubicBezTo>
                  <a:lnTo>
                    <a:pt x="12561" y="496"/>
                  </a:lnTo>
                  <a:lnTo>
                    <a:pt x="12561" y="3393"/>
                  </a:lnTo>
                  <a:cubicBezTo>
                    <a:pt x="12561" y="3541"/>
                    <a:pt x="12494" y="3674"/>
                    <a:pt x="12398" y="3770"/>
                  </a:cubicBezTo>
                  <a:cubicBezTo>
                    <a:pt x="12302" y="3875"/>
                    <a:pt x="12161" y="3934"/>
                    <a:pt x="12014" y="3934"/>
                  </a:cubicBezTo>
                  <a:cubicBezTo>
                    <a:pt x="11717" y="3934"/>
                    <a:pt x="11471" y="3690"/>
                    <a:pt x="11471" y="3393"/>
                  </a:cubicBezTo>
                  <a:lnTo>
                    <a:pt x="11471" y="1592"/>
                  </a:lnTo>
                  <a:cubicBezTo>
                    <a:pt x="11471" y="1290"/>
                    <a:pt x="11227" y="1044"/>
                    <a:pt x="10923" y="1044"/>
                  </a:cubicBezTo>
                  <a:cubicBezTo>
                    <a:pt x="10776" y="1044"/>
                    <a:pt x="10642" y="1112"/>
                    <a:pt x="10537" y="1208"/>
                  </a:cubicBezTo>
                  <a:cubicBezTo>
                    <a:pt x="10441" y="1304"/>
                    <a:pt x="10383" y="1444"/>
                    <a:pt x="10383" y="1592"/>
                  </a:cubicBezTo>
                  <a:lnTo>
                    <a:pt x="10383" y="2734"/>
                  </a:lnTo>
                  <a:cubicBezTo>
                    <a:pt x="10383" y="2890"/>
                    <a:pt x="10324" y="3023"/>
                    <a:pt x="10219" y="3119"/>
                  </a:cubicBezTo>
                  <a:cubicBezTo>
                    <a:pt x="10123" y="3223"/>
                    <a:pt x="9990" y="3281"/>
                    <a:pt x="9835" y="3281"/>
                  </a:cubicBezTo>
                  <a:cubicBezTo>
                    <a:pt x="9538" y="3281"/>
                    <a:pt x="9293" y="3038"/>
                    <a:pt x="9293" y="2734"/>
                  </a:cubicBezTo>
                  <a:lnTo>
                    <a:pt x="9302" y="2734"/>
                  </a:lnTo>
                  <a:lnTo>
                    <a:pt x="9302" y="541"/>
                  </a:lnTo>
                  <a:cubicBezTo>
                    <a:pt x="9302" y="244"/>
                    <a:pt x="9056" y="0"/>
                    <a:pt x="875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5236;p53">
              <a:extLst>
                <a:ext uri="{FF2B5EF4-FFF2-40B4-BE49-F238E27FC236}">
                  <a16:creationId xmlns:a16="http://schemas.microsoft.com/office/drawing/2014/main" id="{976EC9A3-BD7A-4255-FC8C-0AFF322DF139}"/>
                </a:ext>
              </a:extLst>
            </p:cNvPr>
            <p:cNvSpPr/>
            <p:nvPr/>
          </p:nvSpPr>
          <p:spPr>
            <a:xfrm>
              <a:off x="7593425" y="1342600"/>
              <a:ext cx="135975" cy="151375"/>
            </a:xfrm>
            <a:custGeom>
              <a:avLst/>
              <a:gdLst/>
              <a:ahLst/>
              <a:cxnLst/>
              <a:rect l="l" t="t" r="r" b="b"/>
              <a:pathLst>
                <a:path w="5439" h="6055" extrusionOk="0">
                  <a:moveTo>
                    <a:pt x="2815" y="1"/>
                  </a:moveTo>
                  <a:cubicBezTo>
                    <a:pt x="2163" y="1"/>
                    <a:pt x="1547" y="334"/>
                    <a:pt x="1147" y="897"/>
                  </a:cubicBezTo>
                  <a:lnTo>
                    <a:pt x="0" y="2528"/>
                  </a:lnTo>
                  <a:lnTo>
                    <a:pt x="0" y="2542"/>
                  </a:lnTo>
                  <a:lnTo>
                    <a:pt x="0" y="5514"/>
                  </a:lnTo>
                  <a:cubicBezTo>
                    <a:pt x="0" y="5809"/>
                    <a:pt x="244" y="6055"/>
                    <a:pt x="541" y="6055"/>
                  </a:cubicBezTo>
                  <a:cubicBezTo>
                    <a:pt x="695" y="6055"/>
                    <a:pt x="829" y="5996"/>
                    <a:pt x="925" y="5898"/>
                  </a:cubicBezTo>
                  <a:cubicBezTo>
                    <a:pt x="1030" y="5795"/>
                    <a:pt x="1088" y="5662"/>
                    <a:pt x="1088" y="5514"/>
                  </a:cubicBezTo>
                  <a:lnTo>
                    <a:pt x="1088" y="5284"/>
                  </a:lnTo>
                  <a:lnTo>
                    <a:pt x="1088" y="2542"/>
                  </a:lnTo>
                  <a:lnTo>
                    <a:pt x="1088" y="2313"/>
                  </a:lnTo>
                  <a:cubicBezTo>
                    <a:pt x="1088" y="2163"/>
                    <a:pt x="1147" y="2023"/>
                    <a:pt x="1245" y="1927"/>
                  </a:cubicBezTo>
                  <a:cubicBezTo>
                    <a:pt x="1348" y="1831"/>
                    <a:pt x="1481" y="1772"/>
                    <a:pt x="1629" y="1772"/>
                  </a:cubicBezTo>
                  <a:cubicBezTo>
                    <a:pt x="1933" y="1772"/>
                    <a:pt x="2179" y="2016"/>
                    <a:pt x="2179" y="2313"/>
                  </a:cubicBezTo>
                  <a:lnTo>
                    <a:pt x="2179" y="4506"/>
                  </a:lnTo>
                  <a:lnTo>
                    <a:pt x="2170" y="4506"/>
                  </a:lnTo>
                  <a:cubicBezTo>
                    <a:pt x="2170" y="4810"/>
                    <a:pt x="2415" y="5053"/>
                    <a:pt x="2712" y="5053"/>
                  </a:cubicBezTo>
                  <a:cubicBezTo>
                    <a:pt x="2867" y="5053"/>
                    <a:pt x="3000" y="4995"/>
                    <a:pt x="3096" y="4891"/>
                  </a:cubicBezTo>
                  <a:cubicBezTo>
                    <a:pt x="3201" y="4795"/>
                    <a:pt x="3260" y="4662"/>
                    <a:pt x="3260" y="4506"/>
                  </a:cubicBezTo>
                  <a:lnTo>
                    <a:pt x="3260" y="3364"/>
                  </a:lnTo>
                  <a:cubicBezTo>
                    <a:pt x="3260" y="3216"/>
                    <a:pt x="3318" y="3076"/>
                    <a:pt x="3414" y="2980"/>
                  </a:cubicBezTo>
                  <a:cubicBezTo>
                    <a:pt x="3519" y="2884"/>
                    <a:pt x="3653" y="2816"/>
                    <a:pt x="3800" y="2816"/>
                  </a:cubicBezTo>
                  <a:cubicBezTo>
                    <a:pt x="4104" y="2816"/>
                    <a:pt x="4348" y="3062"/>
                    <a:pt x="4348" y="3364"/>
                  </a:cubicBezTo>
                  <a:lnTo>
                    <a:pt x="4348" y="5165"/>
                  </a:lnTo>
                  <a:cubicBezTo>
                    <a:pt x="4348" y="5462"/>
                    <a:pt x="4594" y="5706"/>
                    <a:pt x="4891" y="5706"/>
                  </a:cubicBezTo>
                  <a:cubicBezTo>
                    <a:pt x="5038" y="5706"/>
                    <a:pt x="5179" y="5647"/>
                    <a:pt x="5275" y="5542"/>
                  </a:cubicBezTo>
                  <a:cubicBezTo>
                    <a:pt x="5371" y="5446"/>
                    <a:pt x="5438" y="5313"/>
                    <a:pt x="5438" y="5165"/>
                  </a:cubicBezTo>
                  <a:lnTo>
                    <a:pt x="5438" y="2268"/>
                  </a:lnTo>
                  <a:lnTo>
                    <a:pt x="4437" y="867"/>
                  </a:lnTo>
                  <a:cubicBezTo>
                    <a:pt x="4053" y="326"/>
                    <a:pt x="3452" y="1"/>
                    <a:pt x="281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5237;p53">
              <a:extLst>
                <a:ext uri="{FF2B5EF4-FFF2-40B4-BE49-F238E27FC236}">
                  <a16:creationId xmlns:a16="http://schemas.microsoft.com/office/drawing/2014/main" id="{18DF6A75-1CDE-E37F-497C-064AD47D9FEB}"/>
                </a:ext>
              </a:extLst>
            </p:cNvPr>
            <p:cNvSpPr/>
            <p:nvPr/>
          </p:nvSpPr>
          <p:spPr>
            <a:xfrm>
              <a:off x="7437400" y="1679925"/>
              <a:ext cx="3375" cy="425"/>
            </a:xfrm>
            <a:custGeom>
              <a:avLst/>
              <a:gdLst/>
              <a:ahLst/>
              <a:cxnLst/>
              <a:rect l="l" t="t" r="r" b="b"/>
              <a:pathLst>
                <a:path w="135" h="17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8"/>
                    <a:pt x="61" y="16"/>
                    <a:pt x="97" y="16"/>
                  </a:cubicBezTo>
                  <a:lnTo>
                    <a:pt x="134" y="16"/>
                  </a:lnTo>
                  <a:lnTo>
                    <a:pt x="97" y="16"/>
                  </a:lnTo>
                  <a:cubicBezTo>
                    <a:pt x="61" y="16"/>
                    <a:pt x="31" y="8"/>
                    <a:pt x="1" y="0"/>
                  </a:cubicBezTo>
                  <a:close/>
                </a:path>
              </a:pathLst>
            </a:custGeom>
            <a:solidFill>
              <a:srgbClr val="67717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5238;p53">
              <a:extLst>
                <a:ext uri="{FF2B5EF4-FFF2-40B4-BE49-F238E27FC236}">
                  <a16:creationId xmlns:a16="http://schemas.microsoft.com/office/drawing/2014/main" id="{73E90C08-AEBC-6D13-24ED-DAE70C3AE4C6}"/>
                </a:ext>
              </a:extLst>
            </p:cNvPr>
            <p:cNvSpPr/>
            <p:nvPr/>
          </p:nvSpPr>
          <p:spPr>
            <a:xfrm>
              <a:off x="7420900" y="1576550"/>
              <a:ext cx="371275" cy="103800"/>
            </a:xfrm>
            <a:custGeom>
              <a:avLst/>
              <a:gdLst/>
              <a:ahLst/>
              <a:cxnLst/>
              <a:rect l="l" t="t" r="r" b="b"/>
              <a:pathLst>
                <a:path w="14851" h="4152" extrusionOk="0">
                  <a:moveTo>
                    <a:pt x="661" y="4135"/>
                  </a:moveTo>
                  <a:cubicBezTo>
                    <a:pt x="691" y="4143"/>
                    <a:pt x="721" y="4151"/>
                    <a:pt x="757" y="4151"/>
                  </a:cubicBezTo>
                  <a:lnTo>
                    <a:pt x="6101" y="4151"/>
                  </a:lnTo>
                  <a:cubicBezTo>
                    <a:pt x="6101" y="4151"/>
                    <a:pt x="6101" y="4143"/>
                    <a:pt x="6108" y="4135"/>
                  </a:cubicBezTo>
                  <a:close/>
                  <a:moveTo>
                    <a:pt x="2076" y="1"/>
                  </a:moveTo>
                  <a:lnTo>
                    <a:pt x="179" y="2691"/>
                  </a:lnTo>
                  <a:cubicBezTo>
                    <a:pt x="69" y="2846"/>
                    <a:pt x="10" y="3024"/>
                    <a:pt x="1" y="3202"/>
                  </a:cubicBezTo>
                  <a:cubicBezTo>
                    <a:pt x="862" y="2661"/>
                    <a:pt x="2121" y="2313"/>
                    <a:pt x="3522" y="2313"/>
                  </a:cubicBezTo>
                  <a:cubicBezTo>
                    <a:pt x="4811" y="2313"/>
                    <a:pt x="5982" y="2602"/>
                    <a:pt x="6826" y="3068"/>
                  </a:cubicBezTo>
                  <a:cubicBezTo>
                    <a:pt x="7664" y="2231"/>
                    <a:pt x="8982" y="1683"/>
                    <a:pt x="10472" y="1683"/>
                  </a:cubicBezTo>
                  <a:cubicBezTo>
                    <a:pt x="12524" y="1683"/>
                    <a:pt x="14265" y="2720"/>
                    <a:pt x="14843" y="4151"/>
                  </a:cubicBezTo>
                  <a:lnTo>
                    <a:pt x="14850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5239;p53">
              <a:extLst>
                <a:ext uri="{FF2B5EF4-FFF2-40B4-BE49-F238E27FC236}">
                  <a16:creationId xmlns:a16="http://schemas.microsoft.com/office/drawing/2014/main" id="{1E3D1643-390E-5688-1C80-02D3B3E05C69}"/>
                </a:ext>
              </a:extLst>
            </p:cNvPr>
            <p:cNvSpPr/>
            <p:nvPr/>
          </p:nvSpPr>
          <p:spPr>
            <a:xfrm>
              <a:off x="7697125" y="1146225"/>
              <a:ext cx="96725" cy="77300"/>
            </a:xfrm>
            <a:custGeom>
              <a:avLst/>
              <a:gdLst/>
              <a:ahLst/>
              <a:cxnLst/>
              <a:rect l="l" t="t" r="r" b="b"/>
              <a:pathLst>
                <a:path w="3869" h="3092" extrusionOk="0">
                  <a:moveTo>
                    <a:pt x="3647" y="1"/>
                  </a:moveTo>
                  <a:cubicBezTo>
                    <a:pt x="2706" y="1"/>
                    <a:pt x="1898" y="579"/>
                    <a:pt x="1557" y="1393"/>
                  </a:cubicBezTo>
                  <a:cubicBezTo>
                    <a:pt x="1505" y="1386"/>
                    <a:pt x="1445" y="1386"/>
                    <a:pt x="1393" y="1386"/>
                  </a:cubicBezTo>
                  <a:cubicBezTo>
                    <a:pt x="623" y="1386"/>
                    <a:pt x="1" y="2009"/>
                    <a:pt x="1" y="2772"/>
                  </a:cubicBezTo>
                  <a:cubicBezTo>
                    <a:pt x="1" y="2884"/>
                    <a:pt x="15" y="2987"/>
                    <a:pt x="38" y="3092"/>
                  </a:cubicBezTo>
                  <a:lnTo>
                    <a:pt x="3869" y="3092"/>
                  </a:lnTo>
                  <a:lnTo>
                    <a:pt x="3869" y="2217"/>
                  </a:lnTo>
                  <a:lnTo>
                    <a:pt x="3869" y="8"/>
                  </a:lnTo>
                  <a:cubicBezTo>
                    <a:pt x="3794" y="1"/>
                    <a:pt x="3721" y="1"/>
                    <a:pt x="3647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5240;p53">
              <a:extLst>
                <a:ext uri="{FF2B5EF4-FFF2-40B4-BE49-F238E27FC236}">
                  <a16:creationId xmlns:a16="http://schemas.microsoft.com/office/drawing/2014/main" id="{B1FBB141-FB71-64D8-9505-641258C6DA3C}"/>
                </a:ext>
              </a:extLst>
            </p:cNvPr>
            <p:cNvSpPr/>
            <p:nvPr/>
          </p:nvSpPr>
          <p:spPr>
            <a:xfrm>
              <a:off x="7397400" y="1634350"/>
              <a:ext cx="223250" cy="45600"/>
            </a:xfrm>
            <a:custGeom>
              <a:avLst/>
              <a:gdLst/>
              <a:ahLst/>
              <a:cxnLst/>
              <a:rect l="l" t="t" r="r" b="b"/>
              <a:pathLst>
                <a:path w="8930" h="1824" extrusionOk="0">
                  <a:moveTo>
                    <a:pt x="4462" y="1"/>
                  </a:moveTo>
                  <a:cubicBezTo>
                    <a:pt x="2364" y="1"/>
                    <a:pt x="585" y="772"/>
                    <a:pt x="0" y="1823"/>
                  </a:cubicBezTo>
                  <a:lnTo>
                    <a:pt x="8929" y="1823"/>
                  </a:lnTo>
                  <a:cubicBezTo>
                    <a:pt x="8344" y="772"/>
                    <a:pt x="6566" y="1"/>
                    <a:pt x="4462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5241;p53">
              <a:extLst>
                <a:ext uri="{FF2B5EF4-FFF2-40B4-BE49-F238E27FC236}">
                  <a16:creationId xmlns:a16="http://schemas.microsoft.com/office/drawing/2014/main" id="{782ED51B-CF17-B3FE-5AD9-43B6D4E94808}"/>
                </a:ext>
              </a:extLst>
            </p:cNvPr>
            <p:cNvSpPr/>
            <p:nvPr/>
          </p:nvSpPr>
          <p:spPr>
            <a:xfrm>
              <a:off x="7573175" y="1618625"/>
              <a:ext cx="218825" cy="62075"/>
            </a:xfrm>
            <a:custGeom>
              <a:avLst/>
              <a:gdLst/>
              <a:ahLst/>
              <a:cxnLst/>
              <a:rect l="l" t="t" r="r" b="b"/>
              <a:pathLst>
                <a:path w="8753" h="2483" extrusionOk="0">
                  <a:moveTo>
                    <a:pt x="4381" y="0"/>
                  </a:moveTo>
                  <a:cubicBezTo>
                    <a:pt x="2322" y="0"/>
                    <a:pt x="572" y="1046"/>
                    <a:pt x="1" y="2483"/>
                  </a:cubicBezTo>
                  <a:lnTo>
                    <a:pt x="8752" y="2483"/>
                  </a:lnTo>
                  <a:cubicBezTo>
                    <a:pt x="8181" y="1046"/>
                    <a:pt x="6440" y="0"/>
                    <a:pt x="438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5242;p53">
              <a:extLst>
                <a:ext uri="{FF2B5EF4-FFF2-40B4-BE49-F238E27FC236}">
                  <a16:creationId xmlns:a16="http://schemas.microsoft.com/office/drawing/2014/main" id="{7C516AF7-ADF5-521C-C4F7-B8FD1A115243}"/>
                </a:ext>
              </a:extLst>
            </p:cNvPr>
            <p:cNvSpPr/>
            <p:nvPr/>
          </p:nvSpPr>
          <p:spPr>
            <a:xfrm>
              <a:off x="7615425" y="1633075"/>
              <a:ext cx="37450" cy="20775"/>
            </a:xfrm>
            <a:custGeom>
              <a:avLst/>
              <a:gdLst/>
              <a:ahLst/>
              <a:cxnLst/>
              <a:rect l="l" t="t" r="r" b="b"/>
              <a:pathLst>
                <a:path w="1498" h="831" extrusionOk="0">
                  <a:moveTo>
                    <a:pt x="978" y="0"/>
                  </a:moveTo>
                  <a:cubicBezTo>
                    <a:pt x="882" y="0"/>
                    <a:pt x="772" y="14"/>
                    <a:pt x="660" y="52"/>
                  </a:cubicBezTo>
                  <a:cubicBezTo>
                    <a:pt x="246" y="171"/>
                    <a:pt x="0" y="475"/>
                    <a:pt x="89" y="660"/>
                  </a:cubicBezTo>
                  <a:cubicBezTo>
                    <a:pt x="143" y="779"/>
                    <a:pt x="290" y="831"/>
                    <a:pt x="475" y="831"/>
                  </a:cubicBezTo>
                  <a:cubicBezTo>
                    <a:pt x="594" y="831"/>
                    <a:pt x="735" y="807"/>
                    <a:pt x="868" y="770"/>
                  </a:cubicBezTo>
                  <a:cubicBezTo>
                    <a:pt x="1224" y="667"/>
                    <a:pt x="1498" y="459"/>
                    <a:pt x="1467" y="260"/>
                  </a:cubicBezTo>
                  <a:cubicBezTo>
                    <a:pt x="1446" y="112"/>
                    <a:pt x="1245" y="0"/>
                    <a:pt x="978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5243;p53">
              <a:extLst>
                <a:ext uri="{FF2B5EF4-FFF2-40B4-BE49-F238E27FC236}">
                  <a16:creationId xmlns:a16="http://schemas.microsoft.com/office/drawing/2014/main" id="{800BCDA2-B905-65CD-7145-8902A830DC04}"/>
                </a:ext>
              </a:extLst>
            </p:cNvPr>
            <p:cNvSpPr/>
            <p:nvPr/>
          </p:nvSpPr>
          <p:spPr>
            <a:xfrm>
              <a:off x="7658600" y="1636225"/>
              <a:ext cx="19500" cy="10025"/>
            </a:xfrm>
            <a:custGeom>
              <a:avLst/>
              <a:gdLst/>
              <a:ahLst/>
              <a:cxnLst/>
              <a:rect l="l" t="t" r="r" b="b"/>
              <a:pathLst>
                <a:path w="780" h="401" extrusionOk="0">
                  <a:moveTo>
                    <a:pt x="393" y="0"/>
                  </a:moveTo>
                  <a:cubicBezTo>
                    <a:pt x="171" y="0"/>
                    <a:pt x="0" y="103"/>
                    <a:pt x="16" y="215"/>
                  </a:cubicBezTo>
                  <a:cubicBezTo>
                    <a:pt x="23" y="326"/>
                    <a:pt x="185" y="400"/>
                    <a:pt x="386" y="400"/>
                  </a:cubicBezTo>
                  <a:lnTo>
                    <a:pt x="393" y="400"/>
                  </a:lnTo>
                  <a:cubicBezTo>
                    <a:pt x="594" y="400"/>
                    <a:pt x="763" y="319"/>
                    <a:pt x="772" y="215"/>
                  </a:cubicBezTo>
                  <a:cubicBezTo>
                    <a:pt x="779" y="103"/>
                    <a:pt x="608" y="0"/>
                    <a:pt x="393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5244;p53">
              <a:extLst>
                <a:ext uri="{FF2B5EF4-FFF2-40B4-BE49-F238E27FC236}">
                  <a16:creationId xmlns:a16="http://schemas.microsoft.com/office/drawing/2014/main" id="{5CC9F228-DFB7-B4BF-83F1-A0D940C17F8E}"/>
                </a:ext>
              </a:extLst>
            </p:cNvPr>
            <p:cNvSpPr/>
            <p:nvPr/>
          </p:nvSpPr>
          <p:spPr>
            <a:xfrm>
              <a:off x="7362400" y="1596950"/>
              <a:ext cx="43375" cy="54675"/>
            </a:xfrm>
            <a:custGeom>
              <a:avLst/>
              <a:gdLst/>
              <a:ahLst/>
              <a:cxnLst/>
              <a:rect l="l" t="t" r="r" b="b"/>
              <a:pathLst>
                <a:path w="1735" h="2187" extrusionOk="0">
                  <a:moveTo>
                    <a:pt x="867" y="1"/>
                  </a:moveTo>
                  <a:cubicBezTo>
                    <a:pt x="490" y="1"/>
                    <a:pt x="178" y="303"/>
                    <a:pt x="178" y="682"/>
                  </a:cubicBezTo>
                  <a:cubicBezTo>
                    <a:pt x="178" y="712"/>
                    <a:pt x="186" y="741"/>
                    <a:pt x="193" y="778"/>
                  </a:cubicBezTo>
                  <a:cubicBezTo>
                    <a:pt x="66" y="926"/>
                    <a:pt x="1" y="1112"/>
                    <a:pt x="1" y="1319"/>
                  </a:cubicBezTo>
                  <a:cubicBezTo>
                    <a:pt x="1" y="1801"/>
                    <a:pt x="385" y="2187"/>
                    <a:pt x="867" y="2187"/>
                  </a:cubicBezTo>
                  <a:cubicBezTo>
                    <a:pt x="1342" y="2187"/>
                    <a:pt x="1735" y="1801"/>
                    <a:pt x="1735" y="1319"/>
                  </a:cubicBezTo>
                  <a:cubicBezTo>
                    <a:pt x="1735" y="1112"/>
                    <a:pt x="1660" y="926"/>
                    <a:pt x="1541" y="778"/>
                  </a:cubicBezTo>
                  <a:cubicBezTo>
                    <a:pt x="1541" y="741"/>
                    <a:pt x="1550" y="712"/>
                    <a:pt x="1550" y="682"/>
                  </a:cubicBezTo>
                  <a:cubicBezTo>
                    <a:pt x="1550" y="303"/>
                    <a:pt x="1245" y="1"/>
                    <a:pt x="86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5245;p53">
              <a:extLst>
                <a:ext uri="{FF2B5EF4-FFF2-40B4-BE49-F238E27FC236}">
                  <a16:creationId xmlns:a16="http://schemas.microsoft.com/office/drawing/2014/main" id="{7D187124-FA31-2A9C-FEB4-9EDCAA34E8A1}"/>
                </a:ext>
              </a:extLst>
            </p:cNvPr>
            <p:cNvSpPr/>
            <p:nvPr/>
          </p:nvSpPr>
          <p:spPr>
            <a:xfrm>
              <a:off x="7383875" y="1622125"/>
              <a:ext cx="1900" cy="57100"/>
            </a:xfrm>
            <a:custGeom>
              <a:avLst/>
              <a:gdLst/>
              <a:ahLst/>
              <a:cxnLst/>
              <a:rect l="l" t="t" r="r" b="b"/>
              <a:pathLst>
                <a:path w="76" h="2284" extrusionOk="0">
                  <a:moveTo>
                    <a:pt x="38" y="1"/>
                  </a:moveTo>
                  <a:lnTo>
                    <a:pt x="1" y="2247"/>
                  </a:lnTo>
                  <a:cubicBezTo>
                    <a:pt x="1" y="2268"/>
                    <a:pt x="15" y="2284"/>
                    <a:pt x="38" y="2284"/>
                  </a:cubicBezTo>
                  <a:cubicBezTo>
                    <a:pt x="59" y="2284"/>
                    <a:pt x="75" y="2268"/>
                    <a:pt x="75" y="2247"/>
                  </a:cubicBezTo>
                  <a:cubicBezTo>
                    <a:pt x="75" y="2247"/>
                    <a:pt x="59" y="1"/>
                    <a:pt x="38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5246;p53">
              <a:extLst>
                <a:ext uri="{FF2B5EF4-FFF2-40B4-BE49-F238E27FC236}">
                  <a16:creationId xmlns:a16="http://schemas.microsoft.com/office/drawing/2014/main" id="{C5C188CA-4F46-8C38-DB74-618F9DBD5A0F}"/>
                </a:ext>
              </a:extLst>
            </p:cNvPr>
            <p:cNvSpPr/>
            <p:nvPr/>
          </p:nvSpPr>
          <p:spPr>
            <a:xfrm>
              <a:off x="7373875" y="1635650"/>
              <a:ext cx="10950" cy="8900"/>
            </a:xfrm>
            <a:custGeom>
              <a:avLst/>
              <a:gdLst/>
              <a:ahLst/>
              <a:cxnLst/>
              <a:rect l="l" t="t" r="r" b="b"/>
              <a:pathLst>
                <a:path w="438" h="356" extrusionOk="0">
                  <a:moveTo>
                    <a:pt x="0" y="0"/>
                  </a:moveTo>
                  <a:cubicBezTo>
                    <a:pt x="205" y="342"/>
                    <a:pt x="404" y="356"/>
                    <a:pt x="434" y="356"/>
                  </a:cubicBezTo>
                  <a:cubicBezTo>
                    <a:pt x="437" y="356"/>
                    <a:pt x="438" y="356"/>
                    <a:pt x="438" y="356"/>
                  </a:cubicBezTo>
                  <a:lnTo>
                    <a:pt x="438" y="311"/>
                  </a:lnTo>
                  <a:cubicBezTo>
                    <a:pt x="438" y="311"/>
                    <a:pt x="434" y="314"/>
                    <a:pt x="422" y="314"/>
                  </a:cubicBezTo>
                  <a:cubicBezTo>
                    <a:pt x="396" y="314"/>
                    <a:pt x="334" y="300"/>
                    <a:pt x="201" y="208"/>
                  </a:cubicBezTo>
                  <a:cubicBezTo>
                    <a:pt x="82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5247;p53">
              <a:extLst>
                <a:ext uri="{FF2B5EF4-FFF2-40B4-BE49-F238E27FC236}">
                  <a16:creationId xmlns:a16="http://schemas.microsoft.com/office/drawing/2014/main" id="{3FA16D8E-F13A-7530-AE05-29C7E73AA8A6}"/>
                </a:ext>
              </a:extLst>
            </p:cNvPr>
            <p:cNvSpPr/>
            <p:nvPr/>
          </p:nvSpPr>
          <p:spPr>
            <a:xfrm>
              <a:off x="7384800" y="1633250"/>
              <a:ext cx="9450" cy="7625"/>
            </a:xfrm>
            <a:custGeom>
              <a:avLst/>
              <a:gdLst/>
              <a:ahLst/>
              <a:cxnLst/>
              <a:rect l="l" t="t" r="r" b="b"/>
              <a:pathLst>
                <a:path w="378" h="305" extrusionOk="0">
                  <a:moveTo>
                    <a:pt x="378" y="0"/>
                  </a:moveTo>
                  <a:cubicBezTo>
                    <a:pt x="378" y="0"/>
                    <a:pt x="305" y="105"/>
                    <a:pt x="209" y="171"/>
                  </a:cubicBezTo>
                  <a:cubicBezTo>
                    <a:pt x="96" y="250"/>
                    <a:pt x="41" y="263"/>
                    <a:pt x="17" y="263"/>
                  </a:cubicBezTo>
                  <a:cubicBezTo>
                    <a:pt x="5" y="263"/>
                    <a:pt x="1" y="260"/>
                    <a:pt x="1" y="260"/>
                  </a:cubicBezTo>
                  <a:lnTo>
                    <a:pt x="1" y="260"/>
                  </a:lnTo>
                  <a:lnTo>
                    <a:pt x="8" y="304"/>
                  </a:lnTo>
                  <a:cubicBezTo>
                    <a:pt x="8" y="304"/>
                    <a:pt x="8" y="304"/>
                    <a:pt x="9" y="304"/>
                  </a:cubicBezTo>
                  <a:cubicBezTo>
                    <a:pt x="24" y="304"/>
                    <a:pt x="194" y="298"/>
                    <a:pt x="378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5248;p53">
              <a:extLst>
                <a:ext uri="{FF2B5EF4-FFF2-40B4-BE49-F238E27FC236}">
                  <a16:creationId xmlns:a16="http://schemas.microsoft.com/office/drawing/2014/main" id="{37A19877-1D8F-D232-1E0E-BD6899E08C43}"/>
                </a:ext>
              </a:extLst>
            </p:cNvPr>
            <p:cNvSpPr/>
            <p:nvPr/>
          </p:nvSpPr>
          <p:spPr>
            <a:xfrm>
              <a:off x="7377200" y="1627850"/>
              <a:ext cx="7625" cy="6175"/>
            </a:xfrm>
            <a:custGeom>
              <a:avLst/>
              <a:gdLst/>
              <a:ahLst/>
              <a:cxnLst/>
              <a:rect l="l" t="t" r="r" b="b"/>
              <a:pathLst>
                <a:path w="305" h="247" extrusionOk="0">
                  <a:moveTo>
                    <a:pt x="1" y="1"/>
                  </a:moveTo>
                  <a:cubicBezTo>
                    <a:pt x="149" y="240"/>
                    <a:pt x="289" y="246"/>
                    <a:pt x="304" y="246"/>
                  </a:cubicBezTo>
                  <a:cubicBezTo>
                    <a:pt x="304" y="246"/>
                    <a:pt x="305" y="246"/>
                    <a:pt x="305" y="246"/>
                  </a:cubicBezTo>
                  <a:lnTo>
                    <a:pt x="305" y="209"/>
                  </a:lnTo>
                  <a:cubicBezTo>
                    <a:pt x="305" y="209"/>
                    <a:pt x="302" y="211"/>
                    <a:pt x="293" y="211"/>
                  </a:cubicBezTo>
                  <a:cubicBezTo>
                    <a:pt x="275" y="211"/>
                    <a:pt x="232" y="201"/>
                    <a:pt x="141" y="134"/>
                  </a:cubicBezTo>
                  <a:cubicBezTo>
                    <a:pt x="60" y="8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5249;p53">
              <a:extLst>
                <a:ext uri="{FF2B5EF4-FFF2-40B4-BE49-F238E27FC236}">
                  <a16:creationId xmlns:a16="http://schemas.microsoft.com/office/drawing/2014/main" id="{E8ABF4A0-6343-BF94-9CC3-92E124EB4789}"/>
                </a:ext>
              </a:extLst>
            </p:cNvPr>
            <p:cNvSpPr/>
            <p:nvPr/>
          </p:nvSpPr>
          <p:spPr>
            <a:xfrm>
              <a:off x="7673450" y="1502475"/>
              <a:ext cx="158950" cy="154700"/>
            </a:xfrm>
            <a:custGeom>
              <a:avLst/>
              <a:gdLst/>
              <a:ahLst/>
              <a:cxnLst/>
              <a:rect l="l" t="t" r="r" b="b"/>
              <a:pathLst>
                <a:path w="6358" h="6188" extrusionOk="0">
                  <a:moveTo>
                    <a:pt x="3090" y="1"/>
                  </a:moveTo>
                  <a:cubicBezTo>
                    <a:pt x="2978" y="1"/>
                    <a:pt x="2867" y="30"/>
                    <a:pt x="2771" y="90"/>
                  </a:cubicBezTo>
                  <a:cubicBezTo>
                    <a:pt x="2067" y="534"/>
                    <a:pt x="0" y="6188"/>
                    <a:pt x="3089" y="6188"/>
                  </a:cubicBezTo>
                  <a:cubicBezTo>
                    <a:pt x="6358" y="6188"/>
                    <a:pt x="4112" y="534"/>
                    <a:pt x="3415" y="90"/>
                  </a:cubicBezTo>
                  <a:cubicBezTo>
                    <a:pt x="3315" y="30"/>
                    <a:pt x="3202" y="1"/>
                    <a:pt x="3090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5250;p53">
              <a:extLst>
                <a:ext uri="{FF2B5EF4-FFF2-40B4-BE49-F238E27FC236}">
                  <a16:creationId xmlns:a16="http://schemas.microsoft.com/office/drawing/2014/main" id="{8B11BC7D-661E-C558-F026-07C8104B425E}"/>
                </a:ext>
              </a:extLst>
            </p:cNvPr>
            <p:cNvSpPr/>
            <p:nvPr/>
          </p:nvSpPr>
          <p:spPr>
            <a:xfrm>
              <a:off x="7673450" y="1504650"/>
              <a:ext cx="77250" cy="152525"/>
            </a:xfrm>
            <a:custGeom>
              <a:avLst/>
              <a:gdLst/>
              <a:ahLst/>
              <a:cxnLst/>
              <a:rect l="l" t="t" r="r" b="b"/>
              <a:pathLst>
                <a:path w="3090" h="6101" extrusionOk="0">
                  <a:moveTo>
                    <a:pt x="2776" y="1"/>
                  </a:moveTo>
                  <a:cubicBezTo>
                    <a:pt x="2775" y="1"/>
                    <a:pt x="2773" y="2"/>
                    <a:pt x="2771" y="3"/>
                  </a:cubicBezTo>
                  <a:cubicBezTo>
                    <a:pt x="2067" y="447"/>
                    <a:pt x="0" y="6101"/>
                    <a:pt x="3089" y="6101"/>
                  </a:cubicBezTo>
                  <a:cubicBezTo>
                    <a:pt x="3089" y="6101"/>
                    <a:pt x="2312" y="6033"/>
                    <a:pt x="2268" y="3826"/>
                  </a:cubicBezTo>
                  <a:cubicBezTo>
                    <a:pt x="2215" y="1638"/>
                    <a:pt x="2848" y="1"/>
                    <a:pt x="2776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5251;p53">
              <a:extLst>
                <a:ext uri="{FF2B5EF4-FFF2-40B4-BE49-F238E27FC236}">
                  <a16:creationId xmlns:a16="http://schemas.microsoft.com/office/drawing/2014/main" id="{76336038-AB3B-5F3E-571C-A51342472B7C}"/>
                </a:ext>
              </a:extLst>
            </p:cNvPr>
            <p:cNvSpPr/>
            <p:nvPr/>
          </p:nvSpPr>
          <p:spPr>
            <a:xfrm>
              <a:off x="7748275" y="1572725"/>
              <a:ext cx="11125" cy="107050"/>
            </a:xfrm>
            <a:custGeom>
              <a:avLst/>
              <a:gdLst/>
              <a:ahLst/>
              <a:cxnLst/>
              <a:rect l="l" t="t" r="r" b="b"/>
              <a:pathLst>
                <a:path w="445" h="4282" extrusionOk="0">
                  <a:moveTo>
                    <a:pt x="224" y="1"/>
                  </a:moveTo>
                  <a:cubicBezTo>
                    <a:pt x="223" y="1"/>
                    <a:pt x="222" y="6"/>
                    <a:pt x="222" y="20"/>
                  </a:cubicBezTo>
                  <a:lnTo>
                    <a:pt x="0" y="4281"/>
                  </a:lnTo>
                  <a:lnTo>
                    <a:pt x="445" y="4281"/>
                  </a:lnTo>
                  <a:cubicBezTo>
                    <a:pt x="430" y="2458"/>
                    <a:pt x="267" y="20"/>
                    <a:pt x="229" y="20"/>
                  </a:cubicBezTo>
                  <a:cubicBezTo>
                    <a:pt x="229" y="20"/>
                    <a:pt x="226" y="1"/>
                    <a:pt x="22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5252;p53">
              <a:extLst>
                <a:ext uri="{FF2B5EF4-FFF2-40B4-BE49-F238E27FC236}">
                  <a16:creationId xmlns:a16="http://schemas.microsoft.com/office/drawing/2014/main" id="{42E98A95-1735-7B3F-1379-071E64D8E57D}"/>
                </a:ext>
              </a:extLst>
            </p:cNvPr>
            <p:cNvSpPr/>
            <p:nvPr/>
          </p:nvSpPr>
          <p:spPr>
            <a:xfrm>
              <a:off x="7723625" y="1610650"/>
              <a:ext cx="30400" cy="24475"/>
            </a:xfrm>
            <a:custGeom>
              <a:avLst/>
              <a:gdLst/>
              <a:ahLst/>
              <a:cxnLst/>
              <a:rect l="l" t="t" r="r" b="b"/>
              <a:pathLst>
                <a:path w="1216" h="979" extrusionOk="0">
                  <a:moveTo>
                    <a:pt x="1" y="1"/>
                  </a:moveTo>
                  <a:cubicBezTo>
                    <a:pt x="595" y="952"/>
                    <a:pt x="1136" y="979"/>
                    <a:pt x="1196" y="979"/>
                  </a:cubicBezTo>
                  <a:cubicBezTo>
                    <a:pt x="1199" y="979"/>
                    <a:pt x="1201" y="979"/>
                    <a:pt x="1201" y="979"/>
                  </a:cubicBezTo>
                  <a:lnTo>
                    <a:pt x="1215" y="838"/>
                  </a:lnTo>
                  <a:lnTo>
                    <a:pt x="1215" y="838"/>
                  </a:lnTo>
                  <a:cubicBezTo>
                    <a:pt x="1215" y="838"/>
                    <a:pt x="1203" y="847"/>
                    <a:pt x="1168" y="847"/>
                  </a:cubicBezTo>
                  <a:cubicBezTo>
                    <a:pt x="1093" y="847"/>
                    <a:pt x="919" y="806"/>
                    <a:pt x="556" y="548"/>
                  </a:cubicBezTo>
                  <a:cubicBezTo>
                    <a:pt x="245" y="33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5253;p53">
              <a:extLst>
                <a:ext uri="{FF2B5EF4-FFF2-40B4-BE49-F238E27FC236}">
                  <a16:creationId xmlns:a16="http://schemas.microsoft.com/office/drawing/2014/main" id="{2C5029BA-8399-E1B7-2D79-FD5C43BD6EF6}"/>
                </a:ext>
              </a:extLst>
            </p:cNvPr>
            <p:cNvSpPr/>
            <p:nvPr/>
          </p:nvSpPr>
          <p:spPr>
            <a:xfrm>
              <a:off x="7754000" y="1603800"/>
              <a:ext cx="25600" cy="20750"/>
            </a:xfrm>
            <a:custGeom>
              <a:avLst/>
              <a:gdLst/>
              <a:ahLst/>
              <a:cxnLst/>
              <a:rect l="l" t="t" r="r" b="b"/>
              <a:pathLst>
                <a:path w="1024" h="830" extrusionOk="0">
                  <a:moveTo>
                    <a:pt x="1023" y="1"/>
                  </a:moveTo>
                  <a:lnTo>
                    <a:pt x="1023" y="1"/>
                  </a:lnTo>
                  <a:cubicBezTo>
                    <a:pt x="1023" y="1"/>
                    <a:pt x="824" y="282"/>
                    <a:pt x="557" y="467"/>
                  </a:cubicBezTo>
                  <a:cubicBezTo>
                    <a:pt x="255" y="685"/>
                    <a:pt x="108" y="721"/>
                    <a:pt x="44" y="721"/>
                  </a:cubicBezTo>
                  <a:cubicBezTo>
                    <a:pt x="12" y="721"/>
                    <a:pt x="0" y="712"/>
                    <a:pt x="0" y="712"/>
                  </a:cubicBezTo>
                  <a:lnTo>
                    <a:pt x="0" y="712"/>
                  </a:lnTo>
                  <a:lnTo>
                    <a:pt x="8" y="830"/>
                  </a:lnTo>
                  <a:cubicBezTo>
                    <a:pt x="8" y="830"/>
                    <a:pt x="10" y="830"/>
                    <a:pt x="14" y="830"/>
                  </a:cubicBezTo>
                  <a:cubicBezTo>
                    <a:pt x="72" y="830"/>
                    <a:pt x="531" y="803"/>
                    <a:pt x="1023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5254;p53">
              <a:extLst>
                <a:ext uri="{FF2B5EF4-FFF2-40B4-BE49-F238E27FC236}">
                  <a16:creationId xmlns:a16="http://schemas.microsoft.com/office/drawing/2014/main" id="{3C9D5903-B230-1EF7-EADE-09677442E8AE}"/>
                </a:ext>
              </a:extLst>
            </p:cNvPr>
            <p:cNvSpPr/>
            <p:nvPr/>
          </p:nvSpPr>
          <p:spPr>
            <a:xfrm>
              <a:off x="7733225" y="1588950"/>
              <a:ext cx="20800" cy="16700"/>
            </a:xfrm>
            <a:custGeom>
              <a:avLst/>
              <a:gdLst/>
              <a:ahLst/>
              <a:cxnLst/>
              <a:rect l="l" t="t" r="r" b="b"/>
              <a:pathLst>
                <a:path w="832" h="668" extrusionOk="0">
                  <a:moveTo>
                    <a:pt x="1" y="1"/>
                  </a:moveTo>
                  <a:lnTo>
                    <a:pt x="1" y="1"/>
                  </a:lnTo>
                  <a:cubicBezTo>
                    <a:pt x="398" y="648"/>
                    <a:pt x="774" y="668"/>
                    <a:pt x="820" y="668"/>
                  </a:cubicBezTo>
                  <a:cubicBezTo>
                    <a:pt x="823" y="668"/>
                    <a:pt x="824" y="668"/>
                    <a:pt x="824" y="668"/>
                  </a:cubicBezTo>
                  <a:lnTo>
                    <a:pt x="831" y="572"/>
                  </a:lnTo>
                  <a:lnTo>
                    <a:pt x="831" y="572"/>
                  </a:lnTo>
                  <a:cubicBezTo>
                    <a:pt x="831" y="572"/>
                    <a:pt x="821" y="580"/>
                    <a:pt x="793" y="580"/>
                  </a:cubicBezTo>
                  <a:cubicBezTo>
                    <a:pt x="739" y="580"/>
                    <a:pt x="618" y="550"/>
                    <a:pt x="380" y="380"/>
                  </a:cubicBezTo>
                  <a:cubicBezTo>
                    <a:pt x="165" y="23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5255;p53">
              <a:extLst>
                <a:ext uri="{FF2B5EF4-FFF2-40B4-BE49-F238E27FC236}">
                  <a16:creationId xmlns:a16="http://schemas.microsoft.com/office/drawing/2014/main" id="{4761D6E4-47B6-607B-BC68-A001CD083528}"/>
                </a:ext>
              </a:extLst>
            </p:cNvPr>
            <p:cNvSpPr/>
            <p:nvPr/>
          </p:nvSpPr>
          <p:spPr>
            <a:xfrm>
              <a:off x="7517600" y="1556875"/>
              <a:ext cx="110650" cy="107700"/>
            </a:xfrm>
            <a:custGeom>
              <a:avLst/>
              <a:gdLst/>
              <a:ahLst/>
              <a:cxnLst/>
              <a:rect l="l" t="t" r="r" b="b"/>
              <a:pathLst>
                <a:path w="4426" h="4308" extrusionOk="0">
                  <a:moveTo>
                    <a:pt x="2151" y="1"/>
                  </a:moveTo>
                  <a:cubicBezTo>
                    <a:pt x="2073" y="1"/>
                    <a:pt x="1995" y="21"/>
                    <a:pt x="1929" y="62"/>
                  </a:cubicBezTo>
                  <a:cubicBezTo>
                    <a:pt x="1440" y="366"/>
                    <a:pt x="1" y="4307"/>
                    <a:pt x="2151" y="4307"/>
                  </a:cubicBezTo>
                  <a:cubicBezTo>
                    <a:pt x="4425" y="4307"/>
                    <a:pt x="2862" y="366"/>
                    <a:pt x="2373" y="62"/>
                  </a:cubicBezTo>
                  <a:cubicBezTo>
                    <a:pt x="2307" y="21"/>
                    <a:pt x="2229" y="1"/>
                    <a:pt x="2151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5256;p53">
              <a:extLst>
                <a:ext uri="{FF2B5EF4-FFF2-40B4-BE49-F238E27FC236}">
                  <a16:creationId xmlns:a16="http://schemas.microsoft.com/office/drawing/2014/main" id="{29E79A23-A5AD-5E4B-9E5C-E7B157F6A0AE}"/>
                </a:ext>
              </a:extLst>
            </p:cNvPr>
            <p:cNvSpPr/>
            <p:nvPr/>
          </p:nvSpPr>
          <p:spPr>
            <a:xfrm>
              <a:off x="7517600" y="1558375"/>
              <a:ext cx="53775" cy="106200"/>
            </a:xfrm>
            <a:custGeom>
              <a:avLst/>
              <a:gdLst/>
              <a:ahLst/>
              <a:cxnLst/>
              <a:rect l="l" t="t" r="r" b="b"/>
              <a:pathLst>
                <a:path w="2151" h="4248" extrusionOk="0">
                  <a:moveTo>
                    <a:pt x="1932" y="1"/>
                  </a:moveTo>
                  <a:cubicBezTo>
                    <a:pt x="1931" y="1"/>
                    <a:pt x="1930" y="1"/>
                    <a:pt x="1929" y="2"/>
                  </a:cubicBezTo>
                  <a:cubicBezTo>
                    <a:pt x="1440" y="306"/>
                    <a:pt x="1" y="4247"/>
                    <a:pt x="2151" y="4247"/>
                  </a:cubicBezTo>
                  <a:cubicBezTo>
                    <a:pt x="2151" y="4247"/>
                    <a:pt x="1610" y="4203"/>
                    <a:pt x="1580" y="2663"/>
                  </a:cubicBezTo>
                  <a:cubicBezTo>
                    <a:pt x="1543" y="1142"/>
                    <a:pt x="1985" y="1"/>
                    <a:pt x="1932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5257;p53">
              <a:extLst>
                <a:ext uri="{FF2B5EF4-FFF2-40B4-BE49-F238E27FC236}">
                  <a16:creationId xmlns:a16="http://schemas.microsoft.com/office/drawing/2014/main" id="{68F57C62-8B4A-DC12-2C55-D1507E1AEB75}"/>
                </a:ext>
              </a:extLst>
            </p:cNvPr>
            <p:cNvSpPr/>
            <p:nvPr/>
          </p:nvSpPr>
          <p:spPr>
            <a:xfrm>
              <a:off x="7569675" y="1605800"/>
              <a:ext cx="7800" cy="74550"/>
            </a:xfrm>
            <a:custGeom>
              <a:avLst/>
              <a:gdLst/>
              <a:ahLst/>
              <a:cxnLst/>
              <a:rect l="l" t="t" r="r" b="b"/>
              <a:pathLst>
                <a:path w="312" h="2982" extrusionOk="0">
                  <a:moveTo>
                    <a:pt x="159" y="0"/>
                  </a:moveTo>
                  <a:cubicBezTo>
                    <a:pt x="158" y="0"/>
                    <a:pt x="157" y="4"/>
                    <a:pt x="157" y="17"/>
                  </a:cubicBezTo>
                  <a:lnTo>
                    <a:pt x="0" y="2981"/>
                  </a:lnTo>
                  <a:lnTo>
                    <a:pt x="312" y="2981"/>
                  </a:lnTo>
                  <a:cubicBezTo>
                    <a:pt x="304" y="1713"/>
                    <a:pt x="185" y="17"/>
                    <a:pt x="164" y="17"/>
                  </a:cubicBezTo>
                  <a:cubicBezTo>
                    <a:pt x="164" y="17"/>
                    <a:pt x="161" y="0"/>
                    <a:pt x="159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5258;p53">
              <a:extLst>
                <a:ext uri="{FF2B5EF4-FFF2-40B4-BE49-F238E27FC236}">
                  <a16:creationId xmlns:a16="http://schemas.microsoft.com/office/drawing/2014/main" id="{65D76C52-6E95-F3D1-5C1F-C3D583F19C87}"/>
                </a:ext>
              </a:extLst>
            </p:cNvPr>
            <p:cNvSpPr/>
            <p:nvPr/>
          </p:nvSpPr>
          <p:spPr>
            <a:xfrm>
              <a:off x="7552650" y="1632125"/>
              <a:ext cx="20950" cy="17100"/>
            </a:xfrm>
            <a:custGeom>
              <a:avLst/>
              <a:gdLst/>
              <a:ahLst/>
              <a:cxnLst/>
              <a:rect l="l" t="t" r="r" b="b"/>
              <a:pathLst>
                <a:path w="838" h="684" extrusionOk="0">
                  <a:moveTo>
                    <a:pt x="0" y="1"/>
                  </a:moveTo>
                  <a:lnTo>
                    <a:pt x="0" y="1"/>
                  </a:lnTo>
                  <a:cubicBezTo>
                    <a:pt x="406" y="665"/>
                    <a:pt x="785" y="684"/>
                    <a:pt x="827" y="684"/>
                  </a:cubicBezTo>
                  <a:cubicBezTo>
                    <a:pt x="829" y="684"/>
                    <a:pt x="831" y="684"/>
                    <a:pt x="831" y="684"/>
                  </a:cubicBezTo>
                  <a:lnTo>
                    <a:pt x="838" y="586"/>
                  </a:lnTo>
                  <a:lnTo>
                    <a:pt x="838" y="586"/>
                  </a:lnTo>
                  <a:cubicBezTo>
                    <a:pt x="838" y="586"/>
                    <a:pt x="830" y="592"/>
                    <a:pt x="806" y="592"/>
                  </a:cubicBezTo>
                  <a:cubicBezTo>
                    <a:pt x="757" y="592"/>
                    <a:pt x="639" y="564"/>
                    <a:pt x="386" y="387"/>
                  </a:cubicBezTo>
                  <a:cubicBezTo>
                    <a:pt x="164" y="23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5259;p53">
              <a:extLst>
                <a:ext uri="{FF2B5EF4-FFF2-40B4-BE49-F238E27FC236}">
                  <a16:creationId xmlns:a16="http://schemas.microsoft.com/office/drawing/2014/main" id="{C1EE4257-5A82-6715-2AA4-F0130C4576D9}"/>
                </a:ext>
              </a:extLst>
            </p:cNvPr>
            <p:cNvSpPr/>
            <p:nvPr/>
          </p:nvSpPr>
          <p:spPr>
            <a:xfrm>
              <a:off x="7573575" y="1627500"/>
              <a:ext cx="18000" cy="14475"/>
            </a:xfrm>
            <a:custGeom>
              <a:avLst/>
              <a:gdLst/>
              <a:ahLst/>
              <a:cxnLst/>
              <a:rect l="l" t="t" r="r" b="b"/>
              <a:pathLst>
                <a:path w="720" h="579" extrusionOk="0">
                  <a:moveTo>
                    <a:pt x="719" y="1"/>
                  </a:moveTo>
                  <a:cubicBezTo>
                    <a:pt x="719" y="1"/>
                    <a:pt x="579" y="193"/>
                    <a:pt x="394" y="326"/>
                  </a:cubicBezTo>
                  <a:cubicBezTo>
                    <a:pt x="184" y="472"/>
                    <a:pt x="81" y="497"/>
                    <a:pt x="34" y="497"/>
                  </a:cubicBezTo>
                  <a:cubicBezTo>
                    <a:pt x="10" y="497"/>
                    <a:pt x="1" y="490"/>
                    <a:pt x="1" y="490"/>
                  </a:cubicBezTo>
                  <a:lnTo>
                    <a:pt x="1" y="490"/>
                  </a:lnTo>
                  <a:lnTo>
                    <a:pt x="8" y="579"/>
                  </a:lnTo>
                  <a:cubicBezTo>
                    <a:pt x="8" y="579"/>
                    <a:pt x="9" y="579"/>
                    <a:pt x="10" y="579"/>
                  </a:cubicBezTo>
                  <a:cubicBezTo>
                    <a:pt x="39" y="579"/>
                    <a:pt x="366" y="566"/>
                    <a:pt x="71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260;p53">
              <a:extLst>
                <a:ext uri="{FF2B5EF4-FFF2-40B4-BE49-F238E27FC236}">
                  <a16:creationId xmlns:a16="http://schemas.microsoft.com/office/drawing/2014/main" id="{5E93C7F9-C73A-951B-380D-78F1745244A4}"/>
                </a:ext>
              </a:extLst>
            </p:cNvPr>
            <p:cNvSpPr/>
            <p:nvPr/>
          </p:nvSpPr>
          <p:spPr>
            <a:xfrm>
              <a:off x="7559125" y="1617150"/>
              <a:ext cx="14475" cy="11675"/>
            </a:xfrm>
            <a:custGeom>
              <a:avLst/>
              <a:gdLst/>
              <a:ahLst/>
              <a:cxnLst/>
              <a:rect l="l" t="t" r="r" b="b"/>
              <a:pathLst>
                <a:path w="579" h="467" extrusionOk="0">
                  <a:moveTo>
                    <a:pt x="1" y="0"/>
                  </a:moveTo>
                  <a:lnTo>
                    <a:pt x="1" y="0"/>
                  </a:lnTo>
                  <a:cubicBezTo>
                    <a:pt x="296" y="460"/>
                    <a:pt x="563" y="466"/>
                    <a:pt x="578" y="466"/>
                  </a:cubicBezTo>
                  <a:cubicBezTo>
                    <a:pt x="579" y="466"/>
                    <a:pt x="579" y="466"/>
                    <a:pt x="579" y="466"/>
                  </a:cubicBezTo>
                  <a:lnTo>
                    <a:pt x="579" y="393"/>
                  </a:lnTo>
                  <a:cubicBezTo>
                    <a:pt x="579" y="393"/>
                    <a:pt x="571" y="400"/>
                    <a:pt x="550" y="400"/>
                  </a:cubicBezTo>
                  <a:cubicBezTo>
                    <a:pt x="511" y="400"/>
                    <a:pt x="429" y="379"/>
                    <a:pt x="268" y="260"/>
                  </a:cubicBezTo>
                  <a:cubicBezTo>
                    <a:pt x="118" y="15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261;p53">
              <a:extLst>
                <a:ext uri="{FF2B5EF4-FFF2-40B4-BE49-F238E27FC236}">
                  <a16:creationId xmlns:a16="http://schemas.microsoft.com/office/drawing/2014/main" id="{1B08FFB1-3D43-114E-089F-DA5594BACFED}"/>
                </a:ext>
              </a:extLst>
            </p:cNvPr>
            <p:cNvSpPr/>
            <p:nvPr/>
          </p:nvSpPr>
          <p:spPr>
            <a:xfrm>
              <a:off x="7639875" y="1540475"/>
              <a:ext cx="120475" cy="117250"/>
            </a:xfrm>
            <a:custGeom>
              <a:avLst/>
              <a:gdLst/>
              <a:ahLst/>
              <a:cxnLst/>
              <a:rect l="l" t="t" r="r" b="b"/>
              <a:pathLst>
                <a:path w="4819" h="4690" extrusionOk="0">
                  <a:moveTo>
                    <a:pt x="2476" y="1"/>
                  </a:moveTo>
                  <a:cubicBezTo>
                    <a:pt x="2391" y="1"/>
                    <a:pt x="2306" y="25"/>
                    <a:pt x="2232" y="73"/>
                  </a:cubicBezTo>
                  <a:cubicBezTo>
                    <a:pt x="1699" y="407"/>
                    <a:pt x="0" y="4689"/>
                    <a:pt x="2476" y="4689"/>
                  </a:cubicBezTo>
                  <a:cubicBezTo>
                    <a:pt x="4818" y="4689"/>
                    <a:pt x="3255" y="407"/>
                    <a:pt x="2721" y="73"/>
                  </a:cubicBezTo>
                  <a:cubicBezTo>
                    <a:pt x="2647" y="25"/>
                    <a:pt x="2561" y="1"/>
                    <a:pt x="2476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62;p53">
              <a:extLst>
                <a:ext uri="{FF2B5EF4-FFF2-40B4-BE49-F238E27FC236}">
                  <a16:creationId xmlns:a16="http://schemas.microsoft.com/office/drawing/2014/main" id="{BB40BF97-34AB-6915-957E-E3447B03CA3A}"/>
                </a:ext>
              </a:extLst>
            </p:cNvPr>
            <p:cNvSpPr/>
            <p:nvPr/>
          </p:nvSpPr>
          <p:spPr>
            <a:xfrm>
              <a:off x="7641750" y="1545575"/>
              <a:ext cx="56350" cy="111425"/>
            </a:xfrm>
            <a:custGeom>
              <a:avLst/>
              <a:gdLst/>
              <a:ahLst/>
              <a:cxnLst/>
              <a:rect l="l" t="t" r="r" b="b"/>
              <a:pathLst>
                <a:path w="2254" h="4457" extrusionOk="0">
                  <a:moveTo>
                    <a:pt x="2028" y="0"/>
                  </a:moveTo>
                  <a:cubicBezTo>
                    <a:pt x="2027" y="0"/>
                    <a:pt x="2025" y="1"/>
                    <a:pt x="2024" y="2"/>
                  </a:cubicBezTo>
                  <a:cubicBezTo>
                    <a:pt x="1505" y="322"/>
                    <a:pt x="0" y="4457"/>
                    <a:pt x="2253" y="4457"/>
                  </a:cubicBezTo>
                  <a:cubicBezTo>
                    <a:pt x="2253" y="4457"/>
                    <a:pt x="1690" y="4412"/>
                    <a:pt x="1652" y="2796"/>
                  </a:cubicBezTo>
                  <a:cubicBezTo>
                    <a:pt x="1616" y="1200"/>
                    <a:pt x="2077" y="0"/>
                    <a:pt x="202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5263;p53">
              <a:extLst>
                <a:ext uri="{FF2B5EF4-FFF2-40B4-BE49-F238E27FC236}">
                  <a16:creationId xmlns:a16="http://schemas.microsoft.com/office/drawing/2014/main" id="{D0DDD85C-DD11-E8B2-98BD-17B55685591E}"/>
                </a:ext>
              </a:extLst>
            </p:cNvPr>
            <p:cNvSpPr/>
            <p:nvPr/>
          </p:nvSpPr>
          <p:spPr>
            <a:xfrm>
              <a:off x="7696200" y="1601350"/>
              <a:ext cx="8175" cy="79525"/>
            </a:xfrm>
            <a:custGeom>
              <a:avLst/>
              <a:gdLst/>
              <a:ahLst/>
              <a:cxnLst/>
              <a:rect l="l" t="t" r="r" b="b"/>
              <a:pathLst>
                <a:path w="327" h="3181" extrusionOk="0">
                  <a:moveTo>
                    <a:pt x="166" y="0"/>
                  </a:moveTo>
                  <a:cubicBezTo>
                    <a:pt x="165" y="0"/>
                    <a:pt x="164" y="5"/>
                    <a:pt x="164" y="17"/>
                  </a:cubicBezTo>
                  <a:lnTo>
                    <a:pt x="1" y="3181"/>
                  </a:lnTo>
                  <a:cubicBezTo>
                    <a:pt x="13" y="3178"/>
                    <a:pt x="49" y="3178"/>
                    <a:pt x="94" y="3178"/>
                  </a:cubicBezTo>
                  <a:cubicBezTo>
                    <a:pt x="182" y="3178"/>
                    <a:pt x="302" y="3181"/>
                    <a:pt x="326" y="3181"/>
                  </a:cubicBezTo>
                  <a:cubicBezTo>
                    <a:pt x="319" y="1826"/>
                    <a:pt x="193" y="17"/>
                    <a:pt x="171" y="17"/>
                  </a:cubicBezTo>
                  <a:cubicBezTo>
                    <a:pt x="171" y="17"/>
                    <a:pt x="168" y="0"/>
                    <a:pt x="166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5264;p53">
              <a:extLst>
                <a:ext uri="{FF2B5EF4-FFF2-40B4-BE49-F238E27FC236}">
                  <a16:creationId xmlns:a16="http://schemas.microsoft.com/office/drawing/2014/main" id="{74052C1F-C43E-D3B6-489D-8BF362E94AA1}"/>
                </a:ext>
              </a:extLst>
            </p:cNvPr>
            <p:cNvSpPr/>
            <p:nvPr/>
          </p:nvSpPr>
          <p:spPr>
            <a:xfrm>
              <a:off x="7677875" y="1629375"/>
              <a:ext cx="22450" cy="18175"/>
            </a:xfrm>
            <a:custGeom>
              <a:avLst/>
              <a:gdLst/>
              <a:ahLst/>
              <a:cxnLst/>
              <a:rect l="l" t="t" r="r" b="b"/>
              <a:pathLst>
                <a:path w="898" h="727" extrusionOk="0">
                  <a:moveTo>
                    <a:pt x="1" y="0"/>
                  </a:moveTo>
                  <a:lnTo>
                    <a:pt x="1" y="0"/>
                  </a:lnTo>
                  <a:cubicBezTo>
                    <a:pt x="433" y="706"/>
                    <a:pt x="840" y="726"/>
                    <a:pt x="886" y="726"/>
                  </a:cubicBezTo>
                  <a:cubicBezTo>
                    <a:pt x="889" y="726"/>
                    <a:pt x="890" y="726"/>
                    <a:pt x="890" y="726"/>
                  </a:cubicBezTo>
                  <a:lnTo>
                    <a:pt x="897" y="623"/>
                  </a:lnTo>
                  <a:lnTo>
                    <a:pt x="897" y="623"/>
                  </a:lnTo>
                  <a:cubicBezTo>
                    <a:pt x="897" y="623"/>
                    <a:pt x="888" y="630"/>
                    <a:pt x="862" y="630"/>
                  </a:cubicBezTo>
                  <a:cubicBezTo>
                    <a:pt x="807" y="630"/>
                    <a:pt x="678" y="600"/>
                    <a:pt x="408" y="415"/>
                  </a:cubicBezTo>
                  <a:cubicBezTo>
                    <a:pt x="179" y="25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265;p53">
              <a:extLst>
                <a:ext uri="{FF2B5EF4-FFF2-40B4-BE49-F238E27FC236}">
                  <a16:creationId xmlns:a16="http://schemas.microsoft.com/office/drawing/2014/main" id="{A5F01FA7-250B-C770-4550-05259897D2E7}"/>
                </a:ext>
              </a:extLst>
            </p:cNvPr>
            <p:cNvSpPr/>
            <p:nvPr/>
          </p:nvSpPr>
          <p:spPr>
            <a:xfrm>
              <a:off x="7700300" y="162435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1"/>
                    <a:pt x="615" y="209"/>
                    <a:pt x="415" y="349"/>
                  </a:cubicBezTo>
                  <a:cubicBezTo>
                    <a:pt x="192" y="507"/>
                    <a:pt x="82" y="533"/>
                    <a:pt x="33" y="533"/>
                  </a:cubicBezTo>
                  <a:cubicBezTo>
                    <a:pt x="9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9" y="616"/>
                    <a:pt x="12" y="616"/>
                  </a:cubicBezTo>
                  <a:cubicBezTo>
                    <a:pt x="56" y="616"/>
                    <a:pt x="397" y="596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5266;p53">
              <a:extLst>
                <a:ext uri="{FF2B5EF4-FFF2-40B4-BE49-F238E27FC236}">
                  <a16:creationId xmlns:a16="http://schemas.microsoft.com/office/drawing/2014/main" id="{E763ED56-A7AB-4369-64ED-F21AE31A9AAA}"/>
                </a:ext>
              </a:extLst>
            </p:cNvPr>
            <p:cNvSpPr/>
            <p:nvPr/>
          </p:nvSpPr>
          <p:spPr>
            <a:xfrm>
              <a:off x="7684900" y="1613225"/>
              <a:ext cx="15425" cy="12650"/>
            </a:xfrm>
            <a:custGeom>
              <a:avLst/>
              <a:gdLst/>
              <a:ahLst/>
              <a:cxnLst/>
              <a:rect l="l" t="t" r="r" b="b"/>
              <a:pathLst>
                <a:path w="617" h="506" extrusionOk="0">
                  <a:moveTo>
                    <a:pt x="1" y="1"/>
                  </a:moveTo>
                  <a:lnTo>
                    <a:pt x="1" y="1"/>
                  </a:lnTo>
                  <a:cubicBezTo>
                    <a:pt x="303" y="493"/>
                    <a:pt x="579" y="506"/>
                    <a:pt x="607" y="506"/>
                  </a:cubicBezTo>
                  <a:cubicBezTo>
                    <a:pt x="608" y="506"/>
                    <a:pt x="609" y="506"/>
                    <a:pt x="609" y="506"/>
                  </a:cubicBezTo>
                  <a:lnTo>
                    <a:pt x="616" y="431"/>
                  </a:lnTo>
                  <a:lnTo>
                    <a:pt x="616" y="431"/>
                  </a:lnTo>
                  <a:cubicBezTo>
                    <a:pt x="616" y="431"/>
                    <a:pt x="610" y="436"/>
                    <a:pt x="593" y="436"/>
                  </a:cubicBezTo>
                  <a:cubicBezTo>
                    <a:pt x="557" y="436"/>
                    <a:pt x="469" y="415"/>
                    <a:pt x="282" y="284"/>
                  </a:cubicBezTo>
                  <a:cubicBezTo>
                    <a:pt x="127" y="17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5267;p53">
              <a:extLst>
                <a:ext uri="{FF2B5EF4-FFF2-40B4-BE49-F238E27FC236}">
                  <a16:creationId xmlns:a16="http://schemas.microsoft.com/office/drawing/2014/main" id="{71035D59-514F-66AE-4D5D-8D72DD71A8BA}"/>
                </a:ext>
              </a:extLst>
            </p:cNvPr>
            <p:cNvSpPr/>
            <p:nvPr/>
          </p:nvSpPr>
          <p:spPr>
            <a:xfrm>
              <a:off x="7421675" y="1540075"/>
              <a:ext cx="120425" cy="117100"/>
            </a:xfrm>
            <a:custGeom>
              <a:avLst/>
              <a:gdLst/>
              <a:ahLst/>
              <a:cxnLst/>
              <a:rect l="l" t="t" r="r" b="b"/>
              <a:pathLst>
                <a:path w="4817" h="4684" extrusionOk="0">
                  <a:moveTo>
                    <a:pt x="2475" y="1"/>
                  </a:moveTo>
                  <a:cubicBezTo>
                    <a:pt x="2390" y="1"/>
                    <a:pt x="2305" y="23"/>
                    <a:pt x="2230" y="67"/>
                  </a:cubicBezTo>
                  <a:cubicBezTo>
                    <a:pt x="1704" y="400"/>
                    <a:pt x="0" y="4684"/>
                    <a:pt x="2476" y="4684"/>
                  </a:cubicBezTo>
                  <a:cubicBezTo>
                    <a:pt x="4816" y="4684"/>
                    <a:pt x="3253" y="400"/>
                    <a:pt x="2719" y="67"/>
                  </a:cubicBezTo>
                  <a:cubicBezTo>
                    <a:pt x="2646" y="23"/>
                    <a:pt x="2561" y="1"/>
                    <a:pt x="2475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5268;p53">
              <a:extLst>
                <a:ext uri="{FF2B5EF4-FFF2-40B4-BE49-F238E27FC236}">
                  <a16:creationId xmlns:a16="http://schemas.microsoft.com/office/drawing/2014/main" id="{6D77E6B2-FA00-7AF7-D7F6-D7C6EE6FE3EB}"/>
                </a:ext>
              </a:extLst>
            </p:cNvPr>
            <p:cNvSpPr/>
            <p:nvPr/>
          </p:nvSpPr>
          <p:spPr>
            <a:xfrm>
              <a:off x="7423525" y="1545050"/>
              <a:ext cx="56550" cy="111550"/>
            </a:xfrm>
            <a:custGeom>
              <a:avLst/>
              <a:gdLst/>
              <a:ahLst/>
              <a:cxnLst/>
              <a:rect l="l" t="t" r="r" b="b"/>
              <a:pathLst>
                <a:path w="2262" h="4462" extrusionOk="0">
                  <a:moveTo>
                    <a:pt x="2027" y="0"/>
                  </a:moveTo>
                  <a:cubicBezTo>
                    <a:pt x="2026" y="0"/>
                    <a:pt x="2024" y="1"/>
                    <a:pt x="2023" y="2"/>
                  </a:cubicBezTo>
                  <a:cubicBezTo>
                    <a:pt x="1512" y="327"/>
                    <a:pt x="1" y="4462"/>
                    <a:pt x="2261" y="4462"/>
                  </a:cubicBezTo>
                  <a:cubicBezTo>
                    <a:pt x="2261" y="4462"/>
                    <a:pt x="1690" y="4410"/>
                    <a:pt x="1653" y="2795"/>
                  </a:cubicBezTo>
                  <a:cubicBezTo>
                    <a:pt x="1623" y="1194"/>
                    <a:pt x="2088" y="0"/>
                    <a:pt x="2027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5269;p53">
              <a:extLst>
                <a:ext uri="{FF2B5EF4-FFF2-40B4-BE49-F238E27FC236}">
                  <a16:creationId xmlns:a16="http://schemas.microsoft.com/office/drawing/2014/main" id="{758C8129-AF01-172A-1BE9-EE1EF39D9D89}"/>
                </a:ext>
              </a:extLst>
            </p:cNvPr>
            <p:cNvSpPr/>
            <p:nvPr/>
          </p:nvSpPr>
          <p:spPr>
            <a:xfrm>
              <a:off x="7478000" y="1600800"/>
              <a:ext cx="8325" cy="79550"/>
            </a:xfrm>
            <a:custGeom>
              <a:avLst/>
              <a:gdLst/>
              <a:ahLst/>
              <a:cxnLst/>
              <a:rect l="l" t="t" r="r" b="b"/>
              <a:pathLst>
                <a:path w="333" h="3182" extrusionOk="0">
                  <a:moveTo>
                    <a:pt x="165" y="0"/>
                  </a:moveTo>
                  <a:cubicBezTo>
                    <a:pt x="163" y="0"/>
                    <a:pt x="162" y="4"/>
                    <a:pt x="162" y="16"/>
                  </a:cubicBezTo>
                  <a:lnTo>
                    <a:pt x="0" y="3181"/>
                  </a:lnTo>
                  <a:lnTo>
                    <a:pt x="333" y="3181"/>
                  </a:lnTo>
                  <a:cubicBezTo>
                    <a:pt x="319" y="1825"/>
                    <a:pt x="200" y="16"/>
                    <a:pt x="171" y="16"/>
                  </a:cubicBezTo>
                  <a:cubicBezTo>
                    <a:pt x="171" y="16"/>
                    <a:pt x="167" y="0"/>
                    <a:pt x="165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5270;p53">
              <a:extLst>
                <a:ext uri="{FF2B5EF4-FFF2-40B4-BE49-F238E27FC236}">
                  <a16:creationId xmlns:a16="http://schemas.microsoft.com/office/drawing/2014/main" id="{D40EA7A2-FA09-64E7-B02D-C00FE11AD8EC}"/>
                </a:ext>
              </a:extLst>
            </p:cNvPr>
            <p:cNvSpPr/>
            <p:nvPr/>
          </p:nvSpPr>
          <p:spPr>
            <a:xfrm>
              <a:off x="7459625" y="1628975"/>
              <a:ext cx="22675" cy="18200"/>
            </a:xfrm>
            <a:custGeom>
              <a:avLst/>
              <a:gdLst/>
              <a:ahLst/>
              <a:cxnLst/>
              <a:rect l="l" t="t" r="r" b="b"/>
              <a:pathLst>
                <a:path w="907" h="728" extrusionOk="0">
                  <a:moveTo>
                    <a:pt x="1" y="0"/>
                  </a:moveTo>
                  <a:cubicBezTo>
                    <a:pt x="443" y="709"/>
                    <a:pt x="844" y="728"/>
                    <a:pt x="886" y="728"/>
                  </a:cubicBezTo>
                  <a:cubicBezTo>
                    <a:pt x="889" y="728"/>
                    <a:pt x="890" y="728"/>
                    <a:pt x="890" y="728"/>
                  </a:cubicBezTo>
                  <a:lnTo>
                    <a:pt x="906" y="623"/>
                  </a:lnTo>
                  <a:lnTo>
                    <a:pt x="906" y="623"/>
                  </a:lnTo>
                  <a:cubicBezTo>
                    <a:pt x="906" y="623"/>
                    <a:pt x="896" y="630"/>
                    <a:pt x="868" y="630"/>
                  </a:cubicBezTo>
                  <a:cubicBezTo>
                    <a:pt x="812" y="630"/>
                    <a:pt x="681" y="599"/>
                    <a:pt x="417" y="409"/>
                  </a:cubicBezTo>
                  <a:cubicBezTo>
                    <a:pt x="186" y="246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5271;p53">
              <a:extLst>
                <a:ext uri="{FF2B5EF4-FFF2-40B4-BE49-F238E27FC236}">
                  <a16:creationId xmlns:a16="http://schemas.microsoft.com/office/drawing/2014/main" id="{C00D0439-8DFA-F456-9D98-1E3D2EB363E8}"/>
                </a:ext>
              </a:extLst>
            </p:cNvPr>
            <p:cNvSpPr/>
            <p:nvPr/>
          </p:nvSpPr>
          <p:spPr>
            <a:xfrm>
              <a:off x="7482275" y="162400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0"/>
                    <a:pt x="606" y="208"/>
                    <a:pt x="414" y="342"/>
                  </a:cubicBezTo>
                  <a:cubicBezTo>
                    <a:pt x="184" y="506"/>
                    <a:pt x="76" y="533"/>
                    <a:pt x="30" y="533"/>
                  </a:cubicBezTo>
                  <a:cubicBezTo>
                    <a:pt x="8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8" y="616"/>
                    <a:pt x="9" y="616"/>
                  </a:cubicBezTo>
                  <a:cubicBezTo>
                    <a:pt x="39" y="616"/>
                    <a:pt x="387" y="603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5272;p53">
              <a:extLst>
                <a:ext uri="{FF2B5EF4-FFF2-40B4-BE49-F238E27FC236}">
                  <a16:creationId xmlns:a16="http://schemas.microsoft.com/office/drawing/2014/main" id="{099964E6-739F-8D29-1269-B5CEE57B2696}"/>
                </a:ext>
              </a:extLst>
            </p:cNvPr>
            <p:cNvSpPr/>
            <p:nvPr/>
          </p:nvSpPr>
          <p:spPr>
            <a:xfrm>
              <a:off x="7466700" y="1612875"/>
              <a:ext cx="15600" cy="12425"/>
            </a:xfrm>
            <a:custGeom>
              <a:avLst/>
              <a:gdLst/>
              <a:ahLst/>
              <a:cxnLst/>
              <a:rect l="l" t="t" r="r" b="b"/>
              <a:pathLst>
                <a:path w="624" h="497" extrusionOk="0">
                  <a:moveTo>
                    <a:pt x="1" y="1"/>
                  </a:moveTo>
                  <a:cubicBezTo>
                    <a:pt x="302" y="484"/>
                    <a:pt x="583" y="497"/>
                    <a:pt x="612" y="497"/>
                  </a:cubicBezTo>
                  <a:cubicBezTo>
                    <a:pt x="613" y="497"/>
                    <a:pt x="614" y="497"/>
                    <a:pt x="614" y="497"/>
                  </a:cubicBezTo>
                  <a:lnTo>
                    <a:pt x="623" y="422"/>
                  </a:lnTo>
                  <a:lnTo>
                    <a:pt x="623" y="422"/>
                  </a:lnTo>
                  <a:cubicBezTo>
                    <a:pt x="623" y="422"/>
                    <a:pt x="615" y="429"/>
                    <a:pt x="591" y="429"/>
                  </a:cubicBezTo>
                  <a:cubicBezTo>
                    <a:pt x="549" y="429"/>
                    <a:pt x="458" y="407"/>
                    <a:pt x="282" y="282"/>
                  </a:cubicBezTo>
                  <a:cubicBezTo>
                    <a:pt x="125" y="17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5273;p53">
              <a:extLst>
                <a:ext uri="{FF2B5EF4-FFF2-40B4-BE49-F238E27FC236}">
                  <a16:creationId xmlns:a16="http://schemas.microsoft.com/office/drawing/2014/main" id="{01C2ABF4-C305-8E8A-1C17-7D409F19A57B}"/>
                </a:ext>
              </a:extLst>
            </p:cNvPr>
            <p:cNvSpPr/>
            <p:nvPr/>
          </p:nvSpPr>
          <p:spPr>
            <a:xfrm>
              <a:off x="7454475" y="1518300"/>
              <a:ext cx="141725" cy="137775"/>
            </a:xfrm>
            <a:custGeom>
              <a:avLst/>
              <a:gdLst/>
              <a:ahLst/>
              <a:cxnLst/>
              <a:rect l="l" t="t" r="r" b="b"/>
              <a:pathLst>
                <a:path w="5669" h="5511" extrusionOk="0">
                  <a:moveTo>
                    <a:pt x="2909" y="1"/>
                  </a:moveTo>
                  <a:cubicBezTo>
                    <a:pt x="2808" y="1"/>
                    <a:pt x="2708" y="27"/>
                    <a:pt x="2624" y="79"/>
                  </a:cubicBezTo>
                  <a:cubicBezTo>
                    <a:pt x="2001" y="471"/>
                    <a:pt x="1" y="5510"/>
                    <a:pt x="2912" y="5510"/>
                  </a:cubicBezTo>
                  <a:cubicBezTo>
                    <a:pt x="5668" y="5510"/>
                    <a:pt x="3824" y="471"/>
                    <a:pt x="3202" y="79"/>
                  </a:cubicBezTo>
                  <a:cubicBezTo>
                    <a:pt x="3113" y="27"/>
                    <a:pt x="3011" y="1"/>
                    <a:pt x="2909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0" name="Google Shape;5274;p53">
              <a:extLst>
                <a:ext uri="{FF2B5EF4-FFF2-40B4-BE49-F238E27FC236}">
                  <a16:creationId xmlns:a16="http://schemas.microsoft.com/office/drawing/2014/main" id="{C2AA5FA6-A1F8-D1EF-91D1-F13BE02888FB}"/>
                </a:ext>
              </a:extLst>
            </p:cNvPr>
            <p:cNvSpPr/>
            <p:nvPr/>
          </p:nvSpPr>
          <p:spPr>
            <a:xfrm>
              <a:off x="7457225" y="1524100"/>
              <a:ext cx="67075" cy="132500"/>
            </a:xfrm>
            <a:custGeom>
              <a:avLst/>
              <a:gdLst/>
              <a:ahLst/>
              <a:cxnLst/>
              <a:rect l="l" t="t" r="r" b="b"/>
              <a:pathLst>
                <a:path w="2683" h="5300" extrusionOk="0">
                  <a:moveTo>
                    <a:pt x="2413" y="1"/>
                  </a:moveTo>
                  <a:cubicBezTo>
                    <a:pt x="2412" y="1"/>
                    <a:pt x="2410" y="1"/>
                    <a:pt x="2409" y="2"/>
                  </a:cubicBezTo>
                  <a:cubicBezTo>
                    <a:pt x="1793" y="388"/>
                    <a:pt x="1" y="5300"/>
                    <a:pt x="2683" y="5300"/>
                  </a:cubicBezTo>
                  <a:cubicBezTo>
                    <a:pt x="2683" y="5300"/>
                    <a:pt x="2009" y="5241"/>
                    <a:pt x="1971" y="3322"/>
                  </a:cubicBezTo>
                  <a:cubicBezTo>
                    <a:pt x="1928" y="1421"/>
                    <a:pt x="2478" y="1"/>
                    <a:pt x="2413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1" name="Google Shape;5275;p53">
              <a:extLst>
                <a:ext uri="{FF2B5EF4-FFF2-40B4-BE49-F238E27FC236}">
                  <a16:creationId xmlns:a16="http://schemas.microsoft.com/office/drawing/2014/main" id="{4FBE5D2F-33BC-BE5B-4178-4F3FAF8D753B}"/>
                </a:ext>
              </a:extLst>
            </p:cNvPr>
            <p:cNvSpPr/>
            <p:nvPr/>
          </p:nvSpPr>
          <p:spPr>
            <a:xfrm>
              <a:off x="7521700" y="1591900"/>
              <a:ext cx="9275" cy="88450"/>
            </a:xfrm>
            <a:custGeom>
              <a:avLst/>
              <a:gdLst/>
              <a:ahLst/>
              <a:cxnLst/>
              <a:rect l="l" t="t" r="r" b="b"/>
              <a:pathLst>
                <a:path w="371" h="3538" extrusionOk="0">
                  <a:moveTo>
                    <a:pt x="187" y="0"/>
                  </a:moveTo>
                  <a:cubicBezTo>
                    <a:pt x="186" y="0"/>
                    <a:pt x="185" y="4"/>
                    <a:pt x="185" y="16"/>
                  </a:cubicBezTo>
                  <a:lnTo>
                    <a:pt x="1" y="3537"/>
                  </a:lnTo>
                  <a:lnTo>
                    <a:pt x="370" y="3537"/>
                  </a:lnTo>
                  <a:cubicBezTo>
                    <a:pt x="356" y="2033"/>
                    <a:pt x="223" y="16"/>
                    <a:pt x="193" y="16"/>
                  </a:cubicBezTo>
                  <a:cubicBezTo>
                    <a:pt x="193" y="16"/>
                    <a:pt x="189" y="0"/>
                    <a:pt x="18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2" name="Google Shape;5276;p53">
              <a:extLst>
                <a:ext uri="{FF2B5EF4-FFF2-40B4-BE49-F238E27FC236}">
                  <a16:creationId xmlns:a16="http://schemas.microsoft.com/office/drawing/2014/main" id="{F88477B7-01BD-1B8A-175D-88B5C30CEE02}"/>
                </a:ext>
              </a:extLst>
            </p:cNvPr>
            <p:cNvSpPr/>
            <p:nvPr/>
          </p:nvSpPr>
          <p:spPr>
            <a:xfrm>
              <a:off x="7501525" y="1623250"/>
              <a:ext cx="25000" cy="20200"/>
            </a:xfrm>
            <a:custGeom>
              <a:avLst/>
              <a:gdLst/>
              <a:ahLst/>
              <a:cxnLst/>
              <a:rect l="l" t="t" r="r" b="b"/>
              <a:pathLst>
                <a:path w="1000" h="808" extrusionOk="0">
                  <a:moveTo>
                    <a:pt x="0" y="0"/>
                  </a:moveTo>
                  <a:lnTo>
                    <a:pt x="0" y="0"/>
                  </a:lnTo>
                  <a:cubicBezTo>
                    <a:pt x="484" y="787"/>
                    <a:pt x="935" y="807"/>
                    <a:pt x="981" y="807"/>
                  </a:cubicBezTo>
                  <a:cubicBezTo>
                    <a:pt x="984" y="807"/>
                    <a:pt x="985" y="807"/>
                    <a:pt x="985" y="807"/>
                  </a:cubicBezTo>
                  <a:lnTo>
                    <a:pt x="1000" y="690"/>
                  </a:lnTo>
                  <a:lnTo>
                    <a:pt x="1000" y="690"/>
                  </a:lnTo>
                  <a:cubicBezTo>
                    <a:pt x="1000" y="690"/>
                    <a:pt x="989" y="697"/>
                    <a:pt x="960" y="697"/>
                  </a:cubicBezTo>
                  <a:cubicBezTo>
                    <a:pt x="899" y="697"/>
                    <a:pt x="755" y="664"/>
                    <a:pt x="452" y="452"/>
                  </a:cubicBezTo>
                  <a:cubicBezTo>
                    <a:pt x="199" y="27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3" name="Google Shape;5277;p53">
              <a:extLst>
                <a:ext uri="{FF2B5EF4-FFF2-40B4-BE49-F238E27FC236}">
                  <a16:creationId xmlns:a16="http://schemas.microsoft.com/office/drawing/2014/main" id="{7772B07D-AAC3-D59E-B282-45A0F13629A4}"/>
                </a:ext>
              </a:extLst>
            </p:cNvPr>
            <p:cNvSpPr/>
            <p:nvPr/>
          </p:nvSpPr>
          <p:spPr>
            <a:xfrm>
              <a:off x="7526500" y="1617675"/>
              <a:ext cx="21150" cy="17100"/>
            </a:xfrm>
            <a:custGeom>
              <a:avLst/>
              <a:gdLst/>
              <a:ahLst/>
              <a:cxnLst/>
              <a:rect l="l" t="t" r="r" b="b"/>
              <a:pathLst>
                <a:path w="846" h="684" extrusionOk="0">
                  <a:moveTo>
                    <a:pt x="845" y="1"/>
                  </a:moveTo>
                  <a:cubicBezTo>
                    <a:pt x="845" y="1"/>
                    <a:pt x="676" y="230"/>
                    <a:pt x="461" y="387"/>
                  </a:cubicBezTo>
                  <a:cubicBezTo>
                    <a:pt x="210" y="564"/>
                    <a:pt x="89" y="593"/>
                    <a:pt x="37" y="593"/>
                  </a:cubicBezTo>
                  <a:cubicBezTo>
                    <a:pt x="10" y="593"/>
                    <a:pt x="1" y="586"/>
                    <a:pt x="1" y="586"/>
                  </a:cubicBezTo>
                  <a:lnTo>
                    <a:pt x="1" y="586"/>
                  </a:lnTo>
                  <a:lnTo>
                    <a:pt x="9" y="684"/>
                  </a:lnTo>
                  <a:cubicBezTo>
                    <a:pt x="9" y="684"/>
                    <a:pt x="11" y="684"/>
                    <a:pt x="13" y="684"/>
                  </a:cubicBezTo>
                  <a:cubicBezTo>
                    <a:pt x="55" y="684"/>
                    <a:pt x="434" y="665"/>
                    <a:pt x="845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4" name="Google Shape;5278;p53">
              <a:extLst>
                <a:ext uri="{FF2B5EF4-FFF2-40B4-BE49-F238E27FC236}">
                  <a16:creationId xmlns:a16="http://schemas.microsoft.com/office/drawing/2014/main" id="{11827AD6-4C8A-1C0C-75EA-0AA1E4743356}"/>
                </a:ext>
              </a:extLst>
            </p:cNvPr>
            <p:cNvSpPr/>
            <p:nvPr/>
          </p:nvSpPr>
          <p:spPr>
            <a:xfrm>
              <a:off x="7509300" y="1605275"/>
              <a:ext cx="17225" cy="13950"/>
            </a:xfrm>
            <a:custGeom>
              <a:avLst/>
              <a:gdLst/>
              <a:ahLst/>
              <a:cxnLst/>
              <a:rect l="l" t="t" r="r" b="b"/>
              <a:pathLst>
                <a:path w="689" h="558" extrusionOk="0">
                  <a:moveTo>
                    <a:pt x="0" y="1"/>
                  </a:moveTo>
                  <a:lnTo>
                    <a:pt x="0" y="1"/>
                  </a:lnTo>
                  <a:cubicBezTo>
                    <a:pt x="339" y="544"/>
                    <a:pt x="650" y="557"/>
                    <a:pt x="679" y="557"/>
                  </a:cubicBezTo>
                  <a:cubicBezTo>
                    <a:pt x="681" y="557"/>
                    <a:pt x="681" y="557"/>
                    <a:pt x="681" y="557"/>
                  </a:cubicBezTo>
                  <a:lnTo>
                    <a:pt x="689" y="475"/>
                  </a:lnTo>
                  <a:lnTo>
                    <a:pt x="689" y="475"/>
                  </a:lnTo>
                  <a:cubicBezTo>
                    <a:pt x="689" y="475"/>
                    <a:pt x="681" y="481"/>
                    <a:pt x="660" y="481"/>
                  </a:cubicBezTo>
                  <a:cubicBezTo>
                    <a:pt x="617" y="481"/>
                    <a:pt x="517" y="457"/>
                    <a:pt x="312" y="312"/>
                  </a:cubicBezTo>
                  <a:cubicBezTo>
                    <a:pt x="141" y="193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5" name="Google Shape;5279;p53">
              <a:extLst>
                <a:ext uri="{FF2B5EF4-FFF2-40B4-BE49-F238E27FC236}">
                  <a16:creationId xmlns:a16="http://schemas.microsoft.com/office/drawing/2014/main" id="{F7641D8F-A727-024D-2BDB-E695D1A2CB67}"/>
                </a:ext>
              </a:extLst>
            </p:cNvPr>
            <p:cNvSpPr/>
            <p:nvPr/>
          </p:nvSpPr>
          <p:spPr>
            <a:xfrm>
              <a:off x="7404450" y="1558600"/>
              <a:ext cx="64675" cy="81525"/>
            </a:xfrm>
            <a:custGeom>
              <a:avLst/>
              <a:gdLst/>
              <a:ahLst/>
              <a:cxnLst/>
              <a:rect l="l" t="t" r="r" b="b"/>
              <a:pathLst>
                <a:path w="2587" h="3261" extrusionOk="0">
                  <a:moveTo>
                    <a:pt x="1290" y="0"/>
                  </a:moveTo>
                  <a:cubicBezTo>
                    <a:pt x="734" y="0"/>
                    <a:pt x="275" y="452"/>
                    <a:pt x="275" y="1016"/>
                  </a:cubicBezTo>
                  <a:cubicBezTo>
                    <a:pt x="275" y="1067"/>
                    <a:pt x="282" y="1112"/>
                    <a:pt x="289" y="1156"/>
                  </a:cubicBezTo>
                  <a:cubicBezTo>
                    <a:pt x="111" y="1379"/>
                    <a:pt x="1" y="1659"/>
                    <a:pt x="1" y="1964"/>
                  </a:cubicBezTo>
                  <a:cubicBezTo>
                    <a:pt x="1" y="2682"/>
                    <a:pt x="579" y="3260"/>
                    <a:pt x="1290" y="3260"/>
                  </a:cubicBezTo>
                  <a:cubicBezTo>
                    <a:pt x="2009" y="3260"/>
                    <a:pt x="2587" y="2682"/>
                    <a:pt x="2587" y="1964"/>
                  </a:cubicBezTo>
                  <a:cubicBezTo>
                    <a:pt x="2587" y="1659"/>
                    <a:pt x="2475" y="1379"/>
                    <a:pt x="2297" y="1156"/>
                  </a:cubicBezTo>
                  <a:cubicBezTo>
                    <a:pt x="2304" y="1112"/>
                    <a:pt x="2313" y="1067"/>
                    <a:pt x="2313" y="1016"/>
                  </a:cubicBezTo>
                  <a:cubicBezTo>
                    <a:pt x="2313" y="452"/>
                    <a:pt x="1852" y="0"/>
                    <a:pt x="1290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6" name="Google Shape;5280;p53">
              <a:extLst>
                <a:ext uri="{FF2B5EF4-FFF2-40B4-BE49-F238E27FC236}">
                  <a16:creationId xmlns:a16="http://schemas.microsoft.com/office/drawing/2014/main" id="{2B4D95DC-6750-E85B-8552-B1DA165FBB72}"/>
                </a:ext>
              </a:extLst>
            </p:cNvPr>
            <p:cNvSpPr/>
            <p:nvPr/>
          </p:nvSpPr>
          <p:spPr>
            <a:xfrm>
              <a:off x="7436700" y="1583475"/>
              <a:ext cx="2950" cy="96875"/>
            </a:xfrm>
            <a:custGeom>
              <a:avLst/>
              <a:gdLst/>
              <a:ahLst/>
              <a:cxnLst/>
              <a:rect l="l" t="t" r="r" b="b"/>
              <a:pathLst>
                <a:path w="118" h="3875" extrusionOk="0">
                  <a:moveTo>
                    <a:pt x="54" y="0"/>
                  </a:moveTo>
                  <a:cubicBezTo>
                    <a:pt x="53" y="0"/>
                    <a:pt x="52" y="4"/>
                    <a:pt x="52" y="14"/>
                  </a:cubicBezTo>
                  <a:lnTo>
                    <a:pt x="0" y="3821"/>
                  </a:lnTo>
                  <a:cubicBezTo>
                    <a:pt x="0" y="3851"/>
                    <a:pt x="22" y="3874"/>
                    <a:pt x="52" y="3874"/>
                  </a:cubicBezTo>
                  <a:lnTo>
                    <a:pt x="59" y="3874"/>
                  </a:lnTo>
                  <a:cubicBezTo>
                    <a:pt x="96" y="3874"/>
                    <a:pt x="118" y="3851"/>
                    <a:pt x="118" y="3821"/>
                  </a:cubicBezTo>
                  <a:cubicBezTo>
                    <a:pt x="118" y="3821"/>
                    <a:pt x="96" y="14"/>
                    <a:pt x="59" y="14"/>
                  </a:cubicBezTo>
                  <a:cubicBezTo>
                    <a:pt x="59" y="14"/>
                    <a:pt x="56" y="0"/>
                    <a:pt x="54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7" name="Google Shape;5281;p53">
              <a:extLst>
                <a:ext uri="{FF2B5EF4-FFF2-40B4-BE49-F238E27FC236}">
                  <a16:creationId xmlns:a16="http://schemas.microsoft.com/office/drawing/2014/main" id="{57B07C8E-407A-6350-C106-A0520D2F8809}"/>
                </a:ext>
              </a:extLst>
            </p:cNvPr>
            <p:cNvSpPr/>
            <p:nvPr/>
          </p:nvSpPr>
          <p:spPr>
            <a:xfrm>
              <a:off x="7419800" y="1606975"/>
              <a:ext cx="18375" cy="15000"/>
            </a:xfrm>
            <a:custGeom>
              <a:avLst/>
              <a:gdLst/>
              <a:ahLst/>
              <a:cxnLst/>
              <a:rect l="l" t="t" r="r" b="b"/>
              <a:pathLst>
                <a:path w="735" h="600" extrusionOk="0">
                  <a:moveTo>
                    <a:pt x="0" y="0"/>
                  </a:moveTo>
                  <a:lnTo>
                    <a:pt x="0" y="0"/>
                  </a:lnTo>
                  <a:cubicBezTo>
                    <a:pt x="353" y="580"/>
                    <a:pt x="679" y="600"/>
                    <a:pt x="723" y="600"/>
                  </a:cubicBezTo>
                  <a:cubicBezTo>
                    <a:pt x="726" y="600"/>
                    <a:pt x="728" y="599"/>
                    <a:pt x="728" y="599"/>
                  </a:cubicBezTo>
                  <a:lnTo>
                    <a:pt x="735" y="511"/>
                  </a:lnTo>
                  <a:lnTo>
                    <a:pt x="735" y="511"/>
                  </a:lnTo>
                  <a:cubicBezTo>
                    <a:pt x="735" y="511"/>
                    <a:pt x="726" y="517"/>
                    <a:pt x="702" y="517"/>
                  </a:cubicBezTo>
                  <a:cubicBezTo>
                    <a:pt x="656" y="517"/>
                    <a:pt x="550" y="492"/>
                    <a:pt x="335" y="340"/>
                  </a:cubicBezTo>
                  <a:cubicBezTo>
                    <a:pt x="150" y="199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8" name="Google Shape;5282;p53">
              <a:extLst>
                <a:ext uri="{FF2B5EF4-FFF2-40B4-BE49-F238E27FC236}">
                  <a16:creationId xmlns:a16="http://schemas.microsoft.com/office/drawing/2014/main" id="{05C2C868-C98D-CA5A-098D-7406BF1DBB60}"/>
                </a:ext>
              </a:extLst>
            </p:cNvPr>
            <p:cNvSpPr/>
            <p:nvPr/>
          </p:nvSpPr>
          <p:spPr>
            <a:xfrm>
              <a:off x="7438150" y="1602700"/>
              <a:ext cx="15600" cy="12775"/>
            </a:xfrm>
            <a:custGeom>
              <a:avLst/>
              <a:gdLst/>
              <a:ahLst/>
              <a:cxnLst/>
              <a:rect l="l" t="t" r="r" b="b"/>
              <a:pathLst>
                <a:path w="624" h="511" extrusionOk="0">
                  <a:moveTo>
                    <a:pt x="623" y="0"/>
                  </a:moveTo>
                  <a:cubicBezTo>
                    <a:pt x="623" y="0"/>
                    <a:pt x="497" y="178"/>
                    <a:pt x="342" y="289"/>
                  </a:cubicBezTo>
                  <a:cubicBezTo>
                    <a:pt x="156" y="421"/>
                    <a:pt x="67" y="444"/>
                    <a:pt x="28" y="444"/>
                  </a:cubicBezTo>
                  <a:cubicBezTo>
                    <a:pt x="8" y="444"/>
                    <a:pt x="1" y="438"/>
                    <a:pt x="1" y="438"/>
                  </a:cubicBezTo>
                  <a:lnTo>
                    <a:pt x="1" y="438"/>
                  </a:lnTo>
                  <a:lnTo>
                    <a:pt x="8" y="511"/>
                  </a:lnTo>
                  <a:cubicBezTo>
                    <a:pt x="8" y="511"/>
                    <a:pt x="9" y="511"/>
                    <a:pt x="11" y="511"/>
                  </a:cubicBezTo>
                  <a:cubicBezTo>
                    <a:pt x="42" y="511"/>
                    <a:pt x="323" y="497"/>
                    <a:pt x="62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9" name="Google Shape;5283;p53">
              <a:extLst>
                <a:ext uri="{FF2B5EF4-FFF2-40B4-BE49-F238E27FC236}">
                  <a16:creationId xmlns:a16="http://schemas.microsoft.com/office/drawing/2014/main" id="{1424CC89-4CE9-2189-E5B6-CC52236B981C}"/>
                </a:ext>
              </a:extLst>
            </p:cNvPr>
            <p:cNvSpPr/>
            <p:nvPr/>
          </p:nvSpPr>
          <p:spPr>
            <a:xfrm>
              <a:off x="7425575" y="1593625"/>
              <a:ext cx="12600" cy="10200"/>
            </a:xfrm>
            <a:custGeom>
              <a:avLst/>
              <a:gdLst/>
              <a:ahLst/>
              <a:cxnLst/>
              <a:rect l="l" t="t" r="r" b="b"/>
              <a:pathLst>
                <a:path w="504" h="408" extrusionOk="0">
                  <a:moveTo>
                    <a:pt x="1" y="1"/>
                  </a:moveTo>
                  <a:lnTo>
                    <a:pt x="1" y="1"/>
                  </a:lnTo>
                  <a:cubicBezTo>
                    <a:pt x="242" y="395"/>
                    <a:pt x="467" y="408"/>
                    <a:pt x="494" y="408"/>
                  </a:cubicBezTo>
                  <a:cubicBezTo>
                    <a:pt x="496" y="408"/>
                    <a:pt x="497" y="408"/>
                    <a:pt x="497" y="408"/>
                  </a:cubicBezTo>
                  <a:lnTo>
                    <a:pt x="504" y="347"/>
                  </a:lnTo>
                  <a:lnTo>
                    <a:pt x="504" y="347"/>
                  </a:lnTo>
                  <a:cubicBezTo>
                    <a:pt x="504" y="347"/>
                    <a:pt x="497" y="353"/>
                    <a:pt x="479" y="353"/>
                  </a:cubicBezTo>
                  <a:cubicBezTo>
                    <a:pt x="446" y="353"/>
                    <a:pt x="374" y="334"/>
                    <a:pt x="230" y="230"/>
                  </a:cubicBezTo>
                  <a:cubicBezTo>
                    <a:pt x="104" y="14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0" name="Google Shape;5284;p53">
              <a:extLst>
                <a:ext uri="{FF2B5EF4-FFF2-40B4-BE49-F238E27FC236}">
                  <a16:creationId xmlns:a16="http://schemas.microsoft.com/office/drawing/2014/main" id="{05FB1FB7-3A78-3E8C-95BB-AB04EEF5F015}"/>
                </a:ext>
              </a:extLst>
            </p:cNvPr>
            <p:cNvSpPr/>
            <p:nvPr/>
          </p:nvSpPr>
          <p:spPr>
            <a:xfrm>
              <a:off x="7286250" y="1591750"/>
              <a:ext cx="46350" cy="58600"/>
            </a:xfrm>
            <a:custGeom>
              <a:avLst/>
              <a:gdLst/>
              <a:ahLst/>
              <a:cxnLst/>
              <a:rect l="l" t="t" r="r" b="b"/>
              <a:pathLst>
                <a:path w="1854" h="2344" extrusionOk="0">
                  <a:moveTo>
                    <a:pt x="927" y="1"/>
                  </a:moveTo>
                  <a:cubicBezTo>
                    <a:pt x="527" y="1"/>
                    <a:pt x="194" y="326"/>
                    <a:pt x="194" y="734"/>
                  </a:cubicBezTo>
                  <a:cubicBezTo>
                    <a:pt x="194" y="764"/>
                    <a:pt x="201" y="801"/>
                    <a:pt x="208" y="831"/>
                  </a:cubicBezTo>
                  <a:cubicBezTo>
                    <a:pt x="75" y="993"/>
                    <a:pt x="0" y="1194"/>
                    <a:pt x="0" y="1417"/>
                  </a:cubicBezTo>
                  <a:cubicBezTo>
                    <a:pt x="0" y="1927"/>
                    <a:pt x="416" y="2343"/>
                    <a:pt x="927" y="2343"/>
                  </a:cubicBezTo>
                  <a:cubicBezTo>
                    <a:pt x="1439" y="2343"/>
                    <a:pt x="1853" y="1927"/>
                    <a:pt x="1853" y="1417"/>
                  </a:cubicBezTo>
                  <a:cubicBezTo>
                    <a:pt x="1853" y="1194"/>
                    <a:pt x="1772" y="993"/>
                    <a:pt x="1645" y="831"/>
                  </a:cubicBezTo>
                  <a:cubicBezTo>
                    <a:pt x="1652" y="801"/>
                    <a:pt x="1652" y="764"/>
                    <a:pt x="1652" y="734"/>
                  </a:cubicBezTo>
                  <a:cubicBezTo>
                    <a:pt x="1652" y="326"/>
                    <a:pt x="1327" y="1"/>
                    <a:pt x="92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1" name="Google Shape;5285;p53">
              <a:extLst>
                <a:ext uri="{FF2B5EF4-FFF2-40B4-BE49-F238E27FC236}">
                  <a16:creationId xmlns:a16="http://schemas.microsoft.com/office/drawing/2014/main" id="{5FCF5DB7-6EBA-095A-5A6E-FDB70B2FA34E}"/>
                </a:ext>
              </a:extLst>
            </p:cNvPr>
            <p:cNvSpPr/>
            <p:nvPr/>
          </p:nvSpPr>
          <p:spPr>
            <a:xfrm>
              <a:off x="7309225" y="1609675"/>
              <a:ext cx="2250" cy="69550"/>
            </a:xfrm>
            <a:custGeom>
              <a:avLst/>
              <a:gdLst/>
              <a:ahLst/>
              <a:cxnLst/>
              <a:rect l="l" t="t" r="r" b="b"/>
              <a:pathLst>
                <a:path w="90" h="2782" extrusionOk="0">
                  <a:moveTo>
                    <a:pt x="47" y="0"/>
                  </a:moveTo>
                  <a:cubicBezTo>
                    <a:pt x="46" y="0"/>
                    <a:pt x="45" y="2"/>
                    <a:pt x="45" y="10"/>
                  </a:cubicBezTo>
                  <a:lnTo>
                    <a:pt x="1" y="2738"/>
                  </a:lnTo>
                  <a:cubicBezTo>
                    <a:pt x="1" y="2759"/>
                    <a:pt x="22" y="2782"/>
                    <a:pt x="45" y="2782"/>
                  </a:cubicBezTo>
                  <a:lnTo>
                    <a:pt x="52" y="2782"/>
                  </a:lnTo>
                  <a:cubicBezTo>
                    <a:pt x="75" y="2782"/>
                    <a:pt x="90" y="2759"/>
                    <a:pt x="90" y="2738"/>
                  </a:cubicBezTo>
                  <a:cubicBezTo>
                    <a:pt x="90" y="2738"/>
                    <a:pt x="75" y="10"/>
                    <a:pt x="52" y="10"/>
                  </a:cubicBezTo>
                  <a:cubicBezTo>
                    <a:pt x="52" y="10"/>
                    <a:pt x="49" y="0"/>
                    <a:pt x="4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2" name="Google Shape;5286;p53">
              <a:extLst>
                <a:ext uri="{FF2B5EF4-FFF2-40B4-BE49-F238E27FC236}">
                  <a16:creationId xmlns:a16="http://schemas.microsoft.com/office/drawing/2014/main" id="{264A73D2-B6F3-7779-EFBB-DC200E88A76C}"/>
                </a:ext>
              </a:extLst>
            </p:cNvPr>
            <p:cNvSpPr/>
            <p:nvPr/>
          </p:nvSpPr>
          <p:spPr>
            <a:xfrm>
              <a:off x="7297175" y="1626400"/>
              <a:ext cx="13200" cy="10950"/>
            </a:xfrm>
            <a:custGeom>
              <a:avLst/>
              <a:gdLst/>
              <a:ahLst/>
              <a:cxnLst/>
              <a:rect l="l" t="t" r="r" b="b"/>
              <a:pathLst>
                <a:path w="528" h="438" extrusionOk="0">
                  <a:moveTo>
                    <a:pt x="1" y="0"/>
                  </a:moveTo>
                  <a:cubicBezTo>
                    <a:pt x="266" y="431"/>
                    <a:pt x="505" y="438"/>
                    <a:pt x="519" y="438"/>
                  </a:cubicBezTo>
                  <a:cubicBezTo>
                    <a:pt x="520" y="438"/>
                    <a:pt x="520" y="438"/>
                    <a:pt x="520" y="438"/>
                  </a:cubicBezTo>
                  <a:lnTo>
                    <a:pt x="527" y="370"/>
                  </a:lnTo>
                  <a:lnTo>
                    <a:pt x="527" y="370"/>
                  </a:lnTo>
                  <a:cubicBezTo>
                    <a:pt x="527" y="370"/>
                    <a:pt x="521" y="375"/>
                    <a:pt x="504" y="375"/>
                  </a:cubicBezTo>
                  <a:cubicBezTo>
                    <a:pt x="470" y="375"/>
                    <a:pt x="396" y="356"/>
                    <a:pt x="246" y="246"/>
                  </a:cubicBezTo>
                  <a:cubicBezTo>
                    <a:pt x="104" y="148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8" name="Google Shape;5287;p53">
              <a:extLst>
                <a:ext uri="{FF2B5EF4-FFF2-40B4-BE49-F238E27FC236}">
                  <a16:creationId xmlns:a16="http://schemas.microsoft.com/office/drawing/2014/main" id="{15FEB1BE-5DCD-11C2-69E1-7CC163CF4DDB}"/>
                </a:ext>
              </a:extLst>
            </p:cNvPr>
            <p:cNvSpPr/>
            <p:nvPr/>
          </p:nvSpPr>
          <p:spPr>
            <a:xfrm>
              <a:off x="7310350" y="1623425"/>
              <a:ext cx="11300" cy="9300"/>
            </a:xfrm>
            <a:custGeom>
              <a:avLst/>
              <a:gdLst/>
              <a:ahLst/>
              <a:cxnLst/>
              <a:rect l="l" t="t" r="r" b="b"/>
              <a:pathLst>
                <a:path w="452" h="372" extrusionOk="0">
                  <a:moveTo>
                    <a:pt x="452" y="0"/>
                  </a:moveTo>
                  <a:lnTo>
                    <a:pt x="452" y="0"/>
                  </a:lnTo>
                  <a:cubicBezTo>
                    <a:pt x="452" y="0"/>
                    <a:pt x="356" y="126"/>
                    <a:pt x="244" y="208"/>
                  </a:cubicBezTo>
                  <a:cubicBezTo>
                    <a:pt x="102" y="308"/>
                    <a:pt x="39" y="323"/>
                    <a:pt x="14" y="323"/>
                  </a:cubicBezTo>
                  <a:cubicBezTo>
                    <a:pt x="4" y="323"/>
                    <a:pt x="0" y="320"/>
                    <a:pt x="0" y="320"/>
                  </a:cubicBezTo>
                  <a:lnTo>
                    <a:pt x="0" y="320"/>
                  </a:lnTo>
                  <a:lnTo>
                    <a:pt x="7" y="372"/>
                  </a:lnTo>
                  <a:cubicBezTo>
                    <a:pt x="7" y="372"/>
                    <a:pt x="8" y="372"/>
                    <a:pt x="8" y="372"/>
                  </a:cubicBezTo>
                  <a:cubicBezTo>
                    <a:pt x="22" y="372"/>
                    <a:pt x="224" y="365"/>
                    <a:pt x="452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9" name="Google Shape;5288;p53">
              <a:extLst>
                <a:ext uri="{FF2B5EF4-FFF2-40B4-BE49-F238E27FC236}">
                  <a16:creationId xmlns:a16="http://schemas.microsoft.com/office/drawing/2014/main" id="{AB579E8C-2F93-71BC-8B4E-96372ABC53D0}"/>
                </a:ext>
              </a:extLst>
            </p:cNvPr>
            <p:cNvSpPr/>
            <p:nvPr/>
          </p:nvSpPr>
          <p:spPr>
            <a:xfrm>
              <a:off x="7301275" y="1616975"/>
              <a:ext cx="9100" cy="7400"/>
            </a:xfrm>
            <a:custGeom>
              <a:avLst/>
              <a:gdLst/>
              <a:ahLst/>
              <a:cxnLst/>
              <a:rect l="l" t="t" r="r" b="b"/>
              <a:pathLst>
                <a:path w="364" h="296" extrusionOk="0">
                  <a:moveTo>
                    <a:pt x="0" y="0"/>
                  </a:moveTo>
                  <a:cubicBezTo>
                    <a:pt x="184" y="289"/>
                    <a:pt x="348" y="295"/>
                    <a:pt x="362" y="295"/>
                  </a:cubicBezTo>
                  <a:cubicBezTo>
                    <a:pt x="363" y="295"/>
                    <a:pt x="363" y="295"/>
                    <a:pt x="363" y="295"/>
                  </a:cubicBezTo>
                  <a:lnTo>
                    <a:pt x="363" y="251"/>
                  </a:lnTo>
                  <a:cubicBezTo>
                    <a:pt x="363" y="251"/>
                    <a:pt x="359" y="254"/>
                    <a:pt x="347" y="254"/>
                  </a:cubicBezTo>
                  <a:cubicBezTo>
                    <a:pt x="325" y="254"/>
                    <a:pt x="274" y="241"/>
                    <a:pt x="171" y="162"/>
                  </a:cubicBezTo>
                  <a:cubicBezTo>
                    <a:pt x="73" y="9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0" name="Google Shape;5289;p53">
              <a:extLst>
                <a:ext uri="{FF2B5EF4-FFF2-40B4-BE49-F238E27FC236}">
                  <a16:creationId xmlns:a16="http://schemas.microsoft.com/office/drawing/2014/main" id="{165B4AF5-E322-D26B-B744-69012B64EC67}"/>
                </a:ext>
              </a:extLst>
            </p:cNvPr>
            <p:cNvSpPr/>
            <p:nvPr/>
          </p:nvSpPr>
          <p:spPr>
            <a:xfrm>
              <a:off x="7200475" y="1642125"/>
              <a:ext cx="91000" cy="37825"/>
            </a:xfrm>
            <a:custGeom>
              <a:avLst/>
              <a:gdLst/>
              <a:ahLst/>
              <a:cxnLst/>
              <a:rect l="l" t="t" r="r" b="b"/>
              <a:pathLst>
                <a:path w="3640" h="1513" extrusionOk="0">
                  <a:moveTo>
                    <a:pt x="1215" y="1"/>
                  </a:moveTo>
                  <a:cubicBezTo>
                    <a:pt x="801" y="1"/>
                    <a:pt x="469" y="335"/>
                    <a:pt x="469" y="750"/>
                  </a:cubicBezTo>
                  <a:lnTo>
                    <a:pt x="469" y="764"/>
                  </a:lnTo>
                  <a:cubicBezTo>
                    <a:pt x="438" y="757"/>
                    <a:pt x="408" y="750"/>
                    <a:pt x="380" y="750"/>
                  </a:cubicBezTo>
                  <a:cubicBezTo>
                    <a:pt x="172" y="750"/>
                    <a:pt x="1" y="920"/>
                    <a:pt x="1" y="1128"/>
                  </a:cubicBezTo>
                  <a:cubicBezTo>
                    <a:pt x="1" y="1335"/>
                    <a:pt x="172" y="1498"/>
                    <a:pt x="380" y="1498"/>
                  </a:cubicBezTo>
                  <a:lnTo>
                    <a:pt x="380" y="1512"/>
                  </a:lnTo>
                  <a:lnTo>
                    <a:pt x="3403" y="1512"/>
                  </a:lnTo>
                  <a:lnTo>
                    <a:pt x="3403" y="1498"/>
                  </a:lnTo>
                  <a:cubicBezTo>
                    <a:pt x="3536" y="1475"/>
                    <a:pt x="3639" y="1365"/>
                    <a:pt x="3639" y="1217"/>
                  </a:cubicBezTo>
                  <a:cubicBezTo>
                    <a:pt x="3639" y="1061"/>
                    <a:pt x="3513" y="934"/>
                    <a:pt x="3358" y="934"/>
                  </a:cubicBezTo>
                  <a:cubicBezTo>
                    <a:pt x="3291" y="934"/>
                    <a:pt x="3232" y="965"/>
                    <a:pt x="3181" y="1002"/>
                  </a:cubicBezTo>
                  <a:lnTo>
                    <a:pt x="3181" y="965"/>
                  </a:lnTo>
                  <a:cubicBezTo>
                    <a:pt x="3181" y="668"/>
                    <a:pt x="2942" y="424"/>
                    <a:pt x="2647" y="424"/>
                  </a:cubicBezTo>
                  <a:cubicBezTo>
                    <a:pt x="2476" y="424"/>
                    <a:pt x="2327" y="497"/>
                    <a:pt x="2224" y="623"/>
                  </a:cubicBezTo>
                  <a:cubicBezTo>
                    <a:pt x="2186" y="609"/>
                    <a:pt x="2149" y="602"/>
                    <a:pt x="2114" y="602"/>
                  </a:cubicBezTo>
                  <a:cubicBezTo>
                    <a:pt x="2053" y="602"/>
                    <a:pt x="2001" y="616"/>
                    <a:pt x="1957" y="639"/>
                  </a:cubicBezTo>
                  <a:cubicBezTo>
                    <a:pt x="1898" y="275"/>
                    <a:pt x="1594" y="1"/>
                    <a:pt x="121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1" name="Google Shape;5290;p53">
              <a:extLst>
                <a:ext uri="{FF2B5EF4-FFF2-40B4-BE49-F238E27FC236}">
                  <a16:creationId xmlns:a16="http://schemas.microsoft.com/office/drawing/2014/main" id="{5E91E916-B5E5-39F8-549F-43ACBB9FC0B8}"/>
                </a:ext>
              </a:extLst>
            </p:cNvPr>
            <p:cNvSpPr/>
            <p:nvPr/>
          </p:nvSpPr>
          <p:spPr>
            <a:xfrm>
              <a:off x="7211775" y="1643250"/>
              <a:ext cx="12425" cy="17975"/>
            </a:xfrm>
            <a:custGeom>
              <a:avLst/>
              <a:gdLst/>
              <a:ahLst/>
              <a:cxnLst/>
              <a:rect l="l" t="t" r="r" b="b"/>
              <a:pathLst>
                <a:path w="497" h="719" extrusionOk="0">
                  <a:moveTo>
                    <a:pt x="497" y="0"/>
                  </a:moveTo>
                  <a:lnTo>
                    <a:pt x="497" y="0"/>
                  </a:lnTo>
                  <a:cubicBezTo>
                    <a:pt x="209" y="82"/>
                    <a:pt x="1" y="349"/>
                    <a:pt x="1" y="667"/>
                  </a:cubicBezTo>
                  <a:lnTo>
                    <a:pt x="1" y="712"/>
                  </a:lnTo>
                  <a:cubicBezTo>
                    <a:pt x="8" y="712"/>
                    <a:pt x="8" y="712"/>
                    <a:pt x="17" y="719"/>
                  </a:cubicBezTo>
                  <a:lnTo>
                    <a:pt x="17" y="705"/>
                  </a:lnTo>
                  <a:cubicBezTo>
                    <a:pt x="17" y="386"/>
                    <a:pt x="216" y="112"/>
                    <a:pt x="497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2" name="Google Shape;5291;p53">
              <a:extLst>
                <a:ext uri="{FF2B5EF4-FFF2-40B4-BE49-F238E27FC236}">
                  <a16:creationId xmlns:a16="http://schemas.microsoft.com/office/drawing/2014/main" id="{E7E88121-D725-BBCF-87CA-BF880A59B009}"/>
                </a:ext>
              </a:extLst>
            </p:cNvPr>
            <p:cNvSpPr/>
            <p:nvPr/>
          </p:nvSpPr>
          <p:spPr>
            <a:xfrm>
              <a:off x="7211775" y="1642700"/>
              <a:ext cx="17100" cy="34325"/>
            </a:xfrm>
            <a:custGeom>
              <a:avLst/>
              <a:gdLst/>
              <a:ahLst/>
              <a:cxnLst/>
              <a:rect l="l" t="t" r="r" b="b"/>
              <a:pathLst>
                <a:path w="684" h="1373" extrusionOk="0">
                  <a:moveTo>
                    <a:pt x="683" y="1"/>
                  </a:moveTo>
                  <a:cubicBezTo>
                    <a:pt x="623" y="1"/>
                    <a:pt x="557" y="8"/>
                    <a:pt x="497" y="22"/>
                  </a:cubicBezTo>
                  <a:cubicBezTo>
                    <a:pt x="216" y="134"/>
                    <a:pt x="17" y="408"/>
                    <a:pt x="17" y="727"/>
                  </a:cubicBezTo>
                  <a:lnTo>
                    <a:pt x="17" y="741"/>
                  </a:lnTo>
                  <a:cubicBezTo>
                    <a:pt x="8" y="734"/>
                    <a:pt x="8" y="734"/>
                    <a:pt x="1" y="734"/>
                  </a:cubicBezTo>
                  <a:cubicBezTo>
                    <a:pt x="24" y="1089"/>
                    <a:pt x="319" y="1372"/>
                    <a:pt x="683" y="1372"/>
                  </a:cubicBezTo>
                  <a:cubicBezTo>
                    <a:pt x="683" y="1372"/>
                    <a:pt x="290" y="1246"/>
                    <a:pt x="260" y="689"/>
                  </a:cubicBezTo>
                  <a:cubicBezTo>
                    <a:pt x="230" y="179"/>
                    <a:pt x="683" y="1"/>
                    <a:pt x="683" y="1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3" name="Google Shape;5292;p53">
              <a:extLst>
                <a:ext uri="{FF2B5EF4-FFF2-40B4-BE49-F238E27FC236}">
                  <a16:creationId xmlns:a16="http://schemas.microsoft.com/office/drawing/2014/main" id="{19625F3D-729F-D595-FFCE-99DF41BD2CE2}"/>
                </a:ext>
              </a:extLst>
            </p:cNvPr>
            <p:cNvSpPr/>
            <p:nvPr/>
          </p:nvSpPr>
          <p:spPr>
            <a:xfrm>
              <a:off x="7244575" y="1657350"/>
              <a:ext cx="18000" cy="9075"/>
            </a:xfrm>
            <a:custGeom>
              <a:avLst/>
              <a:gdLst/>
              <a:ahLst/>
              <a:cxnLst/>
              <a:rect l="l" t="t" r="r" b="b"/>
              <a:pathLst>
                <a:path w="720" h="363" extrusionOk="0">
                  <a:moveTo>
                    <a:pt x="357" y="0"/>
                  </a:moveTo>
                  <a:cubicBezTo>
                    <a:pt x="163" y="7"/>
                    <a:pt x="1" y="171"/>
                    <a:pt x="8" y="363"/>
                  </a:cubicBezTo>
                  <a:cubicBezTo>
                    <a:pt x="8" y="363"/>
                    <a:pt x="67" y="164"/>
                    <a:pt x="357" y="141"/>
                  </a:cubicBezTo>
                  <a:lnTo>
                    <a:pt x="385" y="141"/>
                  </a:lnTo>
                  <a:cubicBezTo>
                    <a:pt x="630" y="141"/>
                    <a:pt x="719" y="356"/>
                    <a:pt x="719" y="356"/>
                  </a:cubicBezTo>
                  <a:cubicBezTo>
                    <a:pt x="719" y="164"/>
                    <a:pt x="556" y="0"/>
                    <a:pt x="364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4" name="Google Shape;5293;p53">
              <a:extLst>
                <a:ext uri="{FF2B5EF4-FFF2-40B4-BE49-F238E27FC236}">
                  <a16:creationId xmlns:a16="http://schemas.microsoft.com/office/drawing/2014/main" id="{798C4AF5-5929-A618-AB05-11F02C552F9B}"/>
                </a:ext>
              </a:extLst>
            </p:cNvPr>
            <p:cNvSpPr/>
            <p:nvPr/>
          </p:nvSpPr>
          <p:spPr>
            <a:xfrm>
              <a:off x="7488350" y="1497900"/>
              <a:ext cx="29500" cy="12925"/>
            </a:xfrm>
            <a:custGeom>
              <a:avLst/>
              <a:gdLst/>
              <a:ahLst/>
              <a:cxnLst/>
              <a:rect l="l" t="t" r="r" b="b"/>
              <a:pathLst>
                <a:path w="1180" h="517" extrusionOk="0">
                  <a:moveTo>
                    <a:pt x="1026" y="0"/>
                  </a:moveTo>
                  <a:cubicBezTo>
                    <a:pt x="950" y="0"/>
                    <a:pt x="859" y="34"/>
                    <a:pt x="771" y="102"/>
                  </a:cubicBezTo>
                  <a:cubicBezTo>
                    <a:pt x="698" y="154"/>
                    <a:pt x="637" y="228"/>
                    <a:pt x="609" y="294"/>
                  </a:cubicBezTo>
                  <a:cubicBezTo>
                    <a:pt x="548" y="250"/>
                    <a:pt x="468" y="220"/>
                    <a:pt x="380" y="205"/>
                  </a:cubicBezTo>
                  <a:cubicBezTo>
                    <a:pt x="346" y="200"/>
                    <a:pt x="315" y="198"/>
                    <a:pt x="285" y="198"/>
                  </a:cubicBezTo>
                  <a:cubicBezTo>
                    <a:pt x="128" y="198"/>
                    <a:pt x="20" y="263"/>
                    <a:pt x="1" y="369"/>
                  </a:cubicBezTo>
                  <a:cubicBezTo>
                    <a:pt x="1" y="369"/>
                    <a:pt x="44" y="287"/>
                    <a:pt x="248" y="287"/>
                  </a:cubicBezTo>
                  <a:cubicBezTo>
                    <a:pt x="282" y="287"/>
                    <a:pt x="320" y="289"/>
                    <a:pt x="364" y="294"/>
                  </a:cubicBezTo>
                  <a:cubicBezTo>
                    <a:pt x="460" y="301"/>
                    <a:pt x="534" y="332"/>
                    <a:pt x="586" y="362"/>
                  </a:cubicBezTo>
                  <a:lnTo>
                    <a:pt x="579" y="517"/>
                  </a:lnTo>
                  <a:lnTo>
                    <a:pt x="653" y="502"/>
                  </a:lnTo>
                  <a:lnTo>
                    <a:pt x="742" y="479"/>
                  </a:lnTo>
                  <a:lnTo>
                    <a:pt x="661" y="346"/>
                  </a:lnTo>
                  <a:cubicBezTo>
                    <a:pt x="698" y="294"/>
                    <a:pt x="742" y="236"/>
                    <a:pt x="824" y="168"/>
                  </a:cubicBezTo>
                  <a:cubicBezTo>
                    <a:pt x="938" y="77"/>
                    <a:pt x="1032" y="56"/>
                    <a:pt x="1094" y="56"/>
                  </a:cubicBezTo>
                  <a:cubicBezTo>
                    <a:pt x="1149" y="56"/>
                    <a:pt x="1180" y="72"/>
                    <a:pt x="1180" y="72"/>
                  </a:cubicBezTo>
                  <a:cubicBezTo>
                    <a:pt x="1145" y="25"/>
                    <a:pt x="1091" y="0"/>
                    <a:pt x="1026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5" name="Google Shape;5294;p53">
              <a:extLst>
                <a:ext uri="{FF2B5EF4-FFF2-40B4-BE49-F238E27FC236}">
                  <a16:creationId xmlns:a16="http://schemas.microsoft.com/office/drawing/2014/main" id="{9D711888-25BA-B48B-62BF-37858BD6F427}"/>
                </a:ext>
              </a:extLst>
            </p:cNvPr>
            <p:cNvSpPr/>
            <p:nvPr/>
          </p:nvSpPr>
          <p:spPr>
            <a:xfrm>
              <a:off x="7313675" y="1413575"/>
              <a:ext cx="24825" cy="12025"/>
            </a:xfrm>
            <a:custGeom>
              <a:avLst/>
              <a:gdLst/>
              <a:ahLst/>
              <a:cxnLst/>
              <a:rect l="l" t="t" r="r" b="b"/>
              <a:pathLst>
                <a:path w="993" h="481" extrusionOk="0">
                  <a:moveTo>
                    <a:pt x="851" y="0"/>
                  </a:moveTo>
                  <a:cubicBezTo>
                    <a:pt x="787" y="0"/>
                    <a:pt x="715" y="30"/>
                    <a:pt x="644" y="89"/>
                  </a:cubicBezTo>
                  <a:cubicBezTo>
                    <a:pt x="578" y="141"/>
                    <a:pt x="534" y="207"/>
                    <a:pt x="511" y="267"/>
                  </a:cubicBezTo>
                  <a:cubicBezTo>
                    <a:pt x="459" y="230"/>
                    <a:pt x="394" y="192"/>
                    <a:pt x="312" y="178"/>
                  </a:cubicBezTo>
                  <a:cubicBezTo>
                    <a:pt x="281" y="173"/>
                    <a:pt x="251" y="170"/>
                    <a:pt x="224" y="170"/>
                  </a:cubicBezTo>
                  <a:cubicBezTo>
                    <a:pt x="93" y="170"/>
                    <a:pt x="6" y="227"/>
                    <a:pt x="1" y="326"/>
                  </a:cubicBezTo>
                  <a:cubicBezTo>
                    <a:pt x="1" y="326"/>
                    <a:pt x="33" y="251"/>
                    <a:pt x="203" y="251"/>
                  </a:cubicBezTo>
                  <a:cubicBezTo>
                    <a:pt x="233" y="251"/>
                    <a:pt x="266" y="253"/>
                    <a:pt x="305" y="258"/>
                  </a:cubicBezTo>
                  <a:cubicBezTo>
                    <a:pt x="386" y="274"/>
                    <a:pt x="445" y="303"/>
                    <a:pt x="490" y="333"/>
                  </a:cubicBezTo>
                  <a:lnTo>
                    <a:pt x="490" y="480"/>
                  </a:lnTo>
                  <a:lnTo>
                    <a:pt x="555" y="466"/>
                  </a:lnTo>
                  <a:lnTo>
                    <a:pt x="630" y="452"/>
                  </a:lnTo>
                  <a:lnTo>
                    <a:pt x="555" y="319"/>
                  </a:lnTo>
                  <a:cubicBezTo>
                    <a:pt x="586" y="274"/>
                    <a:pt x="623" y="214"/>
                    <a:pt x="689" y="162"/>
                  </a:cubicBezTo>
                  <a:cubicBezTo>
                    <a:pt x="782" y="77"/>
                    <a:pt x="862" y="57"/>
                    <a:pt x="916" y="57"/>
                  </a:cubicBezTo>
                  <a:cubicBezTo>
                    <a:pt x="964" y="57"/>
                    <a:pt x="993" y="73"/>
                    <a:pt x="993" y="73"/>
                  </a:cubicBezTo>
                  <a:cubicBezTo>
                    <a:pt x="958" y="24"/>
                    <a:pt x="908" y="0"/>
                    <a:pt x="851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6" name="Google Shape;5295;p53">
              <a:extLst>
                <a:ext uri="{FF2B5EF4-FFF2-40B4-BE49-F238E27FC236}">
                  <a16:creationId xmlns:a16="http://schemas.microsoft.com/office/drawing/2014/main" id="{1B644C9C-0735-9813-2EA4-898CFE60BAEF}"/>
                </a:ext>
              </a:extLst>
            </p:cNvPr>
            <p:cNvSpPr/>
            <p:nvPr/>
          </p:nvSpPr>
          <p:spPr>
            <a:xfrm>
              <a:off x="7314425" y="1458625"/>
              <a:ext cx="15025" cy="6450"/>
            </a:xfrm>
            <a:custGeom>
              <a:avLst/>
              <a:gdLst/>
              <a:ahLst/>
              <a:cxnLst/>
              <a:rect l="l" t="t" r="r" b="b"/>
              <a:pathLst>
                <a:path w="601" h="258" extrusionOk="0">
                  <a:moveTo>
                    <a:pt x="520" y="1"/>
                  </a:moveTo>
                  <a:cubicBezTo>
                    <a:pt x="482" y="1"/>
                    <a:pt x="437" y="17"/>
                    <a:pt x="392" y="50"/>
                  </a:cubicBezTo>
                  <a:cubicBezTo>
                    <a:pt x="348" y="80"/>
                    <a:pt x="326" y="110"/>
                    <a:pt x="303" y="146"/>
                  </a:cubicBezTo>
                  <a:cubicBezTo>
                    <a:pt x="275" y="124"/>
                    <a:pt x="237" y="110"/>
                    <a:pt x="193" y="101"/>
                  </a:cubicBezTo>
                  <a:cubicBezTo>
                    <a:pt x="178" y="99"/>
                    <a:pt x="164" y="98"/>
                    <a:pt x="150" y="98"/>
                  </a:cubicBezTo>
                  <a:cubicBezTo>
                    <a:pt x="68" y="98"/>
                    <a:pt x="7" y="133"/>
                    <a:pt x="1" y="183"/>
                  </a:cubicBezTo>
                  <a:cubicBezTo>
                    <a:pt x="1" y="183"/>
                    <a:pt x="23" y="143"/>
                    <a:pt x="134" y="143"/>
                  </a:cubicBezTo>
                  <a:cubicBezTo>
                    <a:pt x="150" y="143"/>
                    <a:pt x="167" y="144"/>
                    <a:pt x="186" y="146"/>
                  </a:cubicBezTo>
                  <a:cubicBezTo>
                    <a:pt x="230" y="146"/>
                    <a:pt x="268" y="162"/>
                    <a:pt x="296" y="176"/>
                  </a:cubicBezTo>
                  <a:lnTo>
                    <a:pt x="289" y="258"/>
                  </a:lnTo>
                  <a:lnTo>
                    <a:pt x="333" y="243"/>
                  </a:lnTo>
                  <a:lnTo>
                    <a:pt x="378" y="234"/>
                  </a:lnTo>
                  <a:lnTo>
                    <a:pt x="333" y="169"/>
                  </a:lnTo>
                  <a:cubicBezTo>
                    <a:pt x="348" y="146"/>
                    <a:pt x="378" y="117"/>
                    <a:pt x="415" y="87"/>
                  </a:cubicBezTo>
                  <a:cubicBezTo>
                    <a:pt x="475" y="39"/>
                    <a:pt x="524" y="28"/>
                    <a:pt x="557" y="28"/>
                  </a:cubicBezTo>
                  <a:cubicBezTo>
                    <a:pt x="585" y="28"/>
                    <a:pt x="600" y="35"/>
                    <a:pt x="600" y="35"/>
                  </a:cubicBezTo>
                  <a:cubicBezTo>
                    <a:pt x="580" y="12"/>
                    <a:pt x="552" y="1"/>
                    <a:pt x="520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7" name="Google Shape;5296;p53">
              <a:extLst>
                <a:ext uri="{FF2B5EF4-FFF2-40B4-BE49-F238E27FC236}">
                  <a16:creationId xmlns:a16="http://schemas.microsoft.com/office/drawing/2014/main" id="{1E89D285-E1A1-0C93-7D15-67A0CADBC20C}"/>
                </a:ext>
              </a:extLst>
            </p:cNvPr>
            <p:cNvSpPr/>
            <p:nvPr/>
          </p:nvSpPr>
          <p:spPr>
            <a:xfrm>
              <a:off x="7228275" y="1437800"/>
              <a:ext cx="20375" cy="8725"/>
            </a:xfrm>
            <a:custGeom>
              <a:avLst/>
              <a:gdLst/>
              <a:ahLst/>
              <a:cxnLst/>
              <a:rect l="l" t="t" r="r" b="b"/>
              <a:pathLst>
                <a:path w="815" h="349" extrusionOk="0">
                  <a:moveTo>
                    <a:pt x="712" y="1"/>
                  </a:moveTo>
                  <a:cubicBezTo>
                    <a:pt x="659" y="1"/>
                    <a:pt x="596" y="23"/>
                    <a:pt x="534" y="68"/>
                  </a:cubicBezTo>
                  <a:cubicBezTo>
                    <a:pt x="482" y="105"/>
                    <a:pt x="445" y="157"/>
                    <a:pt x="424" y="201"/>
                  </a:cubicBezTo>
                  <a:cubicBezTo>
                    <a:pt x="379" y="171"/>
                    <a:pt x="326" y="150"/>
                    <a:pt x="260" y="143"/>
                  </a:cubicBezTo>
                  <a:cubicBezTo>
                    <a:pt x="237" y="139"/>
                    <a:pt x="215" y="137"/>
                    <a:pt x="194" y="137"/>
                  </a:cubicBezTo>
                  <a:cubicBezTo>
                    <a:pt x="88" y="137"/>
                    <a:pt x="12" y="184"/>
                    <a:pt x="0" y="253"/>
                  </a:cubicBezTo>
                  <a:cubicBezTo>
                    <a:pt x="0" y="253"/>
                    <a:pt x="28" y="197"/>
                    <a:pt x="176" y="197"/>
                  </a:cubicBezTo>
                  <a:cubicBezTo>
                    <a:pt x="198" y="197"/>
                    <a:pt x="224" y="198"/>
                    <a:pt x="253" y="201"/>
                  </a:cubicBezTo>
                  <a:cubicBezTo>
                    <a:pt x="319" y="209"/>
                    <a:pt x="370" y="223"/>
                    <a:pt x="400" y="246"/>
                  </a:cubicBezTo>
                  <a:lnTo>
                    <a:pt x="400" y="349"/>
                  </a:lnTo>
                  <a:lnTo>
                    <a:pt x="452" y="342"/>
                  </a:lnTo>
                  <a:lnTo>
                    <a:pt x="512" y="328"/>
                  </a:lnTo>
                  <a:lnTo>
                    <a:pt x="459" y="232"/>
                  </a:lnTo>
                  <a:cubicBezTo>
                    <a:pt x="482" y="201"/>
                    <a:pt x="512" y="157"/>
                    <a:pt x="571" y="120"/>
                  </a:cubicBezTo>
                  <a:cubicBezTo>
                    <a:pt x="656" y="51"/>
                    <a:pt x="723" y="37"/>
                    <a:pt x="766" y="37"/>
                  </a:cubicBezTo>
                  <a:cubicBezTo>
                    <a:pt x="797" y="37"/>
                    <a:pt x="815" y="45"/>
                    <a:pt x="815" y="45"/>
                  </a:cubicBezTo>
                  <a:cubicBezTo>
                    <a:pt x="792" y="15"/>
                    <a:pt x="755" y="1"/>
                    <a:pt x="712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8" name="Google Shape;5297;p53">
              <a:extLst>
                <a:ext uri="{FF2B5EF4-FFF2-40B4-BE49-F238E27FC236}">
                  <a16:creationId xmlns:a16="http://schemas.microsoft.com/office/drawing/2014/main" id="{4C6E392D-39BE-75F5-B01E-936808691D0F}"/>
                </a:ext>
              </a:extLst>
            </p:cNvPr>
            <p:cNvSpPr/>
            <p:nvPr/>
          </p:nvSpPr>
          <p:spPr>
            <a:xfrm>
              <a:off x="7503925" y="1476125"/>
              <a:ext cx="10950" cy="4700"/>
            </a:xfrm>
            <a:custGeom>
              <a:avLst/>
              <a:gdLst/>
              <a:ahLst/>
              <a:cxnLst/>
              <a:rect l="l" t="t" r="r" b="b"/>
              <a:pathLst>
                <a:path w="438" h="188" extrusionOk="0">
                  <a:moveTo>
                    <a:pt x="385" y="1"/>
                  </a:moveTo>
                  <a:cubicBezTo>
                    <a:pt x="357" y="1"/>
                    <a:pt x="324" y="14"/>
                    <a:pt x="290" y="40"/>
                  </a:cubicBezTo>
                  <a:cubicBezTo>
                    <a:pt x="260" y="54"/>
                    <a:pt x="237" y="84"/>
                    <a:pt x="230" y="105"/>
                  </a:cubicBezTo>
                  <a:cubicBezTo>
                    <a:pt x="208" y="91"/>
                    <a:pt x="178" y="77"/>
                    <a:pt x="141" y="77"/>
                  </a:cubicBezTo>
                  <a:cubicBezTo>
                    <a:pt x="127" y="74"/>
                    <a:pt x="114" y="73"/>
                    <a:pt x="102" y="73"/>
                  </a:cubicBezTo>
                  <a:cubicBezTo>
                    <a:pt x="47" y="73"/>
                    <a:pt x="6" y="99"/>
                    <a:pt x="0" y="136"/>
                  </a:cubicBezTo>
                  <a:cubicBezTo>
                    <a:pt x="0" y="136"/>
                    <a:pt x="17" y="103"/>
                    <a:pt x="93" y="103"/>
                  </a:cubicBezTo>
                  <a:cubicBezTo>
                    <a:pt x="105" y="103"/>
                    <a:pt x="118" y="103"/>
                    <a:pt x="134" y="105"/>
                  </a:cubicBezTo>
                  <a:cubicBezTo>
                    <a:pt x="171" y="105"/>
                    <a:pt x="201" y="121"/>
                    <a:pt x="215" y="128"/>
                  </a:cubicBezTo>
                  <a:lnTo>
                    <a:pt x="215" y="187"/>
                  </a:lnTo>
                  <a:lnTo>
                    <a:pt x="246" y="180"/>
                  </a:lnTo>
                  <a:lnTo>
                    <a:pt x="274" y="173"/>
                  </a:lnTo>
                  <a:lnTo>
                    <a:pt x="246" y="121"/>
                  </a:lnTo>
                  <a:cubicBezTo>
                    <a:pt x="260" y="105"/>
                    <a:pt x="274" y="84"/>
                    <a:pt x="304" y="61"/>
                  </a:cubicBezTo>
                  <a:cubicBezTo>
                    <a:pt x="348" y="26"/>
                    <a:pt x="383" y="17"/>
                    <a:pt x="406" y="17"/>
                  </a:cubicBezTo>
                  <a:cubicBezTo>
                    <a:pt x="427" y="17"/>
                    <a:pt x="438" y="24"/>
                    <a:pt x="438" y="24"/>
                  </a:cubicBezTo>
                  <a:cubicBezTo>
                    <a:pt x="425" y="8"/>
                    <a:pt x="407" y="1"/>
                    <a:pt x="38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9" name="Google Shape;5298;p53">
              <a:extLst>
                <a:ext uri="{FF2B5EF4-FFF2-40B4-BE49-F238E27FC236}">
                  <a16:creationId xmlns:a16="http://schemas.microsoft.com/office/drawing/2014/main" id="{9F503B05-7452-B29E-DD8A-FEF8746FB01D}"/>
                </a:ext>
              </a:extLst>
            </p:cNvPr>
            <p:cNvSpPr/>
            <p:nvPr/>
          </p:nvSpPr>
          <p:spPr>
            <a:xfrm>
              <a:off x="7717150" y="1657150"/>
              <a:ext cx="58350" cy="24300"/>
            </a:xfrm>
            <a:custGeom>
              <a:avLst/>
              <a:gdLst/>
              <a:ahLst/>
              <a:cxnLst/>
              <a:rect l="l" t="t" r="r" b="b"/>
              <a:pathLst>
                <a:path w="2334" h="972" extrusionOk="0">
                  <a:moveTo>
                    <a:pt x="777" y="1"/>
                  </a:moveTo>
                  <a:cubicBezTo>
                    <a:pt x="511" y="1"/>
                    <a:pt x="297" y="216"/>
                    <a:pt x="297" y="474"/>
                  </a:cubicBezTo>
                  <a:lnTo>
                    <a:pt x="297" y="483"/>
                  </a:lnTo>
                  <a:cubicBezTo>
                    <a:pt x="281" y="483"/>
                    <a:pt x="260" y="474"/>
                    <a:pt x="244" y="474"/>
                  </a:cubicBezTo>
                  <a:cubicBezTo>
                    <a:pt x="110" y="474"/>
                    <a:pt x="0" y="586"/>
                    <a:pt x="0" y="719"/>
                  </a:cubicBezTo>
                  <a:cubicBezTo>
                    <a:pt x="0" y="853"/>
                    <a:pt x="110" y="956"/>
                    <a:pt x="244" y="956"/>
                  </a:cubicBezTo>
                  <a:lnTo>
                    <a:pt x="244" y="972"/>
                  </a:lnTo>
                  <a:lnTo>
                    <a:pt x="2179" y="972"/>
                  </a:lnTo>
                  <a:lnTo>
                    <a:pt x="2179" y="956"/>
                  </a:lnTo>
                  <a:cubicBezTo>
                    <a:pt x="2268" y="949"/>
                    <a:pt x="2333" y="867"/>
                    <a:pt x="2333" y="778"/>
                  </a:cubicBezTo>
                  <a:cubicBezTo>
                    <a:pt x="2333" y="682"/>
                    <a:pt x="2253" y="600"/>
                    <a:pt x="2156" y="600"/>
                  </a:cubicBezTo>
                  <a:cubicBezTo>
                    <a:pt x="2111" y="600"/>
                    <a:pt x="2076" y="616"/>
                    <a:pt x="2038" y="638"/>
                  </a:cubicBezTo>
                  <a:lnTo>
                    <a:pt x="2038" y="616"/>
                  </a:lnTo>
                  <a:cubicBezTo>
                    <a:pt x="2038" y="422"/>
                    <a:pt x="1889" y="268"/>
                    <a:pt x="1697" y="268"/>
                  </a:cubicBezTo>
                  <a:cubicBezTo>
                    <a:pt x="1587" y="268"/>
                    <a:pt x="1489" y="319"/>
                    <a:pt x="1430" y="394"/>
                  </a:cubicBezTo>
                  <a:cubicBezTo>
                    <a:pt x="1409" y="385"/>
                    <a:pt x="1378" y="385"/>
                    <a:pt x="1355" y="385"/>
                  </a:cubicBezTo>
                  <a:cubicBezTo>
                    <a:pt x="1320" y="385"/>
                    <a:pt x="1282" y="394"/>
                    <a:pt x="1252" y="408"/>
                  </a:cubicBezTo>
                  <a:cubicBezTo>
                    <a:pt x="1222" y="172"/>
                    <a:pt x="1023" y="1"/>
                    <a:pt x="77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0" name="Google Shape;5299;p53">
              <a:extLst>
                <a:ext uri="{FF2B5EF4-FFF2-40B4-BE49-F238E27FC236}">
                  <a16:creationId xmlns:a16="http://schemas.microsoft.com/office/drawing/2014/main" id="{F02FCE6A-B059-235F-2E35-5B254B756879}"/>
                </a:ext>
              </a:extLst>
            </p:cNvPr>
            <p:cNvSpPr/>
            <p:nvPr/>
          </p:nvSpPr>
          <p:spPr>
            <a:xfrm>
              <a:off x="7724350" y="1657350"/>
              <a:ext cx="10950" cy="22075"/>
            </a:xfrm>
            <a:custGeom>
              <a:avLst/>
              <a:gdLst/>
              <a:ahLst/>
              <a:cxnLst/>
              <a:rect l="l" t="t" r="r" b="b"/>
              <a:pathLst>
                <a:path w="438" h="883" extrusionOk="0">
                  <a:moveTo>
                    <a:pt x="438" y="0"/>
                  </a:moveTo>
                  <a:cubicBezTo>
                    <a:pt x="201" y="0"/>
                    <a:pt x="0" y="199"/>
                    <a:pt x="0" y="445"/>
                  </a:cubicBezTo>
                  <a:cubicBezTo>
                    <a:pt x="0" y="688"/>
                    <a:pt x="201" y="882"/>
                    <a:pt x="438" y="882"/>
                  </a:cubicBezTo>
                  <a:cubicBezTo>
                    <a:pt x="438" y="882"/>
                    <a:pt x="187" y="800"/>
                    <a:pt x="171" y="445"/>
                  </a:cubicBezTo>
                  <a:cubicBezTo>
                    <a:pt x="150" y="119"/>
                    <a:pt x="438" y="0"/>
                    <a:pt x="43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1" name="Google Shape;5300;p53">
              <a:extLst>
                <a:ext uri="{FF2B5EF4-FFF2-40B4-BE49-F238E27FC236}">
                  <a16:creationId xmlns:a16="http://schemas.microsoft.com/office/drawing/2014/main" id="{1DEF5AD1-5759-9975-3FD2-71DFF5173781}"/>
                </a:ext>
              </a:extLst>
            </p:cNvPr>
            <p:cNvSpPr/>
            <p:nvPr/>
          </p:nvSpPr>
          <p:spPr>
            <a:xfrm>
              <a:off x="7745475" y="1666775"/>
              <a:ext cx="11525" cy="5975"/>
            </a:xfrm>
            <a:custGeom>
              <a:avLst/>
              <a:gdLst/>
              <a:ahLst/>
              <a:cxnLst/>
              <a:rect l="l" t="t" r="r" b="b"/>
              <a:pathLst>
                <a:path w="461" h="239" extrusionOk="0">
                  <a:moveTo>
                    <a:pt x="231" y="0"/>
                  </a:moveTo>
                  <a:cubicBezTo>
                    <a:pt x="105" y="9"/>
                    <a:pt x="0" y="112"/>
                    <a:pt x="0" y="238"/>
                  </a:cubicBezTo>
                  <a:cubicBezTo>
                    <a:pt x="0" y="238"/>
                    <a:pt x="37" y="105"/>
                    <a:pt x="231" y="89"/>
                  </a:cubicBezTo>
                  <a:cubicBezTo>
                    <a:pt x="235" y="89"/>
                    <a:pt x="239" y="89"/>
                    <a:pt x="243" y="89"/>
                  </a:cubicBezTo>
                  <a:cubicBezTo>
                    <a:pt x="403" y="89"/>
                    <a:pt x="461" y="231"/>
                    <a:pt x="461" y="231"/>
                  </a:cubicBezTo>
                  <a:cubicBezTo>
                    <a:pt x="461" y="105"/>
                    <a:pt x="356" y="0"/>
                    <a:pt x="23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2" name="Google Shape;5301;p53">
              <a:extLst>
                <a:ext uri="{FF2B5EF4-FFF2-40B4-BE49-F238E27FC236}">
                  <a16:creationId xmlns:a16="http://schemas.microsoft.com/office/drawing/2014/main" id="{CA146A14-B1CB-4F96-455A-21AA44DD4030}"/>
                </a:ext>
              </a:extLst>
            </p:cNvPr>
            <p:cNvSpPr/>
            <p:nvPr/>
          </p:nvSpPr>
          <p:spPr>
            <a:xfrm>
              <a:off x="7352750" y="1654925"/>
              <a:ext cx="60225" cy="25025"/>
            </a:xfrm>
            <a:custGeom>
              <a:avLst/>
              <a:gdLst/>
              <a:ahLst/>
              <a:cxnLst/>
              <a:rect l="l" t="t" r="r" b="b"/>
              <a:pathLst>
                <a:path w="2409" h="1001" extrusionOk="0">
                  <a:moveTo>
                    <a:pt x="1608" y="1"/>
                  </a:moveTo>
                  <a:cubicBezTo>
                    <a:pt x="1358" y="1"/>
                    <a:pt x="1150" y="186"/>
                    <a:pt x="1119" y="422"/>
                  </a:cubicBezTo>
                  <a:cubicBezTo>
                    <a:pt x="1082" y="408"/>
                    <a:pt x="1054" y="401"/>
                    <a:pt x="1016" y="401"/>
                  </a:cubicBezTo>
                  <a:cubicBezTo>
                    <a:pt x="986" y="401"/>
                    <a:pt x="965" y="401"/>
                    <a:pt x="934" y="408"/>
                  </a:cubicBezTo>
                  <a:cubicBezTo>
                    <a:pt x="876" y="334"/>
                    <a:pt x="771" y="282"/>
                    <a:pt x="660" y="282"/>
                  </a:cubicBezTo>
                  <a:cubicBezTo>
                    <a:pt x="468" y="282"/>
                    <a:pt x="305" y="438"/>
                    <a:pt x="305" y="638"/>
                  </a:cubicBezTo>
                  <a:lnTo>
                    <a:pt x="305" y="661"/>
                  </a:lnTo>
                  <a:cubicBezTo>
                    <a:pt x="275" y="638"/>
                    <a:pt x="230" y="623"/>
                    <a:pt x="186" y="623"/>
                  </a:cubicBezTo>
                  <a:cubicBezTo>
                    <a:pt x="83" y="623"/>
                    <a:pt x="1" y="705"/>
                    <a:pt x="1" y="808"/>
                  </a:cubicBezTo>
                  <a:cubicBezTo>
                    <a:pt x="1" y="904"/>
                    <a:pt x="68" y="979"/>
                    <a:pt x="164" y="993"/>
                  </a:cubicBezTo>
                  <a:lnTo>
                    <a:pt x="164" y="1000"/>
                  </a:lnTo>
                  <a:lnTo>
                    <a:pt x="2165" y="1000"/>
                  </a:lnTo>
                  <a:lnTo>
                    <a:pt x="2165" y="993"/>
                  </a:lnTo>
                  <a:cubicBezTo>
                    <a:pt x="2298" y="993"/>
                    <a:pt x="2409" y="883"/>
                    <a:pt x="2409" y="750"/>
                  </a:cubicBezTo>
                  <a:cubicBezTo>
                    <a:pt x="2409" y="607"/>
                    <a:pt x="2298" y="497"/>
                    <a:pt x="2165" y="497"/>
                  </a:cubicBezTo>
                  <a:cubicBezTo>
                    <a:pt x="2142" y="497"/>
                    <a:pt x="2121" y="497"/>
                    <a:pt x="2105" y="504"/>
                  </a:cubicBezTo>
                  <a:lnTo>
                    <a:pt x="2105" y="497"/>
                  </a:lnTo>
                  <a:cubicBezTo>
                    <a:pt x="2105" y="223"/>
                    <a:pt x="1882" y="1"/>
                    <a:pt x="1608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3" name="Google Shape;5302;p53">
              <a:extLst>
                <a:ext uri="{FF2B5EF4-FFF2-40B4-BE49-F238E27FC236}">
                  <a16:creationId xmlns:a16="http://schemas.microsoft.com/office/drawing/2014/main" id="{C0828319-4968-FCAD-5F09-1790FCA59968}"/>
                </a:ext>
              </a:extLst>
            </p:cNvPr>
            <p:cNvSpPr/>
            <p:nvPr/>
          </p:nvSpPr>
          <p:spPr>
            <a:xfrm>
              <a:off x="7397225" y="1655650"/>
              <a:ext cx="8375" cy="11900"/>
            </a:xfrm>
            <a:custGeom>
              <a:avLst/>
              <a:gdLst/>
              <a:ahLst/>
              <a:cxnLst/>
              <a:rect l="l" t="t" r="r" b="b"/>
              <a:pathLst>
                <a:path w="335" h="476" extrusionOk="0">
                  <a:moveTo>
                    <a:pt x="0" y="0"/>
                  </a:moveTo>
                  <a:lnTo>
                    <a:pt x="0" y="0"/>
                  </a:lnTo>
                  <a:cubicBezTo>
                    <a:pt x="192" y="75"/>
                    <a:pt x="326" y="253"/>
                    <a:pt x="326" y="468"/>
                  </a:cubicBezTo>
                  <a:lnTo>
                    <a:pt x="326" y="475"/>
                  </a:lnTo>
                  <a:lnTo>
                    <a:pt x="334" y="475"/>
                  </a:lnTo>
                  <a:lnTo>
                    <a:pt x="334" y="438"/>
                  </a:lnTo>
                  <a:cubicBezTo>
                    <a:pt x="334" y="232"/>
                    <a:pt x="192" y="61"/>
                    <a:pt x="0" y="0"/>
                  </a:cubicBezTo>
                  <a:close/>
                </a:path>
              </a:pathLst>
            </a:custGeom>
            <a:solidFill>
              <a:srgbClr val="EDED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4" name="Google Shape;5303;p53">
              <a:extLst>
                <a:ext uri="{FF2B5EF4-FFF2-40B4-BE49-F238E27FC236}">
                  <a16:creationId xmlns:a16="http://schemas.microsoft.com/office/drawing/2014/main" id="{A0C5FA31-5B85-41D5-1FEF-492A8C977CAD}"/>
                </a:ext>
              </a:extLst>
            </p:cNvPr>
            <p:cNvSpPr/>
            <p:nvPr/>
          </p:nvSpPr>
          <p:spPr>
            <a:xfrm>
              <a:off x="7394225" y="1655300"/>
              <a:ext cx="11375" cy="22825"/>
            </a:xfrm>
            <a:custGeom>
              <a:avLst/>
              <a:gdLst/>
              <a:ahLst/>
              <a:cxnLst/>
              <a:rect l="l" t="t" r="r" b="b"/>
              <a:pathLst>
                <a:path w="455" h="913" extrusionOk="0">
                  <a:moveTo>
                    <a:pt x="1" y="0"/>
                  </a:moveTo>
                  <a:cubicBezTo>
                    <a:pt x="1" y="0"/>
                    <a:pt x="298" y="119"/>
                    <a:pt x="284" y="452"/>
                  </a:cubicBezTo>
                  <a:cubicBezTo>
                    <a:pt x="261" y="824"/>
                    <a:pt x="1" y="913"/>
                    <a:pt x="1" y="913"/>
                  </a:cubicBezTo>
                  <a:cubicBezTo>
                    <a:pt x="239" y="913"/>
                    <a:pt x="438" y="719"/>
                    <a:pt x="454" y="489"/>
                  </a:cubicBezTo>
                  <a:lnTo>
                    <a:pt x="446" y="489"/>
                  </a:lnTo>
                  <a:lnTo>
                    <a:pt x="446" y="482"/>
                  </a:lnTo>
                  <a:cubicBezTo>
                    <a:pt x="446" y="267"/>
                    <a:pt x="312" y="89"/>
                    <a:pt x="120" y="14"/>
                  </a:cubicBezTo>
                  <a:cubicBezTo>
                    <a:pt x="83" y="7"/>
                    <a:pt x="45" y="0"/>
                    <a:pt x="1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5" name="Google Shape;5304;p53">
              <a:extLst>
                <a:ext uri="{FF2B5EF4-FFF2-40B4-BE49-F238E27FC236}">
                  <a16:creationId xmlns:a16="http://schemas.microsoft.com/office/drawing/2014/main" id="{57BFF07C-2B91-5CEE-9989-D1C07937CB78}"/>
                </a:ext>
              </a:extLst>
            </p:cNvPr>
            <p:cNvSpPr/>
            <p:nvPr/>
          </p:nvSpPr>
          <p:spPr>
            <a:xfrm>
              <a:off x="7371825" y="1665125"/>
              <a:ext cx="11900" cy="5925"/>
            </a:xfrm>
            <a:custGeom>
              <a:avLst/>
              <a:gdLst/>
              <a:ahLst/>
              <a:cxnLst/>
              <a:rect l="l" t="t" r="r" b="b"/>
              <a:pathLst>
                <a:path w="476" h="237" extrusionOk="0">
                  <a:moveTo>
                    <a:pt x="239" y="0"/>
                  </a:moveTo>
                  <a:cubicBezTo>
                    <a:pt x="113" y="0"/>
                    <a:pt x="8" y="103"/>
                    <a:pt x="1" y="230"/>
                  </a:cubicBezTo>
                  <a:cubicBezTo>
                    <a:pt x="1" y="230"/>
                    <a:pt x="61" y="89"/>
                    <a:pt x="223" y="89"/>
                  </a:cubicBezTo>
                  <a:lnTo>
                    <a:pt x="246" y="89"/>
                  </a:lnTo>
                  <a:cubicBezTo>
                    <a:pt x="438" y="103"/>
                    <a:pt x="475" y="237"/>
                    <a:pt x="475" y="237"/>
                  </a:cubicBezTo>
                  <a:cubicBezTo>
                    <a:pt x="475" y="103"/>
                    <a:pt x="372" y="0"/>
                    <a:pt x="246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6" name="Google Shape;5305;p53">
              <a:extLst>
                <a:ext uri="{FF2B5EF4-FFF2-40B4-BE49-F238E27FC236}">
                  <a16:creationId xmlns:a16="http://schemas.microsoft.com/office/drawing/2014/main" id="{A7FF1079-399B-DCF8-3A4D-6CD3EE11D3E3}"/>
                </a:ext>
              </a:extLst>
            </p:cNvPr>
            <p:cNvSpPr/>
            <p:nvPr/>
          </p:nvSpPr>
          <p:spPr>
            <a:xfrm>
              <a:off x="7309975" y="1567125"/>
              <a:ext cx="59475" cy="74850"/>
            </a:xfrm>
            <a:custGeom>
              <a:avLst/>
              <a:gdLst/>
              <a:ahLst/>
              <a:cxnLst/>
              <a:rect l="l" t="t" r="r" b="b"/>
              <a:pathLst>
                <a:path w="2379" h="2994" extrusionOk="0">
                  <a:moveTo>
                    <a:pt x="1185" y="1"/>
                  </a:moveTo>
                  <a:cubicBezTo>
                    <a:pt x="675" y="1"/>
                    <a:pt x="252" y="415"/>
                    <a:pt x="252" y="934"/>
                  </a:cubicBezTo>
                  <a:cubicBezTo>
                    <a:pt x="252" y="979"/>
                    <a:pt x="259" y="1023"/>
                    <a:pt x="268" y="1068"/>
                  </a:cubicBezTo>
                  <a:cubicBezTo>
                    <a:pt x="104" y="1267"/>
                    <a:pt x="1" y="1527"/>
                    <a:pt x="1" y="1808"/>
                  </a:cubicBezTo>
                  <a:cubicBezTo>
                    <a:pt x="1" y="2467"/>
                    <a:pt x="534" y="2994"/>
                    <a:pt x="1185" y="2994"/>
                  </a:cubicBezTo>
                  <a:cubicBezTo>
                    <a:pt x="1845" y="2994"/>
                    <a:pt x="2379" y="2467"/>
                    <a:pt x="2379" y="1808"/>
                  </a:cubicBezTo>
                  <a:cubicBezTo>
                    <a:pt x="2379" y="1527"/>
                    <a:pt x="2275" y="1267"/>
                    <a:pt x="2112" y="1068"/>
                  </a:cubicBezTo>
                  <a:cubicBezTo>
                    <a:pt x="2119" y="1023"/>
                    <a:pt x="2126" y="979"/>
                    <a:pt x="2126" y="934"/>
                  </a:cubicBezTo>
                  <a:cubicBezTo>
                    <a:pt x="2126" y="415"/>
                    <a:pt x="1705" y="1"/>
                    <a:pt x="118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7" name="Google Shape;5306;p53">
              <a:extLst>
                <a:ext uri="{FF2B5EF4-FFF2-40B4-BE49-F238E27FC236}">
                  <a16:creationId xmlns:a16="http://schemas.microsoft.com/office/drawing/2014/main" id="{C8E4BF4D-417B-E626-F2A0-6B03A7DD9E28}"/>
                </a:ext>
              </a:extLst>
            </p:cNvPr>
            <p:cNvSpPr/>
            <p:nvPr/>
          </p:nvSpPr>
          <p:spPr>
            <a:xfrm>
              <a:off x="7339600" y="1590125"/>
              <a:ext cx="2825" cy="89100"/>
            </a:xfrm>
            <a:custGeom>
              <a:avLst/>
              <a:gdLst/>
              <a:ahLst/>
              <a:cxnLst/>
              <a:rect l="l" t="t" r="r" b="b"/>
              <a:pathLst>
                <a:path w="113" h="3564" extrusionOk="0">
                  <a:moveTo>
                    <a:pt x="54" y="1"/>
                  </a:moveTo>
                  <a:cubicBezTo>
                    <a:pt x="53" y="1"/>
                    <a:pt x="52" y="4"/>
                    <a:pt x="52" y="14"/>
                  </a:cubicBezTo>
                  <a:lnTo>
                    <a:pt x="0" y="3511"/>
                  </a:lnTo>
                  <a:cubicBezTo>
                    <a:pt x="0" y="3534"/>
                    <a:pt x="23" y="3564"/>
                    <a:pt x="52" y="3564"/>
                  </a:cubicBezTo>
                  <a:lnTo>
                    <a:pt x="61" y="3564"/>
                  </a:lnTo>
                  <a:cubicBezTo>
                    <a:pt x="89" y="3564"/>
                    <a:pt x="112" y="3534"/>
                    <a:pt x="112" y="3511"/>
                  </a:cubicBezTo>
                  <a:cubicBezTo>
                    <a:pt x="112" y="3511"/>
                    <a:pt x="89" y="14"/>
                    <a:pt x="61" y="14"/>
                  </a:cubicBezTo>
                  <a:cubicBezTo>
                    <a:pt x="61" y="14"/>
                    <a:pt x="57" y="1"/>
                    <a:pt x="5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8" name="Google Shape;5307;p53">
              <a:extLst>
                <a:ext uri="{FF2B5EF4-FFF2-40B4-BE49-F238E27FC236}">
                  <a16:creationId xmlns:a16="http://schemas.microsoft.com/office/drawing/2014/main" id="{36E22E91-9DFC-57E2-7E0B-1C216E68B92F}"/>
                </a:ext>
              </a:extLst>
            </p:cNvPr>
            <p:cNvSpPr/>
            <p:nvPr/>
          </p:nvSpPr>
          <p:spPr>
            <a:xfrm>
              <a:off x="7324025" y="1611600"/>
              <a:ext cx="16875" cy="13875"/>
            </a:xfrm>
            <a:custGeom>
              <a:avLst/>
              <a:gdLst/>
              <a:ahLst/>
              <a:cxnLst/>
              <a:rect l="l" t="t" r="r" b="b"/>
              <a:pathLst>
                <a:path w="675" h="555" extrusionOk="0">
                  <a:moveTo>
                    <a:pt x="1" y="0"/>
                  </a:moveTo>
                  <a:lnTo>
                    <a:pt x="1" y="0"/>
                  </a:lnTo>
                  <a:cubicBezTo>
                    <a:pt x="331" y="541"/>
                    <a:pt x="634" y="555"/>
                    <a:pt x="665" y="555"/>
                  </a:cubicBezTo>
                  <a:cubicBezTo>
                    <a:pt x="667" y="555"/>
                    <a:pt x="668" y="555"/>
                    <a:pt x="668" y="555"/>
                  </a:cubicBezTo>
                  <a:lnTo>
                    <a:pt x="675" y="473"/>
                  </a:lnTo>
                  <a:lnTo>
                    <a:pt x="675" y="473"/>
                  </a:lnTo>
                  <a:cubicBezTo>
                    <a:pt x="675" y="473"/>
                    <a:pt x="668" y="479"/>
                    <a:pt x="647" y="479"/>
                  </a:cubicBezTo>
                  <a:cubicBezTo>
                    <a:pt x="606" y="479"/>
                    <a:pt x="511" y="455"/>
                    <a:pt x="312" y="311"/>
                  </a:cubicBezTo>
                  <a:cubicBezTo>
                    <a:pt x="134" y="18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9" name="Google Shape;5308;p53">
              <a:extLst>
                <a:ext uri="{FF2B5EF4-FFF2-40B4-BE49-F238E27FC236}">
                  <a16:creationId xmlns:a16="http://schemas.microsoft.com/office/drawing/2014/main" id="{5E22C848-2C22-4BA6-C641-94F3A201EA7A}"/>
                </a:ext>
              </a:extLst>
            </p:cNvPr>
            <p:cNvSpPr/>
            <p:nvPr/>
          </p:nvSpPr>
          <p:spPr>
            <a:xfrm>
              <a:off x="7340875" y="1607675"/>
              <a:ext cx="14475" cy="11900"/>
            </a:xfrm>
            <a:custGeom>
              <a:avLst/>
              <a:gdLst/>
              <a:ahLst/>
              <a:cxnLst/>
              <a:rect l="l" t="t" r="r" b="b"/>
              <a:pathLst>
                <a:path w="579" h="476" extrusionOk="0">
                  <a:moveTo>
                    <a:pt x="579" y="1"/>
                  </a:moveTo>
                  <a:cubicBezTo>
                    <a:pt x="579" y="1"/>
                    <a:pt x="461" y="164"/>
                    <a:pt x="312" y="267"/>
                  </a:cubicBezTo>
                  <a:cubicBezTo>
                    <a:pt x="143" y="392"/>
                    <a:pt x="60" y="413"/>
                    <a:pt x="24" y="413"/>
                  </a:cubicBezTo>
                  <a:cubicBezTo>
                    <a:pt x="7" y="413"/>
                    <a:pt x="1" y="408"/>
                    <a:pt x="1" y="408"/>
                  </a:cubicBezTo>
                  <a:lnTo>
                    <a:pt x="1" y="408"/>
                  </a:lnTo>
                  <a:lnTo>
                    <a:pt x="10" y="475"/>
                  </a:lnTo>
                  <a:cubicBezTo>
                    <a:pt x="10" y="475"/>
                    <a:pt x="11" y="475"/>
                    <a:pt x="12" y="475"/>
                  </a:cubicBezTo>
                  <a:cubicBezTo>
                    <a:pt x="40" y="475"/>
                    <a:pt x="300" y="463"/>
                    <a:pt x="57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0" name="Google Shape;5309;p53">
              <a:extLst>
                <a:ext uri="{FF2B5EF4-FFF2-40B4-BE49-F238E27FC236}">
                  <a16:creationId xmlns:a16="http://schemas.microsoft.com/office/drawing/2014/main" id="{6097DEEF-4716-9505-392D-37EFB5B48E6C}"/>
                </a:ext>
              </a:extLst>
            </p:cNvPr>
            <p:cNvSpPr/>
            <p:nvPr/>
          </p:nvSpPr>
          <p:spPr>
            <a:xfrm>
              <a:off x="7329425" y="1599375"/>
              <a:ext cx="11475" cy="9450"/>
            </a:xfrm>
            <a:custGeom>
              <a:avLst/>
              <a:gdLst/>
              <a:ahLst/>
              <a:cxnLst/>
              <a:rect l="l" t="t" r="r" b="b"/>
              <a:pathLst>
                <a:path w="459" h="378" extrusionOk="0">
                  <a:moveTo>
                    <a:pt x="0" y="0"/>
                  </a:moveTo>
                  <a:cubicBezTo>
                    <a:pt x="228" y="370"/>
                    <a:pt x="443" y="377"/>
                    <a:pt x="458" y="377"/>
                  </a:cubicBezTo>
                  <a:cubicBezTo>
                    <a:pt x="459" y="377"/>
                    <a:pt x="459" y="377"/>
                    <a:pt x="459" y="377"/>
                  </a:cubicBezTo>
                  <a:lnTo>
                    <a:pt x="459" y="325"/>
                  </a:lnTo>
                  <a:cubicBezTo>
                    <a:pt x="459" y="325"/>
                    <a:pt x="455" y="328"/>
                    <a:pt x="444" y="328"/>
                  </a:cubicBezTo>
                  <a:cubicBezTo>
                    <a:pt x="417" y="328"/>
                    <a:pt x="352" y="313"/>
                    <a:pt x="208" y="215"/>
                  </a:cubicBezTo>
                  <a:cubicBezTo>
                    <a:pt x="89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1" name="Google Shape;5310;p53">
              <a:extLst>
                <a:ext uri="{FF2B5EF4-FFF2-40B4-BE49-F238E27FC236}">
                  <a16:creationId xmlns:a16="http://schemas.microsoft.com/office/drawing/2014/main" id="{08B2C24A-6A7A-7C94-D46D-1AA6A7E544F5}"/>
                </a:ext>
              </a:extLst>
            </p:cNvPr>
            <p:cNvSpPr/>
            <p:nvPr/>
          </p:nvSpPr>
          <p:spPr>
            <a:xfrm>
              <a:off x="7378150" y="1188300"/>
              <a:ext cx="26700" cy="26700"/>
            </a:xfrm>
            <a:custGeom>
              <a:avLst/>
              <a:gdLst/>
              <a:ahLst/>
              <a:cxnLst/>
              <a:rect l="l" t="t" r="r" b="b"/>
              <a:pathLst>
                <a:path w="1068" h="1068" extrusionOk="0">
                  <a:moveTo>
                    <a:pt x="534" y="0"/>
                  </a:moveTo>
                  <a:cubicBezTo>
                    <a:pt x="237" y="0"/>
                    <a:pt x="0" y="237"/>
                    <a:pt x="0" y="534"/>
                  </a:cubicBezTo>
                  <a:cubicBezTo>
                    <a:pt x="0" y="831"/>
                    <a:pt x="237" y="1067"/>
                    <a:pt x="534" y="1067"/>
                  </a:cubicBezTo>
                  <a:cubicBezTo>
                    <a:pt x="831" y="1067"/>
                    <a:pt x="1067" y="831"/>
                    <a:pt x="1067" y="534"/>
                  </a:cubicBezTo>
                  <a:cubicBezTo>
                    <a:pt x="1067" y="237"/>
                    <a:pt x="831" y="0"/>
                    <a:pt x="534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2" name="Google Shape;5311;p53">
              <a:extLst>
                <a:ext uri="{FF2B5EF4-FFF2-40B4-BE49-F238E27FC236}">
                  <a16:creationId xmlns:a16="http://schemas.microsoft.com/office/drawing/2014/main" id="{006813D0-568E-93A0-7482-983EEFEC7014}"/>
                </a:ext>
              </a:extLst>
            </p:cNvPr>
            <p:cNvSpPr/>
            <p:nvPr/>
          </p:nvSpPr>
          <p:spPr>
            <a:xfrm>
              <a:off x="7314200" y="1224800"/>
              <a:ext cx="9850" cy="9850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2" y="0"/>
                  </a:moveTo>
                  <a:cubicBezTo>
                    <a:pt x="90" y="0"/>
                    <a:pt x="1" y="89"/>
                    <a:pt x="1" y="192"/>
                  </a:cubicBezTo>
                  <a:cubicBezTo>
                    <a:pt x="1" y="304"/>
                    <a:pt x="90" y="393"/>
                    <a:pt x="202" y="393"/>
                  </a:cubicBezTo>
                  <a:cubicBezTo>
                    <a:pt x="312" y="393"/>
                    <a:pt x="394" y="304"/>
                    <a:pt x="394" y="192"/>
                  </a:cubicBezTo>
                  <a:cubicBezTo>
                    <a:pt x="394" y="89"/>
                    <a:pt x="312" y="0"/>
                    <a:pt x="202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3" name="Google Shape;5312;p53">
              <a:extLst>
                <a:ext uri="{FF2B5EF4-FFF2-40B4-BE49-F238E27FC236}">
                  <a16:creationId xmlns:a16="http://schemas.microsoft.com/office/drawing/2014/main" id="{430CC0EB-724C-CDD6-C3BD-4B71CB3ADA2E}"/>
                </a:ext>
              </a:extLst>
            </p:cNvPr>
            <p:cNvSpPr/>
            <p:nvPr/>
          </p:nvSpPr>
          <p:spPr>
            <a:xfrm>
              <a:off x="7569850" y="1372975"/>
              <a:ext cx="12650" cy="12600"/>
            </a:xfrm>
            <a:custGeom>
              <a:avLst/>
              <a:gdLst/>
              <a:ahLst/>
              <a:cxnLst/>
              <a:rect l="l" t="t" r="r" b="b"/>
              <a:pathLst>
                <a:path w="506" h="504" extrusionOk="0">
                  <a:moveTo>
                    <a:pt x="253" y="1"/>
                  </a:moveTo>
                  <a:cubicBezTo>
                    <a:pt x="113" y="1"/>
                    <a:pt x="0" y="113"/>
                    <a:pt x="0" y="253"/>
                  </a:cubicBezTo>
                  <a:cubicBezTo>
                    <a:pt x="0" y="394"/>
                    <a:pt x="113" y="504"/>
                    <a:pt x="253" y="504"/>
                  </a:cubicBezTo>
                  <a:cubicBezTo>
                    <a:pt x="394" y="504"/>
                    <a:pt x="506" y="394"/>
                    <a:pt x="506" y="253"/>
                  </a:cubicBezTo>
                  <a:cubicBezTo>
                    <a:pt x="506" y="113"/>
                    <a:pt x="394" y="1"/>
                    <a:pt x="253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4" name="Google Shape;5313;p53">
              <a:extLst>
                <a:ext uri="{FF2B5EF4-FFF2-40B4-BE49-F238E27FC236}">
                  <a16:creationId xmlns:a16="http://schemas.microsoft.com/office/drawing/2014/main" id="{6643B8A8-0876-5169-B8EB-312A04D0A644}"/>
                </a:ext>
              </a:extLst>
            </p:cNvPr>
            <p:cNvSpPr/>
            <p:nvPr/>
          </p:nvSpPr>
          <p:spPr>
            <a:xfrm>
              <a:off x="7452975" y="1412050"/>
              <a:ext cx="63550" cy="63775"/>
            </a:xfrm>
            <a:custGeom>
              <a:avLst/>
              <a:gdLst/>
              <a:ahLst/>
              <a:cxnLst/>
              <a:rect l="l" t="t" r="r" b="b"/>
              <a:pathLst>
                <a:path w="2542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1972" y="2551"/>
                    <a:pt x="2541" y="1980"/>
                    <a:pt x="2541" y="1276"/>
                  </a:cubicBezTo>
                  <a:cubicBezTo>
                    <a:pt x="2541" y="572"/>
                    <a:pt x="1972" y="1"/>
                    <a:pt x="1275" y="1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5" name="Google Shape;5314;p53">
              <a:extLst>
                <a:ext uri="{FF2B5EF4-FFF2-40B4-BE49-F238E27FC236}">
                  <a16:creationId xmlns:a16="http://schemas.microsoft.com/office/drawing/2014/main" id="{5380AB36-CED0-8E49-E21A-4495E9520BB8}"/>
                </a:ext>
              </a:extLst>
            </p:cNvPr>
            <p:cNvSpPr/>
            <p:nvPr/>
          </p:nvSpPr>
          <p:spPr>
            <a:xfrm>
              <a:off x="7452800" y="1412050"/>
              <a:ext cx="31900" cy="63775"/>
            </a:xfrm>
            <a:custGeom>
              <a:avLst/>
              <a:gdLst/>
              <a:ahLst/>
              <a:cxnLst/>
              <a:rect l="l" t="t" r="r" b="b"/>
              <a:pathLst>
                <a:path w="1276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571" y="2542"/>
                    <a:pt x="7" y="1980"/>
                    <a:pt x="7" y="1276"/>
                  </a:cubicBezTo>
                  <a:cubicBezTo>
                    <a:pt x="7" y="572"/>
                    <a:pt x="571" y="8"/>
                    <a:pt x="1275" y="1"/>
                  </a:cubicBezTo>
                  <a:close/>
                </a:path>
              </a:pathLst>
            </a:custGeom>
            <a:solidFill>
              <a:srgbClr val="99A0A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6" name="Google Shape;5315;p53">
              <a:extLst>
                <a:ext uri="{FF2B5EF4-FFF2-40B4-BE49-F238E27FC236}">
                  <a16:creationId xmlns:a16="http://schemas.microsoft.com/office/drawing/2014/main" id="{0ABA08DC-FA7B-5A75-274B-AD49D4BB90C5}"/>
                </a:ext>
              </a:extLst>
            </p:cNvPr>
            <p:cNvSpPr/>
            <p:nvPr/>
          </p:nvSpPr>
          <p:spPr>
            <a:xfrm>
              <a:off x="7452975" y="1412050"/>
              <a:ext cx="31725" cy="63775"/>
            </a:xfrm>
            <a:custGeom>
              <a:avLst/>
              <a:gdLst/>
              <a:ahLst/>
              <a:cxnLst/>
              <a:rect l="l" t="t" r="r" b="b"/>
              <a:pathLst>
                <a:path w="1269" h="2551" extrusionOk="0">
                  <a:moveTo>
                    <a:pt x="1268" y="1"/>
                  </a:moveTo>
                  <a:cubicBezTo>
                    <a:pt x="564" y="8"/>
                    <a:pt x="0" y="572"/>
                    <a:pt x="0" y="1276"/>
                  </a:cubicBezTo>
                  <a:cubicBezTo>
                    <a:pt x="0" y="1980"/>
                    <a:pt x="564" y="2542"/>
                    <a:pt x="1268" y="2551"/>
                  </a:cubicBezTo>
                  <a:cubicBezTo>
                    <a:pt x="1268" y="2542"/>
                    <a:pt x="578" y="1913"/>
                    <a:pt x="578" y="1276"/>
                  </a:cubicBezTo>
                  <a:cubicBezTo>
                    <a:pt x="578" y="639"/>
                    <a:pt x="1268" y="8"/>
                    <a:pt x="1268" y="1"/>
                  </a:cubicBezTo>
                  <a:close/>
                </a:path>
              </a:pathLst>
            </a:custGeom>
            <a:solidFill>
              <a:srgbClr val="FFE9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7" name="Google Shape;5316;p53">
              <a:extLst>
                <a:ext uri="{FF2B5EF4-FFF2-40B4-BE49-F238E27FC236}">
                  <a16:creationId xmlns:a16="http://schemas.microsoft.com/office/drawing/2014/main" id="{6877BA72-17CB-B691-5856-8B84297A36AB}"/>
                </a:ext>
              </a:extLst>
            </p:cNvPr>
            <p:cNvSpPr/>
            <p:nvPr/>
          </p:nvSpPr>
          <p:spPr>
            <a:xfrm>
              <a:off x="7148250" y="1678625"/>
              <a:ext cx="644150" cy="39875"/>
            </a:xfrm>
            <a:custGeom>
              <a:avLst/>
              <a:gdLst/>
              <a:ahLst/>
              <a:cxnLst/>
              <a:rect l="l" t="t" r="r" b="b"/>
              <a:pathLst>
                <a:path w="25766" h="1595" extrusionOk="0">
                  <a:moveTo>
                    <a:pt x="1615" y="1"/>
                  </a:moveTo>
                  <a:cubicBezTo>
                    <a:pt x="0" y="1"/>
                    <a:pt x="141" y="1594"/>
                    <a:pt x="1615" y="1594"/>
                  </a:cubicBezTo>
                  <a:lnTo>
                    <a:pt x="25765" y="1594"/>
                  </a:lnTo>
                  <a:lnTo>
                    <a:pt x="25765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8" name="Google Shape;5317;p53">
              <a:extLst>
                <a:ext uri="{FF2B5EF4-FFF2-40B4-BE49-F238E27FC236}">
                  <a16:creationId xmlns:a16="http://schemas.microsoft.com/office/drawing/2014/main" id="{19DE4A54-266F-3B61-F941-0994903C058F}"/>
                </a:ext>
              </a:extLst>
            </p:cNvPr>
            <p:cNvSpPr/>
            <p:nvPr/>
          </p:nvSpPr>
          <p:spPr>
            <a:xfrm>
              <a:off x="7095475" y="1718475"/>
              <a:ext cx="696925" cy="39850"/>
            </a:xfrm>
            <a:custGeom>
              <a:avLst/>
              <a:gdLst/>
              <a:ahLst/>
              <a:cxnLst/>
              <a:rect l="l" t="t" r="r" b="b"/>
              <a:pathLst>
                <a:path w="27877" h="1594" extrusionOk="0">
                  <a:moveTo>
                    <a:pt x="1615" y="0"/>
                  </a:moveTo>
                  <a:cubicBezTo>
                    <a:pt x="45" y="0"/>
                    <a:pt x="0" y="1594"/>
                    <a:pt x="1615" y="1594"/>
                  </a:cubicBezTo>
                  <a:lnTo>
                    <a:pt x="27876" y="1594"/>
                  </a:lnTo>
                  <a:lnTo>
                    <a:pt x="2787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351" name="Google Shape;5134;p53">
            <a:extLst>
              <a:ext uri="{FF2B5EF4-FFF2-40B4-BE49-F238E27FC236}">
                <a16:creationId xmlns:a16="http://schemas.microsoft.com/office/drawing/2014/main" id="{0057DECB-538C-AC43-EF88-575EFE30B80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0" y="102870"/>
            <a:ext cx="8835389" cy="899219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en-IN" sz="4000" dirty="0">
                <a:solidFill>
                  <a:srgbClr val="A1E1FD"/>
                </a:solidFill>
              </a:rPr>
              <a:t>2021–2024: The Biden Administration</a:t>
            </a:r>
            <a:endParaRPr sz="4000" dirty="0">
              <a:solidFill>
                <a:srgbClr val="A1E1FD"/>
              </a:solidFill>
            </a:endParaRPr>
          </a:p>
        </p:txBody>
      </p:sp>
      <p:sp>
        <p:nvSpPr>
          <p:cNvPr id="5356" name="TextBox 5355">
            <a:extLst>
              <a:ext uri="{FF2B5EF4-FFF2-40B4-BE49-F238E27FC236}">
                <a16:creationId xmlns:a16="http://schemas.microsoft.com/office/drawing/2014/main" id="{F0EE2D6F-5F63-E361-A0BF-E80AE40D2307}"/>
              </a:ext>
            </a:extLst>
          </p:cNvPr>
          <p:cNvSpPr txBox="1"/>
          <p:nvPr/>
        </p:nvSpPr>
        <p:spPr>
          <a:xfrm>
            <a:off x="308611" y="1002089"/>
            <a:ext cx="8721088" cy="38318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200" b="1" dirty="0">
                <a:solidFill>
                  <a:srgbClr val="FFC000"/>
                </a:solidFill>
                <a:latin typeface="Arial" panose="020B0604020202020204" pitchFamily="34" charset="0"/>
              </a:rPr>
              <a:t>Reinstatement of the IWG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endParaRPr lang="en-US" altLang="en-US" sz="2200" b="1" dirty="0">
              <a:solidFill>
                <a:srgbClr val="FFC000"/>
              </a:solidFill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200" b="1" dirty="0">
                <a:solidFill>
                  <a:srgbClr val="FFC000"/>
                </a:solidFill>
                <a:latin typeface="Arial" panose="020B0604020202020204" pitchFamily="34" charset="0"/>
              </a:rPr>
              <a:t>Interim Estimate:</a:t>
            </a:r>
            <a:r>
              <a:rPr lang="en-US" altLang="en-US" sz="2200" dirty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en-US" sz="2200" b="1" dirty="0">
                <a:solidFill>
                  <a:srgbClr val="FFFFFF"/>
                </a:solidFill>
                <a:latin typeface="Kumbh Sans" panose="020B0604020202020204" charset="0"/>
                <a:cs typeface="Kumbh Sans" panose="020B0604020202020204" charset="0"/>
              </a:rPr>
              <a:t>$51/ton SCC applied for regulatory analysis pending update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endParaRPr lang="en-US" altLang="en-US" sz="2200" b="1" dirty="0">
              <a:solidFill>
                <a:srgbClr val="FFFFFF"/>
              </a:solidFill>
              <a:latin typeface="Kumbh Sans" panose="020B0604020202020204" charset="0"/>
              <a:cs typeface="Kumbh Sans" panose="020B060402020202020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200" b="1" dirty="0">
                <a:solidFill>
                  <a:srgbClr val="FFFF00"/>
                </a:solidFill>
                <a:latin typeface="Arial" panose="020B0604020202020204" pitchFamily="34" charset="0"/>
              </a:rPr>
              <a:t>Comprehensive Review: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Ø"/>
            </a:pPr>
            <a:r>
              <a:rPr lang="en-US" altLang="en-US" sz="2100" b="1" dirty="0">
                <a:solidFill>
                  <a:schemeClr val="tx1"/>
                </a:solidFill>
                <a:latin typeface="Arial" panose="020B0604020202020204" pitchFamily="34" charset="0"/>
              </a:rPr>
              <a:t>RFF’s GIVE Model (Rennert et al., 2022):</a:t>
            </a:r>
            <a:r>
              <a:rPr lang="en-US" altLang="en-US" sz="2100" dirty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en-US" altLang="en-US" sz="2300" b="1" dirty="0">
                <a:solidFill>
                  <a:srgbClr val="FFD65D"/>
                </a:solidFill>
                <a:latin typeface="Arial" panose="020B0604020202020204" pitchFamily="34" charset="0"/>
              </a:rPr>
              <a:t>$185/ton CO₂</a:t>
            </a:r>
            <a:endParaRPr lang="en-US" altLang="en-US" sz="2300" dirty="0">
              <a:solidFill>
                <a:srgbClr val="FFD65D"/>
              </a:solidFill>
              <a:latin typeface="Arial" panose="020B0604020202020204" pitchFamily="34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Ø"/>
            </a:pPr>
            <a:endParaRPr lang="en-US" altLang="en-US" sz="21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Ø"/>
            </a:pPr>
            <a:r>
              <a:rPr lang="en-US" altLang="en-US" sz="2100" b="1" dirty="0">
                <a:solidFill>
                  <a:schemeClr val="tx1"/>
                </a:solidFill>
                <a:latin typeface="Arial" panose="020B0604020202020204" pitchFamily="34" charset="0"/>
              </a:rPr>
              <a:t>EPA (Environmental Protection Agency) Update, 2023:</a:t>
            </a:r>
            <a:r>
              <a:rPr lang="en-US" altLang="en-US" sz="2100" dirty="0">
                <a:solidFill>
                  <a:schemeClr val="tx1"/>
                </a:solidFill>
                <a:latin typeface="Arial" panose="020B0604020202020204" pitchFamily="34" charset="0"/>
              </a:rPr>
              <a:t> Adopted RFF findings, raising SCC to </a:t>
            </a:r>
            <a:r>
              <a:rPr lang="en-US" alt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$190/ton CO₂</a:t>
            </a:r>
            <a:r>
              <a:rPr lang="en-US" alt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endParaRPr lang="en-US" altLang="en-US" sz="22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grpSp>
        <p:nvGrpSpPr>
          <p:cNvPr id="5" name="Google Shape;5221;p53">
            <a:extLst>
              <a:ext uri="{FF2B5EF4-FFF2-40B4-BE49-F238E27FC236}">
                <a16:creationId xmlns:a16="http://schemas.microsoft.com/office/drawing/2014/main" id="{223E7A05-0EAD-36BD-0976-2B6D5901C9E4}"/>
              </a:ext>
            </a:extLst>
          </p:cNvPr>
          <p:cNvGrpSpPr/>
          <p:nvPr/>
        </p:nvGrpSpPr>
        <p:grpSpPr>
          <a:xfrm>
            <a:off x="-1466023" y="3749040"/>
            <a:ext cx="2520565" cy="1945481"/>
            <a:chOff x="7095475" y="1127208"/>
            <a:chExt cx="817675" cy="631117"/>
          </a:xfrm>
        </p:grpSpPr>
        <p:sp>
          <p:nvSpPr>
            <p:cNvPr id="6" name="Google Shape;5222;p53">
              <a:extLst>
                <a:ext uri="{FF2B5EF4-FFF2-40B4-BE49-F238E27FC236}">
                  <a16:creationId xmlns:a16="http://schemas.microsoft.com/office/drawing/2014/main" id="{BD87509B-8E11-A69E-B22D-93B313431556}"/>
                </a:ext>
              </a:extLst>
            </p:cNvPr>
            <p:cNvSpPr/>
            <p:nvPr/>
          </p:nvSpPr>
          <p:spPr>
            <a:xfrm>
              <a:off x="7137300" y="1488925"/>
              <a:ext cx="169725" cy="73950"/>
            </a:xfrm>
            <a:custGeom>
              <a:avLst/>
              <a:gdLst/>
              <a:ahLst/>
              <a:cxnLst/>
              <a:rect l="l" t="t" r="r" b="b"/>
              <a:pathLst>
                <a:path w="6789" h="2958" extrusionOk="0">
                  <a:moveTo>
                    <a:pt x="3232" y="0"/>
                  </a:moveTo>
                  <a:cubicBezTo>
                    <a:pt x="2690" y="0"/>
                    <a:pt x="2239" y="391"/>
                    <a:pt x="2135" y="906"/>
                  </a:cubicBezTo>
                  <a:cubicBezTo>
                    <a:pt x="2097" y="899"/>
                    <a:pt x="2062" y="899"/>
                    <a:pt x="2017" y="890"/>
                  </a:cubicBezTo>
                  <a:cubicBezTo>
                    <a:pt x="1550" y="890"/>
                    <a:pt x="1157" y="1261"/>
                    <a:pt x="1135" y="1727"/>
                  </a:cubicBezTo>
                  <a:cubicBezTo>
                    <a:pt x="586" y="1868"/>
                    <a:pt x="150" y="2305"/>
                    <a:pt x="1" y="2855"/>
                  </a:cubicBezTo>
                  <a:lnTo>
                    <a:pt x="6789" y="2958"/>
                  </a:lnTo>
                  <a:cubicBezTo>
                    <a:pt x="6625" y="2268"/>
                    <a:pt x="6241" y="1743"/>
                    <a:pt x="5499" y="1734"/>
                  </a:cubicBezTo>
                  <a:lnTo>
                    <a:pt x="5432" y="1734"/>
                  </a:lnTo>
                  <a:cubicBezTo>
                    <a:pt x="5441" y="1210"/>
                    <a:pt x="5025" y="772"/>
                    <a:pt x="4498" y="765"/>
                  </a:cubicBezTo>
                  <a:cubicBezTo>
                    <a:pt x="4425" y="765"/>
                    <a:pt x="4358" y="772"/>
                    <a:pt x="4292" y="787"/>
                  </a:cubicBezTo>
                  <a:cubicBezTo>
                    <a:pt x="4159" y="335"/>
                    <a:pt x="3742" y="9"/>
                    <a:pt x="3246" y="1"/>
                  </a:cubicBezTo>
                  <a:cubicBezTo>
                    <a:pt x="3241" y="1"/>
                    <a:pt x="3237" y="0"/>
                    <a:pt x="3232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" name="Google Shape;5223;p53">
              <a:extLst>
                <a:ext uri="{FF2B5EF4-FFF2-40B4-BE49-F238E27FC236}">
                  <a16:creationId xmlns:a16="http://schemas.microsoft.com/office/drawing/2014/main" id="{A0F25972-88DB-57F9-1F89-A2447752DDC7}"/>
                </a:ext>
              </a:extLst>
            </p:cNvPr>
            <p:cNvSpPr/>
            <p:nvPr/>
          </p:nvSpPr>
          <p:spPr>
            <a:xfrm>
              <a:off x="7191050" y="1511725"/>
              <a:ext cx="18700" cy="37475"/>
            </a:xfrm>
            <a:custGeom>
              <a:avLst/>
              <a:gdLst/>
              <a:ahLst/>
              <a:cxnLst/>
              <a:rect l="l" t="t" r="r" b="b"/>
              <a:pathLst>
                <a:path w="748" h="1499" extrusionOk="0">
                  <a:moveTo>
                    <a:pt x="1" y="1"/>
                  </a:moveTo>
                  <a:cubicBezTo>
                    <a:pt x="1" y="1"/>
                    <a:pt x="593" y="193"/>
                    <a:pt x="563" y="750"/>
                  </a:cubicBezTo>
                  <a:cubicBezTo>
                    <a:pt x="534" y="1365"/>
                    <a:pt x="1" y="1498"/>
                    <a:pt x="1" y="1498"/>
                  </a:cubicBezTo>
                  <a:cubicBezTo>
                    <a:pt x="415" y="1498"/>
                    <a:pt x="748" y="1164"/>
                    <a:pt x="748" y="750"/>
                  </a:cubicBezTo>
                  <a:cubicBezTo>
                    <a:pt x="748" y="333"/>
                    <a:pt x="415" y="1"/>
                    <a:pt x="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" name="Google Shape;5224;p53">
              <a:extLst>
                <a:ext uri="{FF2B5EF4-FFF2-40B4-BE49-F238E27FC236}">
                  <a16:creationId xmlns:a16="http://schemas.microsoft.com/office/drawing/2014/main" id="{E8E16A15-63EA-05A6-5229-97ED3AC1CBB7}"/>
                </a:ext>
              </a:extLst>
            </p:cNvPr>
            <p:cNvSpPr/>
            <p:nvPr/>
          </p:nvSpPr>
          <p:spPr>
            <a:xfrm>
              <a:off x="7286250" y="1534500"/>
              <a:ext cx="11300" cy="7100"/>
            </a:xfrm>
            <a:custGeom>
              <a:avLst/>
              <a:gdLst/>
              <a:ahLst/>
              <a:cxnLst/>
              <a:rect l="l" t="t" r="r" b="b"/>
              <a:pathLst>
                <a:path w="452" h="284" extrusionOk="0">
                  <a:moveTo>
                    <a:pt x="0" y="0"/>
                  </a:moveTo>
                  <a:lnTo>
                    <a:pt x="0" y="0"/>
                  </a:lnTo>
                  <a:cubicBezTo>
                    <a:pt x="164" y="61"/>
                    <a:pt x="297" y="157"/>
                    <a:pt x="416" y="283"/>
                  </a:cubicBezTo>
                  <a:lnTo>
                    <a:pt x="452" y="232"/>
                  </a:lnTo>
                  <a:cubicBezTo>
                    <a:pt x="319" y="120"/>
                    <a:pt x="171" y="38"/>
                    <a:pt x="0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" name="Google Shape;5225;p53">
              <a:extLst>
                <a:ext uri="{FF2B5EF4-FFF2-40B4-BE49-F238E27FC236}">
                  <a16:creationId xmlns:a16="http://schemas.microsoft.com/office/drawing/2014/main" id="{05B776E8-A33A-3709-9657-EF8C75793AFE}"/>
                </a:ext>
              </a:extLst>
            </p:cNvPr>
            <p:cNvSpPr/>
            <p:nvPr/>
          </p:nvSpPr>
          <p:spPr>
            <a:xfrm>
              <a:off x="7251975" y="1533600"/>
              <a:ext cx="44700" cy="27250"/>
            </a:xfrm>
            <a:custGeom>
              <a:avLst/>
              <a:gdLst/>
              <a:ahLst/>
              <a:cxnLst/>
              <a:rect l="l" t="t" r="r" b="b"/>
              <a:pathLst>
                <a:path w="1788" h="1090" extrusionOk="0">
                  <a:moveTo>
                    <a:pt x="1105" y="1"/>
                  </a:moveTo>
                  <a:cubicBezTo>
                    <a:pt x="505" y="1"/>
                    <a:pt x="16" y="481"/>
                    <a:pt x="0" y="1089"/>
                  </a:cubicBezTo>
                  <a:cubicBezTo>
                    <a:pt x="0" y="1089"/>
                    <a:pt x="283" y="214"/>
                    <a:pt x="1046" y="214"/>
                  </a:cubicBezTo>
                  <a:lnTo>
                    <a:pt x="1121" y="214"/>
                  </a:lnTo>
                  <a:cubicBezTo>
                    <a:pt x="1364" y="237"/>
                    <a:pt x="1565" y="312"/>
                    <a:pt x="1713" y="415"/>
                  </a:cubicBezTo>
                  <a:lnTo>
                    <a:pt x="1787" y="319"/>
                  </a:lnTo>
                  <a:cubicBezTo>
                    <a:pt x="1668" y="193"/>
                    <a:pt x="1535" y="97"/>
                    <a:pt x="1371" y="36"/>
                  </a:cubicBezTo>
                  <a:cubicBezTo>
                    <a:pt x="1298" y="15"/>
                    <a:pt x="1209" y="1"/>
                    <a:pt x="112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" name="Google Shape;5226;p53">
              <a:extLst>
                <a:ext uri="{FF2B5EF4-FFF2-40B4-BE49-F238E27FC236}">
                  <a16:creationId xmlns:a16="http://schemas.microsoft.com/office/drawing/2014/main" id="{F55E2E4E-4EF4-6932-1BCB-BC2E12FE9024}"/>
                </a:ext>
              </a:extLst>
            </p:cNvPr>
            <p:cNvSpPr/>
            <p:nvPr/>
          </p:nvSpPr>
          <p:spPr>
            <a:xfrm>
              <a:off x="7457400" y="1303300"/>
              <a:ext cx="214200" cy="93225"/>
            </a:xfrm>
            <a:custGeom>
              <a:avLst/>
              <a:gdLst/>
              <a:ahLst/>
              <a:cxnLst/>
              <a:rect l="l" t="t" r="r" b="b"/>
              <a:pathLst>
                <a:path w="8568" h="3729" extrusionOk="0">
                  <a:moveTo>
                    <a:pt x="4485" y="1"/>
                  </a:moveTo>
                  <a:cubicBezTo>
                    <a:pt x="4480" y="1"/>
                    <a:pt x="4475" y="1"/>
                    <a:pt x="4470" y="1"/>
                  </a:cubicBezTo>
                  <a:cubicBezTo>
                    <a:pt x="3848" y="17"/>
                    <a:pt x="3328" y="424"/>
                    <a:pt x="3150" y="995"/>
                  </a:cubicBezTo>
                  <a:cubicBezTo>
                    <a:pt x="3069" y="972"/>
                    <a:pt x="2987" y="965"/>
                    <a:pt x="2898" y="965"/>
                  </a:cubicBezTo>
                  <a:cubicBezTo>
                    <a:pt x="2231" y="979"/>
                    <a:pt x="1706" y="1521"/>
                    <a:pt x="1714" y="2188"/>
                  </a:cubicBezTo>
                  <a:lnTo>
                    <a:pt x="1632" y="2188"/>
                  </a:lnTo>
                  <a:cubicBezTo>
                    <a:pt x="698" y="2202"/>
                    <a:pt x="209" y="2862"/>
                    <a:pt x="1" y="3728"/>
                  </a:cubicBezTo>
                  <a:lnTo>
                    <a:pt x="8567" y="3602"/>
                  </a:lnTo>
                  <a:cubicBezTo>
                    <a:pt x="8382" y="2907"/>
                    <a:pt x="7826" y="2357"/>
                    <a:pt x="7130" y="2179"/>
                  </a:cubicBezTo>
                  <a:cubicBezTo>
                    <a:pt x="7108" y="1592"/>
                    <a:pt x="6626" y="1128"/>
                    <a:pt x="6033" y="1128"/>
                  </a:cubicBezTo>
                  <a:cubicBezTo>
                    <a:pt x="6028" y="1128"/>
                    <a:pt x="6024" y="1128"/>
                    <a:pt x="6019" y="1128"/>
                  </a:cubicBezTo>
                  <a:cubicBezTo>
                    <a:pt x="5975" y="1128"/>
                    <a:pt x="5921" y="1135"/>
                    <a:pt x="5877" y="1143"/>
                  </a:cubicBezTo>
                  <a:cubicBezTo>
                    <a:pt x="5744" y="488"/>
                    <a:pt x="5174" y="1"/>
                    <a:pt x="4485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3" name="Google Shape;5227;p53">
              <a:extLst>
                <a:ext uri="{FF2B5EF4-FFF2-40B4-BE49-F238E27FC236}">
                  <a16:creationId xmlns:a16="http://schemas.microsoft.com/office/drawing/2014/main" id="{B6AE4F76-467F-2744-A3A8-3A494E209A34}"/>
                </a:ext>
              </a:extLst>
            </p:cNvPr>
            <p:cNvSpPr/>
            <p:nvPr/>
          </p:nvSpPr>
          <p:spPr>
            <a:xfrm>
              <a:off x="7580250" y="1332200"/>
              <a:ext cx="23550" cy="47125"/>
            </a:xfrm>
            <a:custGeom>
              <a:avLst/>
              <a:gdLst/>
              <a:ahLst/>
              <a:cxnLst/>
              <a:rect l="l" t="t" r="r" b="b"/>
              <a:pathLst>
                <a:path w="942" h="1885" extrusionOk="0">
                  <a:moveTo>
                    <a:pt x="941" y="1"/>
                  </a:moveTo>
                  <a:cubicBezTo>
                    <a:pt x="422" y="1"/>
                    <a:pt x="1" y="424"/>
                    <a:pt x="1" y="943"/>
                  </a:cubicBezTo>
                  <a:cubicBezTo>
                    <a:pt x="1" y="1461"/>
                    <a:pt x="422" y="1884"/>
                    <a:pt x="941" y="1884"/>
                  </a:cubicBezTo>
                  <a:cubicBezTo>
                    <a:pt x="941" y="1884"/>
                    <a:pt x="274" y="1713"/>
                    <a:pt x="230" y="943"/>
                  </a:cubicBezTo>
                  <a:cubicBezTo>
                    <a:pt x="193" y="246"/>
                    <a:pt x="941" y="1"/>
                    <a:pt x="94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4" name="Google Shape;5228;p53">
              <a:extLst>
                <a:ext uri="{FF2B5EF4-FFF2-40B4-BE49-F238E27FC236}">
                  <a16:creationId xmlns:a16="http://schemas.microsoft.com/office/drawing/2014/main" id="{47E87F31-8686-1F26-7ED5-850B0453F24B}"/>
                </a:ext>
              </a:extLst>
            </p:cNvPr>
            <p:cNvSpPr/>
            <p:nvPr/>
          </p:nvSpPr>
          <p:spPr>
            <a:xfrm>
              <a:off x="7457050" y="1360750"/>
              <a:ext cx="26525" cy="34300"/>
            </a:xfrm>
            <a:custGeom>
              <a:avLst/>
              <a:gdLst/>
              <a:ahLst/>
              <a:cxnLst/>
              <a:rect l="l" t="t" r="r" b="b"/>
              <a:pathLst>
                <a:path w="1061" h="1372" extrusionOk="0">
                  <a:moveTo>
                    <a:pt x="1061" y="1"/>
                  </a:moveTo>
                  <a:cubicBezTo>
                    <a:pt x="452" y="157"/>
                    <a:pt x="1" y="712"/>
                    <a:pt x="8" y="1372"/>
                  </a:cubicBezTo>
                  <a:cubicBezTo>
                    <a:pt x="8" y="1372"/>
                    <a:pt x="38" y="1245"/>
                    <a:pt x="120" y="1082"/>
                  </a:cubicBezTo>
                  <a:cubicBezTo>
                    <a:pt x="305" y="579"/>
                    <a:pt x="600" y="185"/>
                    <a:pt x="1061" y="1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5" name="Google Shape;5229;p53">
              <a:extLst>
                <a:ext uri="{FF2B5EF4-FFF2-40B4-BE49-F238E27FC236}">
                  <a16:creationId xmlns:a16="http://schemas.microsoft.com/office/drawing/2014/main" id="{1D1B6F54-4874-E8A9-E9C1-2B05759A8480}"/>
                </a:ext>
              </a:extLst>
            </p:cNvPr>
            <p:cNvSpPr/>
            <p:nvPr/>
          </p:nvSpPr>
          <p:spPr>
            <a:xfrm>
              <a:off x="7460025" y="1359825"/>
              <a:ext cx="66900" cy="34125"/>
            </a:xfrm>
            <a:custGeom>
              <a:avLst/>
              <a:gdLst/>
              <a:ahLst/>
              <a:cxnLst/>
              <a:rect l="l" t="t" r="r" b="b"/>
              <a:pathLst>
                <a:path w="2676" h="1365" extrusionOk="0">
                  <a:moveTo>
                    <a:pt x="1260" y="0"/>
                  </a:moveTo>
                  <a:cubicBezTo>
                    <a:pt x="1148" y="0"/>
                    <a:pt x="1045" y="16"/>
                    <a:pt x="942" y="38"/>
                  </a:cubicBezTo>
                  <a:cubicBezTo>
                    <a:pt x="481" y="222"/>
                    <a:pt x="186" y="616"/>
                    <a:pt x="1" y="1119"/>
                  </a:cubicBezTo>
                  <a:cubicBezTo>
                    <a:pt x="163" y="800"/>
                    <a:pt x="518" y="319"/>
                    <a:pt x="1267" y="267"/>
                  </a:cubicBezTo>
                  <a:lnTo>
                    <a:pt x="1356" y="267"/>
                  </a:lnTo>
                  <a:cubicBezTo>
                    <a:pt x="2320" y="267"/>
                    <a:pt x="2676" y="1364"/>
                    <a:pt x="2676" y="1364"/>
                  </a:cubicBezTo>
                  <a:cubicBezTo>
                    <a:pt x="2660" y="608"/>
                    <a:pt x="2037" y="0"/>
                    <a:pt x="1281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6" name="Google Shape;5230;p53">
              <a:extLst>
                <a:ext uri="{FF2B5EF4-FFF2-40B4-BE49-F238E27FC236}">
                  <a16:creationId xmlns:a16="http://schemas.microsoft.com/office/drawing/2014/main" id="{AF825D16-B151-2304-640F-603A5D744155}"/>
                </a:ext>
              </a:extLst>
            </p:cNvPr>
            <p:cNvSpPr/>
            <p:nvPr/>
          </p:nvSpPr>
          <p:spPr>
            <a:xfrm>
              <a:off x="7364800" y="1192375"/>
              <a:ext cx="181725" cy="65975"/>
            </a:xfrm>
            <a:custGeom>
              <a:avLst/>
              <a:gdLst/>
              <a:ahLst/>
              <a:cxnLst/>
              <a:rect l="l" t="t" r="r" b="b"/>
              <a:pathLst>
                <a:path w="7269" h="2639" extrusionOk="0">
                  <a:moveTo>
                    <a:pt x="3113" y="1"/>
                  </a:moveTo>
                  <a:cubicBezTo>
                    <a:pt x="2305" y="1"/>
                    <a:pt x="1615" y="497"/>
                    <a:pt x="1334" y="1192"/>
                  </a:cubicBezTo>
                  <a:cubicBezTo>
                    <a:pt x="1283" y="1185"/>
                    <a:pt x="1238" y="1185"/>
                    <a:pt x="1187" y="1185"/>
                  </a:cubicBezTo>
                  <a:cubicBezTo>
                    <a:pt x="534" y="1185"/>
                    <a:pt x="1" y="1712"/>
                    <a:pt x="1" y="2371"/>
                  </a:cubicBezTo>
                  <a:cubicBezTo>
                    <a:pt x="1" y="2460"/>
                    <a:pt x="15" y="2549"/>
                    <a:pt x="38" y="2638"/>
                  </a:cubicBezTo>
                  <a:lnTo>
                    <a:pt x="5876" y="2638"/>
                  </a:lnTo>
                  <a:cubicBezTo>
                    <a:pt x="5891" y="2624"/>
                    <a:pt x="5907" y="2615"/>
                    <a:pt x="5921" y="2601"/>
                  </a:cubicBezTo>
                  <a:cubicBezTo>
                    <a:pt x="5921" y="2615"/>
                    <a:pt x="5928" y="2624"/>
                    <a:pt x="5935" y="2638"/>
                  </a:cubicBezTo>
                  <a:lnTo>
                    <a:pt x="7217" y="2638"/>
                  </a:lnTo>
                  <a:cubicBezTo>
                    <a:pt x="7248" y="2556"/>
                    <a:pt x="7269" y="2467"/>
                    <a:pt x="7269" y="2371"/>
                  </a:cubicBezTo>
                  <a:cubicBezTo>
                    <a:pt x="7269" y="1986"/>
                    <a:pt x="6958" y="1674"/>
                    <a:pt x="6573" y="1674"/>
                  </a:cubicBezTo>
                  <a:cubicBezTo>
                    <a:pt x="6440" y="1674"/>
                    <a:pt x="6314" y="1712"/>
                    <a:pt x="6202" y="1779"/>
                  </a:cubicBezTo>
                  <a:cubicBezTo>
                    <a:pt x="6136" y="1335"/>
                    <a:pt x="5750" y="993"/>
                    <a:pt x="5291" y="993"/>
                  </a:cubicBezTo>
                  <a:cubicBezTo>
                    <a:pt x="5128" y="993"/>
                    <a:pt x="4980" y="1038"/>
                    <a:pt x="4854" y="1103"/>
                  </a:cubicBezTo>
                  <a:cubicBezTo>
                    <a:pt x="4543" y="453"/>
                    <a:pt x="3883" y="1"/>
                    <a:pt x="3113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7" name="Google Shape;5231;p53">
              <a:extLst>
                <a:ext uri="{FF2B5EF4-FFF2-40B4-BE49-F238E27FC236}">
                  <a16:creationId xmlns:a16="http://schemas.microsoft.com/office/drawing/2014/main" id="{249EB07D-8F13-8672-34D2-C0B3EB22B6EF}"/>
                </a:ext>
              </a:extLst>
            </p:cNvPr>
            <p:cNvSpPr/>
            <p:nvPr/>
          </p:nvSpPr>
          <p:spPr>
            <a:xfrm>
              <a:off x="7506267" y="1127208"/>
              <a:ext cx="100825" cy="36700"/>
            </a:xfrm>
            <a:custGeom>
              <a:avLst/>
              <a:gdLst/>
              <a:ahLst/>
              <a:cxnLst/>
              <a:rect l="l" t="t" r="r" b="b"/>
              <a:pathLst>
                <a:path w="4033" h="1468" extrusionOk="0">
                  <a:moveTo>
                    <a:pt x="2306" y="0"/>
                  </a:moveTo>
                  <a:cubicBezTo>
                    <a:pt x="1875" y="0"/>
                    <a:pt x="1512" y="253"/>
                    <a:pt x="1342" y="616"/>
                  </a:cubicBezTo>
                  <a:cubicBezTo>
                    <a:pt x="1267" y="578"/>
                    <a:pt x="1187" y="557"/>
                    <a:pt x="1098" y="557"/>
                  </a:cubicBezTo>
                  <a:cubicBezTo>
                    <a:pt x="838" y="557"/>
                    <a:pt x="623" y="742"/>
                    <a:pt x="586" y="986"/>
                  </a:cubicBezTo>
                  <a:cubicBezTo>
                    <a:pt x="527" y="950"/>
                    <a:pt x="460" y="927"/>
                    <a:pt x="387" y="927"/>
                  </a:cubicBezTo>
                  <a:cubicBezTo>
                    <a:pt x="171" y="927"/>
                    <a:pt x="1" y="1105"/>
                    <a:pt x="1" y="1320"/>
                  </a:cubicBezTo>
                  <a:cubicBezTo>
                    <a:pt x="1" y="1372"/>
                    <a:pt x="8" y="1416"/>
                    <a:pt x="31" y="1468"/>
                  </a:cubicBezTo>
                  <a:lnTo>
                    <a:pt x="742" y="1468"/>
                  </a:lnTo>
                  <a:cubicBezTo>
                    <a:pt x="742" y="1460"/>
                    <a:pt x="742" y="1453"/>
                    <a:pt x="749" y="1446"/>
                  </a:cubicBezTo>
                  <a:cubicBezTo>
                    <a:pt x="757" y="1453"/>
                    <a:pt x="764" y="1460"/>
                    <a:pt x="771" y="1468"/>
                  </a:cubicBezTo>
                  <a:lnTo>
                    <a:pt x="4009" y="1468"/>
                  </a:lnTo>
                  <a:cubicBezTo>
                    <a:pt x="4023" y="1416"/>
                    <a:pt x="4032" y="1364"/>
                    <a:pt x="4032" y="1320"/>
                  </a:cubicBezTo>
                  <a:cubicBezTo>
                    <a:pt x="4032" y="957"/>
                    <a:pt x="3735" y="660"/>
                    <a:pt x="3373" y="660"/>
                  </a:cubicBezTo>
                  <a:cubicBezTo>
                    <a:pt x="3342" y="660"/>
                    <a:pt x="3321" y="660"/>
                    <a:pt x="3291" y="667"/>
                  </a:cubicBezTo>
                  <a:cubicBezTo>
                    <a:pt x="3134" y="274"/>
                    <a:pt x="2750" y="0"/>
                    <a:pt x="230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8" name="Google Shape;5232;p53">
              <a:extLst>
                <a:ext uri="{FF2B5EF4-FFF2-40B4-BE49-F238E27FC236}">
                  <a16:creationId xmlns:a16="http://schemas.microsoft.com/office/drawing/2014/main" id="{C3765251-5CB2-830B-249B-EBE6BC450018}"/>
                </a:ext>
              </a:extLst>
            </p:cNvPr>
            <p:cNvSpPr/>
            <p:nvPr/>
          </p:nvSpPr>
          <p:spPr>
            <a:xfrm>
              <a:off x="7210300" y="1305925"/>
              <a:ext cx="123225" cy="60400"/>
            </a:xfrm>
            <a:custGeom>
              <a:avLst/>
              <a:gdLst/>
              <a:ahLst/>
              <a:cxnLst/>
              <a:rect l="l" t="t" r="r" b="b"/>
              <a:pathLst>
                <a:path w="4929" h="2416" extrusionOk="0">
                  <a:moveTo>
                    <a:pt x="2165" y="1"/>
                  </a:moveTo>
                  <a:cubicBezTo>
                    <a:pt x="1290" y="1"/>
                    <a:pt x="579" y="682"/>
                    <a:pt x="527" y="1541"/>
                  </a:cubicBezTo>
                  <a:cubicBezTo>
                    <a:pt x="223" y="1601"/>
                    <a:pt x="1" y="1868"/>
                    <a:pt x="1" y="2186"/>
                  </a:cubicBezTo>
                  <a:cubicBezTo>
                    <a:pt x="1" y="2261"/>
                    <a:pt x="15" y="2341"/>
                    <a:pt x="45" y="2416"/>
                  </a:cubicBezTo>
                  <a:lnTo>
                    <a:pt x="4922" y="2416"/>
                  </a:lnTo>
                  <a:cubicBezTo>
                    <a:pt x="4922" y="2394"/>
                    <a:pt x="4929" y="2371"/>
                    <a:pt x="4929" y="2357"/>
                  </a:cubicBezTo>
                  <a:cubicBezTo>
                    <a:pt x="4929" y="1889"/>
                    <a:pt x="4550" y="1512"/>
                    <a:pt x="4084" y="1512"/>
                  </a:cubicBezTo>
                  <a:cubicBezTo>
                    <a:pt x="3988" y="1512"/>
                    <a:pt x="3890" y="1534"/>
                    <a:pt x="3810" y="1564"/>
                  </a:cubicBezTo>
                  <a:cubicBezTo>
                    <a:pt x="3766" y="696"/>
                    <a:pt x="3045" y="1"/>
                    <a:pt x="216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9" name="Google Shape;5233;p53">
              <a:extLst>
                <a:ext uri="{FF2B5EF4-FFF2-40B4-BE49-F238E27FC236}">
                  <a16:creationId xmlns:a16="http://schemas.microsoft.com/office/drawing/2014/main" id="{ED1F54CF-2989-8D44-749F-C154D46D826B}"/>
                </a:ext>
              </a:extLst>
            </p:cNvPr>
            <p:cNvSpPr/>
            <p:nvPr/>
          </p:nvSpPr>
          <p:spPr>
            <a:xfrm>
              <a:off x="7267000" y="1159750"/>
              <a:ext cx="166575" cy="81575"/>
            </a:xfrm>
            <a:custGeom>
              <a:avLst/>
              <a:gdLst/>
              <a:ahLst/>
              <a:cxnLst/>
              <a:rect l="l" t="t" r="r" b="b"/>
              <a:pathLst>
                <a:path w="6663" h="3263" extrusionOk="0">
                  <a:moveTo>
                    <a:pt x="3742" y="1"/>
                  </a:moveTo>
                  <a:cubicBezTo>
                    <a:pt x="2549" y="1"/>
                    <a:pt x="1578" y="934"/>
                    <a:pt x="1519" y="2113"/>
                  </a:cubicBezTo>
                  <a:cubicBezTo>
                    <a:pt x="1400" y="2069"/>
                    <a:pt x="1275" y="2046"/>
                    <a:pt x="1142" y="2046"/>
                  </a:cubicBezTo>
                  <a:cubicBezTo>
                    <a:pt x="511" y="2046"/>
                    <a:pt x="0" y="2551"/>
                    <a:pt x="0" y="3180"/>
                  </a:cubicBezTo>
                  <a:cubicBezTo>
                    <a:pt x="0" y="3209"/>
                    <a:pt x="0" y="3232"/>
                    <a:pt x="7" y="3262"/>
                  </a:cubicBezTo>
                  <a:lnTo>
                    <a:pt x="6610" y="3262"/>
                  </a:lnTo>
                  <a:cubicBezTo>
                    <a:pt x="6646" y="3164"/>
                    <a:pt x="6662" y="3061"/>
                    <a:pt x="6662" y="2951"/>
                  </a:cubicBezTo>
                  <a:cubicBezTo>
                    <a:pt x="6662" y="2520"/>
                    <a:pt x="6365" y="2165"/>
                    <a:pt x="5958" y="2076"/>
                  </a:cubicBezTo>
                  <a:cubicBezTo>
                    <a:pt x="5883" y="920"/>
                    <a:pt x="4921" y="1"/>
                    <a:pt x="3742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0" name="Google Shape;5234;p53">
              <a:extLst>
                <a:ext uri="{FF2B5EF4-FFF2-40B4-BE49-F238E27FC236}">
                  <a16:creationId xmlns:a16="http://schemas.microsoft.com/office/drawing/2014/main" id="{413BC678-1475-65F5-C7DD-B0EE5A45968F}"/>
                </a:ext>
              </a:extLst>
            </p:cNvPr>
            <p:cNvSpPr/>
            <p:nvPr/>
          </p:nvSpPr>
          <p:spPr>
            <a:xfrm>
              <a:off x="7225125" y="1603800"/>
              <a:ext cx="228450" cy="75025"/>
            </a:xfrm>
            <a:custGeom>
              <a:avLst/>
              <a:gdLst/>
              <a:ahLst/>
              <a:cxnLst/>
              <a:rect l="l" t="t" r="r" b="b"/>
              <a:pathLst>
                <a:path w="9138" h="3001" extrusionOk="0">
                  <a:moveTo>
                    <a:pt x="1104" y="1"/>
                  </a:moveTo>
                  <a:lnTo>
                    <a:pt x="0" y="1571"/>
                  </a:lnTo>
                  <a:cubicBezTo>
                    <a:pt x="75" y="1550"/>
                    <a:pt x="149" y="1534"/>
                    <a:pt x="229" y="1534"/>
                  </a:cubicBezTo>
                  <a:cubicBezTo>
                    <a:pt x="608" y="1534"/>
                    <a:pt x="912" y="1808"/>
                    <a:pt x="971" y="2172"/>
                  </a:cubicBezTo>
                  <a:cubicBezTo>
                    <a:pt x="1015" y="2149"/>
                    <a:pt x="1067" y="2135"/>
                    <a:pt x="1128" y="2135"/>
                  </a:cubicBezTo>
                  <a:cubicBezTo>
                    <a:pt x="1163" y="2135"/>
                    <a:pt x="1200" y="2142"/>
                    <a:pt x="1238" y="2156"/>
                  </a:cubicBezTo>
                  <a:cubicBezTo>
                    <a:pt x="1341" y="2030"/>
                    <a:pt x="1490" y="1957"/>
                    <a:pt x="1661" y="1957"/>
                  </a:cubicBezTo>
                  <a:cubicBezTo>
                    <a:pt x="1956" y="1957"/>
                    <a:pt x="2195" y="2201"/>
                    <a:pt x="2195" y="2498"/>
                  </a:cubicBezTo>
                  <a:lnTo>
                    <a:pt x="2195" y="2535"/>
                  </a:lnTo>
                  <a:cubicBezTo>
                    <a:pt x="2246" y="2498"/>
                    <a:pt x="2305" y="2467"/>
                    <a:pt x="2372" y="2467"/>
                  </a:cubicBezTo>
                  <a:cubicBezTo>
                    <a:pt x="2527" y="2467"/>
                    <a:pt x="2653" y="2594"/>
                    <a:pt x="2653" y="2750"/>
                  </a:cubicBezTo>
                  <a:cubicBezTo>
                    <a:pt x="2653" y="2860"/>
                    <a:pt x="2595" y="2957"/>
                    <a:pt x="2497" y="3001"/>
                  </a:cubicBezTo>
                  <a:lnTo>
                    <a:pt x="5188" y="3001"/>
                  </a:lnTo>
                  <a:cubicBezTo>
                    <a:pt x="5136" y="2973"/>
                    <a:pt x="5106" y="2912"/>
                    <a:pt x="5106" y="2853"/>
                  </a:cubicBezTo>
                  <a:cubicBezTo>
                    <a:pt x="5106" y="2750"/>
                    <a:pt x="5188" y="2668"/>
                    <a:pt x="5291" y="2668"/>
                  </a:cubicBezTo>
                  <a:cubicBezTo>
                    <a:pt x="5335" y="2668"/>
                    <a:pt x="5380" y="2683"/>
                    <a:pt x="5410" y="2706"/>
                  </a:cubicBezTo>
                  <a:lnTo>
                    <a:pt x="5410" y="2683"/>
                  </a:lnTo>
                  <a:cubicBezTo>
                    <a:pt x="5410" y="2483"/>
                    <a:pt x="5573" y="2327"/>
                    <a:pt x="5765" y="2327"/>
                  </a:cubicBezTo>
                  <a:cubicBezTo>
                    <a:pt x="5876" y="2327"/>
                    <a:pt x="5981" y="2379"/>
                    <a:pt x="6039" y="2453"/>
                  </a:cubicBezTo>
                  <a:cubicBezTo>
                    <a:pt x="6070" y="2446"/>
                    <a:pt x="6091" y="2446"/>
                    <a:pt x="6121" y="2446"/>
                  </a:cubicBezTo>
                  <a:cubicBezTo>
                    <a:pt x="6159" y="2446"/>
                    <a:pt x="6187" y="2453"/>
                    <a:pt x="6224" y="2467"/>
                  </a:cubicBezTo>
                  <a:cubicBezTo>
                    <a:pt x="6240" y="2357"/>
                    <a:pt x="6292" y="2261"/>
                    <a:pt x="6365" y="2186"/>
                  </a:cubicBezTo>
                  <a:lnTo>
                    <a:pt x="6388" y="734"/>
                  </a:lnTo>
                  <a:cubicBezTo>
                    <a:pt x="6402" y="734"/>
                    <a:pt x="6409" y="1505"/>
                    <a:pt x="6418" y="2142"/>
                  </a:cubicBezTo>
                  <a:cubicBezTo>
                    <a:pt x="6498" y="2083"/>
                    <a:pt x="6603" y="2046"/>
                    <a:pt x="6713" y="2046"/>
                  </a:cubicBezTo>
                  <a:cubicBezTo>
                    <a:pt x="6774" y="2046"/>
                    <a:pt x="6833" y="2060"/>
                    <a:pt x="6884" y="2074"/>
                  </a:cubicBezTo>
                  <a:cubicBezTo>
                    <a:pt x="7076" y="2135"/>
                    <a:pt x="7218" y="2306"/>
                    <a:pt x="7218" y="2512"/>
                  </a:cubicBezTo>
                  <a:lnTo>
                    <a:pt x="7218" y="2549"/>
                  </a:lnTo>
                  <a:cubicBezTo>
                    <a:pt x="7233" y="2542"/>
                    <a:pt x="7247" y="2542"/>
                    <a:pt x="7270" y="2542"/>
                  </a:cubicBezTo>
                  <a:lnTo>
                    <a:pt x="7284" y="2542"/>
                  </a:lnTo>
                  <a:cubicBezTo>
                    <a:pt x="7441" y="2386"/>
                    <a:pt x="7626" y="2245"/>
                    <a:pt x="7832" y="2112"/>
                  </a:cubicBezTo>
                  <a:cubicBezTo>
                    <a:pt x="7841" y="1934"/>
                    <a:pt x="7900" y="1756"/>
                    <a:pt x="8010" y="1601"/>
                  </a:cubicBezTo>
                  <a:lnTo>
                    <a:pt x="9137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1" name="Google Shape;5235;p53">
              <a:extLst>
                <a:ext uri="{FF2B5EF4-FFF2-40B4-BE49-F238E27FC236}">
                  <a16:creationId xmlns:a16="http://schemas.microsoft.com/office/drawing/2014/main" id="{FAB6568E-7192-B622-DB36-25B36A9044A6}"/>
                </a:ext>
              </a:extLst>
            </p:cNvPr>
            <p:cNvSpPr/>
            <p:nvPr/>
          </p:nvSpPr>
          <p:spPr>
            <a:xfrm>
              <a:off x="7415350" y="1386900"/>
              <a:ext cx="497800" cy="293450"/>
            </a:xfrm>
            <a:custGeom>
              <a:avLst/>
              <a:gdLst/>
              <a:ahLst/>
              <a:cxnLst/>
              <a:rect l="l" t="t" r="r" b="b"/>
              <a:pathLst>
                <a:path w="19912" h="11738" extrusionOk="0">
                  <a:moveTo>
                    <a:pt x="8752" y="0"/>
                  </a:moveTo>
                  <a:cubicBezTo>
                    <a:pt x="8604" y="0"/>
                    <a:pt x="8471" y="59"/>
                    <a:pt x="8368" y="155"/>
                  </a:cubicBezTo>
                  <a:cubicBezTo>
                    <a:pt x="8270" y="251"/>
                    <a:pt x="8211" y="391"/>
                    <a:pt x="8211" y="541"/>
                  </a:cubicBezTo>
                  <a:lnTo>
                    <a:pt x="8211" y="770"/>
                  </a:lnTo>
                  <a:lnTo>
                    <a:pt x="8211" y="3512"/>
                  </a:lnTo>
                  <a:lnTo>
                    <a:pt x="8211" y="3742"/>
                  </a:lnTo>
                  <a:cubicBezTo>
                    <a:pt x="8211" y="3890"/>
                    <a:pt x="8153" y="4023"/>
                    <a:pt x="8048" y="4126"/>
                  </a:cubicBezTo>
                  <a:cubicBezTo>
                    <a:pt x="7952" y="4224"/>
                    <a:pt x="7818" y="4283"/>
                    <a:pt x="7664" y="4283"/>
                  </a:cubicBezTo>
                  <a:cubicBezTo>
                    <a:pt x="7367" y="4283"/>
                    <a:pt x="7123" y="4037"/>
                    <a:pt x="7123" y="3742"/>
                  </a:cubicBezTo>
                  <a:lnTo>
                    <a:pt x="7123" y="770"/>
                  </a:lnTo>
                  <a:lnTo>
                    <a:pt x="7123" y="756"/>
                  </a:lnTo>
                  <a:lnTo>
                    <a:pt x="401" y="10277"/>
                  </a:lnTo>
                  <a:cubicBezTo>
                    <a:pt x="1" y="10848"/>
                    <a:pt x="328" y="11693"/>
                    <a:pt x="979" y="11737"/>
                  </a:cubicBezTo>
                  <a:lnTo>
                    <a:pt x="18933" y="11737"/>
                  </a:lnTo>
                  <a:cubicBezTo>
                    <a:pt x="19586" y="11693"/>
                    <a:pt x="19911" y="10839"/>
                    <a:pt x="19511" y="10277"/>
                  </a:cubicBezTo>
                  <a:lnTo>
                    <a:pt x="12561" y="496"/>
                  </a:lnTo>
                  <a:lnTo>
                    <a:pt x="12561" y="3393"/>
                  </a:lnTo>
                  <a:cubicBezTo>
                    <a:pt x="12561" y="3541"/>
                    <a:pt x="12494" y="3674"/>
                    <a:pt x="12398" y="3770"/>
                  </a:cubicBezTo>
                  <a:cubicBezTo>
                    <a:pt x="12302" y="3875"/>
                    <a:pt x="12161" y="3934"/>
                    <a:pt x="12014" y="3934"/>
                  </a:cubicBezTo>
                  <a:cubicBezTo>
                    <a:pt x="11717" y="3934"/>
                    <a:pt x="11471" y="3690"/>
                    <a:pt x="11471" y="3393"/>
                  </a:cubicBezTo>
                  <a:lnTo>
                    <a:pt x="11471" y="1592"/>
                  </a:lnTo>
                  <a:cubicBezTo>
                    <a:pt x="11471" y="1290"/>
                    <a:pt x="11227" y="1044"/>
                    <a:pt x="10923" y="1044"/>
                  </a:cubicBezTo>
                  <a:cubicBezTo>
                    <a:pt x="10776" y="1044"/>
                    <a:pt x="10642" y="1112"/>
                    <a:pt x="10537" y="1208"/>
                  </a:cubicBezTo>
                  <a:cubicBezTo>
                    <a:pt x="10441" y="1304"/>
                    <a:pt x="10383" y="1444"/>
                    <a:pt x="10383" y="1592"/>
                  </a:cubicBezTo>
                  <a:lnTo>
                    <a:pt x="10383" y="2734"/>
                  </a:lnTo>
                  <a:cubicBezTo>
                    <a:pt x="10383" y="2890"/>
                    <a:pt x="10324" y="3023"/>
                    <a:pt x="10219" y="3119"/>
                  </a:cubicBezTo>
                  <a:cubicBezTo>
                    <a:pt x="10123" y="3223"/>
                    <a:pt x="9990" y="3281"/>
                    <a:pt x="9835" y="3281"/>
                  </a:cubicBezTo>
                  <a:cubicBezTo>
                    <a:pt x="9538" y="3281"/>
                    <a:pt x="9293" y="3038"/>
                    <a:pt x="9293" y="2734"/>
                  </a:cubicBezTo>
                  <a:lnTo>
                    <a:pt x="9302" y="2734"/>
                  </a:lnTo>
                  <a:lnTo>
                    <a:pt x="9302" y="541"/>
                  </a:lnTo>
                  <a:cubicBezTo>
                    <a:pt x="9302" y="244"/>
                    <a:pt x="9056" y="0"/>
                    <a:pt x="875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2" name="Google Shape;5236;p53">
              <a:extLst>
                <a:ext uri="{FF2B5EF4-FFF2-40B4-BE49-F238E27FC236}">
                  <a16:creationId xmlns:a16="http://schemas.microsoft.com/office/drawing/2014/main" id="{433F1AD4-C95D-A70A-AD87-BEE935F5B571}"/>
                </a:ext>
              </a:extLst>
            </p:cNvPr>
            <p:cNvSpPr/>
            <p:nvPr/>
          </p:nvSpPr>
          <p:spPr>
            <a:xfrm>
              <a:off x="7593425" y="1342600"/>
              <a:ext cx="135975" cy="151375"/>
            </a:xfrm>
            <a:custGeom>
              <a:avLst/>
              <a:gdLst/>
              <a:ahLst/>
              <a:cxnLst/>
              <a:rect l="l" t="t" r="r" b="b"/>
              <a:pathLst>
                <a:path w="5439" h="6055" extrusionOk="0">
                  <a:moveTo>
                    <a:pt x="2815" y="1"/>
                  </a:moveTo>
                  <a:cubicBezTo>
                    <a:pt x="2163" y="1"/>
                    <a:pt x="1547" y="334"/>
                    <a:pt x="1147" y="897"/>
                  </a:cubicBezTo>
                  <a:lnTo>
                    <a:pt x="0" y="2528"/>
                  </a:lnTo>
                  <a:lnTo>
                    <a:pt x="0" y="2542"/>
                  </a:lnTo>
                  <a:lnTo>
                    <a:pt x="0" y="5514"/>
                  </a:lnTo>
                  <a:cubicBezTo>
                    <a:pt x="0" y="5809"/>
                    <a:pt x="244" y="6055"/>
                    <a:pt x="541" y="6055"/>
                  </a:cubicBezTo>
                  <a:cubicBezTo>
                    <a:pt x="695" y="6055"/>
                    <a:pt x="829" y="5996"/>
                    <a:pt x="925" y="5898"/>
                  </a:cubicBezTo>
                  <a:cubicBezTo>
                    <a:pt x="1030" y="5795"/>
                    <a:pt x="1088" y="5662"/>
                    <a:pt x="1088" y="5514"/>
                  </a:cubicBezTo>
                  <a:lnTo>
                    <a:pt x="1088" y="5284"/>
                  </a:lnTo>
                  <a:lnTo>
                    <a:pt x="1088" y="2542"/>
                  </a:lnTo>
                  <a:lnTo>
                    <a:pt x="1088" y="2313"/>
                  </a:lnTo>
                  <a:cubicBezTo>
                    <a:pt x="1088" y="2163"/>
                    <a:pt x="1147" y="2023"/>
                    <a:pt x="1245" y="1927"/>
                  </a:cubicBezTo>
                  <a:cubicBezTo>
                    <a:pt x="1348" y="1831"/>
                    <a:pt x="1481" y="1772"/>
                    <a:pt x="1629" y="1772"/>
                  </a:cubicBezTo>
                  <a:cubicBezTo>
                    <a:pt x="1933" y="1772"/>
                    <a:pt x="2179" y="2016"/>
                    <a:pt x="2179" y="2313"/>
                  </a:cubicBezTo>
                  <a:lnTo>
                    <a:pt x="2179" y="4506"/>
                  </a:lnTo>
                  <a:lnTo>
                    <a:pt x="2170" y="4506"/>
                  </a:lnTo>
                  <a:cubicBezTo>
                    <a:pt x="2170" y="4810"/>
                    <a:pt x="2415" y="5053"/>
                    <a:pt x="2712" y="5053"/>
                  </a:cubicBezTo>
                  <a:cubicBezTo>
                    <a:pt x="2867" y="5053"/>
                    <a:pt x="3000" y="4995"/>
                    <a:pt x="3096" y="4891"/>
                  </a:cubicBezTo>
                  <a:cubicBezTo>
                    <a:pt x="3201" y="4795"/>
                    <a:pt x="3260" y="4662"/>
                    <a:pt x="3260" y="4506"/>
                  </a:cubicBezTo>
                  <a:lnTo>
                    <a:pt x="3260" y="3364"/>
                  </a:lnTo>
                  <a:cubicBezTo>
                    <a:pt x="3260" y="3216"/>
                    <a:pt x="3318" y="3076"/>
                    <a:pt x="3414" y="2980"/>
                  </a:cubicBezTo>
                  <a:cubicBezTo>
                    <a:pt x="3519" y="2884"/>
                    <a:pt x="3653" y="2816"/>
                    <a:pt x="3800" y="2816"/>
                  </a:cubicBezTo>
                  <a:cubicBezTo>
                    <a:pt x="4104" y="2816"/>
                    <a:pt x="4348" y="3062"/>
                    <a:pt x="4348" y="3364"/>
                  </a:cubicBezTo>
                  <a:lnTo>
                    <a:pt x="4348" y="5165"/>
                  </a:lnTo>
                  <a:cubicBezTo>
                    <a:pt x="4348" y="5462"/>
                    <a:pt x="4594" y="5706"/>
                    <a:pt x="4891" y="5706"/>
                  </a:cubicBezTo>
                  <a:cubicBezTo>
                    <a:pt x="5038" y="5706"/>
                    <a:pt x="5179" y="5647"/>
                    <a:pt x="5275" y="5542"/>
                  </a:cubicBezTo>
                  <a:cubicBezTo>
                    <a:pt x="5371" y="5446"/>
                    <a:pt x="5438" y="5313"/>
                    <a:pt x="5438" y="5165"/>
                  </a:cubicBezTo>
                  <a:lnTo>
                    <a:pt x="5438" y="2268"/>
                  </a:lnTo>
                  <a:lnTo>
                    <a:pt x="4437" y="867"/>
                  </a:lnTo>
                  <a:cubicBezTo>
                    <a:pt x="4053" y="326"/>
                    <a:pt x="3452" y="1"/>
                    <a:pt x="281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3" name="Google Shape;5237;p53">
              <a:extLst>
                <a:ext uri="{FF2B5EF4-FFF2-40B4-BE49-F238E27FC236}">
                  <a16:creationId xmlns:a16="http://schemas.microsoft.com/office/drawing/2014/main" id="{245543EF-1213-AFE0-F348-50B3FE2783A6}"/>
                </a:ext>
              </a:extLst>
            </p:cNvPr>
            <p:cNvSpPr/>
            <p:nvPr/>
          </p:nvSpPr>
          <p:spPr>
            <a:xfrm>
              <a:off x="7437400" y="1679925"/>
              <a:ext cx="3375" cy="425"/>
            </a:xfrm>
            <a:custGeom>
              <a:avLst/>
              <a:gdLst/>
              <a:ahLst/>
              <a:cxnLst/>
              <a:rect l="l" t="t" r="r" b="b"/>
              <a:pathLst>
                <a:path w="135" h="17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8"/>
                    <a:pt x="61" y="16"/>
                    <a:pt x="97" y="16"/>
                  </a:cubicBezTo>
                  <a:lnTo>
                    <a:pt x="134" y="16"/>
                  </a:lnTo>
                  <a:lnTo>
                    <a:pt x="97" y="16"/>
                  </a:lnTo>
                  <a:cubicBezTo>
                    <a:pt x="61" y="16"/>
                    <a:pt x="31" y="8"/>
                    <a:pt x="1" y="0"/>
                  </a:cubicBezTo>
                  <a:close/>
                </a:path>
              </a:pathLst>
            </a:custGeom>
            <a:solidFill>
              <a:srgbClr val="67717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4" name="Google Shape;5238;p53">
              <a:extLst>
                <a:ext uri="{FF2B5EF4-FFF2-40B4-BE49-F238E27FC236}">
                  <a16:creationId xmlns:a16="http://schemas.microsoft.com/office/drawing/2014/main" id="{1B868155-5175-E54E-FBAA-CC618A89A433}"/>
                </a:ext>
              </a:extLst>
            </p:cNvPr>
            <p:cNvSpPr/>
            <p:nvPr/>
          </p:nvSpPr>
          <p:spPr>
            <a:xfrm>
              <a:off x="7420900" y="1576550"/>
              <a:ext cx="371275" cy="103800"/>
            </a:xfrm>
            <a:custGeom>
              <a:avLst/>
              <a:gdLst/>
              <a:ahLst/>
              <a:cxnLst/>
              <a:rect l="l" t="t" r="r" b="b"/>
              <a:pathLst>
                <a:path w="14851" h="4152" extrusionOk="0">
                  <a:moveTo>
                    <a:pt x="661" y="4135"/>
                  </a:moveTo>
                  <a:cubicBezTo>
                    <a:pt x="691" y="4143"/>
                    <a:pt x="721" y="4151"/>
                    <a:pt x="757" y="4151"/>
                  </a:cubicBezTo>
                  <a:lnTo>
                    <a:pt x="6101" y="4151"/>
                  </a:lnTo>
                  <a:cubicBezTo>
                    <a:pt x="6101" y="4151"/>
                    <a:pt x="6101" y="4143"/>
                    <a:pt x="6108" y="4135"/>
                  </a:cubicBezTo>
                  <a:close/>
                  <a:moveTo>
                    <a:pt x="2076" y="1"/>
                  </a:moveTo>
                  <a:lnTo>
                    <a:pt x="179" y="2691"/>
                  </a:lnTo>
                  <a:cubicBezTo>
                    <a:pt x="69" y="2846"/>
                    <a:pt x="10" y="3024"/>
                    <a:pt x="1" y="3202"/>
                  </a:cubicBezTo>
                  <a:cubicBezTo>
                    <a:pt x="862" y="2661"/>
                    <a:pt x="2121" y="2313"/>
                    <a:pt x="3522" y="2313"/>
                  </a:cubicBezTo>
                  <a:cubicBezTo>
                    <a:pt x="4811" y="2313"/>
                    <a:pt x="5982" y="2602"/>
                    <a:pt x="6826" y="3068"/>
                  </a:cubicBezTo>
                  <a:cubicBezTo>
                    <a:pt x="7664" y="2231"/>
                    <a:pt x="8982" y="1683"/>
                    <a:pt x="10472" y="1683"/>
                  </a:cubicBezTo>
                  <a:cubicBezTo>
                    <a:pt x="12524" y="1683"/>
                    <a:pt x="14265" y="2720"/>
                    <a:pt x="14843" y="4151"/>
                  </a:cubicBezTo>
                  <a:lnTo>
                    <a:pt x="14850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5" name="Google Shape;5239;p53">
              <a:extLst>
                <a:ext uri="{FF2B5EF4-FFF2-40B4-BE49-F238E27FC236}">
                  <a16:creationId xmlns:a16="http://schemas.microsoft.com/office/drawing/2014/main" id="{3DD01647-DBCD-B9E8-66EC-00A3A47A410F}"/>
                </a:ext>
              </a:extLst>
            </p:cNvPr>
            <p:cNvSpPr/>
            <p:nvPr/>
          </p:nvSpPr>
          <p:spPr>
            <a:xfrm>
              <a:off x="7697125" y="1146225"/>
              <a:ext cx="96725" cy="77300"/>
            </a:xfrm>
            <a:custGeom>
              <a:avLst/>
              <a:gdLst/>
              <a:ahLst/>
              <a:cxnLst/>
              <a:rect l="l" t="t" r="r" b="b"/>
              <a:pathLst>
                <a:path w="3869" h="3092" extrusionOk="0">
                  <a:moveTo>
                    <a:pt x="3647" y="1"/>
                  </a:moveTo>
                  <a:cubicBezTo>
                    <a:pt x="2706" y="1"/>
                    <a:pt x="1898" y="579"/>
                    <a:pt x="1557" y="1393"/>
                  </a:cubicBezTo>
                  <a:cubicBezTo>
                    <a:pt x="1505" y="1386"/>
                    <a:pt x="1445" y="1386"/>
                    <a:pt x="1393" y="1386"/>
                  </a:cubicBezTo>
                  <a:cubicBezTo>
                    <a:pt x="623" y="1386"/>
                    <a:pt x="1" y="2009"/>
                    <a:pt x="1" y="2772"/>
                  </a:cubicBezTo>
                  <a:cubicBezTo>
                    <a:pt x="1" y="2884"/>
                    <a:pt x="15" y="2987"/>
                    <a:pt x="38" y="3092"/>
                  </a:cubicBezTo>
                  <a:lnTo>
                    <a:pt x="3869" y="3092"/>
                  </a:lnTo>
                  <a:lnTo>
                    <a:pt x="3869" y="2217"/>
                  </a:lnTo>
                  <a:lnTo>
                    <a:pt x="3869" y="8"/>
                  </a:lnTo>
                  <a:cubicBezTo>
                    <a:pt x="3794" y="1"/>
                    <a:pt x="3721" y="1"/>
                    <a:pt x="3647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6" name="Google Shape;5240;p53">
              <a:extLst>
                <a:ext uri="{FF2B5EF4-FFF2-40B4-BE49-F238E27FC236}">
                  <a16:creationId xmlns:a16="http://schemas.microsoft.com/office/drawing/2014/main" id="{47D00275-F084-FC0F-5CF1-30B18E5735F6}"/>
                </a:ext>
              </a:extLst>
            </p:cNvPr>
            <p:cNvSpPr/>
            <p:nvPr/>
          </p:nvSpPr>
          <p:spPr>
            <a:xfrm>
              <a:off x="7397400" y="1634350"/>
              <a:ext cx="223250" cy="45600"/>
            </a:xfrm>
            <a:custGeom>
              <a:avLst/>
              <a:gdLst/>
              <a:ahLst/>
              <a:cxnLst/>
              <a:rect l="l" t="t" r="r" b="b"/>
              <a:pathLst>
                <a:path w="8930" h="1824" extrusionOk="0">
                  <a:moveTo>
                    <a:pt x="4462" y="1"/>
                  </a:moveTo>
                  <a:cubicBezTo>
                    <a:pt x="2364" y="1"/>
                    <a:pt x="585" y="772"/>
                    <a:pt x="0" y="1823"/>
                  </a:cubicBezTo>
                  <a:lnTo>
                    <a:pt x="8929" y="1823"/>
                  </a:lnTo>
                  <a:cubicBezTo>
                    <a:pt x="8344" y="772"/>
                    <a:pt x="6566" y="1"/>
                    <a:pt x="4462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7" name="Google Shape;5241;p53">
              <a:extLst>
                <a:ext uri="{FF2B5EF4-FFF2-40B4-BE49-F238E27FC236}">
                  <a16:creationId xmlns:a16="http://schemas.microsoft.com/office/drawing/2014/main" id="{10DE1520-B0DF-8276-D4C7-0D8E235737EF}"/>
                </a:ext>
              </a:extLst>
            </p:cNvPr>
            <p:cNvSpPr/>
            <p:nvPr/>
          </p:nvSpPr>
          <p:spPr>
            <a:xfrm>
              <a:off x="7573175" y="1618625"/>
              <a:ext cx="218825" cy="62075"/>
            </a:xfrm>
            <a:custGeom>
              <a:avLst/>
              <a:gdLst/>
              <a:ahLst/>
              <a:cxnLst/>
              <a:rect l="l" t="t" r="r" b="b"/>
              <a:pathLst>
                <a:path w="8753" h="2483" extrusionOk="0">
                  <a:moveTo>
                    <a:pt x="4381" y="0"/>
                  </a:moveTo>
                  <a:cubicBezTo>
                    <a:pt x="2322" y="0"/>
                    <a:pt x="572" y="1046"/>
                    <a:pt x="1" y="2483"/>
                  </a:cubicBezTo>
                  <a:lnTo>
                    <a:pt x="8752" y="2483"/>
                  </a:lnTo>
                  <a:cubicBezTo>
                    <a:pt x="8181" y="1046"/>
                    <a:pt x="6440" y="0"/>
                    <a:pt x="438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8" name="Google Shape;5242;p53">
              <a:extLst>
                <a:ext uri="{FF2B5EF4-FFF2-40B4-BE49-F238E27FC236}">
                  <a16:creationId xmlns:a16="http://schemas.microsoft.com/office/drawing/2014/main" id="{110A8DB4-0060-55D7-9C84-754B3187D12D}"/>
                </a:ext>
              </a:extLst>
            </p:cNvPr>
            <p:cNvSpPr/>
            <p:nvPr/>
          </p:nvSpPr>
          <p:spPr>
            <a:xfrm>
              <a:off x="7615425" y="1633075"/>
              <a:ext cx="37450" cy="20775"/>
            </a:xfrm>
            <a:custGeom>
              <a:avLst/>
              <a:gdLst/>
              <a:ahLst/>
              <a:cxnLst/>
              <a:rect l="l" t="t" r="r" b="b"/>
              <a:pathLst>
                <a:path w="1498" h="831" extrusionOk="0">
                  <a:moveTo>
                    <a:pt x="978" y="0"/>
                  </a:moveTo>
                  <a:cubicBezTo>
                    <a:pt x="882" y="0"/>
                    <a:pt x="772" y="14"/>
                    <a:pt x="660" y="52"/>
                  </a:cubicBezTo>
                  <a:cubicBezTo>
                    <a:pt x="246" y="171"/>
                    <a:pt x="0" y="475"/>
                    <a:pt x="89" y="660"/>
                  </a:cubicBezTo>
                  <a:cubicBezTo>
                    <a:pt x="143" y="779"/>
                    <a:pt x="290" y="831"/>
                    <a:pt x="475" y="831"/>
                  </a:cubicBezTo>
                  <a:cubicBezTo>
                    <a:pt x="594" y="831"/>
                    <a:pt x="735" y="807"/>
                    <a:pt x="868" y="770"/>
                  </a:cubicBezTo>
                  <a:cubicBezTo>
                    <a:pt x="1224" y="667"/>
                    <a:pt x="1498" y="459"/>
                    <a:pt x="1467" y="260"/>
                  </a:cubicBezTo>
                  <a:cubicBezTo>
                    <a:pt x="1446" y="112"/>
                    <a:pt x="1245" y="0"/>
                    <a:pt x="978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9" name="Google Shape;5243;p53">
              <a:extLst>
                <a:ext uri="{FF2B5EF4-FFF2-40B4-BE49-F238E27FC236}">
                  <a16:creationId xmlns:a16="http://schemas.microsoft.com/office/drawing/2014/main" id="{6B07868E-5DE2-8C7E-1185-004D799FBFF0}"/>
                </a:ext>
              </a:extLst>
            </p:cNvPr>
            <p:cNvSpPr/>
            <p:nvPr/>
          </p:nvSpPr>
          <p:spPr>
            <a:xfrm>
              <a:off x="7658600" y="1636225"/>
              <a:ext cx="19500" cy="10025"/>
            </a:xfrm>
            <a:custGeom>
              <a:avLst/>
              <a:gdLst/>
              <a:ahLst/>
              <a:cxnLst/>
              <a:rect l="l" t="t" r="r" b="b"/>
              <a:pathLst>
                <a:path w="780" h="401" extrusionOk="0">
                  <a:moveTo>
                    <a:pt x="393" y="0"/>
                  </a:moveTo>
                  <a:cubicBezTo>
                    <a:pt x="171" y="0"/>
                    <a:pt x="0" y="103"/>
                    <a:pt x="16" y="215"/>
                  </a:cubicBezTo>
                  <a:cubicBezTo>
                    <a:pt x="23" y="326"/>
                    <a:pt x="185" y="400"/>
                    <a:pt x="386" y="400"/>
                  </a:cubicBezTo>
                  <a:lnTo>
                    <a:pt x="393" y="400"/>
                  </a:lnTo>
                  <a:cubicBezTo>
                    <a:pt x="594" y="400"/>
                    <a:pt x="763" y="319"/>
                    <a:pt x="772" y="215"/>
                  </a:cubicBezTo>
                  <a:cubicBezTo>
                    <a:pt x="779" y="103"/>
                    <a:pt x="608" y="0"/>
                    <a:pt x="393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0" name="Google Shape;5244;p53">
              <a:extLst>
                <a:ext uri="{FF2B5EF4-FFF2-40B4-BE49-F238E27FC236}">
                  <a16:creationId xmlns:a16="http://schemas.microsoft.com/office/drawing/2014/main" id="{5B6393E1-85DB-19CF-0A1E-17CB21C6B2F6}"/>
                </a:ext>
              </a:extLst>
            </p:cNvPr>
            <p:cNvSpPr/>
            <p:nvPr/>
          </p:nvSpPr>
          <p:spPr>
            <a:xfrm>
              <a:off x="7362400" y="1596950"/>
              <a:ext cx="43375" cy="54675"/>
            </a:xfrm>
            <a:custGeom>
              <a:avLst/>
              <a:gdLst/>
              <a:ahLst/>
              <a:cxnLst/>
              <a:rect l="l" t="t" r="r" b="b"/>
              <a:pathLst>
                <a:path w="1735" h="2187" extrusionOk="0">
                  <a:moveTo>
                    <a:pt x="867" y="1"/>
                  </a:moveTo>
                  <a:cubicBezTo>
                    <a:pt x="490" y="1"/>
                    <a:pt x="178" y="303"/>
                    <a:pt x="178" y="682"/>
                  </a:cubicBezTo>
                  <a:cubicBezTo>
                    <a:pt x="178" y="712"/>
                    <a:pt x="186" y="741"/>
                    <a:pt x="193" y="778"/>
                  </a:cubicBezTo>
                  <a:cubicBezTo>
                    <a:pt x="66" y="926"/>
                    <a:pt x="1" y="1112"/>
                    <a:pt x="1" y="1319"/>
                  </a:cubicBezTo>
                  <a:cubicBezTo>
                    <a:pt x="1" y="1801"/>
                    <a:pt x="385" y="2187"/>
                    <a:pt x="867" y="2187"/>
                  </a:cubicBezTo>
                  <a:cubicBezTo>
                    <a:pt x="1342" y="2187"/>
                    <a:pt x="1735" y="1801"/>
                    <a:pt x="1735" y="1319"/>
                  </a:cubicBezTo>
                  <a:cubicBezTo>
                    <a:pt x="1735" y="1112"/>
                    <a:pt x="1660" y="926"/>
                    <a:pt x="1541" y="778"/>
                  </a:cubicBezTo>
                  <a:cubicBezTo>
                    <a:pt x="1541" y="741"/>
                    <a:pt x="1550" y="712"/>
                    <a:pt x="1550" y="682"/>
                  </a:cubicBezTo>
                  <a:cubicBezTo>
                    <a:pt x="1550" y="303"/>
                    <a:pt x="1245" y="1"/>
                    <a:pt x="86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1" name="Google Shape;5245;p53">
              <a:extLst>
                <a:ext uri="{FF2B5EF4-FFF2-40B4-BE49-F238E27FC236}">
                  <a16:creationId xmlns:a16="http://schemas.microsoft.com/office/drawing/2014/main" id="{B55437D0-D18D-F04F-EEF7-7A47F6015632}"/>
                </a:ext>
              </a:extLst>
            </p:cNvPr>
            <p:cNvSpPr/>
            <p:nvPr/>
          </p:nvSpPr>
          <p:spPr>
            <a:xfrm>
              <a:off x="7383875" y="1622125"/>
              <a:ext cx="1900" cy="57100"/>
            </a:xfrm>
            <a:custGeom>
              <a:avLst/>
              <a:gdLst/>
              <a:ahLst/>
              <a:cxnLst/>
              <a:rect l="l" t="t" r="r" b="b"/>
              <a:pathLst>
                <a:path w="76" h="2284" extrusionOk="0">
                  <a:moveTo>
                    <a:pt x="38" y="1"/>
                  </a:moveTo>
                  <a:lnTo>
                    <a:pt x="1" y="2247"/>
                  </a:lnTo>
                  <a:cubicBezTo>
                    <a:pt x="1" y="2268"/>
                    <a:pt x="15" y="2284"/>
                    <a:pt x="38" y="2284"/>
                  </a:cubicBezTo>
                  <a:cubicBezTo>
                    <a:pt x="59" y="2284"/>
                    <a:pt x="75" y="2268"/>
                    <a:pt x="75" y="2247"/>
                  </a:cubicBezTo>
                  <a:cubicBezTo>
                    <a:pt x="75" y="2247"/>
                    <a:pt x="59" y="1"/>
                    <a:pt x="38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2" name="Google Shape;5246;p53">
              <a:extLst>
                <a:ext uri="{FF2B5EF4-FFF2-40B4-BE49-F238E27FC236}">
                  <a16:creationId xmlns:a16="http://schemas.microsoft.com/office/drawing/2014/main" id="{06239939-D5B0-A7D9-6122-A87113A6627A}"/>
                </a:ext>
              </a:extLst>
            </p:cNvPr>
            <p:cNvSpPr/>
            <p:nvPr/>
          </p:nvSpPr>
          <p:spPr>
            <a:xfrm>
              <a:off x="7373875" y="1635650"/>
              <a:ext cx="10950" cy="8900"/>
            </a:xfrm>
            <a:custGeom>
              <a:avLst/>
              <a:gdLst/>
              <a:ahLst/>
              <a:cxnLst/>
              <a:rect l="l" t="t" r="r" b="b"/>
              <a:pathLst>
                <a:path w="438" h="356" extrusionOk="0">
                  <a:moveTo>
                    <a:pt x="0" y="0"/>
                  </a:moveTo>
                  <a:cubicBezTo>
                    <a:pt x="205" y="342"/>
                    <a:pt x="404" y="356"/>
                    <a:pt x="434" y="356"/>
                  </a:cubicBezTo>
                  <a:cubicBezTo>
                    <a:pt x="437" y="356"/>
                    <a:pt x="438" y="356"/>
                    <a:pt x="438" y="356"/>
                  </a:cubicBezTo>
                  <a:lnTo>
                    <a:pt x="438" y="311"/>
                  </a:lnTo>
                  <a:cubicBezTo>
                    <a:pt x="438" y="311"/>
                    <a:pt x="434" y="314"/>
                    <a:pt x="422" y="314"/>
                  </a:cubicBezTo>
                  <a:cubicBezTo>
                    <a:pt x="396" y="314"/>
                    <a:pt x="334" y="300"/>
                    <a:pt x="201" y="208"/>
                  </a:cubicBezTo>
                  <a:cubicBezTo>
                    <a:pt x="82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3" name="Google Shape;5247;p53">
              <a:extLst>
                <a:ext uri="{FF2B5EF4-FFF2-40B4-BE49-F238E27FC236}">
                  <a16:creationId xmlns:a16="http://schemas.microsoft.com/office/drawing/2014/main" id="{F8B59BCF-2F46-0D06-1E9F-C45EBA6A4858}"/>
                </a:ext>
              </a:extLst>
            </p:cNvPr>
            <p:cNvSpPr/>
            <p:nvPr/>
          </p:nvSpPr>
          <p:spPr>
            <a:xfrm>
              <a:off x="7384800" y="1633250"/>
              <a:ext cx="9450" cy="7625"/>
            </a:xfrm>
            <a:custGeom>
              <a:avLst/>
              <a:gdLst/>
              <a:ahLst/>
              <a:cxnLst/>
              <a:rect l="l" t="t" r="r" b="b"/>
              <a:pathLst>
                <a:path w="378" h="305" extrusionOk="0">
                  <a:moveTo>
                    <a:pt x="378" y="0"/>
                  </a:moveTo>
                  <a:cubicBezTo>
                    <a:pt x="378" y="0"/>
                    <a:pt x="305" y="105"/>
                    <a:pt x="209" y="171"/>
                  </a:cubicBezTo>
                  <a:cubicBezTo>
                    <a:pt x="96" y="250"/>
                    <a:pt x="41" y="263"/>
                    <a:pt x="17" y="263"/>
                  </a:cubicBezTo>
                  <a:cubicBezTo>
                    <a:pt x="5" y="263"/>
                    <a:pt x="1" y="260"/>
                    <a:pt x="1" y="260"/>
                  </a:cubicBezTo>
                  <a:lnTo>
                    <a:pt x="1" y="260"/>
                  </a:lnTo>
                  <a:lnTo>
                    <a:pt x="8" y="304"/>
                  </a:lnTo>
                  <a:cubicBezTo>
                    <a:pt x="8" y="304"/>
                    <a:pt x="8" y="304"/>
                    <a:pt x="9" y="304"/>
                  </a:cubicBezTo>
                  <a:cubicBezTo>
                    <a:pt x="24" y="304"/>
                    <a:pt x="194" y="298"/>
                    <a:pt x="378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4" name="Google Shape;5248;p53">
              <a:extLst>
                <a:ext uri="{FF2B5EF4-FFF2-40B4-BE49-F238E27FC236}">
                  <a16:creationId xmlns:a16="http://schemas.microsoft.com/office/drawing/2014/main" id="{50D37DDE-2F69-6C67-4DC6-249ECC68DA76}"/>
                </a:ext>
              </a:extLst>
            </p:cNvPr>
            <p:cNvSpPr/>
            <p:nvPr/>
          </p:nvSpPr>
          <p:spPr>
            <a:xfrm>
              <a:off x="7377200" y="1627850"/>
              <a:ext cx="7625" cy="6175"/>
            </a:xfrm>
            <a:custGeom>
              <a:avLst/>
              <a:gdLst/>
              <a:ahLst/>
              <a:cxnLst/>
              <a:rect l="l" t="t" r="r" b="b"/>
              <a:pathLst>
                <a:path w="305" h="247" extrusionOk="0">
                  <a:moveTo>
                    <a:pt x="1" y="1"/>
                  </a:moveTo>
                  <a:cubicBezTo>
                    <a:pt x="149" y="240"/>
                    <a:pt x="289" y="246"/>
                    <a:pt x="304" y="246"/>
                  </a:cubicBezTo>
                  <a:cubicBezTo>
                    <a:pt x="304" y="246"/>
                    <a:pt x="305" y="246"/>
                    <a:pt x="305" y="246"/>
                  </a:cubicBezTo>
                  <a:lnTo>
                    <a:pt x="305" y="209"/>
                  </a:lnTo>
                  <a:cubicBezTo>
                    <a:pt x="305" y="209"/>
                    <a:pt x="302" y="211"/>
                    <a:pt x="293" y="211"/>
                  </a:cubicBezTo>
                  <a:cubicBezTo>
                    <a:pt x="275" y="211"/>
                    <a:pt x="232" y="201"/>
                    <a:pt x="141" y="134"/>
                  </a:cubicBezTo>
                  <a:cubicBezTo>
                    <a:pt x="60" y="8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5" name="Google Shape;5249;p53">
              <a:extLst>
                <a:ext uri="{FF2B5EF4-FFF2-40B4-BE49-F238E27FC236}">
                  <a16:creationId xmlns:a16="http://schemas.microsoft.com/office/drawing/2014/main" id="{1E903AF7-9A9D-6256-AC84-F84A2FB7AABF}"/>
                </a:ext>
              </a:extLst>
            </p:cNvPr>
            <p:cNvSpPr/>
            <p:nvPr/>
          </p:nvSpPr>
          <p:spPr>
            <a:xfrm>
              <a:off x="7673450" y="1502475"/>
              <a:ext cx="158950" cy="154700"/>
            </a:xfrm>
            <a:custGeom>
              <a:avLst/>
              <a:gdLst/>
              <a:ahLst/>
              <a:cxnLst/>
              <a:rect l="l" t="t" r="r" b="b"/>
              <a:pathLst>
                <a:path w="6358" h="6188" extrusionOk="0">
                  <a:moveTo>
                    <a:pt x="3090" y="1"/>
                  </a:moveTo>
                  <a:cubicBezTo>
                    <a:pt x="2978" y="1"/>
                    <a:pt x="2867" y="30"/>
                    <a:pt x="2771" y="90"/>
                  </a:cubicBezTo>
                  <a:cubicBezTo>
                    <a:pt x="2067" y="534"/>
                    <a:pt x="0" y="6188"/>
                    <a:pt x="3089" y="6188"/>
                  </a:cubicBezTo>
                  <a:cubicBezTo>
                    <a:pt x="6358" y="6188"/>
                    <a:pt x="4112" y="534"/>
                    <a:pt x="3415" y="90"/>
                  </a:cubicBezTo>
                  <a:cubicBezTo>
                    <a:pt x="3315" y="30"/>
                    <a:pt x="3202" y="1"/>
                    <a:pt x="3090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6" name="Google Shape;5250;p53">
              <a:extLst>
                <a:ext uri="{FF2B5EF4-FFF2-40B4-BE49-F238E27FC236}">
                  <a16:creationId xmlns:a16="http://schemas.microsoft.com/office/drawing/2014/main" id="{7A62F806-6929-9CAB-010B-57D77ECF18C4}"/>
                </a:ext>
              </a:extLst>
            </p:cNvPr>
            <p:cNvSpPr/>
            <p:nvPr/>
          </p:nvSpPr>
          <p:spPr>
            <a:xfrm>
              <a:off x="7673450" y="1504650"/>
              <a:ext cx="77250" cy="152525"/>
            </a:xfrm>
            <a:custGeom>
              <a:avLst/>
              <a:gdLst/>
              <a:ahLst/>
              <a:cxnLst/>
              <a:rect l="l" t="t" r="r" b="b"/>
              <a:pathLst>
                <a:path w="3090" h="6101" extrusionOk="0">
                  <a:moveTo>
                    <a:pt x="2776" y="1"/>
                  </a:moveTo>
                  <a:cubicBezTo>
                    <a:pt x="2775" y="1"/>
                    <a:pt x="2773" y="2"/>
                    <a:pt x="2771" y="3"/>
                  </a:cubicBezTo>
                  <a:cubicBezTo>
                    <a:pt x="2067" y="447"/>
                    <a:pt x="0" y="6101"/>
                    <a:pt x="3089" y="6101"/>
                  </a:cubicBezTo>
                  <a:cubicBezTo>
                    <a:pt x="3089" y="6101"/>
                    <a:pt x="2312" y="6033"/>
                    <a:pt x="2268" y="3826"/>
                  </a:cubicBezTo>
                  <a:cubicBezTo>
                    <a:pt x="2215" y="1638"/>
                    <a:pt x="2848" y="1"/>
                    <a:pt x="2776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7" name="Google Shape;5251;p53">
              <a:extLst>
                <a:ext uri="{FF2B5EF4-FFF2-40B4-BE49-F238E27FC236}">
                  <a16:creationId xmlns:a16="http://schemas.microsoft.com/office/drawing/2014/main" id="{8474BEE9-E6B8-6881-324A-388A6A1953B6}"/>
                </a:ext>
              </a:extLst>
            </p:cNvPr>
            <p:cNvSpPr/>
            <p:nvPr/>
          </p:nvSpPr>
          <p:spPr>
            <a:xfrm>
              <a:off x="7748275" y="1572725"/>
              <a:ext cx="11125" cy="107050"/>
            </a:xfrm>
            <a:custGeom>
              <a:avLst/>
              <a:gdLst/>
              <a:ahLst/>
              <a:cxnLst/>
              <a:rect l="l" t="t" r="r" b="b"/>
              <a:pathLst>
                <a:path w="445" h="4282" extrusionOk="0">
                  <a:moveTo>
                    <a:pt x="224" y="1"/>
                  </a:moveTo>
                  <a:cubicBezTo>
                    <a:pt x="223" y="1"/>
                    <a:pt x="222" y="6"/>
                    <a:pt x="222" y="20"/>
                  </a:cubicBezTo>
                  <a:lnTo>
                    <a:pt x="0" y="4281"/>
                  </a:lnTo>
                  <a:lnTo>
                    <a:pt x="445" y="4281"/>
                  </a:lnTo>
                  <a:cubicBezTo>
                    <a:pt x="430" y="2458"/>
                    <a:pt x="267" y="20"/>
                    <a:pt x="229" y="20"/>
                  </a:cubicBezTo>
                  <a:cubicBezTo>
                    <a:pt x="229" y="20"/>
                    <a:pt x="226" y="1"/>
                    <a:pt x="22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8" name="Google Shape;5252;p53">
              <a:extLst>
                <a:ext uri="{FF2B5EF4-FFF2-40B4-BE49-F238E27FC236}">
                  <a16:creationId xmlns:a16="http://schemas.microsoft.com/office/drawing/2014/main" id="{D6942983-19FE-B85A-1CA0-063D700E16D0}"/>
                </a:ext>
              </a:extLst>
            </p:cNvPr>
            <p:cNvSpPr/>
            <p:nvPr/>
          </p:nvSpPr>
          <p:spPr>
            <a:xfrm>
              <a:off x="7723625" y="1610650"/>
              <a:ext cx="30400" cy="24475"/>
            </a:xfrm>
            <a:custGeom>
              <a:avLst/>
              <a:gdLst/>
              <a:ahLst/>
              <a:cxnLst/>
              <a:rect l="l" t="t" r="r" b="b"/>
              <a:pathLst>
                <a:path w="1216" h="979" extrusionOk="0">
                  <a:moveTo>
                    <a:pt x="1" y="1"/>
                  </a:moveTo>
                  <a:cubicBezTo>
                    <a:pt x="595" y="952"/>
                    <a:pt x="1136" y="979"/>
                    <a:pt x="1196" y="979"/>
                  </a:cubicBezTo>
                  <a:cubicBezTo>
                    <a:pt x="1199" y="979"/>
                    <a:pt x="1201" y="979"/>
                    <a:pt x="1201" y="979"/>
                  </a:cubicBezTo>
                  <a:lnTo>
                    <a:pt x="1215" y="838"/>
                  </a:lnTo>
                  <a:lnTo>
                    <a:pt x="1215" y="838"/>
                  </a:lnTo>
                  <a:cubicBezTo>
                    <a:pt x="1215" y="838"/>
                    <a:pt x="1203" y="847"/>
                    <a:pt x="1168" y="847"/>
                  </a:cubicBezTo>
                  <a:cubicBezTo>
                    <a:pt x="1093" y="847"/>
                    <a:pt x="919" y="806"/>
                    <a:pt x="556" y="548"/>
                  </a:cubicBezTo>
                  <a:cubicBezTo>
                    <a:pt x="245" y="33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9" name="Google Shape;5253;p53">
              <a:extLst>
                <a:ext uri="{FF2B5EF4-FFF2-40B4-BE49-F238E27FC236}">
                  <a16:creationId xmlns:a16="http://schemas.microsoft.com/office/drawing/2014/main" id="{A1BDF483-C90B-8EF9-AC03-5F1B1796517D}"/>
                </a:ext>
              </a:extLst>
            </p:cNvPr>
            <p:cNvSpPr/>
            <p:nvPr/>
          </p:nvSpPr>
          <p:spPr>
            <a:xfrm>
              <a:off x="7754000" y="1603800"/>
              <a:ext cx="25600" cy="20750"/>
            </a:xfrm>
            <a:custGeom>
              <a:avLst/>
              <a:gdLst/>
              <a:ahLst/>
              <a:cxnLst/>
              <a:rect l="l" t="t" r="r" b="b"/>
              <a:pathLst>
                <a:path w="1024" h="830" extrusionOk="0">
                  <a:moveTo>
                    <a:pt x="1023" y="1"/>
                  </a:moveTo>
                  <a:lnTo>
                    <a:pt x="1023" y="1"/>
                  </a:lnTo>
                  <a:cubicBezTo>
                    <a:pt x="1023" y="1"/>
                    <a:pt x="824" y="282"/>
                    <a:pt x="557" y="467"/>
                  </a:cubicBezTo>
                  <a:cubicBezTo>
                    <a:pt x="255" y="685"/>
                    <a:pt x="108" y="721"/>
                    <a:pt x="44" y="721"/>
                  </a:cubicBezTo>
                  <a:cubicBezTo>
                    <a:pt x="12" y="721"/>
                    <a:pt x="0" y="712"/>
                    <a:pt x="0" y="712"/>
                  </a:cubicBezTo>
                  <a:lnTo>
                    <a:pt x="0" y="712"/>
                  </a:lnTo>
                  <a:lnTo>
                    <a:pt x="8" y="830"/>
                  </a:lnTo>
                  <a:cubicBezTo>
                    <a:pt x="8" y="830"/>
                    <a:pt x="10" y="830"/>
                    <a:pt x="14" y="830"/>
                  </a:cubicBezTo>
                  <a:cubicBezTo>
                    <a:pt x="72" y="830"/>
                    <a:pt x="531" y="803"/>
                    <a:pt x="1023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0" name="Google Shape;5254;p53">
              <a:extLst>
                <a:ext uri="{FF2B5EF4-FFF2-40B4-BE49-F238E27FC236}">
                  <a16:creationId xmlns:a16="http://schemas.microsoft.com/office/drawing/2014/main" id="{A82D4114-CBF6-1526-AA36-077F6678AB53}"/>
                </a:ext>
              </a:extLst>
            </p:cNvPr>
            <p:cNvSpPr/>
            <p:nvPr/>
          </p:nvSpPr>
          <p:spPr>
            <a:xfrm>
              <a:off x="7733225" y="1588950"/>
              <a:ext cx="20800" cy="16700"/>
            </a:xfrm>
            <a:custGeom>
              <a:avLst/>
              <a:gdLst/>
              <a:ahLst/>
              <a:cxnLst/>
              <a:rect l="l" t="t" r="r" b="b"/>
              <a:pathLst>
                <a:path w="832" h="668" extrusionOk="0">
                  <a:moveTo>
                    <a:pt x="1" y="1"/>
                  </a:moveTo>
                  <a:lnTo>
                    <a:pt x="1" y="1"/>
                  </a:lnTo>
                  <a:cubicBezTo>
                    <a:pt x="398" y="648"/>
                    <a:pt x="774" y="668"/>
                    <a:pt x="820" y="668"/>
                  </a:cubicBezTo>
                  <a:cubicBezTo>
                    <a:pt x="823" y="668"/>
                    <a:pt x="824" y="668"/>
                    <a:pt x="824" y="668"/>
                  </a:cubicBezTo>
                  <a:lnTo>
                    <a:pt x="831" y="572"/>
                  </a:lnTo>
                  <a:lnTo>
                    <a:pt x="831" y="572"/>
                  </a:lnTo>
                  <a:cubicBezTo>
                    <a:pt x="831" y="572"/>
                    <a:pt x="821" y="580"/>
                    <a:pt x="793" y="580"/>
                  </a:cubicBezTo>
                  <a:cubicBezTo>
                    <a:pt x="739" y="580"/>
                    <a:pt x="618" y="550"/>
                    <a:pt x="380" y="380"/>
                  </a:cubicBezTo>
                  <a:cubicBezTo>
                    <a:pt x="165" y="23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1" name="Google Shape;5255;p53">
              <a:extLst>
                <a:ext uri="{FF2B5EF4-FFF2-40B4-BE49-F238E27FC236}">
                  <a16:creationId xmlns:a16="http://schemas.microsoft.com/office/drawing/2014/main" id="{C70446F0-C9C6-13DA-5632-E33958E10A26}"/>
                </a:ext>
              </a:extLst>
            </p:cNvPr>
            <p:cNvSpPr/>
            <p:nvPr/>
          </p:nvSpPr>
          <p:spPr>
            <a:xfrm>
              <a:off x="7517600" y="1556875"/>
              <a:ext cx="110650" cy="107700"/>
            </a:xfrm>
            <a:custGeom>
              <a:avLst/>
              <a:gdLst/>
              <a:ahLst/>
              <a:cxnLst/>
              <a:rect l="l" t="t" r="r" b="b"/>
              <a:pathLst>
                <a:path w="4426" h="4308" extrusionOk="0">
                  <a:moveTo>
                    <a:pt x="2151" y="1"/>
                  </a:moveTo>
                  <a:cubicBezTo>
                    <a:pt x="2073" y="1"/>
                    <a:pt x="1995" y="21"/>
                    <a:pt x="1929" y="62"/>
                  </a:cubicBezTo>
                  <a:cubicBezTo>
                    <a:pt x="1440" y="366"/>
                    <a:pt x="1" y="4307"/>
                    <a:pt x="2151" y="4307"/>
                  </a:cubicBezTo>
                  <a:cubicBezTo>
                    <a:pt x="4425" y="4307"/>
                    <a:pt x="2862" y="366"/>
                    <a:pt x="2373" y="62"/>
                  </a:cubicBezTo>
                  <a:cubicBezTo>
                    <a:pt x="2307" y="21"/>
                    <a:pt x="2229" y="1"/>
                    <a:pt x="2151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2" name="Google Shape;5256;p53">
              <a:extLst>
                <a:ext uri="{FF2B5EF4-FFF2-40B4-BE49-F238E27FC236}">
                  <a16:creationId xmlns:a16="http://schemas.microsoft.com/office/drawing/2014/main" id="{B6BAC71B-E859-7DA2-3AF9-A81B508AC449}"/>
                </a:ext>
              </a:extLst>
            </p:cNvPr>
            <p:cNvSpPr/>
            <p:nvPr/>
          </p:nvSpPr>
          <p:spPr>
            <a:xfrm>
              <a:off x="7517600" y="1558375"/>
              <a:ext cx="53775" cy="106200"/>
            </a:xfrm>
            <a:custGeom>
              <a:avLst/>
              <a:gdLst/>
              <a:ahLst/>
              <a:cxnLst/>
              <a:rect l="l" t="t" r="r" b="b"/>
              <a:pathLst>
                <a:path w="2151" h="4248" extrusionOk="0">
                  <a:moveTo>
                    <a:pt x="1932" y="1"/>
                  </a:moveTo>
                  <a:cubicBezTo>
                    <a:pt x="1931" y="1"/>
                    <a:pt x="1930" y="1"/>
                    <a:pt x="1929" y="2"/>
                  </a:cubicBezTo>
                  <a:cubicBezTo>
                    <a:pt x="1440" y="306"/>
                    <a:pt x="1" y="4247"/>
                    <a:pt x="2151" y="4247"/>
                  </a:cubicBezTo>
                  <a:cubicBezTo>
                    <a:pt x="2151" y="4247"/>
                    <a:pt x="1610" y="4203"/>
                    <a:pt x="1580" y="2663"/>
                  </a:cubicBezTo>
                  <a:cubicBezTo>
                    <a:pt x="1543" y="1142"/>
                    <a:pt x="1985" y="1"/>
                    <a:pt x="1932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3" name="Google Shape;5257;p53">
              <a:extLst>
                <a:ext uri="{FF2B5EF4-FFF2-40B4-BE49-F238E27FC236}">
                  <a16:creationId xmlns:a16="http://schemas.microsoft.com/office/drawing/2014/main" id="{1C6F6F08-C723-6490-DA82-F2EA4B2378A2}"/>
                </a:ext>
              </a:extLst>
            </p:cNvPr>
            <p:cNvSpPr/>
            <p:nvPr/>
          </p:nvSpPr>
          <p:spPr>
            <a:xfrm>
              <a:off x="7569675" y="1605800"/>
              <a:ext cx="7800" cy="74550"/>
            </a:xfrm>
            <a:custGeom>
              <a:avLst/>
              <a:gdLst/>
              <a:ahLst/>
              <a:cxnLst/>
              <a:rect l="l" t="t" r="r" b="b"/>
              <a:pathLst>
                <a:path w="312" h="2982" extrusionOk="0">
                  <a:moveTo>
                    <a:pt x="159" y="0"/>
                  </a:moveTo>
                  <a:cubicBezTo>
                    <a:pt x="158" y="0"/>
                    <a:pt x="157" y="4"/>
                    <a:pt x="157" y="17"/>
                  </a:cubicBezTo>
                  <a:lnTo>
                    <a:pt x="0" y="2981"/>
                  </a:lnTo>
                  <a:lnTo>
                    <a:pt x="312" y="2981"/>
                  </a:lnTo>
                  <a:cubicBezTo>
                    <a:pt x="304" y="1713"/>
                    <a:pt x="185" y="17"/>
                    <a:pt x="164" y="17"/>
                  </a:cubicBezTo>
                  <a:cubicBezTo>
                    <a:pt x="164" y="17"/>
                    <a:pt x="161" y="0"/>
                    <a:pt x="159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4" name="Google Shape;5258;p53">
              <a:extLst>
                <a:ext uri="{FF2B5EF4-FFF2-40B4-BE49-F238E27FC236}">
                  <a16:creationId xmlns:a16="http://schemas.microsoft.com/office/drawing/2014/main" id="{CA6E175E-5208-AD6A-2B14-932FAA80D9CD}"/>
                </a:ext>
              </a:extLst>
            </p:cNvPr>
            <p:cNvSpPr/>
            <p:nvPr/>
          </p:nvSpPr>
          <p:spPr>
            <a:xfrm>
              <a:off x="7552650" y="1632125"/>
              <a:ext cx="20950" cy="17100"/>
            </a:xfrm>
            <a:custGeom>
              <a:avLst/>
              <a:gdLst/>
              <a:ahLst/>
              <a:cxnLst/>
              <a:rect l="l" t="t" r="r" b="b"/>
              <a:pathLst>
                <a:path w="838" h="684" extrusionOk="0">
                  <a:moveTo>
                    <a:pt x="0" y="1"/>
                  </a:moveTo>
                  <a:lnTo>
                    <a:pt x="0" y="1"/>
                  </a:lnTo>
                  <a:cubicBezTo>
                    <a:pt x="406" y="665"/>
                    <a:pt x="785" y="684"/>
                    <a:pt x="827" y="684"/>
                  </a:cubicBezTo>
                  <a:cubicBezTo>
                    <a:pt x="829" y="684"/>
                    <a:pt x="831" y="684"/>
                    <a:pt x="831" y="684"/>
                  </a:cubicBezTo>
                  <a:lnTo>
                    <a:pt x="838" y="586"/>
                  </a:lnTo>
                  <a:lnTo>
                    <a:pt x="838" y="586"/>
                  </a:lnTo>
                  <a:cubicBezTo>
                    <a:pt x="838" y="586"/>
                    <a:pt x="830" y="592"/>
                    <a:pt x="806" y="592"/>
                  </a:cubicBezTo>
                  <a:cubicBezTo>
                    <a:pt x="757" y="592"/>
                    <a:pt x="639" y="564"/>
                    <a:pt x="386" y="387"/>
                  </a:cubicBezTo>
                  <a:cubicBezTo>
                    <a:pt x="164" y="23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5" name="Google Shape;5259;p53">
              <a:extLst>
                <a:ext uri="{FF2B5EF4-FFF2-40B4-BE49-F238E27FC236}">
                  <a16:creationId xmlns:a16="http://schemas.microsoft.com/office/drawing/2014/main" id="{A751C9AB-C5B8-4F6B-FE24-0C64DC466AFB}"/>
                </a:ext>
              </a:extLst>
            </p:cNvPr>
            <p:cNvSpPr/>
            <p:nvPr/>
          </p:nvSpPr>
          <p:spPr>
            <a:xfrm>
              <a:off x="7573575" y="1627500"/>
              <a:ext cx="18000" cy="14475"/>
            </a:xfrm>
            <a:custGeom>
              <a:avLst/>
              <a:gdLst/>
              <a:ahLst/>
              <a:cxnLst/>
              <a:rect l="l" t="t" r="r" b="b"/>
              <a:pathLst>
                <a:path w="720" h="579" extrusionOk="0">
                  <a:moveTo>
                    <a:pt x="719" y="1"/>
                  </a:moveTo>
                  <a:cubicBezTo>
                    <a:pt x="719" y="1"/>
                    <a:pt x="579" y="193"/>
                    <a:pt x="394" y="326"/>
                  </a:cubicBezTo>
                  <a:cubicBezTo>
                    <a:pt x="184" y="472"/>
                    <a:pt x="81" y="497"/>
                    <a:pt x="34" y="497"/>
                  </a:cubicBezTo>
                  <a:cubicBezTo>
                    <a:pt x="10" y="497"/>
                    <a:pt x="1" y="490"/>
                    <a:pt x="1" y="490"/>
                  </a:cubicBezTo>
                  <a:lnTo>
                    <a:pt x="1" y="490"/>
                  </a:lnTo>
                  <a:lnTo>
                    <a:pt x="8" y="579"/>
                  </a:lnTo>
                  <a:cubicBezTo>
                    <a:pt x="8" y="579"/>
                    <a:pt x="9" y="579"/>
                    <a:pt x="10" y="579"/>
                  </a:cubicBezTo>
                  <a:cubicBezTo>
                    <a:pt x="39" y="579"/>
                    <a:pt x="366" y="566"/>
                    <a:pt x="71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6" name="Google Shape;5260;p53">
              <a:extLst>
                <a:ext uri="{FF2B5EF4-FFF2-40B4-BE49-F238E27FC236}">
                  <a16:creationId xmlns:a16="http://schemas.microsoft.com/office/drawing/2014/main" id="{3B2659AF-0FA9-12EC-7566-7F69110B72CA}"/>
                </a:ext>
              </a:extLst>
            </p:cNvPr>
            <p:cNvSpPr/>
            <p:nvPr/>
          </p:nvSpPr>
          <p:spPr>
            <a:xfrm>
              <a:off x="7559125" y="1617150"/>
              <a:ext cx="14475" cy="11675"/>
            </a:xfrm>
            <a:custGeom>
              <a:avLst/>
              <a:gdLst/>
              <a:ahLst/>
              <a:cxnLst/>
              <a:rect l="l" t="t" r="r" b="b"/>
              <a:pathLst>
                <a:path w="579" h="467" extrusionOk="0">
                  <a:moveTo>
                    <a:pt x="1" y="0"/>
                  </a:moveTo>
                  <a:lnTo>
                    <a:pt x="1" y="0"/>
                  </a:lnTo>
                  <a:cubicBezTo>
                    <a:pt x="296" y="460"/>
                    <a:pt x="563" y="466"/>
                    <a:pt x="578" y="466"/>
                  </a:cubicBezTo>
                  <a:cubicBezTo>
                    <a:pt x="579" y="466"/>
                    <a:pt x="579" y="466"/>
                    <a:pt x="579" y="466"/>
                  </a:cubicBezTo>
                  <a:lnTo>
                    <a:pt x="579" y="393"/>
                  </a:lnTo>
                  <a:cubicBezTo>
                    <a:pt x="579" y="393"/>
                    <a:pt x="571" y="400"/>
                    <a:pt x="550" y="400"/>
                  </a:cubicBezTo>
                  <a:cubicBezTo>
                    <a:pt x="511" y="400"/>
                    <a:pt x="429" y="379"/>
                    <a:pt x="268" y="260"/>
                  </a:cubicBezTo>
                  <a:cubicBezTo>
                    <a:pt x="118" y="15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7" name="Google Shape;5261;p53">
              <a:extLst>
                <a:ext uri="{FF2B5EF4-FFF2-40B4-BE49-F238E27FC236}">
                  <a16:creationId xmlns:a16="http://schemas.microsoft.com/office/drawing/2014/main" id="{CDB9F6E8-8F8B-A9FC-CE18-86A99E9A3279}"/>
                </a:ext>
              </a:extLst>
            </p:cNvPr>
            <p:cNvSpPr/>
            <p:nvPr/>
          </p:nvSpPr>
          <p:spPr>
            <a:xfrm>
              <a:off x="7639875" y="1540475"/>
              <a:ext cx="120475" cy="117250"/>
            </a:xfrm>
            <a:custGeom>
              <a:avLst/>
              <a:gdLst/>
              <a:ahLst/>
              <a:cxnLst/>
              <a:rect l="l" t="t" r="r" b="b"/>
              <a:pathLst>
                <a:path w="4819" h="4690" extrusionOk="0">
                  <a:moveTo>
                    <a:pt x="2476" y="1"/>
                  </a:moveTo>
                  <a:cubicBezTo>
                    <a:pt x="2391" y="1"/>
                    <a:pt x="2306" y="25"/>
                    <a:pt x="2232" y="73"/>
                  </a:cubicBezTo>
                  <a:cubicBezTo>
                    <a:pt x="1699" y="407"/>
                    <a:pt x="0" y="4689"/>
                    <a:pt x="2476" y="4689"/>
                  </a:cubicBezTo>
                  <a:cubicBezTo>
                    <a:pt x="4818" y="4689"/>
                    <a:pt x="3255" y="407"/>
                    <a:pt x="2721" y="73"/>
                  </a:cubicBezTo>
                  <a:cubicBezTo>
                    <a:pt x="2647" y="25"/>
                    <a:pt x="2561" y="1"/>
                    <a:pt x="2476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8" name="Google Shape;5262;p53">
              <a:extLst>
                <a:ext uri="{FF2B5EF4-FFF2-40B4-BE49-F238E27FC236}">
                  <a16:creationId xmlns:a16="http://schemas.microsoft.com/office/drawing/2014/main" id="{12D0A23B-DEC5-73F8-D7BD-36186844793F}"/>
                </a:ext>
              </a:extLst>
            </p:cNvPr>
            <p:cNvSpPr/>
            <p:nvPr/>
          </p:nvSpPr>
          <p:spPr>
            <a:xfrm>
              <a:off x="7641750" y="1545575"/>
              <a:ext cx="56350" cy="111425"/>
            </a:xfrm>
            <a:custGeom>
              <a:avLst/>
              <a:gdLst/>
              <a:ahLst/>
              <a:cxnLst/>
              <a:rect l="l" t="t" r="r" b="b"/>
              <a:pathLst>
                <a:path w="2254" h="4457" extrusionOk="0">
                  <a:moveTo>
                    <a:pt x="2028" y="0"/>
                  </a:moveTo>
                  <a:cubicBezTo>
                    <a:pt x="2027" y="0"/>
                    <a:pt x="2025" y="1"/>
                    <a:pt x="2024" y="2"/>
                  </a:cubicBezTo>
                  <a:cubicBezTo>
                    <a:pt x="1505" y="322"/>
                    <a:pt x="0" y="4457"/>
                    <a:pt x="2253" y="4457"/>
                  </a:cubicBezTo>
                  <a:cubicBezTo>
                    <a:pt x="2253" y="4457"/>
                    <a:pt x="1690" y="4412"/>
                    <a:pt x="1652" y="2796"/>
                  </a:cubicBezTo>
                  <a:cubicBezTo>
                    <a:pt x="1616" y="1200"/>
                    <a:pt x="2077" y="0"/>
                    <a:pt x="202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9" name="Google Shape;5263;p53">
              <a:extLst>
                <a:ext uri="{FF2B5EF4-FFF2-40B4-BE49-F238E27FC236}">
                  <a16:creationId xmlns:a16="http://schemas.microsoft.com/office/drawing/2014/main" id="{A5ECCDA7-2D53-1875-E56B-EE112CEAC0ED}"/>
                </a:ext>
              </a:extLst>
            </p:cNvPr>
            <p:cNvSpPr/>
            <p:nvPr/>
          </p:nvSpPr>
          <p:spPr>
            <a:xfrm>
              <a:off x="7696200" y="1601350"/>
              <a:ext cx="8175" cy="79525"/>
            </a:xfrm>
            <a:custGeom>
              <a:avLst/>
              <a:gdLst/>
              <a:ahLst/>
              <a:cxnLst/>
              <a:rect l="l" t="t" r="r" b="b"/>
              <a:pathLst>
                <a:path w="327" h="3181" extrusionOk="0">
                  <a:moveTo>
                    <a:pt x="166" y="0"/>
                  </a:moveTo>
                  <a:cubicBezTo>
                    <a:pt x="165" y="0"/>
                    <a:pt x="164" y="5"/>
                    <a:pt x="164" y="17"/>
                  </a:cubicBezTo>
                  <a:lnTo>
                    <a:pt x="1" y="3181"/>
                  </a:lnTo>
                  <a:cubicBezTo>
                    <a:pt x="13" y="3178"/>
                    <a:pt x="49" y="3178"/>
                    <a:pt x="94" y="3178"/>
                  </a:cubicBezTo>
                  <a:cubicBezTo>
                    <a:pt x="182" y="3178"/>
                    <a:pt x="302" y="3181"/>
                    <a:pt x="326" y="3181"/>
                  </a:cubicBezTo>
                  <a:cubicBezTo>
                    <a:pt x="319" y="1826"/>
                    <a:pt x="193" y="17"/>
                    <a:pt x="171" y="17"/>
                  </a:cubicBezTo>
                  <a:cubicBezTo>
                    <a:pt x="171" y="17"/>
                    <a:pt x="168" y="0"/>
                    <a:pt x="166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0" name="Google Shape;5264;p53">
              <a:extLst>
                <a:ext uri="{FF2B5EF4-FFF2-40B4-BE49-F238E27FC236}">
                  <a16:creationId xmlns:a16="http://schemas.microsoft.com/office/drawing/2014/main" id="{DF5904B5-A030-35C1-3254-D320B20D92B8}"/>
                </a:ext>
              </a:extLst>
            </p:cNvPr>
            <p:cNvSpPr/>
            <p:nvPr/>
          </p:nvSpPr>
          <p:spPr>
            <a:xfrm>
              <a:off x="7677875" y="1629375"/>
              <a:ext cx="22450" cy="18175"/>
            </a:xfrm>
            <a:custGeom>
              <a:avLst/>
              <a:gdLst/>
              <a:ahLst/>
              <a:cxnLst/>
              <a:rect l="l" t="t" r="r" b="b"/>
              <a:pathLst>
                <a:path w="898" h="727" extrusionOk="0">
                  <a:moveTo>
                    <a:pt x="1" y="0"/>
                  </a:moveTo>
                  <a:lnTo>
                    <a:pt x="1" y="0"/>
                  </a:lnTo>
                  <a:cubicBezTo>
                    <a:pt x="433" y="706"/>
                    <a:pt x="840" y="726"/>
                    <a:pt x="886" y="726"/>
                  </a:cubicBezTo>
                  <a:cubicBezTo>
                    <a:pt x="889" y="726"/>
                    <a:pt x="890" y="726"/>
                    <a:pt x="890" y="726"/>
                  </a:cubicBezTo>
                  <a:lnTo>
                    <a:pt x="897" y="623"/>
                  </a:lnTo>
                  <a:lnTo>
                    <a:pt x="897" y="623"/>
                  </a:lnTo>
                  <a:cubicBezTo>
                    <a:pt x="897" y="623"/>
                    <a:pt x="888" y="630"/>
                    <a:pt x="862" y="630"/>
                  </a:cubicBezTo>
                  <a:cubicBezTo>
                    <a:pt x="807" y="630"/>
                    <a:pt x="678" y="600"/>
                    <a:pt x="408" y="415"/>
                  </a:cubicBezTo>
                  <a:cubicBezTo>
                    <a:pt x="179" y="25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1" name="Google Shape;5265;p53">
              <a:extLst>
                <a:ext uri="{FF2B5EF4-FFF2-40B4-BE49-F238E27FC236}">
                  <a16:creationId xmlns:a16="http://schemas.microsoft.com/office/drawing/2014/main" id="{2F4C6246-B536-6513-CC9A-B68B278A4D9F}"/>
                </a:ext>
              </a:extLst>
            </p:cNvPr>
            <p:cNvSpPr/>
            <p:nvPr/>
          </p:nvSpPr>
          <p:spPr>
            <a:xfrm>
              <a:off x="7700300" y="162435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1"/>
                    <a:pt x="615" y="209"/>
                    <a:pt x="415" y="349"/>
                  </a:cubicBezTo>
                  <a:cubicBezTo>
                    <a:pt x="192" y="507"/>
                    <a:pt x="82" y="533"/>
                    <a:pt x="33" y="533"/>
                  </a:cubicBezTo>
                  <a:cubicBezTo>
                    <a:pt x="9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9" y="616"/>
                    <a:pt x="12" y="616"/>
                  </a:cubicBezTo>
                  <a:cubicBezTo>
                    <a:pt x="56" y="616"/>
                    <a:pt x="397" y="596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2" name="Google Shape;5266;p53">
              <a:extLst>
                <a:ext uri="{FF2B5EF4-FFF2-40B4-BE49-F238E27FC236}">
                  <a16:creationId xmlns:a16="http://schemas.microsoft.com/office/drawing/2014/main" id="{49AB3E66-8504-E16C-398B-593AA6B3FE04}"/>
                </a:ext>
              </a:extLst>
            </p:cNvPr>
            <p:cNvSpPr/>
            <p:nvPr/>
          </p:nvSpPr>
          <p:spPr>
            <a:xfrm>
              <a:off x="7684900" y="1613225"/>
              <a:ext cx="15425" cy="12650"/>
            </a:xfrm>
            <a:custGeom>
              <a:avLst/>
              <a:gdLst/>
              <a:ahLst/>
              <a:cxnLst/>
              <a:rect l="l" t="t" r="r" b="b"/>
              <a:pathLst>
                <a:path w="617" h="506" extrusionOk="0">
                  <a:moveTo>
                    <a:pt x="1" y="1"/>
                  </a:moveTo>
                  <a:lnTo>
                    <a:pt x="1" y="1"/>
                  </a:lnTo>
                  <a:cubicBezTo>
                    <a:pt x="303" y="493"/>
                    <a:pt x="579" y="506"/>
                    <a:pt x="607" y="506"/>
                  </a:cubicBezTo>
                  <a:cubicBezTo>
                    <a:pt x="608" y="506"/>
                    <a:pt x="609" y="506"/>
                    <a:pt x="609" y="506"/>
                  </a:cubicBezTo>
                  <a:lnTo>
                    <a:pt x="616" y="431"/>
                  </a:lnTo>
                  <a:lnTo>
                    <a:pt x="616" y="431"/>
                  </a:lnTo>
                  <a:cubicBezTo>
                    <a:pt x="616" y="431"/>
                    <a:pt x="610" y="436"/>
                    <a:pt x="593" y="436"/>
                  </a:cubicBezTo>
                  <a:cubicBezTo>
                    <a:pt x="557" y="436"/>
                    <a:pt x="469" y="415"/>
                    <a:pt x="282" y="284"/>
                  </a:cubicBezTo>
                  <a:cubicBezTo>
                    <a:pt x="127" y="17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3" name="Google Shape;5267;p53">
              <a:extLst>
                <a:ext uri="{FF2B5EF4-FFF2-40B4-BE49-F238E27FC236}">
                  <a16:creationId xmlns:a16="http://schemas.microsoft.com/office/drawing/2014/main" id="{54CC4066-3371-9933-A45A-1D3AE68A6425}"/>
                </a:ext>
              </a:extLst>
            </p:cNvPr>
            <p:cNvSpPr/>
            <p:nvPr/>
          </p:nvSpPr>
          <p:spPr>
            <a:xfrm>
              <a:off x="7421675" y="1540075"/>
              <a:ext cx="120425" cy="117100"/>
            </a:xfrm>
            <a:custGeom>
              <a:avLst/>
              <a:gdLst/>
              <a:ahLst/>
              <a:cxnLst/>
              <a:rect l="l" t="t" r="r" b="b"/>
              <a:pathLst>
                <a:path w="4817" h="4684" extrusionOk="0">
                  <a:moveTo>
                    <a:pt x="2475" y="1"/>
                  </a:moveTo>
                  <a:cubicBezTo>
                    <a:pt x="2390" y="1"/>
                    <a:pt x="2305" y="23"/>
                    <a:pt x="2230" y="67"/>
                  </a:cubicBezTo>
                  <a:cubicBezTo>
                    <a:pt x="1704" y="400"/>
                    <a:pt x="0" y="4684"/>
                    <a:pt x="2476" y="4684"/>
                  </a:cubicBezTo>
                  <a:cubicBezTo>
                    <a:pt x="4816" y="4684"/>
                    <a:pt x="3253" y="400"/>
                    <a:pt x="2719" y="67"/>
                  </a:cubicBezTo>
                  <a:cubicBezTo>
                    <a:pt x="2646" y="23"/>
                    <a:pt x="2561" y="1"/>
                    <a:pt x="2475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4" name="Google Shape;5268;p53">
              <a:extLst>
                <a:ext uri="{FF2B5EF4-FFF2-40B4-BE49-F238E27FC236}">
                  <a16:creationId xmlns:a16="http://schemas.microsoft.com/office/drawing/2014/main" id="{DE711B8F-F180-B925-EA6D-64E0D5C0F578}"/>
                </a:ext>
              </a:extLst>
            </p:cNvPr>
            <p:cNvSpPr/>
            <p:nvPr/>
          </p:nvSpPr>
          <p:spPr>
            <a:xfrm>
              <a:off x="7423525" y="1545050"/>
              <a:ext cx="56550" cy="111550"/>
            </a:xfrm>
            <a:custGeom>
              <a:avLst/>
              <a:gdLst/>
              <a:ahLst/>
              <a:cxnLst/>
              <a:rect l="l" t="t" r="r" b="b"/>
              <a:pathLst>
                <a:path w="2262" h="4462" extrusionOk="0">
                  <a:moveTo>
                    <a:pt x="2027" y="0"/>
                  </a:moveTo>
                  <a:cubicBezTo>
                    <a:pt x="2026" y="0"/>
                    <a:pt x="2024" y="1"/>
                    <a:pt x="2023" y="2"/>
                  </a:cubicBezTo>
                  <a:cubicBezTo>
                    <a:pt x="1512" y="327"/>
                    <a:pt x="1" y="4462"/>
                    <a:pt x="2261" y="4462"/>
                  </a:cubicBezTo>
                  <a:cubicBezTo>
                    <a:pt x="2261" y="4462"/>
                    <a:pt x="1690" y="4410"/>
                    <a:pt x="1653" y="2795"/>
                  </a:cubicBezTo>
                  <a:cubicBezTo>
                    <a:pt x="1623" y="1194"/>
                    <a:pt x="2088" y="0"/>
                    <a:pt x="2027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5" name="Google Shape;5269;p53">
              <a:extLst>
                <a:ext uri="{FF2B5EF4-FFF2-40B4-BE49-F238E27FC236}">
                  <a16:creationId xmlns:a16="http://schemas.microsoft.com/office/drawing/2014/main" id="{9F98044B-6884-52FB-95D0-93A32E5BC9B8}"/>
                </a:ext>
              </a:extLst>
            </p:cNvPr>
            <p:cNvSpPr/>
            <p:nvPr/>
          </p:nvSpPr>
          <p:spPr>
            <a:xfrm>
              <a:off x="7478000" y="1600800"/>
              <a:ext cx="8325" cy="79550"/>
            </a:xfrm>
            <a:custGeom>
              <a:avLst/>
              <a:gdLst/>
              <a:ahLst/>
              <a:cxnLst/>
              <a:rect l="l" t="t" r="r" b="b"/>
              <a:pathLst>
                <a:path w="333" h="3182" extrusionOk="0">
                  <a:moveTo>
                    <a:pt x="165" y="0"/>
                  </a:moveTo>
                  <a:cubicBezTo>
                    <a:pt x="163" y="0"/>
                    <a:pt x="162" y="4"/>
                    <a:pt x="162" y="16"/>
                  </a:cubicBezTo>
                  <a:lnTo>
                    <a:pt x="0" y="3181"/>
                  </a:lnTo>
                  <a:lnTo>
                    <a:pt x="333" y="3181"/>
                  </a:lnTo>
                  <a:cubicBezTo>
                    <a:pt x="319" y="1825"/>
                    <a:pt x="200" y="16"/>
                    <a:pt x="171" y="16"/>
                  </a:cubicBezTo>
                  <a:cubicBezTo>
                    <a:pt x="171" y="16"/>
                    <a:pt x="167" y="0"/>
                    <a:pt x="165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6" name="Google Shape;5270;p53">
              <a:extLst>
                <a:ext uri="{FF2B5EF4-FFF2-40B4-BE49-F238E27FC236}">
                  <a16:creationId xmlns:a16="http://schemas.microsoft.com/office/drawing/2014/main" id="{E9C01EC4-874F-0BF9-9E47-4C0AA7923AB7}"/>
                </a:ext>
              </a:extLst>
            </p:cNvPr>
            <p:cNvSpPr/>
            <p:nvPr/>
          </p:nvSpPr>
          <p:spPr>
            <a:xfrm>
              <a:off x="7459625" y="1628975"/>
              <a:ext cx="22675" cy="18200"/>
            </a:xfrm>
            <a:custGeom>
              <a:avLst/>
              <a:gdLst/>
              <a:ahLst/>
              <a:cxnLst/>
              <a:rect l="l" t="t" r="r" b="b"/>
              <a:pathLst>
                <a:path w="907" h="728" extrusionOk="0">
                  <a:moveTo>
                    <a:pt x="1" y="0"/>
                  </a:moveTo>
                  <a:cubicBezTo>
                    <a:pt x="443" y="709"/>
                    <a:pt x="844" y="728"/>
                    <a:pt x="886" y="728"/>
                  </a:cubicBezTo>
                  <a:cubicBezTo>
                    <a:pt x="889" y="728"/>
                    <a:pt x="890" y="728"/>
                    <a:pt x="890" y="728"/>
                  </a:cubicBezTo>
                  <a:lnTo>
                    <a:pt x="906" y="623"/>
                  </a:lnTo>
                  <a:lnTo>
                    <a:pt x="906" y="623"/>
                  </a:lnTo>
                  <a:cubicBezTo>
                    <a:pt x="906" y="623"/>
                    <a:pt x="896" y="630"/>
                    <a:pt x="868" y="630"/>
                  </a:cubicBezTo>
                  <a:cubicBezTo>
                    <a:pt x="812" y="630"/>
                    <a:pt x="681" y="599"/>
                    <a:pt x="417" y="409"/>
                  </a:cubicBezTo>
                  <a:cubicBezTo>
                    <a:pt x="186" y="246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7" name="Google Shape;5271;p53">
              <a:extLst>
                <a:ext uri="{FF2B5EF4-FFF2-40B4-BE49-F238E27FC236}">
                  <a16:creationId xmlns:a16="http://schemas.microsoft.com/office/drawing/2014/main" id="{EA1EE4D8-E6D7-A4D9-3971-F85B17732C2F}"/>
                </a:ext>
              </a:extLst>
            </p:cNvPr>
            <p:cNvSpPr/>
            <p:nvPr/>
          </p:nvSpPr>
          <p:spPr>
            <a:xfrm>
              <a:off x="7482275" y="162400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0"/>
                    <a:pt x="606" y="208"/>
                    <a:pt x="414" y="342"/>
                  </a:cubicBezTo>
                  <a:cubicBezTo>
                    <a:pt x="184" y="506"/>
                    <a:pt x="76" y="533"/>
                    <a:pt x="30" y="533"/>
                  </a:cubicBezTo>
                  <a:cubicBezTo>
                    <a:pt x="8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8" y="616"/>
                    <a:pt x="9" y="616"/>
                  </a:cubicBezTo>
                  <a:cubicBezTo>
                    <a:pt x="39" y="616"/>
                    <a:pt x="387" y="603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8" name="Google Shape;5272;p53">
              <a:extLst>
                <a:ext uri="{FF2B5EF4-FFF2-40B4-BE49-F238E27FC236}">
                  <a16:creationId xmlns:a16="http://schemas.microsoft.com/office/drawing/2014/main" id="{69895078-5938-8E51-2574-2C958DBD29BE}"/>
                </a:ext>
              </a:extLst>
            </p:cNvPr>
            <p:cNvSpPr/>
            <p:nvPr/>
          </p:nvSpPr>
          <p:spPr>
            <a:xfrm>
              <a:off x="7466700" y="1612875"/>
              <a:ext cx="15600" cy="12425"/>
            </a:xfrm>
            <a:custGeom>
              <a:avLst/>
              <a:gdLst/>
              <a:ahLst/>
              <a:cxnLst/>
              <a:rect l="l" t="t" r="r" b="b"/>
              <a:pathLst>
                <a:path w="624" h="497" extrusionOk="0">
                  <a:moveTo>
                    <a:pt x="1" y="1"/>
                  </a:moveTo>
                  <a:cubicBezTo>
                    <a:pt x="302" y="484"/>
                    <a:pt x="583" y="497"/>
                    <a:pt x="612" y="497"/>
                  </a:cubicBezTo>
                  <a:cubicBezTo>
                    <a:pt x="613" y="497"/>
                    <a:pt x="614" y="497"/>
                    <a:pt x="614" y="497"/>
                  </a:cubicBezTo>
                  <a:lnTo>
                    <a:pt x="623" y="422"/>
                  </a:lnTo>
                  <a:lnTo>
                    <a:pt x="623" y="422"/>
                  </a:lnTo>
                  <a:cubicBezTo>
                    <a:pt x="623" y="422"/>
                    <a:pt x="615" y="429"/>
                    <a:pt x="591" y="429"/>
                  </a:cubicBezTo>
                  <a:cubicBezTo>
                    <a:pt x="549" y="429"/>
                    <a:pt x="458" y="407"/>
                    <a:pt x="282" y="282"/>
                  </a:cubicBezTo>
                  <a:cubicBezTo>
                    <a:pt x="125" y="17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9" name="Google Shape;5273;p53">
              <a:extLst>
                <a:ext uri="{FF2B5EF4-FFF2-40B4-BE49-F238E27FC236}">
                  <a16:creationId xmlns:a16="http://schemas.microsoft.com/office/drawing/2014/main" id="{ADC3921D-3B3E-D68A-31F0-F35A9F708FE6}"/>
                </a:ext>
              </a:extLst>
            </p:cNvPr>
            <p:cNvSpPr/>
            <p:nvPr/>
          </p:nvSpPr>
          <p:spPr>
            <a:xfrm>
              <a:off x="7454475" y="1518300"/>
              <a:ext cx="141725" cy="137775"/>
            </a:xfrm>
            <a:custGeom>
              <a:avLst/>
              <a:gdLst/>
              <a:ahLst/>
              <a:cxnLst/>
              <a:rect l="l" t="t" r="r" b="b"/>
              <a:pathLst>
                <a:path w="5669" h="5511" extrusionOk="0">
                  <a:moveTo>
                    <a:pt x="2909" y="1"/>
                  </a:moveTo>
                  <a:cubicBezTo>
                    <a:pt x="2808" y="1"/>
                    <a:pt x="2708" y="27"/>
                    <a:pt x="2624" y="79"/>
                  </a:cubicBezTo>
                  <a:cubicBezTo>
                    <a:pt x="2001" y="471"/>
                    <a:pt x="1" y="5510"/>
                    <a:pt x="2912" y="5510"/>
                  </a:cubicBezTo>
                  <a:cubicBezTo>
                    <a:pt x="5668" y="5510"/>
                    <a:pt x="3824" y="471"/>
                    <a:pt x="3202" y="79"/>
                  </a:cubicBezTo>
                  <a:cubicBezTo>
                    <a:pt x="3113" y="27"/>
                    <a:pt x="3011" y="1"/>
                    <a:pt x="2909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0" name="Google Shape;5274;p53">
              <a:extLst>
                <a:ext uri="{FF2B5EF4-FFF2-40B4-BE49-F238E27FC236}">
                  <a16:creationId xmlns:a16="http://schemas.microsoft.com/office/drawing/2014/main" id="{F28659B8-A8F2-5766-9706-E21621915DC2}"/>
                </a:ext>
              </a:extLst>
            </p:cNvPr>
            <p:cNvSpPr/>
            <p:nvPr/>
          </p:nvSpPr>
          <p:spPr>
            <a:xfrm>
              <a:off x="7457225" y="1524100"/>
              <a:ext cx="67075" cy="132500"/>
            </a:xfrm>
            <a:custGeom>
              <a:avLst/>
              <a:gdLst/>
              <a:ahLst/>
              <a:cxnLst/>
              <a:rect l="l" t="t" r="r" b="b"/>
              <a:pathLst>
                <a:path w="2683" h="5300" extrusionOk="0">
                  <a:moveTo>
                    <a:pt x="2413" y="1"/>
                  </a:moveTo>
                  <a:cubicBezTo>
                    <a:pt x="2412" y="1"/>
                    <a:pt x="2410" y="1"/>
                    <a:pt x="2409" y="2"/>
                  </a:cubicBezTo>
                  <a:cubicBezTo>
                    <a:pt x="1793" y="388"/>
                    <a:pt x="1" y="5300"/>
                    <a:pt x="2683" y="5300"/>
                  </a:cubicBezTo>
                  <a:cubicBezTo>
                    <a:pt x="2683" y="5300"/>
                    <a:pt x="2009" y="5241"/>
                    <a:pt x="1971" y="3322"/>
                  </a:cubicBezTo>
                  <a:cubicBezTo>
                    <a:pt x="1928" y="1421"/>
                    <a:pt x="2478" y="1"/>
                    <a:pt x="2413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1" name="Google Shape;5275;p53">
              <a:extLst>
                <a:ext uri="{FF2B5EF4-FFF2-40B4-BE49-F238E27FC236}">
                  <a16:creationId xmlns:a16="http://schemas.microsoft.com/office/drawing/2014/main" id="{000122CC-147A-7932-DFC5-AEB3C1466435}"/>
                </a:ext>
              </a:extLst>
            </p:cNvPr>
            <p:cNvSpPr/>
            <p:nvPr/>
          </p:nvSpPr>
          <p:spPr>
            <a:xfrm>
              <a:off x="7521700" y="1591900"/>
              <a:ext cx="9275" cy="88450"/>
            </a:xfrm>
            <a:custGeom>
              <a:avLst/>
              <a:gdLst/>
              <a:ahLst/>
              <a:cxnLst/>
              <a:rect l="l" t="t" r="r" b="b"/>
              <a:pathLst>
                <a:path w="371" h="3538" extrusionOk="0">
                  <a:moveTo>
                    <a:pt x="187" y="0"/>
                  </a:moveTo>
                  <a:cubicBezTo>
                    <a:pt x="186" y="0"/>
                    <a:pt x="185" y="4"/>
                    <a:pt x="185" y="16"/>
                  </a:cubicBezTo>
                  <a:lnTo>
                    <a:pt x="1" y="3537"/>
                  </a:lnTo>
                  <a:lnTo>
                    <a:pt x="370" y="3537"/>
                  </a:lnTo>
                  <a:cubicBezTo>
                    <a:pt x="356" y="2033"/>
                    <a:pt x="223" y="16"/>
                    <a:pt x="193" y="16"/>
                  </a:cubicBezTo>
                  <a:cubicBezTo>
                    <a:pt x="193" y="16"/>
                    <a:pt x="189" y="0"/>
                    <a:pt x="18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2" name="Google Shape;5276;p53">
              <a:extLst>
                <a:ext uri="{FF2B5EF4-FFF2-40B4-BE49-F238E27FC236}">
                  <a16:creationId xmlns:a16="http://schemas.microsoft.com/office/drawing/2014/main" id="{D084ED72-D503-4A93-8A36-B74D8BD94D84}"/>
                </a:ext>
              </a:extLst>
            </p:cNvPr>
            <p:cNvSpPr/>
            <p:nvPr/>
          </p:nvSpPr>
          <p:spPr>
            <a:xfrm>
              <a:off x="7501525" y="1623250"/>
              <a:ext cx="25000" cy="20200"/>
            </a:xfrm>
            <a:custGeom>
              <a:avLst/>
              <a:gdLst/>
              <a:ahLst/>
              <a:cxnLst/>
              <a:rect l="l" t="t" r="r" b="b"/>
              <a:pathLst>
                <a:path w="1000" h="808" extrusionOk="0">
                  <a:moveTo>
                    <a:pt x="0" y="0"/>
                  </a:moveTo>
                  <a:lnTo>
                    <a:pt x="0" y="0"/>
                  </a:lnTo>
                  <a:cubicBezTo>
                    <a:pt x="484" y="787"/>
                    <a:pt x="935" y="807"/>
                    <a:pt x="981" y="807"/>
                  </a:cubicBezTo>
                  <a:cubicBezTo>
                    <a:pt x="984" y="807"/>
                    <a:pt x="985" y="807"/>
                    <a:pt x="985" y="807"/>
                  </a:cubicBezTo>
                  <a:lnTo>
                    <a:pt x="1000" y="690"/>
                  </a:lnTo>
                  <a:lnTo>
                    <a:pt x="1000" y="690"/>
                  </a:lnTo>
                  <a:cubicBezTo>
                    <a:pt x="1000" y="690"/>
                    <a:pt x="989" y="697"/>
                    <a:pt x="960" y="697"/>
                  </a:cubicBezTo>
                  <a:cubicBezTo>
                    <a:pt x="899" y="697"/>
                    <a:pt x="755" y="664"/>
                    <a:pt x="452" y="452"/>
                  </a:cubicBezTo>
                  <a:cubicBezTo>
                    <a:pt x="199" y="27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3" name="Google Shape;5277;p53">
              <a:extLst>
                <a:ext uri="{FF2B5EF4-FFF2-40B4-BE49-F238E27FC236}">
                  <a16:creationId xmlns:a16="http://schemas.microsoft.com/office/drawing/2014/main" id="{D455F718-941C-0EB6-EEAF-09A67DA4A9FC}"/>
                </a:ext>
              </a:extLst>
            </p:cNvPr>
            <p:cNvSpPr/>
            <p:nvPr/>
          </p:nvSpPr>
          <p:spPr>
            <a:xfrm>
              <a:off x="7526500" y="1617675"/>
              <a:ext cx="21150" cy="17100"/>
            </a:xfrm>
            <a:custGeom>
              <a:avLst/>
              <a:gdLst/>
              <a:ahLst/>
              <a:cxnLst/>
              <a:rect l="l" t="t" r="r" b="b"/>
              <a:pathLst>
                <a:path w="846" h="684" extrusionOk="0">
                  <a:moveTo>
                    <a:pt x="845" y="1"/>
                  </a:moveTo>
                  <a:cubicBezTo>
                    <a:pt x="845" y="1"/>
                    <a:pt x="676" y="230"/>
                    <a:pt x="461" y="387"/>
                  </a:cubicBezTo>
                  <a:cubicBezTo>
                    <a:pt x="210" y="564"/>
                    <a:pt x="89" y="593"/>
                    <a:pt x="37" y="593"/>
                  </a:cubicBezTo>
                  <a:cubicBezTo>
                    <a:pt x="10" y="593"/>
                    <a:pt x="1" y="586"/>
                    <a:pt x="1" y="586"/>
                  </a:cubicBezTo>
                  <a:lnTo>
                    <a:pt x="1" y="586"/>
                  </a:lnTo>
                  <a:lnTo>
                    <a:pt x="9" y="684"/>
                  </a:lnTo>
                  <a:cubicBezTo>
                    <a:pt x="9" y="684"/>
                    <a:pt x="11" y="684"/>
                    <a:pt x="13" y="684"/>
                  </a:cubicBezTo>
                  <a:cubicBezTo>
                    <a:pt x="55" y="684"/>
                    <a:pt x="434" y="665"/>
                    <a:pt x="845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4" name="Google Shape;5278;p53">
              <a:extLst>
                <a:ext uri="{FF2B5EF4-FFF2-40B4-BE49-F238E27FC236}">
                  <a16:creationId xmlns:a16="http://schemas.microsoft.com/office/drawing/2014/main" id="{313CB8D4-62F0-F6BC-8B35-B871F9D723BF}"/>
                </a:ext>
              </a:extLst>
            </p:cNvPr>
            <p:cNvSpPr/>
            <p:nvPr/>
          </p:nvSpPr>
          <p:spPr>
            <a:xfrm>
              <a:off x="7509300" y="1605275"/>
              <a:ext cx="17225" cy="13950"/>
            </a:xfrm>
            <a:custGeom>
              <a:avLst/>
              <a:gdLst/>
              <a:ahLst/>
              <a:cxnLst/>
              <a:rect l="l" t="t" r="r" b="b"/>
              <a:pathLst>
                <a:path w="689" h="558" extrusionOk="0">
                  <a:moveTo>
                    <a:pt x="0" y="1"/>
                  </a:moveTo>
                  <a:lnTo>
                    <a:pt x="0" y="1"/>
                  </a:lnTo>
                  <a:cubicBezTo>
                    <a:pt x="339" y="544"/>
                    <a:pt x="650" y="557"/>
                    <a:pt x="679" y="557"/>
                  </a:cubicBezTo>
                  <a:cubicBezTo>
                    <a:pt x="681" y="557"/>
                    <a:pt x="681" y="557"/>
                    <a:pt x="681" y="557"/>
                  </a:cubicBezTo>
                  <a:lnTo>
                    <a:pt x="689" y="475"/>
                  </a:lnTo>
                  <a:lnTo>
                    <a:pt x="689" y="475"/>
                  </a:lnTo>
                  <a:cubicBezTo>
                    <a:pt x="689" y="475"/>
                    <a:pt x="681" y="481"/>
                    <a:pt x="660" y="481"/>
                  </a:cubicBezTo>
                  <a:cubicBezTo>
                    <a:pt x="617" y="481"/>
                    <a:pt x="517" y="457"/>
                    <a:pt x="312" y="312"/>
                  </a:cubicBezTo>
                  <a:cubicBezTo>
                    <a:pt x="141" y="193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5" name="Google Shape;5279;p53">
              <a:extLst>
                <a:ext uri="{FF2B5EF4-FFF2-40B4-BE49-F238E27FC236}">
                  <a16:creationId xmlns:a16="http://schemas.microsoft.com/office/drawing/2014/main" id="{72AFDAF5-6248-A254-69FC-6EFE4658FC79}"/>
                </a:ext>
              </a:extLst>
            </p:cNvPr>
            <p:cNvSpPr/>
            <p:nvPr/>
          </p:nvSpPr>
          <p:spPr>
            <a:xfrm>
              <a:off x="7404450" y="1558600"/>
              <a:ext cx="64675" cy="81525"/>
            </a:xfrm>
            <a:custGeom>
              <a:avLst/>
              <a:gdLst/>
              <a:ahLst/>
              <a:cxnLst/>
              <a:rect l="l" t="t" r="r" b="b"/>
              <a:pathLst>
                <a:path w="2587" h="3261" extrusionOk="0">
                  <a:moveTo>
                    <a:pt x="1290" y="0"/>
                  </a:moveTo>
                  <a:cubicBezTo>
                    <a:pt x="734" y="0"/>
                    <a:pt x="275" y="452"/>
                    <a:pt x="275" y="1016"/>
                  </a:cubicBezTo>
                  <a:cubicBezTo>
                    <a:pt x="275" y="1067"/>
                    <a:pt x="282" y="1112"/>
                    <a:pt x="289" y="1156"/>
                  </a:cubicBezTo>
                  <a:cubicBezTo>
                    <a:pt x="111" y="1379"/>
                    <a:pt x="1" y="1659"/>
                    <a:pt x="1" y="1964"/>
                  </a:cubicBezTo>
                  <a:cubicBezTo>
                    <a:pt x="1" y="2682"/>
                    <a:pt x="579" y="3260"/>
                    <a:pt x="1290" y="3260"/>
                  </a:cubicBezTo>
                  <a:cubicBezTo>
                    <a:pt x="2009" y="3260"/>
                    <a:pt x="2587" y="2682"/>
                    <a:pt x="2587" y="1964"/>
                  </a:cubicBezTo>
                  <a:cubicBezTo>
                    <a:pt x="2587" y="1659"/>
                    <a:pt x="2475" y="1379"/>
                    <a:pt x="2297" y="1156"/>
                  </a:cubicBezTo>
                  <a:cubicBezTo>
                    <a:pt x="2304" y="1112"/>
                    <a:pt x="2313" y="1067"/>
                    <a:pt x="2313" y="1016"/>
                  </a:cubicBezTo>
                  <a:cubicBezTo>
                    <a:pt x="2313" y="452"/>
                    <a:pt x="1852" y="0"/>
                    <a:pt x="1290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6" name="Google Shape;5280;p53">
              <a:extLst>
                <a:ext uri="{FF2B5EF4-FFF2-40B4-BE49-F238E27FC236}">
                  <a16:creationId xmlns:a16="http://schemas.microsoft.com/office/drawing/2014/main" id="{1206BFB2-C303-9783-112F-0AA5C11D015B}"/>
                </a:ext>
              </a:extLst>
            </p:cNvPr>
            <p:cNvSpPr/>
            <p:nvPr/>
          </p:nvSpPr>
          <p:spPr>
            <a:xfrm>
              <a:off x="7436700" y="1583475"/>
              <a:ext cx="2950" cy="96875"/>
            </a:xfrm>
            <a:custGeom>
              <a:avLst/>
              <a:gdLst/>
              <a:ahLst/>
              <a:cxnLst/>
              <a:rect l="l" t="t" r="r" b="b"/>
              <a:pathLst>
                <a:path w="118" h="3875" extrusionOk="0">
                  <a:moveTo>
                    <a:pt x="54" y="0"/>
                  </a:moveTo>
                  <a:cubicBezTo>
                    <a:pt x="53" y="0"/>
                    <a:pt x="52" y="4"/>
                    <a:pt x="52" y="14"/>
                  </a:cubicBezTo>
                  <a:lnTo>
                    <a:pt x="0" y="3821"/>
                  </a:lnTo>
                  <a:cubicBezTo>
                    <a:pt x="0" y="3851"/>
                    <a:pt x="22" y="3874"/>
                    <a:pt x="52" y="3874"/>
                  </a:cubicBezTo>
                  <a:lnTo>
                    <a:pt x="59" y="3874"/>
                  </a:lnTo>
                  <a:cubicBezTo>
                    <a:pt x="96" y="3874"/>
                    <a:pt x="118" y="3851"/>
                    <a:pt x="118" y="3821"/>
                  </a:cubicBezTo>
                  <a:cubicBezTo>
                    <a:pt x="118" y="3821"/>
                    <a:pt x="96" y="14"/>
                    <a:pt x="59" y="14"/>
                  </a:cubicBezTo>
                  <a:cubicBezTo>
                    <a:pt x="59" y="14"/>
                    <a:pt x="56" y="0"/>
                    <a:pt x="54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7" name="Google Shape;5281;p53">
              <a:extLst>
                <a:ext uri="{FF2B5EF4-FFF2-40B4-BE49-F238E27FC236}">
                  <a16:creationId xmlns:a16="http://schemas.microsoft.com/office/drawing/2014/main" id="{A7DF6EC8-48C6-6754-D297-0897A797875A}"/>
                </a:ext>
              </a:extLst>
            </p:cNvPr>
            <p:cNvSpPr/>
            <p:nvPr/>
          </p:nvSpPr>
          <p:spPr>
            <a:xfrm>
              <a:off x="7419800" y="1606975"/>
              <a:ext cx="18375" cy="15000"/>
            </a:xfrm>
            <a:custGeom>
              <a:avLst/>
              <a:gdLst/>
              <a:ahLst/>
              <a:cxnLst/>
              <a:rect l="l" t="t" r="r" b="b"/>
              <a:pathLst>
                <a:path w="735" h="600" extrusionOk="0">
                  <a:moveTo>
                    <a:pt x="0" y="0"/>
                  </a:moveTo>
                  <a:lnTo>
                    <a:pt x="0" y="0"/>
                  </a:lnTo>
                  <a:cubicBezTo>
                    <a:pt x="353" y="580"/>
                    <a:pt x="679" y="600"/>
                    <a:pt x="723" y="600"/>
                  </a:cubicBezTo>
                  <a:cubicBezTo>
                    <a:pt x="726" y="600"/>
                    <a:pt x="728" y="599"/>
                    <a:pt x="728" y="599"/>
                  </a:cubicBezTo>
                  <a:lnTo>
                    <a:pt x="735" y="511"/>
                  </a:lnTo>
                  <a:lnTo>
                    <a:pt x="735" y="511"/>
                  </a:lnTo>
                  <a:cubicBezTo>
                    <a:pt x="735" y="511"/>
                    <a:pt x="726" y="517"/>
                    <a:pt x="702" y="517"/>
                  </a:cubicBezTo>
                  <a:cubicBezTo>
                    <a:pt x="656" y="517"/>
                    <a:pt x="550" y="492"/>
                    <a:pt x="335" y="340"/>
                  </a:cubicBezTo>
                  <a:cubicBezTo>
                    <a:pt x="150" y="199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8" name="Google Shape;5282;p53">
              <a:extLst>
                <a:ext uri="{FF2B5EF4-FFF2-40B4-BE49-F238E27FC236}">
                  <a16:creationId xmlns:a16="http://schemas.microsoft.com/office/drawing/2014/main" id="{F12E5FE0-A3B1-A463-AC16-75DB277D5BCE}"/>
                </a:ext>
              </a:extLst>
            </p:cNvPr>
            <p:cNvSpPr/>
            <p:nvPr/>
          </p:nvSpPr>
          <p:spPr>
            <a:xfrm>
              <a:off x="7438150" y="1602700"/>
              <a:ext cx="15600" cy="12775"/>
            </a:xfrm>
            <a:custGeom>
              <a:avLst/>
              <a:gdLst/>
              <a:ahLst/>
              <a:cxnLst/>
              <a:rect l="l" t="t" r="r" b="b"/>
              <a:pathLst>
                <a:path w="624" h="511" extrusionOk="0">
                  <a:moveTo>
                    <a:pt x="623" y="0"/>
                  </a:moveTo>
                  <a:cubicBezTo>
                    <a:pt x="623" y="0"/>
                    <a:pt x="497" y="178"/>
                    <a:pt x="342" y="289"/>
                  </a:cubicBezTo>
                  <a:cubicBezTo>
                    <a:pt x="156" y="421"/>
                    <a:pt x="67" y="444"/>
                    <a:pt x="28" y="444"/>
                  </a:cubicBezTo>
                  <a:cubicBezTo>
                    <a:pt x="8" y="444"/>
                    <a:pt x="1" y="438"/>
                    <a:pt x="1" y="438"/>
                  </a:cubicBezTo>
                  <a:lnTo>
                    <a:pt x="1" y="438"/>
                  </a:lnTo>
                  <a:lnTo>
                    <a:pt x="8" y="511"/>
                  </a:lnTo>
                  <a:cubicBezTo>
                    <a:pt x="8" y="511"/>
                    <a:pt x="9" y="511"/>
                    <a:pt x="11" y="511"/>
                  </a:cubicBezTo>
                  <a:cubicBezTo>
                    <a:pt x="42" y="511"/>
                    <a:pt x="323" y="497"/>
                    <a:pt x="62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9" name="Google Shape;5283;p53">
              <a:extLst>
                <a:ext uri="{FF2B5EF4-FFF2-40B4-BE49-F238E27FC236}">
                  <a16:creationId xmlns:a16="http://schemas.microsoft.com/office/drawing/2014/main" id="{BE31323B-BCE8-44BD-9B8D-45813A741B38}"/>
                </a:ext>
              </a:extLst>
            </p:cNvPr>
            <p:cNvSpPr/>
            <p:nvPr/>
          </p:nvSpPr>
          <p:spPr>
            <a:xfrm>
              <a:off x="7425575" y="1593625"/>
              <a:ext cx="12600" cy="10200"/>
            </a:xfrm>
            <a:custGeom>
              <a:avLst/>
              <a:gdLst/>
              <a:ahLst/>
              <a:cxnLst/>
              <a:rect l="l" t="t" r="r" b="b"/>
              <a:pathLst>
                <a:path w="504" h="408" extrusionOk="0">
                  <a:moveTo>
                    <a:pt x="1" y="1"/>
                  </a:moveTo>
                  <a:lnTo>
                    <a:pt x="1" y="1"/>
                  </a:lnTo>
                  <a:cubicBezTo>
                    <a:pt x="242" y="395"/>
                    <a:pt x="467" y="408"/>
                    <a:pt x="494" y="408"/>
                  </a:cubicBezTo>
                  <a:cubicBezTo>
                    <a:pt x="496" y="408"/>
                    <a:pt x="497" y="408"/>
                    <a:pt x="497" y="408"/>
                  </a:cubicBezTo>
                  <a:lnTo>
                    <a:pt x="504" y="347"/>
                  </a:lnTo>
                  <a:lnTo>
                    <a:pt x="504" y="347"/>
                  </a:lnTo>
                  <a:cubicBezTo>
                    <a:pt x="504" y="347"/>
                    <a:pt x="497" y="353"/>
                    <a:pt x="479" y="353"/>
                  </a:cubicBezTo>
                  <a:cubicBezTo>
                    <a:pt x="446" y="353"/>
                    <a:pt x="374" y="334"/>
                    <a:pt x="230" y="230"/>
                  </a:cubicBezTo>
                  <a:cubicBezTo>
                    <a:pt x="104" y="14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0" name="Google Shape;5284;p53">
              <a:extLst>
                <a:ext uri="{FF2B5EF4-FFF2-40B4-BE49-F238E27FC236}">
                  <a16:creationId xmlns:a16="http://schemas.microsoft.com/office/drawing/2014/main" id="{18C77B03-F4A3-EE9B-E84D-841E1131774E}"/>
                </a:ext>
              </a:extLst>
            </p:cNvPr>
            <p:cNvSpPr/>
            <p:nvPr/>
          </p:nvSpPr>
          <p:spPr>
            <a:xfrm>
              <a:off x="7286250" y="1591750"/>
              <a:ext cx="46350" cy="58600"/>
            </a:xfrm>
            <a:custGeom>
              <a:avLst/>
              <a:gdLst/>
              <a:ahLst/>
              <a:cxnLst/>
              <a:rect l="l" t="t" r="r" b="b"/>
              <a:pathLst>
                <a:path w="1854" h="2344" extrusionOk="0">
                  <a:moveTo>
                    <a:pt x="927" y="1"/>
                  </a:moveTo>
                  <a:cubicBezTo>
                    <a:pt x="527" y="1"/>
                    <a:pt x="194" y="326"/>
                    <a:pt x="194" y="734"/>
                  </a:cubicBezTo>
                  <a:cubicBezTo>
                    <a:pt x="194" y="764"/>
                    <a:pt x="201" y="801"/>
                    <a:pt x="208" y="831"/>
                  </a:cubicBezTo>
                  <a:cubicBezTo>
                    <a:pt x="75" y="993"/>
                    <a:pt x="0" y="1194"/>
                    <a:pt x="0" y="1417"/>
                  </a:cubicBezTo>
                  <a:cubicBezTo>
                    <a:pt x="0" y="1927"/>
                    <a:pt x="416" y="2343"/>
                    <a:pt x="927" y="2343"/>
                  </a:cubicBezTo>
                  <a:cubicBezTo>
                    <a:pt x="1439" y="2343"/>
                    <a:pt x="1853" y="1927"/>
                    <a:pt x="1853" y="1417"/>
                  </a:cubicBezTo>
                  <a:cubicBezTo>
                    <a:pt x="1853" y="1194"/>
                    <a:pt x="1772" y="993"/>
                    <a:pt x="1645" y="831"/>
                  </a:cubicBezTo>
                  <a:cubicBezTo>
                    <a:pt x="1652" y="801"/>
                    <a:pt x="1652" y="764"/>
                    <a:pt x="1652" y="734"/>
                  </a:cubicBezTo>
                  <a:cubicBezTo>
                    <a:pt x="1652" y="326"/>
                    <a:pt x="1327" y="1"/>
                    <a:pt x="92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1" name="Google Shape;5285;p53">
              <a:extLst>
                <a:ext uri="{FF2B5EF4-FFF2-40B4-BE49-F238E27FC236}">
                  <a16:creationId xmlns:a16="http://schemas.microsoft.com/office/drawing/2014/main" id="{8103E29F-3788-82DB-A467-24E074F33AEA}"/>
                </a:ext>
              </a:extLst>
            </p:cNvPr>
            <p:cNvSpPr/>
            <p:nvPr/>
          </p:nvSpPr>
          <p:spPr>
            <a:xfrm>
              <a:off x="7309225" y="1609675"/>
              <a:ext cx="2250" cy="69550"/>
            </a:xfrm>
            <a:custGeom>
              <a:avLst/>
              <a:gdLst/>
              <a:ahLst/>
              <a:cxnLst/>
              <a:rect l="l" t="t" r="r" b="b"/>
              <a:pathLst>
                <a:path w="90" h="2782" extrusionOk="0">
                  <a:moveTo>
                    <a:pt x="47" y="0"/>
                  </a:moveTo>
                  <a:cubicBezTo>
                    <a:pt x="46" y="0"/>
                    <a:pt x="45" y="2"/>
                    <a:pt x="45" y="10"/>
                  </a:cubicBezTo>
                  <a:lnTo>
                    <a:pt x="1" y="2738"/>
                  </a:lnTo>
                  <a:cubicBezTo>
                    <a:pt x="1" y="2759"/>
                    <a:pt x="22" y="2782"/>
                    <a:pt x="45" y="2782"/>
                  </a:cubicBezTo>
                  <a:lnTo>
                    <a:pt x="52" y="2782"/>
                  </a:lnTo>
                  <a:cubicBezTo>
                    <a:pt x="75" y="2782"/>
                    <a:pt x="90" y="2759"/>
                    <a:pt x="90" y="2738"/>
                  </a:cubicBezTo>
                  <a:cubicBezTo>
                    <a:pt x="90" y="2738"/>
                    <a:pt x="75" y="10"/>
                    <a:pt x="52" y="10"/>
                  </a:cubicBezTo>
                  <a:cubicBezTo>
                    <a:pt x="52" y="10"/>
                    <a:pt x="49" y="0"/>
                    <a:pt x="4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2" name="Google Shape;5286;p53">
              <a:extLst>
                <a:ext uri="{FF2B5EF4-FFF2-40B4-BE49-F238E27FC236}">
                  <a16:creationId xmlns:a16="http://schemas.microsoft.com/office/drawing/2014/main" id="{C6920FB8-00F6-EC26-9AF1-1238A057B70E}"/>
                </a:ext>
              </a:extLst>
            </p:cNvPr>
            <p:cNvSpPr/>
            <p:nvPr/>
          </p:nvSpPr>
          <p:spPr>
            <a:xfrm>
              <a:off x="7297175" y="1626400"/>
              <a:ext cx="13200" cy="10950"/>
            </a:xfrm>
            <a:custGeom>
              <a:avLst/>
              <a:gdLst/>
              <a:ahLst/>
              <a:cxnLst/>
              <a:rect l="l" t="t" r="r" b="b"/>
              <a:pathLst>
                <a:path w="528" h="438" extrusionOk="0">
                  <a:moveTo>
                    <a:pt x="1" y="0"/>
                  </a:moveTo>
                  <a:cubicBezTo>
                    <a:pt x="266" y="431"/>
                    <a:pt x="505" y="438"/>
                    <a:pt x="519" y="438"/>
                  </a:cubicBezTo>
                  <a:cubicBezTo>
                    <a:pt x="520" y="438"/>
                    <a:pt x="520" y="438"/>
                    <a:pt x="520" y="438"/>
                  </a:cubicBezTo>
                  <a:lnTo>
                    <a:pt x="527" y="370"/>
                  </a:lnTo>
                  <a:lnTo>
                    <a:pt x="527" y="370"/>
                  </a:lnTo>
                  <a:cubicBezTo>
                    <a:pt x="527" y="370"/>
                    <a:pt x="521" y="375"/>
                    <a:pt x="504" y="375"/>
                  </a:cubicBezTo>
                  <a:cubicBezTo>
                    <a:pt x="470" y="375"/>
                    <a:pt x="396" y="356"/>
                    <a:pt x="246" y="246"/>
                  </a:cubicBezTo>
                  <a:cubicBezTo>
                    <a:pt x="104" y="148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3" name="Google Shape;5287;p53">
              <a:extLst>
                <a:ext uri="{FF2B5EF4-FFF2-40B4-BE49-F238E27FC236}">
                  <a16:creationId xmlns:a16="http://schemas.microsoft.com/office/drawing/2014/main" id="{3BC062B6-35CC-20C5-0B60-8C8D6A36ED72}"/>
                </a:ext>
              </a:extLst>
            </p:cNvPr>
            <p:cNvSpPr/>
            <p:nvPr/>
          </p:nvSpPr>
          <p:spPr>
            <a:xfrm>
              <a:off x="7310350" y="1623425"/>
              <a:ext cx="11300" cy="9300"/>
            </a:xfrm>
            <a:custGeom>
              <a:avLst/>
              <a:gdLst/>
              <a:ahLst/>
              <a:cxnLst/>
              <a:rect l="l" t="t" r="r" b="b"/>
              <a:pathLst>
                <a:path w="452" h="372" extrusionOk="0">
                  <a:moveTo>
                    <a:pt x="452" y="0"/>
                  </a:moveTo>
                  <a:lnTo>
                    <a:pt x="452" y="0"/>
                  </a:lnTo>
                  <a:cubicBezTo>
                    <a:pt x="452" y="0"/>
                    <a:pt x="356" y="126"/>
                    <a:pt x="244" y="208"/>
                  </a:cubicBezTo>
                  <a:cubicBezTo>
                    <a:pt x="102" y="308"/>
                    <a:pt x="39" y="323"/>
                    <a:pt x="14" y="323"/>
                  </a:cubicBezTo>
                  <a:cubicBezTo>
                    <a:pt x="4" y="323"/>
                    <a:pt x="0" y="320"/>
                    <a:pt x="0" y="320"/>
                  </a:cubicBezTo>
                  <a:lnTo>
                    <a:pt x="0" y="320"/>
                  </a:lnTo>
                  <a:lnTo>
                    <a:pt x="7" y="372"/>
                  </a:lnTo>
                  <a:cubicBezTo>
                    <a:pt x="7" y="372"/>
                    <a:pt x="8" y="372"/>
                    <a:pt x="8" y="372"/>
                  </a:cubicBezTo>
                  <a:cubicBezTo>
                    <a:pt x="22" y="372"/>
                    <a:pt x="224" y="365"/>
                    <a:pt x="452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4" name="Google Shape;5288;p53">
              <a:extLst>
                <a:ext uri="{FF2B5EF4-FFF2-40B4-BE49-F238E27FC236}">
                  <a16:creationId xmlns:a16="http://schemas.microsoft.com/office/drawing/2014/main" id="{4FC3BD2C-3D65-D69A-0D56-7AA2A78A87CD}"/>
                </a:ext>
              </a:extLst>
            </p:cNvPr>
            <p:cNvSpPr/>
            <p:nvPr/>
          </p:nvSpPr>
          <p:spPr>
            <a:xfrm>
              <a:off x="7301275" y="1616975"/>
              <a:ext cx="9100" cy="7400"/>
            </a:xfrm>
            <a:custGeom>
              <a:avLst/>
              <a:gdLst/>
              <a:ahLst/>
              <a:cxnLst/>
              <a:rect l="l" t="t" r="r" b="b"/>
              <a:pathLst>
                <a:path w="364" h="296" extrusionOk="0">
                  <a:moveTo>
                    <a:pt x="0" y="0"/>
                  </a:moveTo>
                  <a:cubicBezTo>
                    <a:pt x="184" y="289"/>
                    <a:pt x="348" y="295"/>
                    <a:pt x="362" y="295"/>
                  </a:cubicBezTo>
                  <a:cubicBezTo>
                    <a:pt x="363" y="295"/>
                    <a:pt x="363" y="295"/>
                    <a:pt x="363" y="295"/>
                  </a:cubicBezTo>
                  <a:lnTo>
                    <a:pt x="363" y="251"/>
                  </a:lnTo>
                  <a:cubicBezTo>
                    <a:pt x="363" y="251"/>
                    <a:pt x="359" y="254"/>
                    <a:pt x="347" y="254"/>
                  </a:cubicBezTo>
                  <a:cubicBezTo>
                    <a:pt x="325" y="254"/>
                    <a:pt x="274" y="241"/>
                    <a:pt x="171" y="162"/>
                  </a:cubicBezTo>
                  <a:cubicBezTo>
                    <a:pt x="73" y="9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5" name="Google Shape;5289;p53">
              <a:extLst>
                <a:ext uri="{FF2B5EF4-FFF2-40B4-BE49-F238E27FC236}">
                  <a16:creationId xmlns:a16="http://schemas.microsoft.com/office/drawing/2014/main" id="{4D4210CA-61E1-82F7-98DE-1F957F8589AF}"/>
                </a:ext>
              </a:extLst>
            </p:cNvPr>
            <p:cNvSpPr/>
            <p:nvPr/>
          </p:nvSpPr>
          <p:spPr>
            <a:xfrm>
              <a:off x="7200475" y="1642125"/>
              <a:ext cx="91000" cy="37825"/>
            </a:xfrm>
            <a:custGeom>
              <a:avLst/>
              <a:gdLst/>
              <a:ahLst/>
              <a:cxnLst/>
              <a:rect l="l" t="t" r="r" b="b"/>
              <a:pathLst>
                <a:path w="3640" h="1513" extrusionOk="0">
                  <a:moveTo>
                    <a:pt x="1215" y="1"/>
                  </a:moveTo>
                  <a:cubicBezTo>
                    <a:pt x="801" y="1"/>
                    <a:pt x="469" y="335"/>
                    <a:pt x="469" y="750"/>
                  </a:cubicBezTo>
                  <a:lnTo>
                    <a:pt x="469" y="764"/>
                  </a:lnTo>
                  <a:cubicBezTo>
                    <a:pt x="438" y="757"/>
                    <a:pt x="408" y="750"/>
                    <a:pt x="380" y="750"/>
                  </a:cubicBezTo>
                  <a:cubicBezTo>
                    <a:pt x="172" y="750"/>
                    <a:pt x="1" y="920"/>
                    <a:pt x="1" y="1128"/>
                  </a:cubicBezTo>
                  <a:cubicBezTo>
                    <a:pt x="1" y="1335"/>
                    <a:pt x="172" y="1498"/>
                    <a:pt x="380" y="1498"/>
                  </a:cubicBezTo>
                  <a:lnTo>
                    <a:pt x="380" y="1512"/>
                  </a:lnTo>
                  <a:lnTo>
                    <a:pt x="3403" y="1512"/>
                  </a:lnTo>
                  <a:lnTo>
                    <a:pt x="3403" y="1498"/>
                  </a:lnTo>
                  <a:cubicBezTo>
                    <a:pt x="3536" y="1475"/>
                    <a:pt x="3639" y="1365"/>
                    <a:pt x="3639" y="1217"/>
                  </a:cubicBezTo>
                  <a:cubicBezTo>
                    <a:pt x="3639" y="1061"/>
                    <a:pt x="3513" y="934"/>
                    <a:pt x="3358" y="934"/>
                  </a:cubicBezTo>
                  <a:cubicBezTo>
                    <a:pt x="3291" y="934"/>
                    <a:pt x="3232" y="965"/>
                    <a:pt x="3181" y="1002"/>
                  </a:cubicBezTo>
                  <a:lnTo>
                    <a:pt x="3181" y="965"/>
                  </a:lnTo>
                  <a:cubicBezTo>
                    <a:pt x="3181" y="668"/>
                    <a:pt x="2942" y="424"/>
                    <a:pt x="2647" y="424"/>
                  </a:cubicBezTo>
                  <a:cubicBezTo>
                    <a:pt x="2476" y="424"/>
                    <a:pt x="2327" y="497"/>
                    <a:pt x="2224" y="623"/>
                  </a:cubicBezTo>
                  <a:cubicBezTo>
                    <a:pt x="2186" y="609"/>
                    <a:pt x="2149" y="602"/>
                    <a:pt x="2114" y="602"/>
                  </a:cubicBezTo>
                  <a:cubicBezTo>
                    <a:pt x="2053" y="602"/>
                    <a:pt x="2001" y="616"/>
                    <a:pt x="1957" y="639"/>
                  </a:cubicBezTo>
                  <a:cubicBezTo>
                    <a:pt x="1898" y="275"/>
                    <a:pt x="1594" y="1"/>
                    <a:pt x="121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6" name="Google Shape;5290;p53">
              <a:extLst>
                <a:ext uri="{FF2B5EF4-FFF2-40B4-BE49-F238E27FC236}">
                  <a16:creationId xmlns:a16="http://schemas.microsoft.com/office/drawing/2014/main" id="{787D91DD-D799-99B0-93E7-296F65D8FC81}"/>
                </a:ext>
              </a:extLst>
            </p:cNvPr>
            <p:cNvSpPr/>
            <p:nvPr/>
          </p:nvSpPr>
          <p:spPr>
            <a:xfrm>
              <a:off x="7211775" y="1643250"/>
              <a:ext cx="12425" cy="17975"/>
            </a:xfrm>
            <a:custGeom>
              <a:avLst/>
              <a:gdLst/>
              <a:ahLst/>
              <a:cxnLst/>
              <a:rect l="l" t="t" r="r" b="b"/>
              <a:pathLst>
                <a:path w="497" h="719" extrusionOk="0">
                  <a:moveTo>
                    <a:pt x="497" y="0"/>
                  </a:moveTo>
                  <a:lnTo>
                    <a:pt x="497" y="0"/>
                  </a:lnTo>
                  <a:cubicBezTo>
                    <a:pt x="209" y="82"/>
                    <a:pt x="1" y="349"/>
                    <a:pt x="1" y="667"/>
                  </a:cubicBezTo>
                  <a:lnTo>
                    <a:pt x="1" y="712"/>
                  </a:lnTo>
                  <a:cubicBezTo>
                    <a:pt x="8" y="712"/>
                    <a:pt x="8" y="712"/>
                    <a:pt x="17" y="719"/>
                  </a:cubicBezTo>
                  <a:lnTo>
                    <a:pt x="17" y="705"/>
                  </a:lnTo>
                  <a:cubicBezTo>
                    <a:pt x="17" y="386"/>
                    <a:pt x="216" y="112"/>
                    <a:pt x="497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7" name="Google Shape;5291;p53">
              <a:extLst>
                <a:ext uri="{FF2B5EF4-FFF2-40B4-BE49-F238E27FC236}">
                  <a16:creationId xmlns:a16="http://schemas.microsoft.com/office/drawing/2014/main" id="{A9B9C023-523E-C852-CB46-772BB2D23906}"/>
                </a:ext>
              </a:extLst>
            </p:cNvPr>
            <p:cNvSpPr/>
            <p:nvPr/>
          </p:nvSpPr>
          <p:spPr>
            <a:xfrm>
              <a:off x="7211775" y="1642700"/>
              <a:ext cx="17100" cy="34325"/>
            </a:xfrm>
            <a:custGeom>
              <a:avLst/>
              <a:gdLst/>
              <a:ahLst/>
              <a:cxnLst/>
              <a:rect l="l" t="t" r="r" b="b"/>
              <a:pathLst>
                <a:path w="684" h="1373" extrusionOk="0">
                  <a:moveTo>
                    <a:pt x="683" y="1"/>
                  </a:moveTo>
                  <a:cubicBezTo>
                    <a:pt x="623" y="1"/>
                    <a:pt x="557" y="8"/>
                    <a:pt x="497" y="22"/>
                  </a:cubicBezTo>
                  <a:cubicBezTo>
                    <a:pt x="216" y="134"/>
                    <a:pt x="17" y="408"/>
                    <a:pt x="17" y="727"/>
                  </a:cubicBezTo>
                  <a:lnTo>
                    <a:pt x="17" y="741"/>
                  </a:lnTo>
                  <a:cubicBezTo>
                    <a:pt x="8" y="734"/>
                    <a:pt x="8" y="734"/>
                    <a:pt x="1" y="734"/>
                  </a:cubicBezTo>
                  <a:cubicBezTo>
                    <a:pt x="24" y="1089"/>
                    <a:pt x="319" y="1372"/>
                    <a:pt x="683" y="1372"/>
                  </a:cubicBezTo>
                  <a:cubicBezTo>
                    <a:pt x="683" y="1372"/>
                    <a:pt x="290" y="1246"/>
                    <a:pt x="260" y="689"/>
                  </a:cubicBezTo>
                  <a:cubicBezTo>
                    <a:pt x="230" y="179"/>
                    <a:pt x="683" y="1"/>
                    <a:pt x="683" y="1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8" name="Google Shape;5292;p53">
              <a:extLst>
                <a:ext uri="{FF2B5EF4-FFF2-40B4-BE49-F238E27FC236}">
                  <a16:creationId xmlns:a16="http://schemas.microsoft.com/office/drawing/2014/main" id="{F8CBED90-272C-0532-438B-8CFFE25B79AB}"/>
                </a:ext>
              </a:extLst>
            </p:cNvPr>
            <p:cNvSpPr/>
            <p:nvPr/>
          </p:nvSpPr>
          <p:spPr>
            <a:xfrm>
              <a:off x="7244575" y="1657350"/>
              <a:ext cx="18000" cy="9075"/>
            </a:xfrm>
            <a:custGeom>
              <a:avLst/>
              <a:gdLst/>
              <a:ahLst/>
              <a:cxnLst/>
              <a:rect l="l" t="t" r="r" b="b"/>
              <a:pathLst>
                <a:path w="720" h="363" extrusionOk="0">
                  <a:moveTo>
                    <a:pt x="357" y="0"/>
                  </a:moveTo>
                  <a:cubicBezTo>
                    <a:pt x="163" y="7"/>
                    <a:pt x="1" y="171"/>
                    <a:pt x="8" y="363"/>
                  </a:cubicBezTo>
                  <a:cubicBezTo>
                    <a:pt x="8" y="363"/>
                    <a:pt x="67" y="164"/>
                    <a:pt x="357" y="141"/>
                  </a:cubicBezTo>
                  <a:lnTo>
                    <a:pt x="385" y="141"/>
                  </a:lnTo>
                  <a:cubicBezTo>
                    <a:pt x="630" y="141"/>
                    <a:pt x="719" y="356"/>
                    <a:pt x="719" y="356"/>
                  </a:cubicBezTo>
                  <a:cubicBezTo>
                    <a:pt x="719" y="164"/>
                    <a:pt x="556" y="0"/>
                    <a:pt x="364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9" name="Google Shape;5293;p53">
              <a:extLst>
                <a:ext uri="{FF2B5EF4-FFF2-40B4-BE49-F238E27FC236}">
                  <a16:creationId xmlns:a16="http://schemas.microsoft.com/office/drawing/2014/main" id="{7363CC00-DB68-B920-7692-9DB19EB98456}"/>
                </a:ext>
              </a:extLst>
            </p:cNvPr>
            <p:cNvSpPr/>
            <p:nvPr/>
          </p:nvSpPr>
          <p:spPr>
            <a:xfrm>
              <a:off x="7488350" y="1497900"/>
              <a:ext cx="29500" cy="12925"/>
            </a:xfrm>
            <a:custGeom>
              <a:avLst/>
              <a:gdLst/>
              <a:ahLst/>
              <a:cxnLst/>
              <a:rect l="l" t="t" r="r" b="b"/>
              <a:pathLst>
                <a:path w="1180" h="517" extrusionOk="0">
                  <a:moveTo>
                    <a:pt x="1026" y="0"/>
                  </a:moveTo>
                  <a:cubicBezTo>
                    <a:pt x="950" y="0"/>
                    <a:pt x="859" y="34"/>
                    <a:pt x="771" y="102"/>
                  </a:cubicBezTo>
                  <a:cubicBezTo>
                    <a:pt x="698" y="154"/>
                    <a:pt x="637" y="228"/>
                    <a:pt x="609" y="294"/>
                  </a:cubicBezTo>
                  <a:cubicBezTo>
                    <a:pt x="548" y="250"/>
                    <a:pt x="468" y="220"/>
                    <a:pt x="380" y="205"/>
                  </a:cubicBezTo>
                  <a:cubicBezTo>
                    <a:pt x="346" y="200"/>
                    <a:pt x="315" y="198"/>
                    <a:pt x="285" y="198"/>
                  </a:cubicBezTo>
                  <a:cubicBezTo>
                    <a:pt x="128" y="198"/>
                    <a:pt x="20" y="263"/>
                    <a:pt x="1" y="369"/>
                  </a:cubicBezTo>
                  <a:cubicBezTo>
                    <a:pt x="1" y="369"/>
                    <a:pt x="44" y="287"/>
                    <a:pt x="248" y="287"/>
                  </a:cubicBezTo>
                  <a:cubicBezTo>
                    <a:pt x="282" y="287"/>
                    <a:pt x="320" y="289"/>
                    <a:pt x="364" y="294"/>
                  </a:cubicBezTo>
                  <a:cubicBezTo>
                    <a:pt x="460" y="301"/>
                    <a:pt x="534" y="332"/>
                    <a:pt x="586" y="362"/>
                  </a:cubicBezTo>
                  <a:lnTo>
                    <a:pt x="579" y="517"/>
                  </a:lnTo>
                  <a:lnTo>
                    <a:pt x="653" y="502"/>
                  </a:lnTo>
                  <a:lnTo>
                    <a:pt x="742" y="479"/>
                  </a:lnTo>
                  <a:lnTo>
                    <a:pt x="661" y="346"/>
                  </a:lnTo>
                  <a:cubicBezTo>
                    <a:pt x="698" y="294"/>
                    <a:pt x="742" y="236"/>
                    <a:pt x="824" y="168"/>
                  </a:cubicBezTo>
                  <a:cubicBezTo>
                    <a:pt x="938" y="77"/>
                    <a:pt x="1032" y="56"/>
                    <a:pt x="1094" y="56"/>
                  </a:cubicBezTo>
                  <a:cubicBezTo>
                    <a:pt x="1149" y="56"/>
                    <a:pt x="1180" y="72"/>
                    <a:pt x="1180" y="72"/>
                  </a:cubicBezTo>
                  <a:cubicBezTo>
                    <a:pt x="1145" y="25"/>
                    <a:pt x="1091" y="0"/>
                    <a:pt x="1026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0" name="Google Shape;5294;p53">
              <a:extLst>
                <a:ext uri="{FF2B5EF4-FFF2-40B4-BE49-F238E27FC236}">
                  <a16:creationId xmlns:a16="http://schemas.microsoft.com/office/drawing/2014/main" id="{9A12FE25-D168-836D-011D-29DB56A30A07}"/>
                </a:ext>
              </a:extLst>
            </p:cNvPr>
            <p:cNvSpPr/>
            <p:nvPr/>
          </p:nvSpPr>
          <p:spPr>
            <a:xfrm>
              <a:off x="7313675" y="1413575"/>
              <a:ext cx="24825" cy="12025"/>
            </a:xfrm>
            <a:custGeom>
              <a:avLst/>
              <a:gdLst/>
              <a:ahLst/>
              <a:cxnLst/>
              <a:rect l="l" t="t" r="r" b="b"/>
              <a:pathLst>
                <a:path w="993" h="481" extrusionOk="0">
                  <a:moveTo>
                    <a:pt x="851" y="0"/>
                  </a:moveTo>
                  <a:cubicBezTo>
                    <a:pt x="787" y="0"/>
                    <a:pt x="715" y="30"/>
                    <a:pt x="644" y="89"/>
                  </a:cubicBezTo>
                  <a:cubicBezTo>
                    <a:pt x="578" y="141"/>
                    <a:pt x="534" y="207"/>
                    <a:pt x="511" y="267"/>
                  </a:cubicBezTo>
                  <a:cubicBezTo>
                    <a:pt x="459" y="230"/>
                    <a:pt x="394" y="192"/>
                    <a:pt x="312" y="178"/>
                  </a:cubicBezTo>
                  <a:cubicBezTo>
                    <a:pt x="281" y="173"/>
                    <a:pt x="251" y="170"/>
                    <a:pt x="224" y="170"/>
                  </a:cubicBezTo>
                  <a:cubicBezTo>
                    <a:pt x="93" y="170"/>
                    <a:pt x="6" y="227"/>
                    <a:pt x="1" y="326"/>
                  </a:cubicBezTo>
                  <a:cubicBezTo>
                    <a:pt x="1" y="326"/>
                    <a:pt x="33" y="251"/>
                    <a:pt x="203" y="251"/>
                  </a:cubicBezTo>
                  <a:cubicBezTo>
                    <a:pt x="233" y="251"/>
                    <a:pt x="266" y="253"/>
                    <a:pt x="305" y="258"/>
                  </a:cubicBezTo>
                  <a:cubicBezTo>
                    <a:pt x="386" y="274"/>
                    <a:pt x="445" y="303"/>
                    <a:pt x="490" y="333"/>
                  </a:cubicBezTo>
                  <a:lnTo>
                    <a:pt x="490" y="480"/>
                  </a:lnTo>
                  <a:lnTo>
                    <a:pt x="555" y="466"/>
                  </a:lnTo>
                  <a:lnTo>
                    <a:pt x="630" y="452"/>
                  </a:lnTo>
                  <a:lnTo>
                    <a:pt x="555" y="319"/>
                  </a:lnTo>
                  <a:cubicBezTo>
                    <a:pt x="586" y="274"/>
                    <a:pt x="623" y="214"/>
                    <a:pt x="689" y="162"/>
                  </a:cubicBezTo>
                  <a:cubicBezTo>
                    <a:pt x="782" y="77"/>
                    <a:pt x="862" y="57"/>
                    <a:pt x="916" y="57"/>
                  </a:cubicBezTo>
                  <a:cubicBezTo>
                    <a:pt x="964" y="57"/>
                    <a:pt x="993" y="73"/>
                    <a:pt x="993" y="73"/>
                  </a:cubicBezTo>
                  <a:cubicBezTo>
                    <a:pt x="958" y="24"/>
                    <a:pt x="908" y="0"/>
                    <a:pt x="851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1" name="Google Shape;5295;p53">
              <a:extLst>
                <a:ext uri="{FF2B5EF4-FFF2-40B4-BE49-F238E27FC236}">
                  <a16:creationId xmlns:a16="http://schemas.microsoft.com/office/drawing/2014/main" id="{5BB9B077-1414-86B1-3012-A38914477358}"/>
                </a:ext>
              </a:extLst>
            </p:cNvPr>
            <p:cNvSpPr/>
            <p:nvPr/>
          </p:nvSpPr>
          <p:spPr>
            <a:xfrm>
              <a:off x="7314425" y="1458625"/>
              <a:ext cx="15025" cy="6450"/>
            </a:xfrm>
            <a:custGeom>
              <a:avLst/>
              <a:gdLst/>
              <a:ahLst/>
              <a:cxnLst/>
              <a:rect l="l" t="t" r="r" b="b"/>
              <a:pathLst>
                <a:path w="601" h="258" extrusionOk="0">
                  <a:moveTo>
                    <a:pt x="520" y="1"/>
                  </a:moveTo>
                  <a:cubicBezTo>
                    <a:pt x="482" y="1"/>
                    <a:pt x="437" y="17"/>
                    <a:pt x="392" y="50"/>
                  </a:cubicBezTo>
                  <a:cubicBezTo>
                    <a:pt x="348" y="80"/>
                    <a:pt x="326" y="110"/>
                    <a:pt x="303" y="146"/>
                  </a:cubicBezTo>
                  <a:cubicBezTo>
                    <a:pt x="275" y="124"/>
                    <a:pt x="237" y="110"/>
                    <a:pt x="193" y="101"/>
                  </a:cubicBezTo>
                  <a:cubicBezTo>
                    <a:pt x="178" y="99"/>
                    <a:pt x="164" y="98"/>
                    <a:pt x="150" y="98"/>
                  </a:cubicBezTo>
                  <a:cubicBezTo>
                    <a:pt x="68" y="98"/>
                    <a:pt x="7" y="133"/>
                    <a:pt x="1" y="183"/>
                  </a:cubicBezTo>
                  <a:cubicBezTo>
                    <a:pt x="1" y="183"/>
                    <a:pt x="23" y="143"/>
                    <a:pt x="134" y="143"/>
                  </a:cubicBezTo>
                  <a:cubicBezTo>
                    <a:pt x="150" y="143"/>
                    <a:pt x="167" y="144"/>
                    <a:pt x="186" y="146"/>
                  </a:cubicBezTo>
                  <a:cubicBezTo>
                    <a:pt x="230" y="146"/>
                    <a:pt x="268" y="162"/>
                    <a:pt x="296" y="176"/>
                  </a:cubicBezTo>
                  <a:lnTo>
                    <a:pt x="289" y="258"/>
                  </a:lnTo>
                  <a:lnTo>
                    <a:pt x="333" y="243"/>
                  </a:lnTo>
                  <a:lnTo>
                    <a:pt x="378" y="234"/>
                  </a:lnTo>
                  <a:lnTo>
                    <a:pt x="333" y="169"/>
                  </a:lnTo>
                  <a:cubicBezTo>
                    <a:pt x="348" y="146"/>
                    <a:pt x="378" y="117"/>
                    <a:pt x="415" y="87"/>
                  </a:cubicBezTo>
                  <a:cubicBezTo>
                    <a:pt x="475" y="39"/>
                    <a:pt x="524" y="28"/>
                    <a:pt x="557" y="28"/>
                  </a:cubicBezTo>
                  <a:cubicBezTo>
                    <a:pt x="585" y="28"/>
                    <a:pt x="600" y="35"/>
                    <a:pt x="600" y="35"/>
                  </a:cubicBezTo>
                  <a:cubicBezTo>
                    <a:pt x="580" y="12"/>
                    <a:pt x="552" y="1"/>
                    <a:pt x="520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2" name="Google Shape;5296;p53">
              <a:extLst>
                <a:ext uri="{FF2B5EF4-FFF2-40B4-BE49-F238E27FC236}">
                  <a16:creationId xmlns:a16="http://schemas.microsoft.com/office/drawing/2014/main" id="{01624624-332D-927F-29EF-AF6566499655}"/>
                </a:ext>
              </a:extLst>
            </p:cNvPr>
            <p:cNvSpPr/>
            <p:nvPr/>
          </p:nvSpPr>
          <p:spPr>
            <a:xfrm>
              <a:off x="7228275" y="1437800"/>
              <a:ext cx="20375" cy="8725"/>
            </a:xfrm>
            <a:custGeom>
              <a:avLst/>
              <a:gdLst/>
              <a:ahLst/>
              <a:cxnLst/>
              <a:rect l="l" t="t" r="r" b="b"/>
              <a:pathLst>
                <a:path w="815" h="349" extrusionOk="0">
                  <a:moveTo>
                    <a:pt x="712" y="1"/>
                  </a:moveTo>
                  <a:cubicBezTo>
                    <a:pt x="659" y="1"/>
                    <a:pt x="596" y="23"/>
                    <a:pt x="534" y="68"/>
                  </a:cubicBezTo>
                  <a:cubicBezTo>
                    <a:pt x="482" y="105"/>
                    <a:pt x="445" y="157"/>
                    <a:pt x="424" y="201"/>
                  </a:cubicBezTo>
                  <a:cubicBezTo>
                    <a:pt x="379" y="171"/>
                    <a:pt x="326" y="150"/>
                    <a:pt x="260" y="143"/>
                  </a:cubicBezTo>
                  <a:cubicBezTo>
                    <a:pt x="237" y="139"/>
                    <a:pt x="215" y="137"/>
                    <a:pt x="194" y="137"/>
                  </a:cubicBezTo>
                  <a:cubicBezTo>
                    <a:pt x="88" y="137"/>
                    <a:pt x="12" y="184"/>
                    <a:pt x="0" y="253"/>
                  </a:cubicBezTo>
                  <a:cubicBezTo>
                    <a:pt x="0" y="253"/>
                    <a:pt x="28" y="197"/>
                    <a:pt x="176" y="197"/>
                  </a:cubicBezTo>
                  <a:cubicBezTo>
                    <a:pt x="198" y="197"/>
                    <a:pt x="224" y="198"/>
                    <a:pt x="253" y="201"/>
                  </a:cubicBezTo>
                  <a:cubicBezTo>
                    <a:pt x="319" y="209"/>
                    <a:pt x="370" y="223"/>
                    <a:pt x="400" y="246"/>
                  </a:cubicBezTo>
                  <a:lnTo>
                    <a:pt x="400" y="349"/>
                  </a:lnTo>
                  <a:lnTo>
                    <a:pt x="452" y="342"/>
                  </a:lnTo>
                  <a:lnTo>
                    <a:pt x="512" y="328"/>
                  </a:lnTo>
                  <a:lnTo>
                    <a:pt x="459" y="232"/>
                  </a:lnTo>
                  <a:cubicBezTo>
                    <a:pt x="482" y="201"/>
                    <a:pt x="512" y="157"/>
                    <a:pt x="571" y="120"/>
                  </a:cubicBezTo>
                  <a:cubicBezTo>
                    <a:pt x="656" y="51"/>
                    <a:pt x="723" y="37"/>
                    <a:pt x="766" y="37"/>
                  </a:cubicBezTo>
                  <a:cubicBezTo>
                    <a:pt x="797" y="37"/>
                    <a:pt x="815" y="45"/>
                    <a:pt x="815" y="45"/>
                  </a:cubicBezTo>
                  <a:cubicBezTo>
                    <a:pt x="792" y="15"/>
                    <a:pt x="755" y="1"/>
                    <a:pt x="712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3" name="Google Shape;5297;p53">
              <a:extLst>
                <a:ext uri="{FF2B5EF4-FFF2-40B4-BE49-F238E27FC236}">
                  <a16:creationId xmlns:a16="http://schemas.microsoft.com/office/drawing/2014/main" id="{C50722F1-45C5-DC8D-8C5A-889CA0BE143D}"/>
                </a:ext>
              </a:extLst>
            </p:cNvPr>
            <p:cNvSpPr/>
            <p:nvPr/>
          </p:nvSpPr>
          <p:spPr>
            <a:xfrm>
              <a:off x="7503925" y="1476125"/>
              <a:ext cx="10950" cy="4700"/>
            </a:xfrm>
            <a:custGeom>
              <a:avLst/>
              <a:gdLst/>
              <a:ahLst/>
              <a:cxnLst/>
              <a:rect l="l" t="t" r="r" b="b"/>
              <a:pathLst>
                <a:path w="438" h="188" extrusionOk="0">
                  <a:moveTo>
                    <a:pt x="385" y="1"/>
                  </a:moveTo>
                  <a:cubicBezTo>
                    <a:pt x="357" y="1"/>
                    <a:pt x="324" y="14"/>
                    <a:pt x="290" y="40"/>
                  </a:cubicBezTo>
                  <a:cubicBezTo>
                    <a:pt x="260" y="54"/>
                    <a:pt x="237" y="84"/>
                    <a:pt x="230" y="105"/>
                  </a:cubicBezTo>
                  <a:cubicBezTo>
                    <a:pt x="208" y="91"/>
                    <a:pt x="178" y="77"/>
                    <a:pt x="141" y="77"/>
                  </a:cubicBezTo>
                  <a:cubicBezTo>
                    <a:pt x="127" y="74"/>
                    <a:pt x="114" y="73"/>
                    <a:pt x="102" y="73"/>
                  </a:cubicBezTo>
                  <a:cubicBezTo>
                    <a:pt x="47" y="73"/>
                    <a:pt x="6" y="99"/>
                    <a:pt x="0" y="136"/>
                  </a:cubicBezTo>
                  <a:cubicBezTo>
                    <a:pt x="0" y="136"/>
                    <a:pt x="17" y="103"/>
                    <a:pt x="93" y="103"/>
                  </a:cubicBezTo>
                  <a:cubicBezTo>
                    <a:pt x="105" y="103"/>
                    <a:pt x="118" y="103"/>
                    <a:pt x="134" y="105"/>
                  </a:cubicBezTo>
                  <a:cubicBezTo>
                    <a:pt x="171" y="105"/>
                    <a:pt x="201" y="121"/>
                    <a:pt x="215" y="128"/>
                  </a:cubicBezTo>
                  <a:lnTo>
                    <a:pt x="215" y="187"/>
                  </a:lnTo>
                  <a:lnTo>
                    <a:pt x="246" y="180"/>
                  </a:lnTo>
                  <a:lnTo>
                    <a:pt x="274" y="173"/>
                  </a:lnTo>
                  <a:lnTo>
                    <a:pt x="246" y="121"/>
                  </a:lnTo>
                  <a:cubicBezTo>
                    <a:pt x="260" y="105"/>
                    <a:pt x="274" y="84"/>
                    <a:pt x="304" y="61"/>
                  </a:cubicBezTo>
                  <a:cubicBezTo>
                    <a:pt x="348" y="26"/>
                    <a:pt x="383" y="17"/>
                    <a:pt x="406" y="17"/>
                  </a:cubicBezTo>
                  <a:cubicBezTo>
                    <a:pt x="427" y="17"/>
                    <a:pt x="438" y="24"/>
                    <a:pt x="438" y="24"/>
                  </a:cubicBezTo>
                  <a:cubicBezTo>
                    <a:pt x="425" y="8"/>
                    <a:pt x="407" y="1"/>
                    <a:pt x="38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4" name="Google Shape;5298;p53">
              <a:extLst>
                <a:ext uri="{FF2B5EF4-FFF2-40B4-BE49-F238E27FC236}">
                  <a16:creationId xmlns:a16="http://schemas.microsoft.com/office/drawing/2014/main" id="{1C309B1A-64F6-39E3-AC79-AFC26C2E8232}"/>
                </a:ext>
              </a:extLst>
            </p:cNvPr>
            <p:cNvSpPr/>
            <p:nvPr/>
          </p:nvSpPr>
          <p:spPr>
            <a:xfrm>
              <a:off x="7717150" y="1657150"/>
              <a:ext cx="58350" cy="24300"/>
            </a:xfrm>
            <a:custGeom>
              <a:avLst/>
              <a:gdLst/>
              <a:ahLst/>
              <a:cxnLst/>
              <a:rect l="l" t="t" r="r" b="b"/>
              <a:pathLst>
                <a:path w="2334" h="972" extrusionOk="0">
                  <a:moveTo>
                    <a:pt x="777" y="1"/>
                  </a:moveTo>
                  <a:cubicBezTo>
                    <a:pt x="511" y="1"/>
                    <a:pt x="297" y="216"/>
                    <a:pt x="297" y="474"/>
                  </a:cubicBezTo>
                  <a:lnTo>
                    <a:pt x="297" y="483"/>
                  </a:lnTo>
                  <a:cubicBezTo>
                    <a:pt x="281" y="483"/>
                    <a:pt x="260" y="474"/>
                    <a:pt x="244" y="474"/>
                  </a:cubicBezTo>
                  <a:cubicBezTo>
                    <a:pt x="110" y="474"/>
                    <a:pt x="0" y="586"/>
                    <a:pt x="0" y="719"/>
                  </a:cubicBezTo>
                  <a:cubicBezTo>
                    <a:pt x="0" y="853"/>
                    <a:pt x="110" y="956"/>
                    <a:pt x="244" y="956"/>
                  </a:cubicBezTo>
                  <a:lnTo>
                    <a:pt x="244" y="972"/>
                  </a:lnTo>
                  <a:lnTo>
                    <a:pt x="2179" y="972"/>
                  </a:lnTo>
                  <a:lnTo>
                    <a:pt x="2179" y="956"/>
                  </a:lnTo>
                  <a:cubicBezTo>
                    <a:pt x="2268" y="949"/>
                    <a:pt x="2333" y="867"/>
                    <a:pt x="2333" y="778"/>
                  </a:cubicBezTo>
                  <a:cubicBezTo>
                    <a:pt x="2333" y="682"/>
                    <a:pt x="2253" y="600"/>
                    <a:pt x="2156" y="600"/>
                  </a:cubicBezTo>
                  <a:cubicBezTo>
                    <a:pt x="2111" y="600"/>
                    <a:pt x="2076" y="616"/>
                    <a:pt x="2038" y="638"/>
                  </a:cubicBezTo>
                  <a:lnTo>
                    <a:pt x="2038" y="616"/>
                  </a:lnTo>
                  <a:cubicBezTo>
                    <a:pt x="2038" y="422"/>
                    <a:pt x="1889" y="268"/>
                    <a:pt x="1697" y="268"/>
                  </a:cubicBezTo>
                  <a:cubicBezTo>
                    <a:pt x="1587" y="268"/>
                    <a:pt x="1489" y="319"/>
                    <a:pt x="1430" y="394"/>
                  </a:cubicBezTo>
                  <a:cubicBezTo>
                    <a:pt x="1409" y="385"/>
                    <a:pt x="1378" y="385"/>
                    <a:pt x="1355" y="385"/>
                  </a:cubicBezTo>
                  <a:cubicBezTo>
                    <a:pt x="1320" y="385"/>
                    <a:pt x="1282" y="394"/>
                    <a:pt x="1252" y="408"/>
                  </a:cubicBezTo>
                  <a:cubicBezTo>
                    <a:pt x="1222" y="172"/>
                    <a:pt x="1023" y="1"/>
                    <a:pt x="77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5" name="Google Shape;5299;p53">
              <a:extLst>
                <a:ext uri="{FF2B5EF4-FFF2-40B4-BE49-F238E27FC236}">
                  <a16:creationId xmlns:a16="http://schemas.microsoft.com/office/drawing/2014/main" id="{E190168E-C16C-D968-93FC-DAE2729BDCF0}"/>
                </a:ext>
              </a:extLst>
            </p:cNvPr>
            <p:cNvSpPr/>
            <p:nvPr/>
          </p:nvSpPr>
          <p:spPr>
            <a:xfrm>
              <a:off x="7724350" y="1657350"/>
              <a:ext cx="10950" cy="22075"/>
            </a:xfrm>
            <a:custGeom>
              <a:avLst/>
              <a:gdLst/>
              <a:ahLst/>
              <a:cxnLst/>
              <a:rect l="l" t="t" r="r" b="b"/>
              <a:pathLst>
                <a:path w="438" h="883" extrusionOk="0">
                  <a:moveTo>
                    <a:pt x="438" y="0"/>
                  </a:moveTo>
                  <a:cubicBezTo>
                    <a:pt x="201" y="0"/>
                    <a:pt x="0" y="199"/>
                    <a:pt x="0" y="445"/>
                  </a:cubicBezTo>
                  <a:cubicBezTo>
                    <a:pt x="0" y="688"/>
                    <a:pt x="201" y="882"/>
                    <a:pt x="438" y="882"/>
                  </a:cubicBezTo>
                  <a:cubicBezTo>
                    <a:pt x="438" y="882"/>
                    <a:pt x="187" y="800"/>
                    <a:pt x="171" y="445"/>
                  </a:cubicBezTo>
                  <a:cubicBezTo>
                    <a:pt x="150" y="119"/>
                    <a:pt x="438" y="0"/>
                    <a:pt x="43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6" name="Google Shape;5300;p53">
              <a:extLst>
                <a:ext uri="{FF2B5EF4-FFF2-40B4-BE49-F238E27FC236}">
                  <a16:creationId xmlns:a16="http://schemas.microsoft.com/office/drawing/2014/main" id="{54AAF095-04CD-DE9C-F2BF-19DAABE3362A}"/>
                </a:ext>
              </a:extLst>
            </p:cNvPr>
            <p:cNvSpPr/>
            <p:nvPr/>
          </p:nvSpPr>
          <p:spPr>
            <a:xfrm>
              <a:off x="7745475" y="1666775"/>
              <a:ext cx="11525" cy="5975"/>
            </a:xfrm>
            <a:custGeom>
              <a:avLst/>
              <a:gdLst/>
              <a:ahLst/>
              <a:cxnLst/>
              <a:rect l="l" t="t" r="r" b="b"/>
              <a:pathLst>
                <a:path w="461" h="239" extrusionOk="0">
                  <a:moveTo>
                    <a:pt x="231" y="0"/>
                  </a:moveTo>
                  <a:cubicBezTo>
                    <a:pt x="105" y="9"/>
                    <a:pt x="0" y="112"/>
                    <a:pt x="0" y="238"/>
                  </a:cubicBezTo>
                  <a:cubicBezTo>
                    <a:pt x="0" y="238"/>
                    <a:pt x="37" y="105"/>
                    <a:pt x="231" y="89"/>
                  </a:cubicBezTo>
                  <a:cubicBezTo>
                    <a:pt x="235" y="89"/>
                    <a:pt x="239" y="89"/>
                    <a:pt x="243" y="89"/>
                  </a:cubicBezTo>
                  <a:cubicBezTo>
                    <a:pt x="403" y="89"/>
                    <a:pt x="461" y="231"/>
                    <a:pt x="461" y="231"/>
                  </a:cubicBezTo>
                  <a:cubicBezTo>
                    <a:pt x="461" y="105"/>
                    <a:pt x="356" y="0"/>
                    <a:pt x="23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7" name="Google Shape;5301;p53">
              <a:extLst>
                <a:ext uri="{FF2B5EF4-FFF2-40B4-BE49-F238E27FC236}">
                  <a16:creationId xmlns:a16="http://schemas.microsoft.com/office/drawing/2014/main" id="{85677E6B-A964-3A33-9E67-462817094965}"/>
                </a:ext>
              </a:extLst>
            </p:cNvPr>
            <p:cNvSpPr/>
            <p:nvPr/>
          </p:nvSpPr>
          <p:spPr>
            <a:xfrm>
              <a:off x="7352750" y="1654925"/>
              <a:ext cx="60225" cy="25025"/>
            </a:xfrm>
            <a:custGeom>
              <a:avLst/>
              <a:gdLst/>
              <a:ahLst/>
              <a:cxnLst/>
              <a:rect l="l" t="t" r="r" b="b"/>
              <a:pathLst>
                <a:path w="2409" h="1001" extrusionOk="0">
                  <a:moveTo>
                    <a:pt x="1608" y="1"/>
                  </a:moveTo>
                  <a:cubicBezTo>
                    <a:pt x="1358" y="1"/>
                    <a:pt x="1150" y="186"/>
                    <a:pt x="1119" y="422"/>
                  </a:cubicBezTo>
                  <a:cubicBezTo>
                    <a:pt x="1082" y="408"/>
                    <a:pt x="1054" y="401"/>
                    <a:pt x="1016" y="401"/>
                  </a:cubicBezTo>
                  <a:cubicBezTo>
                    <a:pt x="986" y="401"/>
                    <a:pt x="965" y="401"/>
                    <a:pt x="934" y="408"/>
                  </a:cubicBezTo>
                  <a:cubicBezTo>
                    <a:pt x="876" y="334"/>
                    <a:pt x="771" y="282"/>
                    <a:pt x="660" y="282"/>
                  </a:cubicBezTo>
                  <a:cubicBezTo>
                    <a:pt x="468" y="282"/>
                    <a:pt x="305" y="438"/>
                    <a:pt x="305" y="638"/>
                  </a:cubicBezTo>
                  <a:lnTo>
                    <a:pt x="305" y="661"/>
                  </a:lnTo>
                  <a:cubicBezTo>
                    <a:pt x="275" y="638"/>
                    <a:pt x="230" y="623"/>
                    <a:pt x="186" y="623"/>
                  </a:cubicBezTo>
                  <a:cubicBezTo>
                    <a:pt x="83" y="623"/>
                    <a:pt x="1" y="705"/>
                    <a:pt x="1" y="808"/>
                  </a:cubicBezTo>
                  <a:cubicBezTo>
                    <a:pt x="1" y="904"/>
                    <a:pt x="68" y="979"/>
                    <a:pt x="164" y="993"/>
                  </a:cubicBezTo>
                  <a:lnTo>
                    <a:pt x="164" y="1000"/>
                  </a:lnTo>
                  <a:lnTo>
                    <a:pt x="2165" y="1000"/>
                  </a:lnTo>
                  <a:lnTo>
                    <a:pt x="2165" y="993"/>
                  </a:lnTo>
                  <a:cubicBezTo>
                    <a:pt x="2298" y="993"/>
                    <a:pt x="2409" y="883"/>
                    <a:pt x="2409" y="750"/>
                  </a:cubicBezTo>
                  <a:cubicBezTo>
                    <a:pt x="2409" y="607"/>
                    <a:pt x="2298" y="497"/>
                    <a:pt x="2165" y="497"/>
                  </a:cubicBezTo>
                  <a:cubicBezTo>
                    <a:pt x="2142" y="497"/>
                    <a:pt x="2121" y="497"/>
                    <a:pt x="2105" y="504"/>
                  </a:cubicBezTo>
                  <a:lnTo>
                    <a:pt x="2105" y="497"/>
                  </a:lnTo>
                  <a:cubicBezTo>
                    <a:pt x="2105" y="223"/>
                    <a:pt x="1882" y="1"/>
                    <a:pt x="1608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8" name="Google Shape;5302;p53">
              <a:extLst>
                <a:ext uri="{FF2B5EF4-FFF2-40B4-BE49-F238E27FC236}">
                  <a16:creationId xmlns:a16="http://schemas.microsoft.com/office/drawing/2014/main" id="{FBBDA0F4-F23F-23E5-DDCF-DFC8D851C984}"/>
                </a:ext>
              </a:extLst>
            </p:cNvPr>
            <p:cNvSpPr/>
            <p:nvPr/>
          </p:nvSpPr>
          <p:spPr>
            <a:xfrm>
              <a:off x="7397225" y="1655650"/>
              <a:ext cx="8375" cy="11900"/>
            </a:xfrm>
            <a:custGeom>
              <a:avLst/>
              <a:gdLst/>
              <a:ahLst/>
              <a:cxnLst/>
              <a:rect l="l" t="t" r="r" b="b"/>
              <a:pathLst>
                <a:path w="335" h="476" extrusionOk="0">
                  <a:moveTo>
                    <a:pt x="0" y="0"/>
                  </a:moveTo>
                  <a:lnTo>
                    <a:pt x="0" y="0"/>
                  </a:lnTo>
                  <a:cubicBezTo>
                    <a:pt x="192" y="75"/>
                    <a:pt x="326" y="253"/>
                    <a:pt x="326" y="468"/>
                  </a:cubicBezTo>
                  <a:lnTo>
                    <a:pt x="326" y="475"/>
                  </a:lnTo>
                  <a:lnTo>
                    <a:pt x="334" y="475"/>
                  </a:lnTo>
                  <a:lnTo>
                    <a:pt x="334" y="438"/>
                  </a:lnTo>
                  <a:cubicBezTo>
                    <a:pt x="334" y="232"/>
                    <a:pt x="192" y="61"/>
                    <a:pt x="0" y="0"/>
                  </a:cubicBezTo>
                  <a:close/>
                </a:path>
              </a:pathLst>
            </a:custGeom>
            <a:solidFill>
              <a:srgbClr val="EDED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9" name="Google Shape;5303;p53">
              <a:extLst>
                <a:ext uri="{FF2B5EF4-FFF2-40B4-BE49-F238E27FC236}">
                  <a16:creationId xmlns:a16="http://schemas.microsoft.com/office/drawing/2014/main" id="{5E71B9C5-B6E9-D6AE-1765-0093F6F8033F}"/>
                </a:ext>
              </a:extLst>
            </p:cNvPr>
            <p:cNvSpPr/>
            <p:nvPr/>
          </p:nvSpPr>
          <p:spPr>
            <a:xfrm>
              <a:off x="7394225" y="1655300"/>
              <a:ext cx="11375" cy="22825"/>
            </a:xfrm>
            <a:custGeom>
              <a:avLst/>
              <a:gdLst/>
              <a:ahLst/>
              <a:cxnLst/>
              <a:rect l="l" t="t" r="r" b="b"/>
              <a:pathLst>
                <a:path w="455" h="913" extrusionOk="0">
                  <a:moveTo>
                    <a:pt x="1" y="0"/>
                  </a:moveTo>
                  <a:cubicBezTo>
                    <a:pt x="1" y="0"/>
                    <a:pt x="298" y="119"/>
                    <a:pt x="284" y="452"/>
                  </a:cubicBezTo>
                  <a:cubicBezTo>
                    <a:pt x="261" y="824"/>
                    <a:pt x="1" y="913"/>
                    <a:pt x="1" y="913"/>
                  </a:cubicBezTo>
                  <a:cubicBezTo>
                    <a:pt x="239" y="913"/>
                    <a:pt x="438" y="719"/>
                    <a:pt x="454" y="489"/>
                  </a:cubicBezTo>
                  <a:lnTo>
                    <a:pt x="446" y="489"/>
                  </a:lnTo>
                  <a:lnTo>
                    <a:pt x="446" y="482"/>
                  </a:lnTo>
                  <a:cubicBezTo>
                    <a:pt x="446" y="267"/>
                    <a:pt x="312" y="89"/>
                    <a:pt x="120" y="14"/>
                  </a:cubicBezTo>
                  <a:cubicBezTo>
                    <a:pt x="83" y="7"/>
                    <a:pt x="45" y="0"/>
                    <a:pt x="1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0" name="Google Shape;5304;p53">
              <a:extLst>
                <a:ext uri="{FF2B5EF4-FFF2-40B4-BE49-F238E27FC236}">
                  <a16:creationId xmlns:a16="http://schemas.microsoft.com/office/drawing/2014/main" id="{579167FB-ADA9-F13D-7C84-5B6DB520F7EF}"/>
                </a:ext>
              </a:extLst>
            </p:cNvPr>
            <p:cNvSpPr/>
            <p:nvPr/>
          </p:nvSpPr>
          <p:spPr>
            <a:xfrm>
              <a:off x="7371825" y="1665125"/>
              <a:ext cx="11900" cy="5925"/>
            </a:xfrm>
            <a:custGeom>
              <a:avLst/>
              <a:gdLst/>
              <a:ahLst/>
              <a:cxnLst/>
              <a:rect l="l" t="t" r="r" b="b"/>
              <a:pathLst>
                <a:path w="476" h="237" extrusionOk="0">
                  <a:moveTo>
                    <a:pt x="239" y="0"/>
                  </a:moveTo>
                  <a:cubicBezTo>
                    <a:pt x="113" y="0"/>
                    <a:pt x="8" y="103"/>
                    <a:pt x="1" y="230"/>
                  </a:cubicBezTo>
                  <a:cubicBezTo>
                    <a:pt x="1" y="230"/>
                    <a:pt x="61" y="89"/>
                    <a:pt x="223" y="89"/>
                  </a:cubicBezTo>
                  <a:lnTo>
                    <a:pt x="246" y="89"/>
                  </a:lnTo>
                  <a:cubicBezTo>
                    <a:pt x="438" y="103"/>
                    <a:pt x="475" y="237"/>
                    <a:pt x="475" y="237"/>
                  </a:cubicBezTo>
                  <a:cubicBezTo>
                    <a:pt x="475" y="103"/>
                    <a:pt x="372" y="0"/>
                    <a:pt x="246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1" name="Google Shape;5305;p53">
              <a:extLst>
                <a:ext uri="{FF2B5EF4-FFF2-40B4-BE49-F238E27FC236}">
                  <a16:creationId xmlns:a16="http://schemas.microsoft.com/office/drawing/2014/main" id="{B5F9D4BF-99EA-EE81-A585-B3D30790F42F}"/>
                </a:ext>
              </a:extLst>
            </p:cNvPr>
            <p:cNvSpPr/>
            <p:nvPr/>
          </p:nvSpPr>
          <p:spPr>
            <a:xfrm>
              <a:off x="7309975" y="1567125"/>
              <a:ext cx="59475" cy="74850"/>
            </a:xfrm>
            <a:custGeom>
              <a:avLst/>
              <a:gdLst/>
              <a:ahLst/>
              <a:cxnLst/>
              <a:rect l="l" t="t" r="r" b="b"/>
              <a:pathLst>
                <a:path w="2379" h="2994" extrusionOk="0">
                  <a:moveTo>
                    <a:pt x="1185" y="1"/>
                  </a:moveTo>
                  <a:cubicBezTo>
                    <a:pt x="675" y="1"/>
                    <a:pt x="252" y="415"/>
                    <a:pt x="252" y="934"/>
                  </a:cubicBezTo>
                  <a:cubicBezTo>
                    <a:pt x="252" y="979"/>
                    <a:pt x="259" y="1023"/>
                    <a:pt x="268" y="1068"/>
                  </a:cubicBezTo>
                  <a:cubicBezTo>
                    <a:pt x="104" y="1267"/>
                    <a:pt x="1" y="1527"/>
                    <a:pt x="1" y="1808"/>
                  </a:cubicBezTo>
                  <a:cubicBezTo>
                    <a:pt x="1" y="2467"/>
                    <a:pt x="534" y="2994"/>
                    <a:pt x="1185" y="2994"/>
                  </a:cubicBezTo>
                  <a:cubicBezTo>
                    <a:pt x="1845" y="2994"/>
                    <a:pt x="2379" y="2467"/>
                    <a:pt x="2379" y="1808"/>
                  </a:cubicBezTo>
                  <a:cubicBezTo>
                    <a:pt x="2379" y="1527"/>
                    <a:pt x="2275" y="1267"/>
                    <a:pt x="2112" y="1068"/>
                  </a:cubicBezTo>
                  <a:cubicBezTo>
                    <a:pt x="2119" y="1023"/>
                    <a:pt x="2126" y="979"/>
                    <a:pt x="2126" y="934"/>
                  </a:cubicBezTo>
                  <a:cubicBezTo>
                    <a:pt x="2126" y="415"/>
                    <a:pt x="1705" y="1"/>
                    <a:pt x="118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2" name="Google Shape;5306;p53">
              <a:extLst>
                <a:ext uri="{FF2B5EF4-FFF2-40B4-BE49-F238E27FC236}">
                  <a16:creationId xmlns:a16="http://schemas.microsoft.com/office/drawing/2014/main" id="{6B4B9CAE-79CB-3068-E4AA-4FCD9DA6D7AD}"/>
                </a:ext>
              </a:extLst>
            </p:cNvPr>
            <p:cNvSpPr/>
            <p:nvPr/>
          </p:nvSpPr>
          <p:spPr>
            <a:xfrm>
              <a:off x="7339600" y="1590125"/>
              <a:ext cx="2825" cy="89100"/>
            </a:xfrm>
            <a:custGeom>
              <a:avLst/>
              <a:gdLst/>
              <a:ahLst/>
              <a:cxnLst/>
              <a:rect l="l" t="t" r="r" b="b"/>
              <a:pathLst>
                <a:path w="113" h="3564" extrusionOk="0">
                  <a:moveTo>
                    <a:pt x="54" y="1"/>
                  </a:moveTo>
                  <a:cubicBezTo>
                    <a:pt x="53" y="1"/>
                    <a:pt x="52" y="4"/>
                    <a:pt x="52" y="14"/>
                  </a:cubicBezTo>
                  <a:lnTo>
                    <a:pt x="0" y="3511"/>
                  </a:lnTo>
                  <a:cubicBezTo>
                    <a:pt x="0" y="3534"/>
                    <a:pt x="23" y="3564"/>
                    <a:pt x="52" y="3564"/>
                  </a:cubicBezTo>
                  <a:lnTo>
                    <a:pt x="61" y="3564"/>
                  </a:lnTo>
                  <a:cubicBezTo>
                    <a:pt x="89" y="3564"/>
                    <a:pt x="112" y="3534"/>
                    <a:pt x="112" y="3511"/>
                  </a:cubicBezTo>
                  <a:cubicBezTo>
                    <a:pt x="112" y="3511"/>
                    <a:pt x="89" y="14"/>
                    <a:pt x="61" y="14"/>
                  </a:cubicBezTo>
                  <a:cubicBezTo>
                    <a:pt x="61" y="14"/>
                    <a:pt x="57" y="1"/>
                    <a:pt x="5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3" name="Google Shape;5307;p53">
              <a:extLst>
                <a:ext uri="{FF2B5EF4-FFF2-40B4-BE49-F238E27FC236}">
                  <a16:creationId xmlns:a16="http://schemas.microsoft.com/office/drawing/2014/main" id="{FCA090ED-2A37-8F2C-C242-EDE1A2508C72}"/>
                </a:ext>
              </a:extLst>
            </p:cNvPr>
            <p:cNvSpPr/>
            <p:nvPr/>
          </p:nvSpPr>
          <p:spPr>
            <a:xfrm>
              <a:off x="7324025" y="1611600"/>
              <a:ext cx="16875" cy="13875"/>
            </a:xfrm>
            <a:custGeom>
              <a:avLst/>
              <a:gdLst/>
              <a:ahLst/>
              <a:cxnLst/>
              <a:rect l="l" t="t" r="r" b="b"/>
              <a:pathLst>
                <a:path w="675" h="555" extrusionOk="0">
                  <a:moveTo>
                    <a:pt x="1" y="0"/>
                  </a:moveTo>
                  <a:lnTo>
                    <a:pt x="1" y="0"/>
                  </a:lnTo>
                  <a:cubicBezTo>
                    <a:pt x="331" y="541"/>
                    <a:pt x="634" y="555"/>
                    <a:pt x="665" y="555"/>
                  </a:cubicBezTo>
                  <a:cubicBezTo>
                    <a:pt x="667" y="555"/>
                    <a:pt x="668" y="555"/>
                    <a:pt x="668" y="555"/>
                  </a:cubicBezTo>
                  <a:lnTo>
                    <a:pt x="675" y="473"/>
                  </a:lnTo>
                  <a:lnTo>
                    <a:pt x="675" y="473"/>
                  </a:lnTo>
                  <a:cubicBezTo>
                    <a:pt x="675" y="473"/>
                    <a:pt x="668" y="479"/>
                    <a:pt x="647" y="479"/>
                  </a:cubicBezTo>
                  <a:cubicBezTo>
                    <a:pt x="606" y="479"/>
                    <a:pt x="511" y="455"/>
                    <a:pt x="312" y="311"/>
                  </a:cubicBezTo>
                  <a:cubicBezTo>
                    <a:pt x="134" y="18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4" name="Google Shape;5308;p53">
              <a:extLst>
                <a:ext uri="{FF2B5EF4-FFF2-40B4-BE49-F238E27FC236}">
                  <a16:creationId xmlns:a16="http://schemas.microsoft.com/office/drawing/2014/main" id="{CBF4085A-5B13-CDD4-FDCC-CAA487B2DC31}"/>
                </a:ext>
              </a:extLst>
            </p:cNvPr>
            <p:cNvSpPr/>
            <p:nvPr/>
          </p:nvSpPr>
          <p:spPr>
            <a:xfrm>
              <a:off x="7340875" y="1607675"/>
              <a:ext cx="14475" cy="11900"/>
            </a:xfrm>
            <a:custGeom>
              <a:avLst/>
              <a:gdLst/>
              <a:ahLst/>
              <a:cxnLst/>
              <a:rect l="l" t="t" r="r" b="b"/>
              <a:pathLst>
                <a:path w="579" h="476" extrusionOk="0">
                  <a:moveTo>
                    <a:pt x="579" y="1"/>
                  </a:moveTo>
                  <a:cubicBezTo>
                    <a:pt x="579" y="1"/>
                    <a:pt x="461" y="164"/>
                    <a:pt x="312" y="267"/>
                  </a:cubicBezTo>
                  <a:cubicBezTo>
                    <a:pt x="143" y="392"/>
                    <a:pt x="60" y="413"/>
                    <a:pt x="24" y="413"/>
                  </a:cubicBezTo>
                  <a:cubicBezTo>
                    <a:pt x="7" y="413"/>
                    <a:pt x="1" y="408"/>
                    <a:pt x="1" y="408"/>
                  </a:cubicBezTo>
                  <a:lnTo>
                    <a:pt x="1" y="408"/>
                  </a:lnTo>
                  <a:lnTo>
                    <a:pt x="10" y="475"/>
                  </a:lnTo>
                  <a:cubicBezTo>
                    <a:pt x="10" y="475"/>
                    <a:pt x="11" y="475"/>
                    <a:pt x="12" y="475"/>
                  </a:cubicBezTo>
                  <a:cubicBezTo>
                    <a:pt x="40" y="475"/>
                    <a:pt x="300" y="463"/>
                    <a:pt x="57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5" name="Google Shape;5309;p53">
              <a:extLst>
                <a:ext uri="{FF2B5EF4-FFF2-40B4-BE49-F238E27FC236}">
                  <a16:creationId xmlns:a16="http://schemas.microsoft.com/office/drawing/2014/main" id="{5138EEF7-B765-2CEE-E0CC-D263E14D1623}"/>
                </a:ext>
              </a:extLst>
            </p:cNvPr>
            <p:cNvSpPr/>
            <p:nvPr/>
          </p:nvSpPr>
          <p:spPr>
            <a:xfrm>
              <a:off x="7329425" y="1599375"/>
              <a:ext cx="11475" cy="9450"/>
            </a:xfrm>
            <a:custGeom>
              <a:avLst/>
              <a:gdLst/>
              <a:ahLst/>
              <a:cxnLst/>
              <a:rect l="l" t="t" r="r" b="b"/>
              <a:pathLst>
                <a:path w="459" h="378" extrusionOk="0">
                  <a:moveTo>
                    <a:pt x="0" y="0"/>
                  </a:moveTo>
                  <a:cubicBezTo>
                    <a:pt x="228" y="370"/>
                    <a:pt x="443" y="377"/>
                    <a:pt x="458" y="377"/>
                  </a:cubicBezTo>
                  <a:cubicBezTo>
                    <a:pt x="459" y="377"/>
                    <a:pt x="459" y="377"/>
                    <a:pt x="459" y="377"/>
                  </a:cubicBezTo>
                  <a:lnTo>
                    <a:pt x="459" y="325"/>
                  </a:lnTo>
                  <a:cubicBezTo>
                    <a:pt x="459" y="325"/>
                    <a:pt x="455" y="328"/>
                    <a:pt x="444" y="328"/>
                  </a:cubicBezTo>
                  <a:cubicBezTo>
                    <a:pt x="417" y="328"/>
                    <a:pt x="352" y="313"/>
                    <a:pt x="208" y="215"/>
                  </a:cubicBezTo>
                  <a:cubicBezTo>
                    <a:pt x="89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6" name="Google Shape;5310;p53">
              <a:extLst>
                <a:ext uri="{FF2B5EF4-FFF2-40B4-BE49-F238E27FC236}">
                  <a16:creationId xmlns:a16="http://schemas.microsoft.com/office/drawing/2014/main" id="{A9FAE64C-C1FC-C596-8A56-E75C859472D3}"/>
                </a:ext>
              </a:extLst>
            </p:cNvPr>
            <p:cNvSpPr/>
            <p:nvPr/>
          </p:nvSpPr>
          <p:spPr>
            <a:xfrm>
              <a:off x="7378150" y="1188300"/>
              <a:ext cx="26700" cy="26700"/>
            </a:xfrm>
            <a:custGeom>
              <a:avLst/>
              <a:gdLst/>
              <a:ahLst/>
              <a:cxnLst/>
              <a:rect l="l" t="t" r="r" b="b"/>
              <a:pathLst>
                <a:path w="1068" h="1068" extrusionOk="0">
                  <a:moveTo>
                    <a:pt x="534" y="0"/>
                  </a:moveTo>
                  <a:cubicBezTo>
                    <a:pt x="237" y="0"/>
                    <a:pt x="0" y="237"/>
                    <a:pt x="0" y="534"/>
                  </a:cubicBezTo>
                  <a:cubicBezTo>
                    <a:pt x="0" y="831"/>
                    <a:pt x="237" y="1067"/>
                    <a:pt x="534" y="1067"/>
                  </a:cubicBezTo>
                  <a:cubicBezTo>
                    <a:pt x="831" y="1067"/>
                    <a:pt x="1067" y="831"/>
                    <a:pt x="1067" y="534"/>
                  </a:cubicBezTo>
                  <a:cubicBezTo>
                    <a:pt x="1067" y="237"/>
                    <a:pt x="831" y="0"/>
                    <a:pt x="534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7" name="Google Shape;5311;p53">
              <a:extLst>
                <a:ext uri="{FF2B5EF4-FFF2-40B4-BE49-F238E27FC236}">
                  <a16:creationId xmlns:a16="http://schemas.microsoft.com/office/drawing/2014/main" id="{8238A9E2-7F8A-90C6-1C83-F5F465098F46}"/>
                </a:ext>
              </a:extLst>
            </p:cNvPr>
            <p:cNvSpPr/>
            <p:nvPr/>
          </p:nvSpPr>
          <p:spPr>
            <a:xfrm>
              <a:off x="7314200" y="1224800"/>
              <a:ext cx="9850" cy="9850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2" y="0"/>
                  </a:moveTo>
                  <a:cubicBezTo>
                    <a:pt x="90" y="0"/>
                    <a:pt x="1" y="89"/>
                    <a:pt x="1" y="192"/>
                  </a:cubicBezTo>
                  <a:cubicBezTo>
                    <a:pt x="1" y="304"/>
                    <a:pt x="90" y="393"/>
                    <a:pt x="202" y="393"/>
                  </a:cubicBezTo>
                  <a:cubicBezTo>
                    <a:pt x="312" y="393"/>
                    <a:pt x="394" y="304"/>
                    <a:pt x="394" y="192"/>
                  </a:cubicBezTo>
                  <a:cubicBezTo>
                    <a:pt x="394" y="89"/>
                    <a:pt x="312" y="0"/>
                    <a:pt x="202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8" name="Google Shape;5312;p53">
              <a:extLst>
                <a:ext uri="{FF2B5EF4-FFF2-40B4-BE49-F238E27FC236}">
                  <a16:creationId xmlns:a16="http://schemas.microsoft.com/office/drawing/2014/main" id="{B93F3F01-821A-3949-6303-3376302762D7}"/>
                </a:ext>
              </a:extLst>
            </p:cNvPr>
            <p:cNvSpPr/>
            <p:nvPr/>
          </p:nvSpPr>
          <p:spPr>
            <a:xfrm>
              <a:off x="7569850" y="1372975"/>
              <a:ext cx="12650" cy="12600"/>
            </a:xfrm>
            <a:custGeom>
              <a:avLst/>
              <a:gdLst/>
              <a:ahLst/>
              <a:cxnLst/>
              <a:rect l="l" t="t" r="r" b="b"/>
              <a:pathLst>
                <a:path w="506" h="504" extrusionOk="0">
                  <a:moveTo>
                    <a:pt x="253" y="1"/>
                  </a:moveTo>
                  <a:cubicBezTo>
                    <a:pt x="113" y="1"/>
                    <a:pt x="0" y="113"/>
                    <a:pt x="0" y="253"/>
                  </a:cubicBezTo>
                  <a:cubicBezTo>
                    <a:pt x="0" y="394"/>
                    <a:pt x="113" y="504"/>
                    <a:pt x="253" y="504"/>
                  </a:cubicBezTo>
                  <a:cubicBezTo>
                    <a:pt x="394" y="504"/>
                    <a:pt x="506" y="394"/>
                    <a:pt x="506" y="253"/>
                  </a:cubicBezTo>
                  <a:cubicBezTo>
                    <a:pt x="506" y="113"/>
                    <a:pt x="394" y="1"/>
                    <a:pt x="253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9" name="Google Shape;5313;p53">
              <a:extLst>
                <a:ext uri="{FF2B5EF4-FFF2-40B4-BE49-F238E27FC236}">
                  <a16:creationId xmlns:a16="http://schemas.microsoft.com/office/drawing/2014/main" id="{B5DD88B2-E4D3-65B2-6F70-A83FD0EA1945}"/>
                </a:ext>
              </a:extLst>
            </p:cNvPr>
            <p:cNvSpPr/>
            <p:nvPr/>
          </p:nvSpPr>
          <p:spPr>
            <a:xfrm>
              <a:off x="7452975" y="1412050"/>
              <a:ext cx="63550" cy="63775"/>
            </a:xfrm>
            <a:custGeom>
              <a:avLst/>
              <a:gdLst/>
              <a:ahLst/>
              <a:cxnLst/>
              <a:rect l="l" t="t" r="r" b="b"/>
              <a:pathLst>
                <a:path w="2542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1972" y="2551"/>
                    <a:pt x="2541" y="1980"/>
                    <a:pt x="2541" y="1276"/>
                  </a:cubicBezTo>
                  <a:cubicBezTo>
                    <a:pt x="2541" y="572"/>
                    <a:pt x="1972" y="1"/>
                    <a:pt x="1275" y="1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0" name="Google Shape;5314;p53">
              <a:extLst>
                <a:ext uri="{FF2B5EF4-FFF2-40B4-BE49-F238E27FC236}">
                  <a16:creationId xmlns:a16="http://schemas.microsoft.com/office/drawing/2014/main" id="{E76C578D-232B-C0CE-EA43-17D72BB0365F}"/>
                </a:ext>
              </a:extLst>
            </p:cNvPr>
            <p:cNvSpPr/>
            <p:nvPr/>
          </p:nvSpPr>
          <p:spPr>
            <a:xfrm>
              <a:off x="7452800" y="1412050"/>
              <a:ext cx="31900" cy="63775"/>
            </a:xfrm>
            <a:custGeom>
              <a:avLst/>
              <a:gdLst/>
              <a:ahLst/>
              <a:cxnLst/>
              <a:rect l="l" t="t" r="r" b="b"/>
              <a:pathLst>
                <a:path w="1276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571" y="2542"/>
                    <a:pt x="7" y="1980"/>
                    <a:pt x="7" y="1276"/>
                  </a:cubicBezTo>
                  <a:cubicBezTo>
                    <a:pt x="7" y="572"/>
                    <a:pt x="571" y="8"/>
                    <a:pt x="1275" y="1"/>
                  </a:cubicBezTo>
                  <a:close/>
                </a:path>
              </a:pathLst>
            </a:custGeom>
            <a:solidFill>
              <a:srgbClr val="99A0A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9" name="Google Shape;5315;p53">
              <a:extLst>
                <a:ext uri="{FF2B5EF4-FFF2-40B4-BE49-F238E27FC236}">
                  <a16:creationId xmlns:a16="http://schemas.microsoft.com/office/drawing/2014/main" id="{E2A6CBE6-ECD8-3023-6023-307DE4E05CE8}"/>
                </a:ext>
              </a:extLst>
            </p:cNvPr>
            <p:cNvSpPr/>
            <p:nvPr/>
          </p:nvSpPr>
          <p:spPr>
            <a:xfrm>
              <a:off x="7452975" y="1412050"/>
              <a:ext cx="31725" cy="63775"/>
            </a:xfrm>
            <a:custGeom>
              <a:avLst/>
              <a:gdLst/>
              <a:ahLst/>
              <a:cxnLst/>
              <a:rect l="l" t="t" r="r" b="b"/>
              <a:pathLst>
                <a:path w="1269" h="2551" extrusionOk="0">
                  <a:moveTo>
                    <a:pt x="1268" y="1"/>
                  </a:moveTo>
                  <a:cubicBezTo>
                    <a:pt x="564" y="8"/>
                    <a:pt x="0" y="572"/>
                    <a:pt x="0" y="1276"/>
                  </a:cubicBezTo>
                  <a:cubicBezTo>
                    <a:pt x="0" y="1980"/>
                    <a:pt x="564" y="2542"/>
                    <a:pt x="1268" y="2551"/>
                  </a:cubicBezTo>
                  <a:cubicBezTo>
                    <a:pt x="1268" y="2542"/>
                    <a:pt x="578" y="1913"/>
                    <a:pt x="578" y="1276"/>
                  </a:cubicBezTo>
                  <a:cubicBezTo>
                    <a:pt x="578" y="639"/>
                    <a:pt x="1268" y="8"/>
                    <a:pt x="1268" y="1"/>
                  </a:cubicBezTo>
                  <a:close/>
                </a:path>
              </a:pathLst>
            </a:custGeom>
            <a:solidFill>
              <a:srgbClr val="FFE9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0" name="Google Shape;5316;p53">
              <a:extLst>
                <a:ext uri="{FF2B5EF4-FFF2-40B4-BE49-F238E27FC236}">
                  <a16:creationId xmlns:a16="http://schemas.microsoft.com/office/drawing/2014/main" id="{C53BF1F9-ED2E-A92A-7AEF-6A3C998A128B}"/>
                </a:ext>
              </a:extLst>
            </p:cNvPr>
            <p:cNvSpPr/>
            <p:nvPr/>
          </p:nvSpPr>
          <p:spPr>
            <a:xfrm>
              <a:off x="7148250" y="1678625"/>
              <a:ext cx="644150" cy="39875"/>
            </a:xfrm>
            <a:custGeom>
              <a:avLst/>
              <a:gdLst/>
              <a:ahLst/>
              <a:cxnLst/>
              <a:rect l="l" t="t" r="r" b="b"/>
              <a:pathLst>
                <a:path w="25766" h="1595" extrusionOk="0">
                  <a:moveTo>
                    <a:pt x="1615" y="1"/>
                  </a:moveTo>
                  <a:cubicBezTo>
                    <a:pt x="0" y="1"/>
                    <a:pt x="141" y="1594"/>
                    <a:pt x="1615" y="1594"/>
                  </a:cubicBezTo>
                  <a:lnTo>
                    <a:pt x="25765" y="1594"/>
                  </a:lnTo>
                  <a:lnTo>
                    <a:pt x="25765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2" name="Google Shape;5317;p53">
              <a:extLst>
                <a:ext uri="{FF2B5EF4-FFF2-40B4-BE49-F238E27FC236}">
                  <a16:creationId xmlns:a16="http://schemas.microsoft.com/office/drawing/2014/main" id="{8AF851C7-687E-0895-E0B3-48AC228E9732}"/>
                </a:ext>
              </a:extLst>
            </p:cNvPr>
            <p:cNvSpPr/>
            <p:nvPr/>
          </p:nvSpPr>
          <p:spPr>
            <a:xfrm>
              <a:off x="7095475" y="1718475"/>
              <a:ext cx="696925" cy="39850"/>
            </a:xfrm>
            <a:custGeom>
              <a:avLst/>
              <a:gdLst/>
              <a:ahLst/>
              <a:cxnLst/>
              <a:rect l="l" t="t" r="r" b="b"/>
              <a:pathLst>
                <a:path w="27877" h="1594" extrusionOk="0">
                  <a:moveTo>
                    <a:pt x="1615" y="0"/>
                  </a:moveTo>
                  <a:cubicBezTo>
                    <a:pt x="45" y="0"/>
                    <a:pt x="0" y="1594"/>
                    <a:pt x="1615" y="1594"/>
                  </a:cubicBezTo>
                  <a:lnTo>
                    <a:pt x="27876" y="1594"/>
                  </a:lnTo>
                  <a:lnTo>
                    <a:pt x="2787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0808839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32">
          <a:extLst>
            <a:ext uri="{FF2B5EF4-FFF2-40B4-BE49-F238E27FC236}">
              <a16:creationId xmlns:a16="http://schemas.microsoft.com/office/drawing/2014/main" id="{D5B282B9-F2DB-8854-D4C6-9991E9DE87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28F6836-87B6-63DD-732D-893E9C9C27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5586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8F6836-87B6-63DD-732D-893E9C9C27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221" name="Google Shape;5221;p53">
            <a:extLst>
              <a:ext uri="{FF2B5EF4-FFF2-40B4-BE49-F238E27FC236}">
                <a16:creationId xmlns:a16="http://schemas.microsoft.com/office/drawing/2014/main" id="{36C9BB48-E6DB-0DF6-DEF3-542DD521D1E5}"/>
              </a:ext>
            </a:extLst>
          </p:cNvPr>
          <p:cNvGrpSpPr/>
          <p:nvPr/>
        </p:nvGrpSpPr>
        <p:grpSpPr>
          <a:xfrm>
            <a:off x="8409497" y="3198019"/>
            <a:ext cx="2520565" cy="1945481"/>
            <a:chOff x="7095475" y="1127208"/>
            <a:chExt cx="817675" cy="631117"/>
          </a:xfrm>
        </p:grpSpPr>
        <p:sp>
          <p:nvSpPr>
            <p:cNvPr id="5222" name="Google Shape;5222;p53">
              <a:extLst>
                <a:ext uri="{FF2B5EF4-FFF2-40B4-BE49-F238E27FC236}">
                  <a16:creationId xmlns:a16="http://schemas.microsoft.com/office/drawing/2014/main" id="{6271E9BB-81FC-B61A-B678-AE8448481F8A}"/>
                </a:ext>
              </a:extLst>
            </p:cNvPr>
            <p:cNvSpPr/>
            <p:nvPr/>
          </p:nvSpPr>
          <p:spPr>
            <a:xfrm>
              <a:off x="7137300" y="1488925"/>
              <a:ext cx="169725" cy="73950"/>
            </a:xfrm>
            <a:custGeom>
              <a:avLst/>
              <a:gdLst/>
              <a:ahLst/>
              <a:cxnLst/>
              <a:rect l="l" t="t" r="r" b="b"/>
              <a:pathLst>
                <a:path w="6789" h="2958" extrusionOk="0">
                  <a:moveTo>
                    <a:pt x="3232" y="0"/>
                  </a:moveTo>
                  <a:cubicBezTo>
                    <a:pt x="2690" y="0"/>
                    <a:pt x="2239" y="391"/>
                    <a:pt x="2135" y="906"/>
                  </a:cubicBezTo>
                  <a:cubicBezTo>
                    <a:pt x="2097" y="899"/>
                    <a:pt x="2062" y="899"/>
                    <a:pt x="2017" y="890"/>
                  </a:cubicBezTo>
                  <a:cubicBezTo>
                    <a:pt x="1550" y="890"/>
                    <a:pt x="1157" y="1261"/>
                    <a:pt x="1135" y="1727"/>
                  </a:cubicBezTo>
                  <a:cubicBezTo>
                    <a:pt x="586" y="1868"/>
                    <a:pt x="150" y="2305"/>
                    <a:pt x="1" y="2855"/>
                  </a:cubicBezTo>
                  <a:lnTo>
                    <a:pt x="6789" y="2958"/>
                  </a:lnTo>
                  <a:cubicBezTo>
                    <a:pt x="6625" y="2268"/>
                    <a:pt x="6241" y="1743"/>
                    <a:pt x="5499" y="1734"/>
                  </a:cubicBezTo>
                  <a:lnTo>
                    <a:pt x="5432" y="1734"/>
                  </a:lnTo>
                  <a:cubicBezTo>
                    <a:pt x="5441" y="1210"/>
                    <a:pt x="5025" y="772"/>
                    <a:pt x="4498" y="765"/>
                  </a:cubicBezTo>
                  <a:cubicBezTo>
                    <a:pt x="4425" y="765"/>
                    <a:pt x="4358" y="772"/>
                    <a:pt x="4292" y="787"/>
                  </a:cubicBezTo>
                  <a:cubicBezTo>
                    <a:pt x="4159" y="335"/>
                    <a:pt x="3742" y="9"/>
                    <a:pt x="3246" y="1"/>
                  </a:cubicBezTo>
                  <a:cubicBezTo>
                    <a:pt x="3241" y="1"/>
                    <a:pt x="3237" y="0"/>
                    <a:pt x="3232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3" name="Google Shape;5223;p53">
              <a:extLst>
                <a:ext uri="{FF2B5EF4-FFF2-40B4-BE49-F238E27FC236}">
                  <a16:creationId xmlns:a16="http://schemas.microsoft.com/office/drawing/2014/main" id="{DC52B174-21C7-DB89-4864-D487615BD7D3}"/>
                </a:ext>
              </a:extLst>
            </p:cNvPr>
            <p:cNvSpPr/>
            <p:nvPr/>
          </p:nvSpPr>
          <p:spPr>
            <a:xfrm>
              <a:off x="7191050" y="1511725"/>
              <a:ext cx="18700" cy="37475"/>
            </a:xfrm>
            <a:custGeom>
              <a:avLst/>
              <a:gdLst/>
              <a:ahLst/>
              <a:cxnLst/>
              <a:rect l="l" t="t" r="r" b="b"/>
              <a:pathLst>
                <a:path w="748" h="1499" extrusionOk="0">
                  <a:moveTo>
                    <a:pt x="1" y="1"/>
                  </a:moveTo>
                  <a:cubicBezTo>
                    <a:pt x="1" y="1"/>
                    <a:pt x="593" y="193"/>
                    <a:pt x="563" y="750"/>
                  </a:cubicBezTo>
                  <a:cubicBezTo>
                    <a:pt x="534" y="1365"/>
                    <a:pt x="1" y="1498"/>
                    <a:pt x="1" y="1498"/>
                  </a:cubicBezTo>
                  <a:cubicBezTo>
                    <a:pt x="415" y="1498"/>
                    <a:pt x="748" y="1164"/>
                    <a:pt x="748" y="750"/>
                  </a:cubicBezTo>
                  <a:cubicBezTo>
                    <a:pt x="748" y="333"/>
                    <a:pt x="415" y="1"/>
                    <a:pt x="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4" name="Google Shape;5224;p53">
              <a:extLst>
                <a:ext uri="{FF2B5EF4-FFF2-40B4-BE49-F238E27FC236}">
                  <a16:creationId xmlns:a16="http://schemas.microsoft.com/office/drawing/2014/main" id="{1FF72E81-C518-C6A4-AA1D-2CE7DD494420}"/>
                </a:ext>
              </a:extLst>
            </p:cNvPr>
            <p:cNvSpPr/>
            <p:nvPr/>
          </p:nvSpPr>
          <p:spPr>
            <a:xfrm>
              <a:off x="7286250" y="1534500"/>
              <a:ext cx="11300" cy="7100"/>
            </a:xfrm>
            <a:custGeom>
              <a:avLst/>
              <a:gdLst/>
              <a:ahLst/>
              <a:cxnLst/>
              <a:rect l="l" t="t" r="r" b="b"/>
              <a:pathLst>
                <a:path w="452" h="284" extrusionOk="0">
                  <a:moveTo>
                    <a:pt x="0" y="0"/>
                  </a:moveTo>
                  <a:lnTo>
                    <a:pt x="0" y="0"/>
                  </a:lnTo>
                  <a:cubicBezTo>
                    <a:pt x="164" y="61"/>
                    <a:pt x="297" y="157"/>
                    <a:pt x="416" y="283"/>
                  </a:cubicBezTo>
                  <a:lnTo>
                    <a:pt x="452" y="232"/>
                  </a:lnTo>
                  <a:cubicBezTo>
                    <a:pt x="319" y="120"/>
                    <a:pt x="171" y="38"/>
                    <a:pt x="0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5" name="Google Shape;5225;p53">
              <a:extLst>
                <a:ext uri="{FF2B5EF4-FFF2-40B4-BE49-F238E27FC236}">
                  <a16:creationId xmlns:a16="http://schemas.microsoft.com/office/drawing/2014/main" id="{CDB6E4EB-2740-F8D2-0DCE-62664CD9A769}"/>
                </a:ext>
              </a:extLst>
            </p:cNvPr>
            <p:cNvSpPr/>
            <p:nvPr/>
          </p:nvSpPr>
          <p:spPr>
            <a:xfrm>
              <a:off x="7251975" y="1533600"/>
              <a:ext cx="44700" cy="27250"/>
            </a:xfrm>
            <a:custGeom>
              <a:avLst/>
              <a:gdLst/>
              <a:ahLst/>
              <a:cxnLst/>
              <a:rect l="l" t="t" r="r" b="b"/>
              <a:pathLst>
                <a:path w="1788" h="1090" extrusionOk="0">
                  <a:moveTo>
                    <a:pt x="1105" y="1"/>
                  </a:moveTo>
                  <a:cubicBezTo>
                    <a:pt x="505" y="1"/>
                    <a:pt x="16" y="481"/>
                    <a:pt x="0" y="1089"/>
                  </a:cubicBezTo>
                  <a:cubicBezTo>
                    <a:pt x="0" y="1089"/>
                    <a:pt x="283" y="214"/>
                    <a:pt x="1046" y="214"/>
                  </a:cubicBezTo>
                  <a:lnTo>
                    <a:pt x="1121" y="214"/>
                  </a:lnTo>
                  <a:cubicBezTo>
                    <a:pt x="1364" y="237"/>
                    <a:pt x="1565" y="312"/>
                    <a:pt x="1713" y="415"/>
                  </a:cubicBezTo>
                  <a:lnTo>
                    <a:pt x="1787" y="319"/>
                  </a:lnTo>
                  <a:cubicBezTo>
                    <a:pt x="1668" y="193"/>
                    <a:pt x="1535" y="97"/>
                    <a:pt x="1371" y="36"/>
                  </a:cubicBezTo>
                  <a:cubicBezTo>
                    <a:pt x="1298" y="15"/>
                    <a:pt x="1209" y="1"/>
                    <a:pt x="112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6" name="Google Shape;5226;p53">
              <a:extLst>
                <a:ext uri="{FF2B5EF4-FFF2-40B4-BE49-F238E27FC236}">
                  <a16:creationId xmlns:a16="http://schemas.microsoft.com/office/drawing/2014/main" id="{11035A66-2D37-BB79-9B3C-4634FDB3FF50}"/>
                </a:ext>
              </a:extLst>
            </p:cNvPr>
            <p:cNvSpPr/>
            <p:nvPr/>
          </p:nvSpPr>
          <p:spPr>
            <a:xfrm>
              <a:off x="7457400" y="1303300"/>
              <a:ext cx="214200" cy="93225"/>
            </a:xfrm>
            <a:custGeom>
              <a:avLst/>
              <a:gdLst/>
              <a:ahLst/>
              <a:cxnLst/>
              <a:rect l="l" t="t" r="r" b="b"/>
              <a:pathLst>
                <a:path w="8568" h="3729" extrusionOk="0">
                  <a:moveTo>
                    <a:pt x="4485" y="1"/>
                  </a:moveTo>
                  <a:cubicBezTo>
                    <a:pt x="4480" y="1"/>
                    <a:pt x="4475" y="1"/>
                    <a:pt x="4470" y="1"/>
                  </a:cubicBezTo>
                  <a:cubicBezTo>
                    <a:pt x="3848" y="17"/>
                    <a:pt x="3328" y="424"/>
                    <a:pt x="3150" y="995"/>
                  </a:cubicBezTo>
                  <a:cubicBezTo>
                    <a:pt x="3069" y="972"/>
                    <a:pt x="2987" y="965"/>
                    <a:pt x="2898" y="965"/>
                  </a:cubicBezTo>
                  <a:cubicBezTo>
                    <a:pt x="2231" y="979"/>
                    <a:pt x="1706" y="1521"/>
                    <a:pt x="1714" y="2188"/>
                  </a:cubicBezTo>
                  <a:lnTo>
                    <a:pt x="1632" y="2188"/>
                  </a:lnTo>
                  <a:cubicBezTo>
                    <a:pt x="698" y="2202"/>
                    <a:pt x="209" y="2862"/>
                    <a:pt x="1" y="3728"/>
                  </a:cubicBezTo>
                  <a:lnTo>
                    <a:pt x="8567" y="3602"/>
                  </a:lnTo>
                  <a:cubicBezTo>
                    <a:pt x="8382" y="2907"/>
                    <a:pt x="7826" y="2357"/>
                    <a:pt x="7130" y="2179"/>
                  </a:cubicBezTo>
                  <a:cubicBezTo>
                    <a:pt x="7108" y="1592"/>
                    <a:pt x="6626" y="1128"/>
                    <a:pt x="6033" y="1128"/>
                  </a:cubicBezTo>
                  <a:cubicBezTo>
                    <a:pt x="6028" y="1128"/>
                    <a:pt x="6024" y="1128"/>
                    <a:pt x="6019" y="1128"/>
                  </a:cubicBezTo>
                  <a:cubicBezTo>
                    <a:pt x="5975" y="1128"/>
                    <a:pt x="5921" y="1135"/>
                    <a:pt x="5877" y="1143"/>
                  </a:cubicBezTo>
                  <a:cubicBezTo>
                    <a:pt x="5744" y="488"/>
                    <a:pt x="5174" y="1"/>
                    <a:pt x="4485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7" name="Google Shape;5227;p53">
              <a:extLst>
                <a:ext uri="{FF2B5EF4-FFF2-40B4-BE49-F238E27FC236}">
                  <a16:creationId xmlns:a16="http://schemas.microsoft.com/office/drawing/2014/main" id="{51E5A4CF-E5CA-D549-95F8-8FD765FF7965}"/>
                </a:ext>
              </a:extLst>
            </p:cNvPr>
            <p:cNvSpPr/>
            <p:nvPr/>
          </p:nvSpPr>
          <p:spPr>
            <a:xfrm>
              <a:off x="7580250" y="1332200"/>
              <a:ext cx="23550" cy="47125"/>
            </a:xfrm>
            <a:custGeom>
              <a:avLst/>
              <a:gdLst/>
              <a:ahLst/>
              <a:cxnLst/>
              <a:rect l="l" t="t" r="r" b="b"/>
              <a:pathLst>
                <a:path w="942" h="1885" extrusionOk="0">
                  <a:moveTo>
                    <a:pt x="941" y="1"/>
                  </a:moveTo>
                  <a:cubicBezTo>
                    <a:pt x="422" y="1"/>
                    <a:pt x="1" y="424"/>
                    <a:pt x="1" y="943"/>
                  </a:cubicBezTo>
                  <a:cubicBezTo>
                    <a:pt x="1" y="1461"/>
                    <a:pt x="422" y="1884"/>
                    <a:pt x="941" y="1884"/>
                  </a:cubicBezTo>
                  <a:cubicBezTo>
                    <a:pt x="941" y="1884"/>
                    <a:pt x="274" y="1713"/>
                    <a:pt x="230" y="943"/>
                  </a:cubicBezTo>
                  <a:cubicBezTo>
                    <a:pt x="193" y="246"/>
                    <a:pt x="941" y="1"/>
                    <a:pt x="94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8" name="Google Shape;5228;p53">
              <a:extLst>
                <a:ext uri="{FF2B5EF4-FFF2-40B4-BE49-F238E27FC236}">
                  <a16:creationId xmlns:a16="http://schemas.microsoft.com/office/drawing/2014/main" id="{8E718B62-13F1-48FD-75AE-4670C03FC2A8}"/>
                </a:ext>
              </a:extLst>
            </p:cNvPr>
            <p:cNvSpPr/>
            <p:nvPr/>
          </p:nvSpPr>
          <p:spPr>
            <a:xfrm>
              <a:off x="7457050" y="1360750"/>
              <a:ext cx="26525" cy="34300"/>
            </a:xfrm>
            <a:custGeom>
              <a:avLst/>
              <a:gdLst/>
              <a:ahLst/>
              <a:cxnLst/>
              <a:rect l="l" t="t" r="r" b="b"/>
              <a:pathLst>
                <a:path w="1061" h="1372" extrusionOk="0">
                  <a:moveTo>
                    <a:pt x="1061" y="1"/>
                  </a:moveTo>
                  <a:cubicBezTo>
                    <a:pt x="452" y="157"/>
                    <a:pt x="1" y="712"/>
                    <a:pt x="8" y="1372"/>
                  </a:cubicBezTo>
                  <a:cubicBezTo>
                    <a:pt x="8" y="1372"/>
                    <a:pt x="38" y="1245"/>
                    <a:pt x="120" y="1082"/>
                  </a:cubicBezTo>
                  <a:cubicBezTo>
                    <a:pt x="305" y="579"/>
                    <a:pt x="600" y="185"/>
                    <a:pt x="1061" y="1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9" name="Google Shape;5229;p53">
              <a:extLst>
                <a:ext uri="{FF2B5EF4-FFF2-40B4-BE49-F238E27FC236}">
                  <a16:creationId xmlns:a16="http://schemas.microsoft.com/office/drawing/2014/main" id="{9447524C-9B8C-8E30-9C28-360F6F3CF4D6}"/>
                </a:ext>
              </a:extLst>
            </p:cNvPr>
            <p:cNvSpPr/>
            <p:nvPr/>
          </p:nvSpPr>
          <p:spPr>
            <a:xfrm>
              <a:off x="7460025" y="1359825"/>
              <a:ext cx="66900" cy="34125"/>
            </a:xfrm>
            <a:custGeom>
              <a:avLst/>
              <a:gdLst/>
              <a:ahLst/>
              <a:cxnLst/>
              <a:rect l="l" t="t" r="r" b="b"/>
              <a:pathLst>
                <a:path w="2676" h="1365" extrusionOk="0">
                  <a:moveTo>
                    <a:pt x="1260" y="0"/>
                  </a:moveTo>
                  <a:cubicBezTo>
                    <a:pt x="1148" y="0"/>
                    <a:pt x="1045" y="16"/>
                    <a:pt x="942" y="38"/>
                  </a:cubicBezTo>
                  <a:cubicBezTo>
                    <a:pt x="481" y="222"/>
                    <a:pt x="186" y="616"/>
                    <a:pt x="1" y="1119"/>
                  </a:cubicBezTo>
                  <a:cubicBezTo>
                    <a:pt x="163" y="800"/>
                    <a:pt x="518" y="319"/>
                    <a:pt x="1267" y="267"/>
                  </a:cubicBezTo>
                  <a:lnTo>
                    <a:pt x="1356" y="267"/>
                  </a:lnTo>
                  <a:cubicBezTo>
                    <a:pt x="2320" y="267"/>
                    <a:pt x="2676" y="1364"/>
                    <a:pt x="2676" y="1364"/>
                  </a:cubicBezTo>
                  <a:cubicBezTo>
                    <a:pt x="2660" y="608"/>
                    <a:pt x="2037" y="0"/>
                    <a:pt x="1281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0" name="Google Shape;5230;p53">
              <a:extLst>
                <a:ext uri="{FF2B5EF4-FFF2-40B4-BE49-F238E27FC236}">
                  <a16:creationId xmlns:a16="http://schemas.microsoft.com/office/drawing/2014/main" id="{C5FCDFF9-220F-07F8-7795-B81199F8E259}"/>
                </a:ext>
              </a:extLst>
            </p:cNvPr>
            <p:cNvSpPr/>
            <p:nvPr/>
          </p:nvSpPr>
          <p:spPr>
            <a:xfrm>
              <a:off x="7364800" y="1192375"/>
              <a:ext cx="181725" cy="65975"/>
            </a:xfrm>
            <a:custGeom>
              <a:avLst/>
              <a:gdLst/>
              <a:ahLst/>
              <a:cxnLst/>
              <a:rect l="l" t="t" r="r" b="b"/>
              <a:pathLst>
                <a:path w="7269" h="2639" extrusionOk="0">
                  <a:moveTo>
                    <a:pt x="3113" y="1"/>
                  </a:moveTo>
                  <a:cubicBezTo>
                    <a:pt x="2305" y="1"/>
                    <a:pt x="1615" y="497"/>
                    <a:pt x="1334" y="1192"/>
                  </a:cubicBezTo>
                  <a:cubicBezTo>
                    <a:pt x="1283" y="1185"/>
                    <a:pt x="1238" y="1185"/>
                    <a:pt x="1187" y="1185"/>
                  </a:cubicBezTo>
                  <a:cubicBezTo>
                    <a:pt x="534" y="1185"/>
                    <a:pt x="1" y="1712"/>
                    <a:pt x="1" y="2371"/>
                  </a:cubicBezTo>
                  <a:cubicBezTo>
                    <a:pt x="1" y="2460"/>
                    <a:pt x="15" y="2549"/>
                    <a:pt x="38" y="2638"/>
                  </a:cubicBezTo>
                  <a:lnTo>
                    <a:pt x="5876" y="2638"/>
                  </a:lnTo>
                  <a:cubicBezTo>
                    <a:pt x="5891" y="2624"/>
                    <a:pt x="5907" y="2615"/>
                    <a:pt x="5921" y="2601"/>
                  </a:cubicBezTo>
                  <a:cubicBezTo>
                    <a:pt x="5921" y="2615"/>
                    <a:pt x="5928" y="2624"/>
                    <a:pt x="5935" y="2638"/>
                  </a:cubicBezTo>
                  <a:lnTo>
                    <a:pt x="7217" y="2638"/>
                  </a:lnTo>
                  <a:cubicBezTo>
                    <a:pt x="7248" y="2556"/>
                    <a:pt x="7269" y="2467"/>
                    <a:pt x="7269" y="2371"/>
                  </a:cubicBezTo>
                  <a:cubicBezTo>
                    <a:pt x="7269" y="1986"/>
                    <a:pt x="6958" y="1674"/>
                    <a:pt x="6573" y="1674"/>
                  </a:cubicBezTo>
                  <a:cubicBezTo>
                    <a:pt x="6440" y="1674"/>
                    <a:pt x="6314" y="1712"/>
                    <a:pt x="6202" y="1779"/>
                  </a:cubicBezTo>
                  <a:cubicBezTo>
                    <a:pt x="6136" y="1335"/>
                    <a:pt x="5750" y="993"/>
                    <a:pt x="5291" y="993"/>
                  </a:cubicBezTo>
                  <a:cubicBezTo>
                    <a:pt x="5128" y="993"/>
                    <a:pt x="4980" y="1038"/>
                    <a:pt x="4854" y="1103"/>
                  </a:cubicBezTo>
                  <a:cubicBezTo>
                    <a:pt x="4543" y="453"/>
                    <a:pt x="3883" y="1"/>
                    <a:pt x="3113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1" name="Google Shape;5231;p53">
              <a:extLst>
                <a:ext uri="{FF2B5EF4-FFF2-40B4-BE49-F238E27FC236}">
                  <a16:creationId xmlns:a16="http://schemas.microsoft.com/office/drawing/2014/main" id="{11ABFBEC-E1F8-7F42-75A2-FF0839387958}"/>
                </a:ext>
              </a:extLst>
            </p:cNvPr>
            <p:cNvSpPr/>
            <p:nvPr/>
          </p:nvSpPr>
          <p:spPr>
            <a:xfrm>
              <a:off x="7506267" y="1127208"/>
              <a:ext cx="100825" cy="36700"/>
            </a:xfrm>
            <a:custGeom>
              <a:avLst/>
              <a:gdLst/>
              <a:ahLst/>
              <a:cxnLst/>
              <a:rect l="l" t="t" r="r" b="b"/>
              <a:pathLst>
                <a:path w="4033" h="1468" extrusionOk="0">
                  <a:moveTo>
                    <a:pt x="2306" y="0"/>
                  </a:moveTo>
                  <a:cubicBezTo>
                    <a:pt x="1875" y="0"/>
                    <a:pt x="1512" y="253"/>
                    <a:pt x="1342" y="616"/>
                  </a:cubicBezTo>
                  <a:cubicBezTo>
                    <a:pt x="1267" y="578"/>
                    <a:pt x="1187" y="557"/>
                    <a:pt x="1098" y="557"/>
                  </a:cubicBezTo>
                  <a:cubicBezTo>
                    <a:pt x="838" y="557"/>
                    <a:pt x="623" y="742"/>
                    <a:pt x="586" y="986"/>
                  </a:cubicBezTo>
                  <a:cubicBezTo>
                    <a:pt x="527" y="950"/>
                    <a:pt x="460" y="927"/>
                    <a:pt x="387" y="927"/>
                  </a:cubicBezTo>
                  <a:cubicBezTo>
                    <a:pt x="171" y="927"/>
                    <a:pt x="1" y="1105"/>
                    <a:pt x="1" y="1320"/>
                  </a:cubicBezTo>
                  <a:cubicBezTo>
                    <a:pt x="1" y="1372"/>
                    <a:pt x="8" y="1416"/>
                    <a:pt x="31" y="1468"/>
                  </a:cubicBezTo>
                  <a:lnTo>
                    <a:pt x="742" y="1468"/>
                  </a:lnTo>
                  <a:cubicBezTo>
                    <a:pt x="742" y="1460"/>
                    <a:pt x="742" y="1453"/>
                    <a:pt x="749" y="1446"/>
                  </a:cubicBezTo>
                  <a:cubicBezTo>
                    <a:pt x="757" y="1453"/>
                    <a:pt x="764" y="1460"/>
                    <a:pt x="771" y="1468"/>
                  </a:cubicBezTo>
                  <a:lnTo>
                    <a:pt x="4009" y="1468"/>
                  </a:lnTo>
                  <a:cubicBezTo>
                    <a:pt x="4023" y="1416"/>
                    <a:pt x="4032" y="1364"/>
                    <a:pt x="4032" y="1320"/>
                  </a:cubicBezTo>
                  <a:cubicBezTo>
                    <a:pt x="4032" y="957"/>
                    <a:pt x="3735" y="660"/>
                    <a:pt x="3373" y="660"/>
                  </a:cubicBezTo>
                  <a:cubicBezTo>
                    <a:pt x="3342" y="660"/>
                    <a:pt x="3321" y="660"/>
                    <a:pt x="3291" y="667"/>
                  </a:cubicBezTo>
                  <a:cubicBezTo>
                    <a:pt x="3134" y="274"/>
                    <a:pt x="2750" y="0"/>
                    <a:pt x="230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2" name="Google Shape;5232;p53">
              <a:extLst>
                <a:ext uri="{FF2B5EF4-FFF2-40B4-BE49-F238E27FC236}">
                  <a16:creationId xmlns:a16="http://schemas.microsoft.com/office/drawing/2014/main" id="{E19F4945-23C0-49B7-5F5F-7BCE3171E2D0}"/>
                </a:ext>
              </a:extLst>
            </p:cNvPr>
            <p:cNvSpPr/>
            <p:nvPr/>
          </p:nvSpPr>
          <p:spPr>
            <a:xfrm>
              <a:off x="7210300" y="1305925"/>
              <a:ext cx="123225" cy="60400"/>
            </a:xfrm>
            <a:custGeom>
              <a:avLst/>
              <a:gdLst/>
              <a:ahLst/>
              <a:cxnLst/>
              <a:rect l="l" t="t" r="r" b="b"/>
              <a:pathLst>
                <a:path w="4929" h="2416" extrusionOk="0">
                  <a:moveTo>
                    <a:pt x="2165" y="1"/>
                  </a:moveTo>
                  <a:cubicBezTo>
                    <a:pt x="1290" y="1"/>
                    <a:pt x="579" y="682"/>
                    <a:pt x="527" y="1541"/>
                  </a:cubicBezTo>
                  <a:cubicBezTo>
                    <a:pt x="223" y="1601"/>
                    <a:pt x="1" y="1868"/>
                    <a:pt x="1" y="2186"/>
                  </a:cubicBezTo>
                  <a:cubicBezTo>
                    <a:pt x="1" y="2261"/>
                    <a:pt x="15" y="2341"/>
                    <a:pt x="45" y="2416"/>
                  </a:cubicBezTo>
                  <a:lnTo>
                    <a:pt x="4922" y="2416"/>
                  </a:lnTo>
                  <a:cubicBezTo>
                    <a:pt x="4922" y="2394"/>
                    <a:pt x="4929" y="2371"/>
                    <a:pt x="4929" y="2357"/>
                  </a:cubicBezTo>
                  <a:cubicBezTo>
                    <a:pt x="4929" y="1889"/>
                    <a:pt x="4550" y="1512"/>
                    <a:pt x="4084" y="1512"/>
                  </a:cubicBezTo>
                  <a:cubicBezTo>
                    <a:pt x="3988" y="1512"/>
                    <a:pt x="3890" y="1534"/>
                    <a:pt x="3810" y="1564"/>
                  </a:cubicBezTo>
                  <a:cubicBezTo>
                    <a:pt x="3766" y="696"/>
                    <a:pt x="3045" y="1"/>
                    <a:pt x="216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3" name="Google Shape;5233;p53">
              <a:extLst>
                <a:ext uri="{FF2B5EF4-FFF2-40B4-BE49-F238E27FC236}">
                  <a16:creationId xmlns:a16="http://schemas.microsoft.com/office/drawing/2014/main" id="{4A6D0E9C-C815-DC01-FFE5-9F9A62243A3A}"/>
                </a:ext>
              </a:extLst>
            </p:cNvPr>
            <p:cNvSpPr/>
            <p:nvPr/>
          </p:nvSpPr>
          <p:spPr>
            <a:xfrm>
              <a:off x="7267000" y="1159750"/>
              <a:ext cx="166575" cy="81575"/>
            </a:xfrm>
            <a:custGeom>
              <a:avLst/>
              <a:gdLst/>
              <a:ahLst/>
              <a:cxnLst/>
              <a:rect l="l" t="t" r="r" b="b"/>
              <a:pathLst>
                <a:path w="6663" h="3263" extrusionOk="0">
                  <a:moveTo>
                    <a:pt x="3742" y="1"/>
                  </a:moveTo>
                  <a:cubicBezTo>
                    <a:pt x="2549" y="1"/>
                    <a:pt x="1578" y="934"/>
                    <a:pt x="1519" y="2113"/>
                  </a:cubicBezTo>
                  <a:cubicBezTo>
                    <a:pt x="1400" y="2069"/>
                    <a:pt x="1275" y="2046"/>
                    <a:pt x="1142" y="2046"/>
                  </a:cubicBezTo>
                  <a:cubicBezTo>
                    <a:pt x="511" y="2046"/>
                    <a:pt x="0" y="2551"/>
                    <a:pt x="0" y="3180"/>
                  </a:cubicBezTo>
                  <a:cubicBezTo>
                    <a:pt x="0" y="3209"/>
                    <a:pt x="0" y="3232"/>
                    <a:pt x="7" y="3262"/>
                  </a:cubicBezTo>
                  <a:lnTo>
                    <a:pt x="6610" y="3262"/>
                  </a:lnTo>
                  <a:cubicBezTo>
                    <a:pt x="6646" y="3164"/>
                    <a:pt x="6662" y="3061"/>
                    <a:pt x="6662" y="2951"/>
                  </a:cubicBezTo>
                  <a:cubicBezTo>
                    <a:pt x="6662" y="2520"/>
                    <a:pt x="6365" y="2165"/>
                    <a:pt x="5958" y="2076"/>
                  </a:cubicBezTo>
                  <a:cubicBezTo>
                    <a:pt x="5883" y="920"/>
                    <a:pt x="4921" y="1"/>
                    <a:pt x="3742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4" name="Google Shape;5234;p53">
              <a:extLst>
                <a:ext uri="{FF2B5EF4-FFF2-40B4-BE49-F238E27FC236}">
                  <a16:creationId xmlns:a16="http://schemas.microsoft.com/office/drawing/2014/main" id="{0900E2FF-C2B4-CDC5-8A77-8828AB13CE20}"/>
                </a:ext>
              </a:extLst>
            </p:cNvPr>
            <p:cNvSpPr/>
            <p:nvPr/>
          </p:nvSpPr>
          <p:spPr>
            <a:xfrm>
              <a:off x="7225125" y="1603800"/>
              <a:ext cx="228450" cy="75025"/>
            </a:xfrm>
            <a:custGeom>
              <a:avLst/>
              <a:gdLst/>
              <a:ahLst/>
              <a:cxnLst/>
              <a:rect l="l" t="t" r="r" b="b"/>
              <a:pathLst>
                <a:path w="9138" h="3001" extrusionOk="0">
                  <a:moveTo>
                    <a:pt x="1104" y="1"/>
                  </a:moveTo>
                  <a:lnTo>
                    <a:pt x="0" y="1571"/>
                  </a:lnTo>
                  <a:cubicBezTo>
                    <a:pt x="75" y="1550"/>
                    <a:pt x="149" y="1534"/>
                    <a:pt x="229" y="1534"/>
                  </a:cubicBezTo>
                  <a:cubicBezTo>
                    <a:pt x="608" y="1534"/>
                    <a:pt x="912" y="1808"/>
                    <a:pt x="971" y="2172"/>
                  </a:cubicBezTo>
                  <a:cubicBezTo>
                    <a:pt x="1015" y="2149"/>
                    <a:pt x="1067" y="2135"/>
                    <a:pt x="1128" y="2135"/>
                  </a:cubicBezTo>
                  <a:cubicBezTo>
                    <a:pt x="1163" y="2135"/>
                    <a:pt x="1200" y="2142"/>
                    <a:pt x="1238" y="2156"/>
                  </a:cubicBezTo>
                  <a:cubicBezTo>
                    <a:pt x="1341" y="2030"/>
                    <a:pt x="1490" y="1957"/>
                    <a:pt x="1661" y="1957"/>
                  </a:cubicBezTo>
                  <a:cubicBezTo>
                    <a:pt x="1956" y="1957"/>
                    <a:pt x="2195" y="2201"/>
                    <a:pt x="2195" y="2498"/>
                  </a:cubicBezTo>
                  <a:lnTo>
                    <a:pt x="2195" y="2535"/>
                  </a:lnTo>
                  <a:cubicBezTo>
                    <a:pt x="2246" y="2498"/>
                    <a:pt x="2305" y="2467"/>
                    <a:pt x="2372" y="2467"/>
                  </a:cubicBezTo>
                  <a:cubicBezTo>
                    <a:pt x="2527" y="2467"/>
                    <a:pt x="2653" y="2594"/>
                    <a:pt x="2653" y="2750"/>
                  </a:cubicBezTo>
                  <a:cubicBezTo>
                    <a:pt x="2653" y="2860"/>
                    <a:pt x="2595" y="2957"/>
                    <a:pt x="2497" y="3001"/>
                  </a:cubicBezTo>
                  <a:lnTo>
                    <a:pt x="5188" y="3001"/>
                  </a:lnTo>
                  <a:cubicBezTo>
                    <a:pt x="5136" y="2973"/>
                    <a:pt x="5106" y="2912"/>
                    <a:pt x="5106" y="2853"/>
                  </a:cubicBezTo>
                  <a:cubicBezTo>
                    <a:pt x="5106" y="2750"/>
                    <a:pt x="5188" y="2668"/>
                    <a:pt x="5291" y="2668"/>
                  </a:cubicBezTo>
                  <a:cubicBezTo>
                    <a:pt x="5335" y="2668"/>
                    <a:pt x="5380" y="2683"/>
                    <a:pt x="5410" y="2706"/>
                  </a:cubicBezTo>
                  <a:lnTo>
                    <a:pt x="5410" y="2683"/>
                  </a:lnTo>
                  <a:cubicBezTo>
                    <a:pt x="5410" y="2483"/>
                    <a:pt x="5573" y="2327"/>
                    <a:pt x="5765" y="2327"/>
                  </a:cubicBezTo>
                  <a:cubicBezTo>
                    <a:pt x="5876" y="2327"/>
                    <a:pt x="5981" y="2379"/>
                    <a:pt x="6039" y="2453"/>
                  </a:cubicBezTo>
                  <a:cubicBezTo>
                    <a:pt x="6070" y="2446"/>
                    <a:pt x="6091" y="2446"/>
                    <a:pt x="6121" y="2446"/>
                  </a:cubicBezTo>
                  <a:cubicBezTo>
                    <a:pt x="6159" y="2446"/>
                    <a:pt x="6187" y="2453"/>
                    <a:pt x="6224" y="2467"/>
                  </a:cubicBezTo>
                  <a:cubicBezTo>
                    <a:pt x="6240" y="2357"/>
                    <a:pt x="6292" y="2261"/>
                    <a:pt x="6365" y="2186"/>
                  </a:cubicBezTo>
                  <a:lnTo>
                    <a:pt x="6388" y="734"/>
                  </a:lnTo>
                  <a:cubicBezTo>
                    <a:pt x="6402" y="734"/>
                    <a:pt x="6409" y="1505"/>
                    <a:pt x="6418" y="2142"/>
                  </a:cubicBezTo>
                  <a:cubicBezTo>
                    <a:pt x="6498" y="2083"/>
                    <a:pt x="6603" y="2046"/>
                    <a:pt x="6713" y="2046"/>
                  </a:cubicBezTo>
                  <a:cubicBezTo>
                    <a:pt x="6774" y="2046"/>
                    <a:pt x="6833" y="2060"/>
                    <a:pt x="6884" y="2074"/>
                  </a:cubicBezTo>
                  <a:cubicBezTo>
                    <a:pt x="7076" y="2135"/>
                    <a:pt x="7218" y="2306"/>
                    <a:pt x="7218" y="2512"/>
                  </a:cubicBezTo>
                  <a:lnTo>
                    <a:pt x="7218" y="2549"/>
                  </a:lnTo>
                  <a:cubicBezTo>
                    <a:pt x="7233" y="2542"/>
                    <a:pt x="7247" y="2542"/>
                    <a:pt x="7270" y="2542"/>
                  </a:cubicBezTo>
                  <a:lnTo>
                    <a:pt x="7284" y="2542"/>
                  </a:lnTo>
                  <a:cubicBezTo>
                    <a:pt x="7441" y="2386"/>
                    <a:pt x="7626" y="2245"/>
                    <a:pt x="7832" y="2112"/>
                  </a:cubicBezTo>
                  <a:cubicBezTo>
                    <a:pt x="7841" y="1934"/>
                    <a:pt x="7900" y="1756"/>
                    <a:pt x="8010" y="1601"/>
                  </a:cubicBezTo>
                  <a:lnTo>
                    <a:pt x="9137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5" name="Google Shape;5235;p53">
              <a:extLst>
                <a:ext uri="{FF2B5EF4-FFF2-40B4-BE49-F238E27FC236}">
                  <a16:creationId xmlns:a16="http://schemas.microsoft.com/office/drawing/2014/main" id="{C9554D5D-06B9-45E2-5B55-9E8A2AC7C8B8}"/>
                </a:ext>
              </a:extLst>
            </p:cNvPr>
            <p:cNvSpPr/>
            <p:nvPr/>
          </p:nvSpPr>
          <p:spPr>
            <a:xfrm>
              <a:off x="7415350" y="1386900"/>
              <a:ext cx="497800" cy="293450"/>
            </a:xfrm>
            <a:custGeom>
              <a:avLst/>
              <a:gdLst/>
              <a:ahLst/>
              <a:cxnLst/>
              <a:rect l="l" t="t" r="r" b="b"/>
              <a:pathLst>
                <a:path w="19912" h="11738" extrusionOk="0">
                  <a:moveTo>
                    <a:pt x="8752" y="0"/>
                  </a:moveTo>
                  <a:cubicBezTo>
                    <a:pt x="8604" y="0"/>
                    <a:pt x="8471" y="59"/>
                    <a:pt x="8368" y="155"/>
                  </a:cubicBezTo>
                  <a:cubicBezTo>
                    <a:pt x="8270" y="251"/>
                    <a:pt x="8211" y="391"/>
                    <a:pt x="8211" y="541"/>
                  </a:cubicBezTo>
                  <a:lnTo>
                    <a:pt x="8211" y="770"/>
                  </a:lnTo>
                  <a:lnTo>
                    <a:pt x="8211" y="3512"/>
                  </a:lnTo>
                  <a:lnTo>
                    <a:pt x="8211" y="3742"/>
                  </a:lnTo>
                  <a:cubicBezTo>
                    <a:pt x="8211" y="3890"/>
                    <a:pt x="8153" y="4023"/>
                    <a:pt x="8048" y="4126"/>
                  </a:cubicBezTo>
                  <a:cubicBezTo>
                    <a:pt x="7952" y="4224"/>
                    <a:pt x="7818" y="4283"/>
                    <a:pt x="7664" y="4283"/>
                  </a:cubicBezTo>
                  <a:cubicBezTo>
                    <a:pt x="7367" y="4283"/>
                    <a:pt x="7123" y="4037"/>
                    <a:pt x="7123" y="3742"/>
                  </a:cubicBezTo>
                  <a:lnTo>
                    <a:pt x="7123" y="770"/>
                  </a:lnTo>
                  <a:lnTo>
                    <a:pt x="7123" y="756"/>
                  </a:lnTo>
                  <a:lnTo>
                    <a:pt x="401" y="10277"/>
                  </a:lnTo>
                  <a:cubicBezTo>
                    <a:pt x="1" y="10848"/>
                    <a:pt x="328" y="11693"/>
                    <a:pt x="979" y="11737"/>
                  </a:cubicBezTo>
                  <a:lnTo>
                    <a:pt x="18933" y="11737"/>
                  </a:lnTo>
                  <a:cubicBezTo>
                    <a:pt x="19586" y="11693"/>
                    <a:pt x="19911" y="10839"/>
                    <a:pt x="19511" y="10277"/>
                  </a:cubicBezTo>
                  <a:lnTo>
                    <a:pt x="12561" y="496"/>
                  </a:lnTo>
                  <a:lnTo>
                    <a:pt x="12561" y="3393"/>
                  </a:lnTo>
                  <a:cubicBezTo>
                    <a:pt x="12561" y="3541"/>
                    <a:pt x="12494" y="3674"/>
                    <a:pt x="12398" y="3770"/>
                  </a:cubicBezTo>
                  <a:cubicBezTo>
                    <a:pt x="12302" y="3875"/>
                    <a:pt x="12161" y="3934"/>
                    <a:pt x="12014" y="3934"/>
                  </a:cubicBezTo>
                  <a:cubicBezTo>
                    <a:pt x="11717" y="3934"/>
                    <a:pt x="11471" y="3690"/>
                    <a:pt x="11471" y="3393"/>
                  </a:cubicBezTo>
                  <a:lnTo>
                    <a:pt x="11471" y="1592"/>
                  </a:lnTo>
                  <a:cubicBezTo>
                    <a:pt x="11471" y="1290"/>
                    <a:pt x="11227" y="1044"/>
                    <a:pt x="10923" y="1044"/>
                  </a:cubicBezTo>
                  <a:cubicBezTo>
                    <a:pt x="10776" y="1044"/>
                    <a:pt x="10642" y="1112"/>
                    <a:pt x="10537" y="1208"/>
                  </a:cubicBezTo>
                  <a:cubicBezTo>
                    <a:pt x="10441" y="1304"/>
                    <a:pt x="10383" y="1444"/>
                    <a:pt x="10383" y="1592"/>
                  </a:cubicBezTo>
                  <a:lnTo>
                    <a:pt x="10383" y="2734"/>
                  </a:lnTo>
                  <a:cubicBezTo>
                    <a:pt x="10383" y="2890"/>
                    <a:pt x="10324" y="3023"/>
                    <a:pt x="10219" y="3119"/>
                  </a:cubicBezTo>
                  <a:cubicBezTo>
                    <a:pt x="10123" y="3223"/>
                    <a:pt x="9990" y="3281"/>
                    <a:pt x="9835" y="3281"/>
                  </a:cubicBezTo>
                  <a:cubicBezTo>
                    <a:pt x="9538" y="3281"/>
                    <a:pt x="9293" y="3038"/>
                    <a:pt x="9293" y="2734"/>
                  </a:cubicBezTo>
                  <a:lnTo>
                    <a:pt x="9302" y="2734"/>
                  </a:lnTo>
                  <a:lnTo>
                    <a:pt x="9302" y="541"/>
                  </a:lnTo>
                  <a:cubicBezTo>
                    <a:pt x="9302" y="244"/>
                    <a:pt x="9056" y="0"/>
                    <a:pt x="875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6" name="Google Shape;5236;p53">
              <a:extLst>
                <a:ext uri="{FF2B5EF4-FFF2-40B4-BE49-F238E27FC236}">
                  <a16:creationId xmlns:a16="http://schemas.microsoft.com/office/drawing/2014/main" id="{36FC3860-3BE9-2B6F-2717-5AEC67B16307}"/>
                </a:ext>
              </a:extLst>
            </p:cNvPr>
            <p:cNvSpPr/>
            <p:nvPr/>
          </p:nvSpPr>
          <p:spPr>
            <a:xfrm>
              <a:off x="7593425" y="1342600"/>
              <a:ext cx="135975" cy="151375"/>
            </a:xfrm>
            <a:custGeom>
              <a:avLst/>
              <a:gdLst/>
              <a:ahLst/>
              <a:cxnLst/>
              <a:rect l="l" t="t" r="r" b="b"/>
              <a:pathLst>
                <a:path w="5439" h="6055" extrusionOk="0">
                  <a:moveTo>
                    <a:pt x="2815" y="1"/>
                  </a:moveTo>
                  <a:cubicBezTo>
                    <a:pt x="2163" y="1"/>
                    <a:pt x="1547" y="334"/>
                    <a:pt x="1147" y="897"/>
                  </a:cubicBezTo>
                  <a:lnTo>
                    <a:pt x="0" y="2528"/>
                  </a:lnTo>
                  <a:lnTo>
                    <a:pt x="0" y="2542"/>
                  </a:lnTo>
                  <a:lnTo>
                    <a:pt x="0" y="5514"/>
                  </a:lnTo>
                  <a:cubicBezTo>
                    <a:pt x="0" y="5809"/>
                    <a:pt x="244" y="6055"/>
                    <a:pt x="541" y="6055"/>
                  </a:cubicBezTo>
                  <a:cubicBezTo>
                    <a:pt x="695" y="6055"/>
                    <a:pt x="829" y="5996"/>
                    <a:pt x="925" y="5898"/>
                  </a:cubicBezTo>
                  <a:cubicBezTo>
                    <a:pt x="1030" y="5795"/>
                    <a:pt x="1088" y="5662"/>
                    <a:pt x="1088" y="5514"/>
                  </a:cubicBezTo>
                  <a:lnTo>
                    <a:pt x="1088" y="5284"/>
                  </a:lnTo>
                  <a:lnTo>
                    <a:pt x="1088" y="2542"/>
                  </a:lnTo>
                  <a:lnTo>
                    <a:pt x="1088" y="2313"/>
                  </a:lnTo>
                  <a:cubicBezTo>
                    <a:pt x="1088" y="2163"/>
                    <a:pt x="1147" y="2023"/>
                    <a:pt x="1245" y="1927"/>
                  </a:cubicBezTo>
                  <a:cubicBezTo>
                    <a:pt x="1348" y="1831"/>
                    <a:pt x="1481" y="1772"/>
                    <a:pt x="1629" y="1772"/>
                  </a:cubicBezTo>
                  <a:cubicBezTo>
                    <a:pt x="1933" y="1772"/>
                    <a:pt x="2179" y="2016"/>
                    <a:pt x="2179" y="2313"/>
                  </a:cubicBezTo>
                  <a:lnTo>
                    <a:pt x="2179" y="4506"/>
                  </a:lnTo>
                  <a:lnTo>
                    <a:pt x="2170" y="4506"/>
                  </a:lnTo>
                  <a:cubicBezTo>
                    <a:pt x="2170" y="4810"/>
                    <a:pt x="2415" y="5053"/>
                    <a:pt x="2712" y="5053"/>
                  </a:cubicBezTo>
                  <a:cubicBezTo>
                    <a:pt x="2867" y="5053"/>
                    <a:pt x="3000" y="4995"/>
                    <a:pt x="3096" y="4891"/>
                  </a:cubicBezTo>
                  <a:cubicBezTo>
                    <a:pt x="3201" y="4795"/>
                    <a:pt x="3260" y="4662"/>
                    <a:pt x="3260" y="4506"/>
                  </a:cubicBezTo>
                  <a:lnTo>
                    <a:pt x="3260" y="3364"/>
                  </a:lnTo>
                  <a:cubicBezTo>
                    <a:pt x="3260" y="3216"/>
                    <a:pt x="3318" y="3076"/>
                    <a:pt x="3414" y="2980"/>
                  </a:cubicBezTo>
                  <a:cubicBezTo>
                    <a:pt x="3519" y="2884"/>
                    <a:pt x="3653" y="2816"/>
                    <a:pt x="3800" y="2816"/>
                  </a:cubicBezTo>
                  <a:cubicBezTo>
                    <a:pt x="4104" y="2816"/>
                    <a:pt x="4348" y="3062"/>
                    <a:pt x="4348" y="3364"/>
                  </a:cubicBezTo>
                  <a:lnTo>
                    <a:pt x="4348" y="5165"/>
                  </a:lnTo>
                  <a:cubicBezTo>
                    <a:pt x="4348" y="5462"/>
                    <a:pt x="4594" y="5706"/>
                    <a:pt x="4891" y="5706"/>
                  </a:cubicBezTo>
                  <a:cubicBezTo>
                    <a:pt x="5038" y="5706"/>
                    <a:pt x="5179" y="5647"/>
                    <a:pt x="5275" y="5542"/>
                  </a:cubicBezTo>
                  <a:cubicBezTo>
                    <a:pt x="5371" y="5446"/>
                    <a:pt x="5438" y="5313"/>
                    <a:pt x="5438" y="5165"/>
                  </a:cubicBezTo>
                  <a:lnTo>
                    <a:pt x="5438" y="2268"/>
                  </a:lnTo>
                  <a:lnTo>
                    <a:pt x="4437" y="867"/>
                  </a:lnTo>
                  <a:cubicBezTo>
                    <a:pt x="4053" y="326"/>
                    <a:pt x="3452" y="1"/>
                    <a:pt x="281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7" name="Google Shape;5237;p53">
              <a:extLst>
                <a:ext uri="{FF2B5EF4-FFF2-40B4-BE49-F238E27FC236}">
                  <a16:creationId xmlns:a16="http://schemas.microsoft.com/office/drawing/2014/main" id="{2ABD0622-DA8A-9C62-2592-C7E9F4D9F962}"/>
                </a:ext>
              </a:extLst>
            </p:cNvPr>
            <p:cNvSpPr/>
            <p:nvPr/>
          </p:nvSpPr>
          <p:spPr>
            <a:xfrm>
              <a:off x="7437400" y="1679925"/>
              <a:ext cx="3375" cy="425"/>
            </a:xfrm>
            <a:custGeom>
              <a:avLst/>
              <a:gdLst/>
              <a:ahLst/>
              <a:cxnLst/>
              <a:rect l="l" t="t" r="r" b="b"/>
              <a:pathLst>
                <a:path w="135" h="17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8"/>
                    <a:pt x="61" y="16"/>
                    <a:pt x="97" y="16"/>
                  </a:cubicBezTo>
                  <a:lnTo>
                    <a:pt x="134" y="16"/>
                  </a:lnTo>
                  <a:lnTo>
                    <a:pt x="97" y="16"/>
                  </a:lnTo>
                  <a:cubicBezTo>
                    <a:pt x="61" y="16"/>
                    <a:pt x="31" y="8"/>
                    <a:pt x="1" y="0"/>
                  </a:cubicBezTo>
                  <a:close/>
                </a:path>
              </a:pathLst>
            </a:custGeom>
            <a:solidFill>
              <a:srgbClr val="67717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8" name="Google Shape;5238;p53">
              <a:extLst>
                <a:ext uri="{FF2B5EF4-FFF2-40B4-BE49-F238E27FC236}">
                  <a16:creationId xmlns:a16="http://schemas.microsoft.com/office/drawing/2014/main" id="{7A4204DF-8A59-78FC-FED0-C07E0341757E}"/>
                </a:ext>
              </a:extLst>
            </p:cNvPr>
            <p:cNvSpPr/>
            <p:nvPr/>
          </p:nvSpPr>
          <p:spPr>
            <a:xfrm>
              <a:off x="7420900" y="1576550"/>
              <a:ext cx="371275" cy="103800"/>
            </a:xfrm>
            <a:custGeom>
              <a:avLst/>
              <a:gdLst/>
              <a:ahLst/>
              <a:cxnLst/>
              <a:rect l="l" t="t" r="r" b="b"/>
              <a:pathLst>
                <a:path w="14851" h="4152" extrusionOk="0">
                  <a:moveTo>
                    <a:pt x="661" y="4135"/>
                  </a:moveTo>
                  <a:cubicBezTo>
                    <a:pt x="691" y="4143"/>
                    <a:pt x="721" y="4151"/>
                    <a:pt x="757" y="4151"/>
                  </a:cubicBezTo>
                  <a:lnTo>
                    <a:pt x="6101" y="4151"/>
                  </a:lnTo>
                  <a:cubicBezTo>
                    <a:pt x="6101" y="4151"/>
                    <a:pt x="6101" y="4143"/>
                    <a:pt x="6108" y="4135"/>
                  </a:cubicBezTo>
                  <a:close/>
                  <a:moveTo>
                    <a:pt x="2076" y="1"/>
                  </a:moveTo>
                  <a:lnTo>
                    <a:pt x="179" y="2691"/>
                  </a:lnTo>
                  <a:cubicBezTo>
                    <a:pt x="69" y="2846"/>
                    <a:pt x="10" y="3024"/>
                    <a:pt x="1" y="3202"/>
                  </a:cubicBezTo>
                  <a:cubicBezTo>
                    <a:pt x="862" y="2661"/>
                    <a:pt x="2121" y="2313"/>
                    <a:pt x="3522" y="2313"/>
                  </a:cubicBezTo>
                  <a:cubicBezTo>
                    <a:pt x="4811" y="2313"/>
                    <a:pt x="5982" y="2602"/>
                    <a:pt x="6826" y="3068"/>
                  </a:cubicBezTo>
                  <a:cubicBezTo>
                    <a:pt x="7664" y="2231"/>
                    <a:pt x="8982" y="1683"/>
                    <a:pt x="10472" y="1683"/>
                  </a:cubicBezTo>
                  <a:cubicBezTo>
                    <a:pt x="12524" y="1683"/>
                    <a:pt x="14265" y="2720"/>
                    <a:pt x="14843" y="4151"/>
                  </a:cubicBezTo>
                  <a:lnTo>
                    <a:pt x="14850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9" name="Google Shape;5239;p53">
              <a:extLst>
                <a:ext uri="{FF2B5EF4-FFF2-40B4-BE49-F238E27FC236}">
                  <a16:creationId xmlns:a16="http://schemas.microsoft.com/office/drawing/2014/main" id="{01EDCF2E-DA08-1663-C5FE-305CEE287203}"/>
                </a:ext>
              </a:extLst>
            </p:cNvPr>
            <p:cNvSpPr/>
            <p:nvPr/>
          </p:nvSpPr>
          <p:spPr>
            <a:xfrm>
              <a:off x="7697125" y="1146225"/>
              <a:ext cx="96725" cy="77300"/>
            </a:xfrm>
            <a:custGeom>
              <a:avLst/>
              <a:gdLst/>
              <a:ahLst/>
              <a:cxnLst/>
              <a:rect l="l" t="t" r="r" b="b"/>
              <a:pathLst>
                <a:path w="3869" h="3092" extrusionOk="0">
                  <a:moveTo>
                    <a:pt x="3647" y="1"/>
                  </a:moveTo>
                  <a:cubicBezTo>
                    <a:pt x="2706" y="1"/>
                    <a:pt x="1898" y="579"/>
                    <a:pt x="1557" y="1393"/>
                  </a:cubicBezTo>
                  <a:cubicBezTo>
                    <a:pt x="1505" y="1386"/>
                    <a:pt x="1445" y="1386"/>
                    <a:pt x="1393" y="1386"/>
                  </a:cubicBezTo>
                  <a:cubicBezTo>
                    <a:pt x="623" y="1386"/>
                    <a:pt x="1" y="2009"/>
                    <a:pt x="1" y="2772"/>
                  </a:cubicBezTo>
                  <a:cubicBezTo>
                    <a:pt x="1" y="2884"/>
                    <a:pt x="15" y="2987"/>
                    <a:pt x="38" y="3092"/>
                  </a:cubicBezTo>
                  <a:lnTo>
                    <a:pt x="3869" y="3092"/>
                  </a:lnTo>
                  <a:lnTo>
                    <a:pt x="3869" y="2217"/>
                  </a:lnTo>
                  <a:lnTo>
                    <a:pt x="3869" y="8"/>
                  </a:lnTo>
                  <a:cubicBezTo>
                    <a:pt x="3794" y="1"/>
                    <a:pt x="3721" y="1"/>
                    <a:pt x="3647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0" name="Google Shape;5240;p53">
              <a:extLst>
                <a:ext uri="{FF2B5EF4-FFF2-40B4-BE49-F238E27FC236}">
                  <a16:creationId xmlns:a16="http://schemas.microsoft.com/office/drawing/2014/main" id="{96F9EE89-CE22-B717-9374-46650A8469C9}"/>
                </a:ext>
              </a:extLst>
            </p:cNvPr>
            <p:cNvSpPr/>
            <p:nvPr/>
          </p:nvSpPr>
          <p:spPr>
            <a:xfrm>
              <a:off x="7397400" y="1634350"/>
              <a:ext cx="223250" cy="45600"/>
            </a:xfrm>
            <a:custGeom>
              <a:avLst/>
              <a:gdLst/>
              <a:ahLst/>
              <a:cxnLst/>
              <a:rect l="l" t="t" r="r" b="b"/>
              <a:pathLst>
                <a:path w="8930" h="1824" extrusionOk="0">
                  <a:moveTo>
                    <a:pt x="4462" y="1"/>
                  </a:moveTo>
                  <a:cubicBezTo>
                    <a:pt x="2364" y="1"/>
                    <a:pt x="585" y="772"/>
                    <a:pt x="0" y="1823"/>
                  </a:cubicBezTo>
                  <a:lnTo>
                    <a:pt x="8929" y="1823"/>
                  </a:lnTo>
                  <a:cubicBezTo>
                    <a:pt x="8344" y="772"/>
                    <a:pt x="6566" y="1"/>
                    <a:pt x="4462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1" name="Google Shape;5241;p53">
              <a:extLst>
                <a:ext uri="{FF2B5EF4-FFF2-40B4-BE49-F238E27FC236}">
                  <a16:creationId xmlns:a16="http://schemas.microsoft.com/office/drawing/2014/main" id="{959B9476-CF5F-4EC4-D5BE-F8AD559D525F}"/>
                </a:ext>
              </a:extLst>
            </p:cNvPr>
            <p:cNvSpPr/>
            <p:nvPr/>
          </p:nvSpPr>
          <p:spPr>
            <a:xfrm>
              <a:off x="7573175" y="1618625"/>
              <a:ext cx="218825" cy="62075"/>
            </a:xfrm>
            <a:custGeom>
              <a:avLst/>
              <a:gdLst/>
              <a:ahLst/>
              <a:cxnLst/>
              <a:rect l="l" t="t" r="r" b="b"/>
              <a:pathLst>
                <a:path w="8753" h="2483" extrusionOk="0">
                  <a:moveTo>
                    <a:pt x="4381" y="0"/>
                  </a:moveTo>
                  <a:cubicBezTo>
                    <a:pt x="2322" y="0"/>
                    <a:pt x="572" y="1046"/>
                    <a:pt x="1" y="2483"/>
                  </a:cubicBezTo>
                  <a:lnTo>
                    <a:pt x="8752" y="2483"/>
                  </a:lnTo>
                  <a:cubicBezTo>
                    <a:pt x="8181" y="1046"/>
                    <a:pt x="6440" y="0"/>
                    <a:pt x="438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2" name="Google Shape;5242;p53">
              <a:extLst>
                <a:ext uri="{FF2B5EF4-FFF2-40B4-BE49-F238E27FC236}">
                  <a16:creationId xmlns:a16="http://schemas.microsoft.com/office/drawing/2014/main" id="{534C3D72-BC69-3D0B-0EFC-BDA196381067}"/>
                </a:ext>
              </a:extLst>
            </p:cNvPr>
            <p:cNvSpPr/>
            <p:nvPr/>
          </p:nvSpPr>
          <p:spPr>
            <a:xfrm>
              <a:off x="7615425" y="1633075"/>
              <a:ext cx="37450" cy="20775"/>
            </a:xfrm>
            <a:custGeom>
              <a:avLst/>
              <a:gdLst/>
              <a:ahLst/>
              <a:cxnLst/>
              <a:rect l="l" t="t" r="r" b="b"/>
              <a:pathLst>
                <a:path w="1498" h="831" extrusionOk="0">
                  <a:moveTo>
                    <a:pt x="978" y="0"/>
                  </a:moveTo>
                  <a:cubicBezTo>
                    <a:pt x="882" y="0"/>
                    <a:pt x="772" y="14"/>
                    <a:pt x="660" y="52"/>
                  </a:cubicBezTo>
                  <a:cubicBezTo>
                    <a:pt x="246" y="171"/>
                    <a:pt x="0" y="475"/>
                    <a:pt x="89" y="660"/>
                  </a:cubicBezTo>
                  <a:cubicBezTo>
                    <a:pt x="143" y="779"/>
                    <a:pt x="290" y="831"/>
                    <a:pt x="475" y="831"/>
                  </a:cubicBezTo>
                  <a:cubicBezTo>
                    <a:pt x="594" y="831"/>
                    <a:pt x="735" y="807"/>
                    <a:pt x="868" y="770"/>
                  </a:cubicBezTo>
                  <a:cubicBezTo>
                    <a:pt x="1224" y="667"/>
                    <a:pt x="1498" y="459"/>
                    <a:pt x="1467" y="260"/>
                  </a:cubicBezTo>
                  <a:cubicBezTo>
                    <a:pt x="1446" y="112"/>
                    <a:pt x="1245" y="0"/>
                    <a:pt x="978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3" name="Google Shape;5243;p53">
              <a:extLst>
                <a:ext uri="{FF2B5EF4-FFF2-40B4-BE49-F238E27FC236}">
                  <a16:creationId xmlns:a16="http://schemas.microsoft.com/office/drawing/2014/main" id="{D9A7D63D-3162-4515-5306-FC99A40CF969}"/>
                </a:ext>
              </a:extLst>
            </p:cNvPr>
            <p:cNvSpPr/>
            <p:nvPr/>
          </p:nvSpPr>
          <p:spPr>
            <a:xfrm>
              <a:off x="7658600" y="1636225"/>
              <a:ext cx="19500" cy="10025"/>
            </a:xfrm>
            <a:custGeom>
              <a:avLst/>
              <a:gdLst/>
              <a:ahLst/>
              <a:cxnLst/>
              <a:rect l="l" t="t" r="r" b="b"/>
              <a:pathLst>
                <a:path w="780" h="401" extrusionOk="0">
                  <a:moveTo>
                    <a:pt x="393" y="0"/>
                  </a:moveTo>
                  <a:cubicBezTo>
                    <a:pt x="171" y="0"/>
                    <a:pt x="0" y="103"/>
                    <a:pt x="16" y="215"/>
                  </a:cubicBezTo>
                  <a:cubicBezTo>
                    <a:pt x="23" y="326"/>
                    <a:pt x="185" y="400"/>
                    <a:pt x="386" y="400"/>
                  </a:cubicBezTo>
                  <a:lnTo>
                    <a:pt x="393" y="400"/>
                  </a:lnTo>
                  <a:cubicBezTo>
                    <a:pt x="594" y="400"/>
                    <a:pt x="763" y="319"/>
                    <a:pt x="772" y="215"/>
                  </a:cubicBezTo>
                  <a:cubicBezTo>
                    <a:pt x="779" y="103"/>
                    <a:pt x="608" y="0"/>
                    <a:pt x="393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4" name="Google Shape;5244;p53">
              <a:extLst>
                <a:ext uri="{FF2B5EF4-FFF2-40B4-BE49-F238E27FC236}">
                  <a16:creationId xmlns:a16="http://schemas.microsoft.com/office/drawing/2014/main" id="{799D9C45-30A3-61C5-77E1-45BA4EEFCED3}"/>
                </a:ext>
              </a:extLst>
            </p:cNvPr>
            <p:cNvSpPr/>
            <p:nvPr/>
          </p:nvSpPr>
          <p:spPr>
            <a:xfrm>
              <a:off x="7362400" y="1596950"/>
              <a:ext cx="43375" cy="54675"/>
            </a:xfrm>
            <a:custGeom>
              <a:avLst/>
              <a:gdLst/>
              <a:ahLst/>
              <a:cxnLst/>
              <a:rect l="l" t="t" r="r" b="b"/>
              <a:pathLst>
                <a:path w="1735" h="2187" extrusionOk="0">
                  <a:moveTo>
                    <a:pt x="867" y="1"/>
                  </a:moveTo>
                  <a:cubicBezTo>
                    <a:pt x="490" y="1"/>
                    <a:pt x="178" y="303"/>
                    <a:pt x="178" y="682"/>
                  </a:cubicBezTo>
                  <a:cubicBezTo>
                    <a:pt x="178" y="712"/>
                    <a:pt x="186" y="741"/>
                    <a:pt x="193" y="778"/>
                  </a:cubicBezTo>
                  <a:cubicBezTo>
                    <a:pt x="66" y="926"/>
                    <a:pt x="1" y="1112"/>
                    <a:pt x="1" y="1319"/>
                  </a:cubicBezTo>
                  <a:cubicBezTo>
                    <a:pt x="1" y="1801"/>
                    <a:pt x="385" y="2187"/>
                    <a:pt x="867" y="2187"/>
                  </a:cubicBezTo>
                  <a:cubicBezTo>
                    <a:pt x="1342" y="2187"/>
                    <a:pt x="1735" y="1801"/>
                    <a:pt x="1735" y="1319"/>
                  </a:cubicBezTo>
                  <a:cubicBezTo>
                    <a:pt x="1735" y="1112"/>
                    <a:pt x="1660" y="926"/>
                    <a:pt x="1541" y="778"/>
                  </a:cubicBezTo>
                  <a:cubicBezTo>
                    <a:pt x="1541" y="741"/>
                    <a:pt x="1550" y="712"/>
                    <a:pt x="1550" y="682"/>
                  </a:cubicBezTo>
                  <a:cubicBezTo>
                    <a:pt x="1550" y="303"/>
                    <a:pt x="1245" y="1"/>
                    <a:pt x="86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5" name="Google Shape;5245;p53">
              <a:extLst>
                <a:ext uri="{FF2B5EF4-FFF2-40B4-BE49-F238E27FC236}">
                  <a16:creationId xmlns:a16="http://schemas.microsoft.com/office/drawing/2014/main" id="{48EB11A3-0489-2095-65CC-CD43E80410F3}"/>
                </a:ext>
              </a:extLst>
            </p:cNvPr>
            <p:cNvSpPr/>
            <p:nvPr/>
          </p:nvSpPr>
          <p:spPr>
            <a:xfrm>
              <a:off x="7383875" y="1622125"/>
              <a:ext cx="1900" cy="57100"/>
            </a:xfrm>
            <a:custGeom>
              <a:avLst/>
              <a:gdLst/>
              <a:ahLst/>
              <a:cxnLst/>
              <a:rect l="l" t="t" r="r" b="b"/>
              <a:pathLst>
                <a:path w="76" h="2284" extrusionOk="0">
                  <a:moveTo>
                    <a:pt x="38" y="1"/>
                  </a:moveTo>
                  <a:lnTo>
                    <a:pt x="1" y="2247"/>
                  </a:lnTo>
                  <a:cubicBezTo>
                    <a:pt x="1" y="2268"/>
                    <a:pt x="15" y="2284"/>
                    <a:pt x="38" y="2284"/>
                  </a:cubicBezTo>
                  <a:cubicBezTo>
                    <a:pt x="59" y="2284"/>
                    <a:pt x="75" y="2268"/>
                    <a:pt x="75" y="2247"/>
                  </a:cubicBezTo>
                  <a:cubicBezTo>
                    <a:pt x="75" y="2247"/>
                    <a:pt x="59" y="1"/>
                    <a:pt x="38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6" name="Google Shape;5246;p53">
              <a:extLst>
                <a:ext uri="{FF2B5EF4-FFF2-40B4-BE49-F238E27FC236}">
                  <a16:creationId xmlns:a16="http://schemas.microsoft.com/office/drawing/2014/main" id="{3493B77A-11BB-DF5E-5B2E-08454B5144AF}"/>
                </a:ext>
              </a:extLst>
            </p:cNvPr>
            <p:cNvSpPr/>
            <p:nvPr/>
          </p:nvSpPr>
          <p:spPr>
            <a:xfrm>
              <a:off x="7373875" y="1635650"/>
              <a:ext cx="10950" cy="8900"/>
            </a:xfrm>
            <a:custGeom>
              <a:avLst/>
              <a:gdLst/>
              <a:ahLst/>
              <a:cxnLst/>
              <a:rect l="l" t="t" r="r" b="b"/>
              <a:pathLst>
                <a:path w="438" h="356" extrusionOk="0">
                  <a:moveTo>
                    <a:pt x="0" y="0"/>
                  </a:moveTo>
                  <a:cubicBezTo>
                    <a:pt x="205" y="342"/>
                    <a:pt x="404" y="356"/>
                    <a:pt x="434" y="356"/>
                  </a:cubicBezTo>
                  <a:cubicBezTo>
                    <a:pt x="437" y="356"/>
                    <a:pt x="438" y="356"/>
                    <a:pt x="438" y="356"/>
                  </a:cubicBezTo>
                  <a:lnTo>
                    <a:pt x="438" y="311"/>
                  </a:lnTo>
                  <a:cubicBezTo>
                    <a:pt x="438" y="311"/>
                    <a:pt x="434" y="314"/>
                    <a:pt x="422" y="314"/>
                  </a:cubicBezTo>
                  <a:cubicBezTo>
                    <a:pt x="396" y="314"/>
                    <a:pt x="334" y="300"/>
                    <a:pt x="201" y="208"/>
                  </a:cubicBezTo>
                  <a:cubicBezTo>
                    <a:pt x="82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7" name="Google Shape;5247;p53">
              <a:extLst>
                <a:ext uri="{FF2B5EF4-FFF2-40B4-BE49-F238E27FC236}">
                  <a16:creationId xmlns:a16="http://schemas.microsoft.com/office/drawing/2014/main" id="{18F97ABA-BE5C-9504-1DD4-D7B51E52EE40}"/>
                </a:ext>
              </a:extLst>
            </p:cNvPr>
            <p:cNvSpPr/>
            <p:nvPr/>
          </p:nvSpPr>
          <p:spPr>
            <a:xfrm>
              <a:off x="7384800" y="1633250"/>
              <a:ext cx="9450" cy="7625"/>
            </a:xfrm>
            <a:custGeom>
              <a:avLst/>
              <a:gdLst/>
              <a:ahLst/>
              <a:cxnLst/>
              <a:rect l="l" t="t" r="r" b="b"/>
              <a:pathLst>
                <a:path w="378" h="305" extrusionOk="0">
                  <a:moveTo>
                    <a:pt x="378" y="0"/>
                  </a:moveTo>
                  <a:cubicBezTo>
                    <a:pt x="378" y="0"/>
                    <a:pt x="305" y="105"/>
                    <a:pt x="209" y="171"/>
                  </a:cubicBezTo>
                  <a:cubicBezTo>
                    <a:pt x="96" y="250"/>
                    <a:pt x="41" y="263"/>
                    <a:pt x="17" y="263"/>
                  </a:cubicBezTo>
                  <a:cubicBezTo>
                    <a:pt x="5" y="263"/>
                    <a:pt x="1" y="260"/>
                    <a:pt x="1" y="260"/>
                  </a:cubicBezTo>
                  <a:lnTo>
                    <a:pt x="1" y="260"/>
                  </a:lnTo>
                  <a:lnTo>
                    <a:pt x="8" y="304"/>
                  </a:lnTo>
                  <a:cubicBezTo>
                    <a:pt x="8" y="304"/>
                    <a:pt x="8" y="304"/>
                    <a:pt x="9" y="304"/>
                  </a:cubicBezTo>
                  <a:cubicBezTo>
                    <a:pt x="24" y="304"/>
                    <a:pt x="194" y="298"/>
                    <a:pt x="378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8" name="Google Shape;5248;p53">
              <a:extLst>
                <a:ext uri="{FF2B5EF4-FFF2-40B4-BE49-F238E27FC236}">
                  <a16:creationId xmlns:a16="http://schemas.microsoft.com/office/drawing/2014/main" id="{2A0AB5DC-885C-24FC-7A41-84BA721673A3}"/>
                </a:ext>
              </a:extLst>
            </p:cNvPr>
            <p:cNvSpPr/>
            <p:nvPr/>
          </p:nvSpPr>
          <p:spPr>
            <a:xfrm>
              <a:off x="7377200" y="1627850"/>
              <a:ext cx="7625" cy="6175"/>
            </a:xfrm>
            <a:custGeom>
              <a:avLst/>
              <a:gdLst/>
              <a:ahLst/>
              <a:cxnLst/>
              <a:rect l="l" t="t" r="r" b="b"/>
              <a:pathLst>
                <a:path w="305" h="247" extrusionOk="0">
                  <a:moveTo>
                    <a:pt x="1" y="1"/>
                  </a:moveTo>
                  <a:cubicBezTo>
                    <a:pt x="149" y="240"/>
                    <a:pt x="289" y="246"/>
                    <a:pt x="304" y="246"/>
                  </a:cubicBezTo>
                  <a:cubicBezTo>
                    <a:pt x="304" y="246"/>
                    <a:pt x="305" y="246"/>
                    <a:pt x="305" y="246"/>
                  </a:cubicBezTo>
                  <a:lnTo>
                    <a:pt x="305" y="209"/>
                  </a:lnTo>
                  <a:cubicBezTo>
                    <a:pt x="305" y="209"/>
                    <a:pt x="302" y="211"/>
                    <a:pt x="293" y="211"/>
                  </a:cubicBezTo>
                  <a:cubicBezTo>
                    <a:pt x="275" y="211"/>
                    <a:pt x="232" y="201"/>
                    <a:pt x="141" y="134"/>
                  </a:cubicBezTo>
                  <a:cubicBezTo>
                    <a:pt x="60" y="8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9" name="Google Shape;5249;p53">
              <a:extLst>
                <a:ext uri="{FF2B5EF4-FFF2-40B4-BE49-F238E27FC236}">
                  <a16:creationId xmlns:a16="http://schemas.microsoft.com/office/drawing/2014/main" id="{7E7A7C5E-B7D4-233F-3001-86E0365B03B1}"/>
                </a:ext>
              </a:extLst>
            </p:cNvPr>
            <p:cNvSpPr/>
            <p:nvPr/>
          </p:nvSpPr>
          <p:spPr>
            <a:xfrm>
              <a:off x="7673450" y="1502475"/>
              <a:ext cx="158950" cy="154700"/>
            </a:xfrm>
            <a:custGeom>
              <a:avLst/>
              <a:gdLst/>
              <a:ahLst/>
              <a:cxnLst/>
              <a:rect l="l" t="t" r="r" b="b"/>
              <a:pathLst>
                <a:path w="6358" h="6188" extrusionOk="0">
                  <a:moveTo>
                    <a:pt x="3090" y="1"/>
                  </a:moveTo>
                  <a:cubicBezTo>
                    <a:pt x="2978" y="1"/>
                    <a:pt x="2867" y="30"/>
                    <a:pt x="2771" y="90"/>
                  </a:cubicBezTo>
                  <a:cubicBezTo>
                    <a:pt x="2067" y="534"/>
                    <a:pt x="0" y="6188"/>
                    <a:pt x="3089" y="6188"/>
                  </a:cubicBezTo>
                  <a:cubicBezTo>
                    <a:pt x="6358" y="6188"/>
                    <a:pt x="4112" y="534"/>
                    <a:pt x="3415" y="90"/>
                  </a:cubicBezTo>
                  <a:cubicBezTo>
                    <a:pt x="3315" y="30"/>
                    <a:pt x="3202" y="1"/>
                    <a:pt x="3090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0" name="Google Shape;5250;p53">
              <a:extLst>
                <a:ext uri="{FF2B5EF4-FFF2-40B4-BE49-F238E27FC236}">
                  <a16:creationId xmlns:a16="http://schemas.microsoft.com/office/drawing/2014/main" id="{B7671DF7-7E86-DC92-0DF5-170B4CC7FEF0}"/>
                </a:ext>
              </a:extLst>
            </p:cNvPr>
            <p:cNvSpPr/>
            <p:nvPr/>
          </p:nvSpPr>
          <p:spPr>
            <a:xfrm>
              <a:off x="7673450" y="1504650"/>
              <a:ext cx="77250" cy="152525"/>
            </a:xfrm>
            <a:custGeom>
              <a:avLst/>
              <a:gdLst/>
              <a:ahLst/>
              <a:cxnLst/>
              <a:rect l="l" t="t" r="r" b="b"/>
              <a:pathLst>
                <a:path w="3090" h="6101" extrusionOk="0">
                  <a:moveTo>
                    <a:pt x="2776" y="1"/>
                  </a:moveTo>
                  <a:cubicBezTo>
                    <a:pt x="2775" y="1"/>
                    <a:pt x="2773" y="2"/>
                    <a:pt x="2771" y="3"/>
                  </a:cubicBezTo>
                  <a:cubicBezTo>
                    <a:pt x="2067" y="447"/>
                    <a:pt x="0" y="6101"/>
                    <a:pt x="3089" y="6101"/>
                  </a:cubicBezTo>
                  <a:cubicBezTo>
                    <a:pt x="3089" y="6101"/>
                    <a:pt x="2312" y="6033"/>
                    <a:pt x="2268" y="3826"/>
                  </a:cubicBezTo>
                  <a:cubicBezTo>
                    <a:pt x="2215" y="1638"/>
                    <a:pt x="2848" y="1"/>
                    <a:pt x="2776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1" name="Google Shape;5251;p53">
              <a:extLst>
                <a:ext uri="{FF2B5EF4-FFF2-40B4-BE49-F238E27FC236}">
                  <a16:creationId xmlns:a16="http://schemas.microsoft.com/office/drawing/2014/main" id="{3AE6A226-103E-8C37-4D4C-3C7EC8F4043A}"/>
                </a:ext>
              </a:extLst>
            </p:cNvPr>
            <p:cNvSpPr/>
            <p:nvPr/>
          </p:nvSpPr>
          <p:spPr>
            <a:xfrm>
              <a:off x="7748275" y="1572725"/>
              <a:ext cx="11125" cy="107050"/>
            </a:xfrm>
            <a:custGeom>
              <a:avLst/>
              <a:gdLst/>
              <a:ahLst/>
              <a:cxnLst/>
              <a:rect l="l" t="t" r="r" b="b"/>
              <a:pathLst>
                <a:path w="445" h="4282" extrusionOk="0">
                  <a:moveTo>
                    <a:pt x="224" y="1"/>
                  </a:moveTo>
                  <a:cubicBezTo>
                    <a:pt x="223" y="1"/>
                    <a:pt x="222" y="6"/>
                    <a:pt x="222" y="20"/>
                  </a:cubicBezTo>
                  <a:lnTo>
                    <a:pt x="0" y="4281"/>
                  </a:lnTo>
                  <a:lnTo>
                    <a:pt x="445" y="4281"/>
                  </a:lnTo>
                  <a:cubicBezTo>
                    <a:pt x="430" y="2458"/>
                    <a:pt x="267" y="20"/>
                    <a:pt x="229" y="20"/>
                  </a:cubicBezTo>
                  <a:cubicBezTo>
                    <a:pt x="229" y="20"/>
                    <a:pt x="226" y="1"/>
                    <a:pt x="22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2" name="Google Shape;5252;p53">
              <a:extLst>
                <a:ext uri="{FF2B5EF4-FFF2-40B4-BE49-F238E27FC236}">
                  <a16:creationId xmlns:a16="http://schemas.microsoft.com/office/drawing/2014/main" id="{B39A68FC-1403-2721-6DD3-A23175452285}"/>
                </a:ext>
              </a:extLst>
            </p:cNvPr>
            <p:cNvSpPr/>
            <p:nvPr/>
          </p:nvSpPr>
          <p:spPr>
            <a:xfrm>
              <a:off x="7723625" y="1610650"/>
              <a:ext cx="30400" cy="24475"/>
            </a:xfrm>
            <a:custGeom>
              <a:avLst/>
              <a:gdLst/>
              <a:ahLst/>
              <a:cxnLst/>
              <a:rect l="l" t="t" r="r" b="b"/>
              <a:pathLst>
                <a:path w="1216" h="979" extrusionOk="0">
                  <a:moveTo>
                    <a:pt x="1" y="1"/>
                  </a:moveTo>
                  <a:cubicBezTo>
                    <a:pt x="595" y="952"/>
                    <a:pt x="1136" y="979"/>
                    <a:pt x="1196" y="979"/>
                  </a:cubicBezTo>
                  <a:cubicBezTo>
                    <a:pt x="1199" y="979"/>
                    <a:pt x="1201" y="979"/>
                    <a:pt x="1201" y="979"/>
                  </a:cubicBezTo>
                  <a:lnTo>
                    <a:pt x="1215" y="838"/>
                  </a:lnTo>
                  <a:lnTo>
                    <a:pt x="1215" y="838"/>
                  </a:lnTo>
                  <a:cubicBezTo>
                    <a:pt x="1215" y="838"/>
                    <a:pt x="1203" y="847"/>
                    <a:pt x="1168" y="847"/>
                  </a:cubicBezTo>
                  <a:cubicBezTo>
                    <a:pt x="1093" y="847"/>
                    <a:pt x="919" y="806"/>
                    <a:pt x="556" y="548"/>
                  </a:cubicBezTo>
                  <a:cubicBezTo>
                    <a:pt x="245" y="33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3" name="Google Shape;5253;p53">
              <a:extLst>
                <a:ext uri="{FF2B5EF4-FFF2-40B4-BE49-F238E27FC236}">
                  <a16:creationId xmlns:a16="http://schemas.microsoft.com/office/drawing/2014/main" id="{7EBF4A68-23DC-C064-D25E-F2E0ED5D265B}"/>
                </a:ext>
              </a:extLst>
            </p:cNvPr>
            <p:cNvSpPr/>
            <p:nvPr/>
          </p:nvSpPr>
          <p:spPr>
            <a:xfrm>
              <a:off x="7754000" y="1603800"/>
              <a:ext cx="25600" cy="20750"/>
            </a:xfrm>
            <a:custGeom>
              <a:avLst/>
              <a:gdLst/>
              <a:ahLst/>
              <a:cxnLst/>
              <a:rect l="l" t="t" r="r" b="b"/>
              <a:pathLst>
                <a:path w="1024" h="830" extrusionOk="0">
                  <a:moveTo>
                    <a:pt x="1023" y="1"/>
                  </a:moveTo>
                  <a:lnTo>
                    <a:pt x="1023" y="1"/>
                  </a:lnTo>
                  <a:cubicBezTo>
                    <a:pt x="1023" y="1"/>
                    <a:pt x="824" y="282"/>
                    <a:pt x="557" y="467"/>
                  </a:cubicBezTo>
                  <a:cubicBezTo>
                    <a:pt x="255" y="685"/>
                    <a:pt x="108" y="721"/>
                    <a:pt x="44" y="721"/>
                  </a:cubicBezTo>
                  <a:cubicBezTo>
                    <a:pt x="12" y="721"/>
                    <a:pt x="0" y="712"/>
                    <a:pt x="0" y="712"/>
                  </a:cubicBezTo>
                  <a:lnTo>
                    <a:pt x="0" y="712"/>
                  </a:lnTo>
                  <a:lnTo>
                    <a:pt x="8" y="830"/>
                  </a:lnTo>
                  <a:cubicBezTo>
                    <a:pt x="8" y="830"/>
                    <a:pt x="10" y="830"/>
                    <a:pt x="14" y="830"/>
                  </a:cubicBezTo>
                  <a:cubicBezTo>
                    <a:pt x="72" y="830"/>
                    <a:pt x="531" y="803"/>
                    <a:pt x="1023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4" name="Google Shape;5254;p53">
              <a:extLst>
                <a:ext uri="{FF2B5EF4-FFF2-40B4-BE49-F238E27FC236}">
                  <a16:creationId xmlns:a16="http://schemas.microsoft.com/office/drawing/2014/main" id="{6E1A090C-1BD4-62D7-171D-5F8CA39B6C1D}"/>
                </a:ext>
              </a:extLst>
            </p:cNvPr>
            <p:cNvSpPr/>
            <p:nvPr/>
          </p:nvSpPr>
          <p:spPr>
            <a:xfrm>
              <a:off x="7733225" y="1588950"/>
              <a:ext cx="20800" cy="16700"/>
            </a:xfrm>
            <a:custGeom>
              <a:avLst/>
              <a:gdLst/>
              <a:ahLst/>
              <a:cxnLst/>
              <a:rect l="l" t="t" r="r" b="b"/>
              <a:pathLst>
                <a:path w="832" h="668" extrusionOk="0">
                  <a:moveTo>
                    <a:pt x="1" y="1"/>
                  </a:moveTo>
                  <a:lnTo>
                    <a:pt x="1" y="1"/>
                  </a:lnTo>
                  <a:cubicBezTo>
                    <a:pt x="398" y="648"/>
                    <a:pt x="774" y="668"/>
                    <a:pt x="820" y="668"/>
                  </a:cubicBezTo>
                  <a:cubicBezTo>
                    <a:pt x="823" y="668"/>
                    <a:pt x="824" y="668"/>
                    <a:pt x="824" y="668"/>
                  </a:cubicBezTo>
                  <a:lnTo>
                    <a:pt x="831" y="572"/>
                  </a:lnTo>
                  <a:lnTo>
                    <a:pt x="831" y="572"/>
                  </a:lnTo>
                  <a:cubicBezTo>
                    <a:pt x="831" y="572"/>
                    <a:pt x="821" y="580"/>
                    <a:pt x="793" y="580"/>
                  </a:cubicBezTo>
                  <a:cubicBezTo>
                    <a:pt x="739" y="580"/>
                    <a:pt x="618" y="550"/>
                    <a:pt x="380" y="380"/>
                  </a:cubicBezTo>
                  <a:cubicBezTo>
                    <a:pt x="165" y="23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5" name="Google Shape;5255;p53">
              <a:extLst>
                <a:ext uri="{FF2B5EF4-FFF2-40B4-BE49-F238E27FC236}">
                  <a16:creationId xmlns:a16="http://schemas.microsoft.com/office/drawing/2014/main" id="{743D5327-C03D-A9C8-B78F-14101B3F4DD2}"/>
                </a:ext>
              </a:extLst>
            </p:cNvPr>
            <p:cNvSpPr/>
            <p:nvPr/>
          </p:nvSpPr>
          <p:spPr>
            <a:xfrm>
              <a:off x="7517600" y="1556875"/>
              <a:ext cx="110650" cy="107700"/>
            </a:xfrm>
            <a:custGeom>
              <a:avLst/>
              <a:gdLst/>
              <a:ahLst/>
              <a:cxnLst/>
              <a:rect l="l" t="t" r="r" b="b"/>
              <a:pathLst>
                <a:path w="4426" h="4308" extrusionOk="0">
                  <a:moveTo>
                    <a:pt x="2151" y="1"/>
                  </a:moveTo>
                  <a:cubicBezTo>
                    <a:pt x="2073" y="1"/>
                    <a:pt x="1995" y="21"/>
                    <a:pt x="1929" y="62"/>
                  </a:cubicBezTo>
                  <a:cubicBezTo>
                    <a:pt x="1440" y="366"/>
                    <a:pt x="1" y="4307"/>
                    <a:pt x="2151" y="4307"/>
                  </a:cubicBezTo>
                  <a:cubicBezTo>
                    <a:pt x="4425" y="4307"/>
                    <a:pt x="2862" y="366"/>
                    <a:pt x="2373" y="62"/>
                  </a:cubicBezTo>
                  <a:cubicBezTo>
                    <a:pt x="2307" y="21"/>
                    <a:pt x="2229" y="1"/>
                    <a:pt x="2151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6" name="Google Shape;5256;p53">
              <a:extLst>
                <a:ext uri="{FF2B5EF4-FFF2-40B4-BE49-F238E27FC236}">
                  <a16:creationId xmlns:a16="http://schemas.microsoft.com/office/drawing/2014/main" id="{CB2BADFC-5F97-E689-3616-B530906C49CA}"/>
                </a:ext>
              </a:extLst>
            </p:cNvPr>
            <p:cNvSpPr/>
            <p:nvPr/>
          </p:nvSpPr>
          <p:spPr>
            <a:xfrm>
              <a:off x="7517600" y="1558375"/>
              <a:ext cx="53775" cy="106200"/>
            </a:xfrm>
            <a:custGeom>
              <a:avLst/>
              <a:gdLst/>
              <a:ahLst/>
              <a:cxnLst/>
              <a:rect l="l" t="t" r="r" b="b"/>
              <a:pathLst>
                <a:path w="2151" h="4248" extrusionOk="0">
                  <a:moveTo>
                    <a:pt x="1932" y="1"/>
                  </a:moveTo>
                  <a:cubicBezTo>
                    <a:pt x="1931" y="1"/>
                    <a:pt x="1930" y="1"/>
                    <a:pt x="1929" y="2"/>
                  </a:cubicBezTo>
                  <a:cubicBezTo>
                    <a:pt x="1440" y="306"/>
                    <a:pt x="1" y="4247"/>
                    <a:pt x="2151" y="4247"/>
                  </a:cubicBezTo>
                  <a:cubicBezTo>
                    <a:pt x="2151" y="4247"/>
                    <a:pt x="1610" y="4203"/>
                    <a:pt x="1580" y="2663"/>
                  </a:cubicBezTo>
                  <a:cubicBezTo>
                    <a:pt x="1543" y="1142"/>
                    <a:pt x="1985" y="1"/>
                    <a:pt x="1932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7" name="Google Shape;5257;p53">
              <a:extLst>
                <a:ext uri="{FF2B5EF4-FFF2-40B4-BE49-F238E27FC236}">
                  <a16:creationId xmlns:a16="http://schemas.microsoft.com/office/drawing/2014/main" id="{9B4270F0-7C1A-9514-97A7-DCE52761E3BE}"/>
                </a:ext>
              </a:extLst>
            </p:cNvPr>
            <p:cNvSpPr/>
            <p:nvPr/>
          </p:nvSpPr>
          <p:spPr>
            <a:xfrm>
              <a:off x="7569675" y="1605800"/>
              <a:ext cx="7800" cy="74550"/>
            </a:xfrm>
            <a:custGeom>
              <a:avLst/>
              <a:gdLst/>
              <a:ahLst/>
              <a:cxnLst/>
              <a:rect l="l" t="t" r="r" b="b"/>
              <a:pathLst>
                <a:path w="312" h="2982" extrusionOk="0">
                  <a:moveTo>
                    <a:pt x="159" y="0"/>
                  </a:moveTo>
                  <a:cubicBezTo>
                    <a:pt x="158" y="0"/>
                    <a:pt x="157" y="4"/>
                    <a:pt x="157" y="17"/>
                  </a:cubicBezTo>
                  <a:lnTo>
                    <a:pt x="0" y="2981"/>
                  </a:lnTo>
                  <a:lnTo>
                    <a:pt x="312" y="2981"/>
                  </a:lnTo>
                  <a:cubicBezTo>
                    <a:pt x="304" y="1713"/>
                    <a:pt x="185" y="17"/>
                    <a:pt x="164" y="17"/>
                  </a:cubicBezTo>
                  <a:cubicBezTo>
                    <a:pt x="164" y="17"/>
                    <a:pt x="161" y="0"/>
                    <a:pt x="159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8" name="Google Shape;5258;p53">
              <a:extLst>
                <a:ext uri="{FF2B5EF4-FFF2-40B4-BE49-F238E27FC236}">
                  <a16:creationId xmlns:a16="http://schemas.microsoft.com/office/drawing/2014/main" id="{8EECF32F-CC2F-98A0-30BA-CB1C288DF3EE}"/>
                </a:ext>
              </a:extLst>
            </p:cNvPr>
            <p:cNvSpPr/>
            <p:nvPr/>
          </p:nvSpPr>
          <p:spPr>
            <a:xfrm>
              <a:off x="7552650" y="1632125"/>
              <a:ext cx="20950" cy="17100"/>
            </a:xfrm>
            <a:custGeom>
              <a:avLst/>
              <a:gdLst/>
              <a:ahLst/>
              <a:cxnLst/>
              <a:rect l="l" t="t" r="r" b="b"/>
              <a:pathLst>
                <a:path w="838" h="684" extrusionOk="0">
                  <a:moveTo>
                    <a:pt x="0" y="1"/>
                  </a:moveTo>
                  <a:lnTo>
                    <a:pt x="0" y="1"/>
                  </a:lnTo>
                  <a:cubicBezTo>
                    <a:pt x="406" y="665"/>
                    <a:pt x="785" y="684"/>
                    <a:pt x="827" y="684"/>
                  </a:cubicBezTo>
                  <a:cubicBezTo>
                    <a:pt x="829" y="684"/>
                    <a:pt x="831" y="684"/>
                    <a:pt x="831" y="684"/>
                  </a:cubicBezTo>
                  <a:lnTo>
                    <a:pt x="838" y="586"/>
                  </a:lnTo>
                  <a:lnTo>
                    <a:pt x="838" y="586"/>
                  </a:lnTo>
                  <a:cubicBezTo>
                    <a:pt x="838" y="586"/>
                    <a:pt x="830" y="592"/>
                    <a:pt x="806" y="592"/>
                  </a:cubicBezTo>
                  <a:cubicBezTo>
                    <a:pt x="757" y="592"/>
                    <a:pt x="639" y="564"/>
                    <a:pt x="386" y="387"/>
                  </a:cubicBezTo>
                  <a:cubicBezTo>
                    <a:pt x="164" y="23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9" name="Google Shape;5259;p53">
              <a:extLst>
                <a:ext uri="{FF2B5EF4-FFF2-40B4-BE49-F238E27FC236}">
                  <a16:creationId xmlns:a16="http://schemas.microsoft.com/office/drawing/2014/main" id="{889F1AA5-34BD-A130-690C-DB9B7EE41840}"/>
                </a:ext>
              </a:extLst>
            </p:cNvPr>
            <p:cNvSpPr/>
            <p:nvPr/>
          </p:nvSpPr>
          <p:spPr>
            <a:xfrm>
              <a:off x="7573575" y="1627500"/>
              <a:ext cx="18000" cy="14475"/>
            </a:xfrm>
            <a:custGeom>
              <a:avLst/>
              <a:gdLst/>
              <a:ahLst/>
              <a:cxnLst/>
              <a:rect l="l" t="t" r="r" b="b"/>
              <a:pathLst>
                <a:path w="720" h="579" extrusionOk="0">
                  <a:moveTo>
                    <a:pt x="719" y="1"/>
                  </a:moveTo>
                  <a:cubicBezTo>
                    <a:pt x="719" y="1"/>
                    <a:pt x="579" y="193"/>
                    <a:pt x="394" y="326"/>
                  </a:cubicBezTo>
                  <a:cubicBezTo>
                    <a:pt x="184" y="472"/>
                    <a:pt x="81" y="497"/>
                    <a:pt x="34" y="497"/>
                  </a:cubicBezTo>
                  <a:cubicBezTo>
                    <a:pt x="10" y="497"/>
                    <a:pt x="1" y="490"/>
                    <a:pt x="1" y="490"/>
                  </a:cubicBezTo>
                  <a:lnTo>
                    <a:pt x="1" y="490"/>
                  </a:lnTo>
                  <a:lnTo>
                    <a:pt x="8" y="579"/>
                  </a:lnTo>
                  <a:cubicBezTo>
                    <a:pt x="8" y="579"/>
                    <a:pt x="9" y="579"/>
                    <a:pt x="10" y="579"/>
                  </a:cubicBezTo>
                  <a:cubicBezTo>
                    <a:pt x="39" y="579"/>
                    <a:pt x="366" y="566"/>
                    <a:pt x="71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0" name="Google Shape;5260;p53">
              <a:extLst>
                <a:ext uri="{FF2B5EF4-FFF2-40B4-BE49-F238E27FC236}">
                  <a16:creationId xmlns:a16="http://schemas.microsoft.com/office/drawing/2014/main" id="{FB1AFBB0-B740-86B3-BB44-521D2B882916}"/>
                </a:ext>
              </a:extLst>
            </p:cNvPr>
            <p:cNvSpPr/>
            <p:nvPr/>
          </p:nvSpPr>
          <p:spPr>
            <a:xfrm>
              <a:off x="7559125" y="1617150"/>
              <a:ext cx="14475" cy="11675"/>
            </a:xfrm>
            <a:custGeom>
              <a:avLst/>
              <a:gdLst/>
              <a:ahLst/>
              <a:cxnLst/>
              <a:rect l="l" t="t" r="r" b="b"/>
              <a:pathLst>
                <a:path w="579" h="467" extrusionOk="0">
                  <a:moveTo>
                    <a:pt x="1" y="0"/>
                  </a:moveTo>
                  <a:lnTo>
                    <a:pt x="1" y="0"/>
                  </a:lnTo>
                  <a:cubicBezTo>
                    <a:pt x="296" y="460"/>
                    <a:pt x="563" y="466"/>
                    <a:pt x="578" y="466"/>
                  </a:cubicBezTo>
                  <a:cubicBezTo>
                    <a:pt x="579" y="466"/>
                    <a:pt x="579" y="466"/>
                    <a:pt x="579" y="466"/>
                  </a:cubicBezTo>
                  <a:lnTo>
                    <a:pt x="579" y="393"/>
                  </a:lnTo>
                  <a:cubicBezTo>
                    <a:pt x="579" y="393"/>
                    <a:pt x="571" y="400"/>
                    <a:pt x="550" y="400"/>
                  </a:cubicBezTo>
                  <a:cubicBezTo>
                    <a:pt x="511" y="400"/>
                    <a:pt x="429" y="379"/>
                    <a:pt x="268" y="260"/>
                  </a:cubicBezTo>
                  <a:cubicBezTo>
                    <a:pt x="118" y="15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1" name="Google Shape;5261;p53">
              <a:extLst>
                <a:ext uri="{FF2B5EF4-FFF2-40B4-BE49-F238E27FC236}">
                  <a16:creationId xmlns:a16="http://schemas.microsoft.com/office/drawing/2014/main" id="{D1498DA9-979F-472B-0239-7E17FD31DCE9}"/>
                </a:ext>
              </a:extLst>
            </p:cNvPr>
            <p:cNvSpPr/>
            <p:nvPr/>
          </p:nvSpPr>
          <p:spPr>
            <a:xfrm>
              <a:off x="7639875" y="1540475"/>
              <a:ext cx="120475" cy="117250"/>
            </a:xfrm>
            <a:custGeom>
              <a:avLst/>
              <a:gdLst/>
              <a:ahLst/>
              <a:cxnLst/>
              <a:rect l="l" t="t" r="r" b="b"/>
              <a:pathLst>
                <a:path w="4819" h="4690" extrusionOk="0">
                  <a:moveTo>
                    <a:pt x="2476" y="1"/>
                  </a:moveTo>
                  <a:cubicBezTo>
                    <a:pt x="2391" y="1"/>
                    <a:pt x="2306" y="25"/>
                    <a:pt x="2232" y="73"/>
                  </a:cubicBezTo>
                  <a:cubicBezTo>
                    <a:pt x="1699" y="407"/>
                    <a:pt x="0" y="4689"/>
                    <a:pt x="2476" y="4689"/>
                  </a:cubicBezTo>
                  <a:cubicBezTo>
                    <a:pt x="4818" y="4689"/>
                    <a:pt x="3255" y="407"/>
                    <a:pt x="2721" y="73"/>
                  </a:cubicBezTo>
                  <a:cubicBezTo>
                    <a:pt x="2647" y="25"/>
                    <a:pt x="2561" y="1"/>
                    <a:pt x="2476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2" name="Google Shape;5262;p53">
              <a:extLst>
                <a:ext uri="{FF2B5EF4-FFF2-40B4-BE49-F238E27FC236}">
                  <a16:creationId xmlns:a16="http://schemas.microsoft.com/office/drawing/2014/main" id="{66E3A7D3-F9AE-50B1-C4F0-B06FC63133FF}"/>
                </a:ext>
              </a:extLst>
            </p:cNvPr>
            <p:cNvSpPr/>
            <p:nvPr/>
          </p:nvSpPr>
          <p:spPr>
            <a:xfrm>
              <a:off x="7641750" y="1545575"/>
              <a:ext cx="56350" cy="111425"/>
            </a:xfrm>
            <a:custGeom>
              <a:avLst/>
              <a:gdLst/>
              <a:ahLst/>
              <a:cxnLst/>
              <a:rect l="l" t="t" r="r" b="b"/>
              <a:pathLst>
                <a:path w="2254" h="4457" extrusionOk="0">
                  <a:moveTo>
                    <a:pt x="2028" y="0"/>
                  </a:moveTo>
                  <a:cubicBezTo>
                    <a:pt x="2027" y="0"/>
                    <a:pt x="2025" y="1"/>
                    <a:pt x="2024" y="2"/>
                  </a:cubicBezTo>
                  <a:cubicBezTo>
                    <a:pt x="1505" y="322"/>
                    <a:pt x="0" y="4457"/>
                    <a:pt x="2253" y="4457"/>
                  </a:cubicBezTo>
                  <a:cubicBezTo>
                    <a:pt x="2253" y="4457"/>
                    <a:pt x="1690" y="4412"/>
                    <a:pt x="1652" y="2796"/>
                  </a:cubicBezTo>
                  <a:cubicBezTo>
                    <a:pt x="1616" y="1200"/>
                    <a:pt x="2077" y="0"/>
                    <a:pt x="202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3" name="Google Shape;5263;p53">
              <a:extLst>
                <a:ext uri="{FF2B5EF4-FFF2-40B4-BE49-F238E27FC236}">
                  <a16:creationId xmlns:a16="http://schemas.microsoft.com/office/drawing/2014/main" id="{6A27C07A-9FD4-7642-7A27-01C1F334934C}"/>
                </a:ext>
              </a:extLst>
            </p:cNvPr>
            <p:cNvSpPr/>
            <p:nvPr/>
          </p:nvSpPr>
          <p:spPr>
            <a:xfrm>
              <a:off x="7696200" y="1601350"/>
              <a:ext cx="8175" cy="79525"/>
            </a:xfrm>
            <a:custGeom>
              <a:avLst/>
              <a:gdLst/>
              <a:ahLst/>
              <a:cxnLst/>
              <a:rect l="l" t="t" r="r" b="b"/>
              <a:pathLst>
                <a:path w="327" h="3181" extrusionOk="0">
                  <a:moveTo>
                    <a:pt x="166" y="0"/>
                  </a:moveTo>
                  <a:cubicBezTo>
                    <a:pt x="165" y="0"/>
                    <a:pt x="164" y="5"/>
                    <a:pt x="164" y="17"/>
                  </a:cubicBezTo>
                  <a:lnTo>
                    <a:pt x="1" y="3181"/>
                  </a:lnTo>
                  <a:cubicBezTo>
                    <a:pt x="13" y="3178"/>
                    <a:pt x="49" y="3178"/>
                    <a:pt x="94" y="3178"/>
                  </a:cubicBezTo>
                  <a:cubicBezTo>
                    <a:pt x="182" y="3178"/>
                    <a:pt x="302" y="3181"/>
                    <a:pt x="326" y="3181"/>
                  </a:cubicBezTo>
                  <a:cubicBezTo>
                    <a:pt x="319" y="1826"/>
                    <a:pt x="193" y="17"/>
                    <a:pt x="171" y="17"/>
                  </a:cubicBezTo>
                  <a:cubicBezTo>
                    <a:pt x="171" y="17"/>
                    <a:pt x="168" y="0"/>
                    <a:pt x="166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4" name="Google Shape;5264;p53">
              <a:extLst>
                <a:ext uri="{FF2B5EF4-FFF2-40B4-BE49-F238E27FC236}">
                  <a16:creationId xmlns:a16="http://schemas.microsoft.com/office/drawing/2014/main" id="{22687EC4-6F07-09EF-8229-C17B8EF57F8B}"/>
                </a:ext>
              </a:extLst>
            </p:cNvPr>
            <p:cNvSpPr/>
            <p:nvPr/>
          </p:nvSpPr>
          <p:spPr>
            <a:xfrm>
              <a:off x="7677875" y="1629375"/>
              <a:ext cx="22450" cy="18175"/>
            </a:xfrm>
            <a:custGeom>
              <a:avLst/>
              <a:gdLst/>
              <a:ahLst/>
              <a:cxnLst/>
              <a:rect l="l" t="t" r="r" b="b"/>
              <a:pathLst>
                <a:path w="898" h="727" extrusionOk="0">
                  <a:moveTo>
                    <a:pt x="1" y="0"/>
                  </a:moveTo>
                  <a:lnTo>
                    <a:pt x="1" y="0"/>
                  </a:lnTo>
                  <a:cubicBezTo>
                    <a:pt x="433" y="706"/>
                    <a:pt x="840" y="726"/>
                    <a:pt x="886" y="726"/>
                  </a:cubicBezTo>
                  <a:cubicBezTo>
                    <a:pt x="889" y="726"/>
                    <a:pt x="890" y="726"/>
                    <a:pt x="890" y="726"/>
                  </a:cubicBezTo>
                  <a:lnTo>
                    <a:pt x="897" y="623"/>
                  </a:lnTo>
                  <a:lnTo>
                    <a:pt x="897" y="623"/>
                  </a:lnTo>
                  <a:cubicBezTo>
                    <a:pt x="897" y="623"/>
                    <a:pt x="888" y="630"/>
                    <a:pt x="862" y="630"/>
                  </a:cubicBezTo>
                  <a:cubicBezTo>
                    <a:pt x="807" y="630"/>
                    <a:pt x="678" y="600"/>
                    <a:pt x="408" y="415"/>
                  </a:cubicBezTo>
                  <a:cubicBezTo>
                    <a:pt x="179" y="25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5" name="Google Shape;5265;p53">
              <a:extLst>
                <a:ext uri="{FF2B5EF4-FFF2-40B4-BE49-F238E27FC236}">
                  <a16:creationId xmlns:a16="http://schemas.microsoft.com/office/drawing/2014/main" id="{04B26B59-B4BE-8FE7-4A3F-5F0BB653D5D4}"/>
                </a:ext>
              </a:extLst>
            </p:cNvPr>
            <p:cNvSpPr/>
            <p:nvPr/>
          </p:nvSpPr>
          <p:spPr>
            <a:xfrm>
              <a:off x="7700300" y="162435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1"/>
                    <a:pt x="615" y="209"/>
                    <a:pt x="415" y="349"/>
                  </a:cubicBezTo>
                  <a:cubicBezTo>
                    <a:pt x="192" y="507"/>
                    <a:pt x="82" y="533"/>
                    <a:pt x="33" y="533"/>
                  </a:cubicBezTo>
                  <a:cubicBezTo>
                    <a:pt x="9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9" y="616"/>
                    <a:pt x="12" y="616"/>
                  </a:cubicBezTo>
                  <a:cubicBezTo>
                    <a:pt x="56" y="616"/>
                    <a:pt x="397" y="596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6" name="Google Shape;5266;p53">
              <a:extLst>
                <a:ext uri="{FF2B5EF4-FFF2-40B4-BE49-F238E27FC236}">
                  <a16:creationId xmlns:a16="http://schemas.microsoft.com/office/drawing/2014/main" id="{9770D905-2364-9CD8-2642-4E338C810C92}"/>
                </a:ext>
              </a:extLst>
            </p:cNvPr>
            <p:cNvSpPr/>
            <p:nvPr/>
          </p:nvSpPr>
          <p:spPr>
            <a:xfrm>
              <a:off x="7684900" y="1613225"/>
              <a:ext cx="15425" cy="12650"/>
            </a:xfrm>
            <a:custGeom>
              <a:avLst/>
              <a:gdLst/>
              <a:ahLst/>
              <a:cxnLst/>
              <a:rect l="l" t="t" r="r" b="b"/>
              <a:pathLst>
                <a:path w="617" h="506" extrusionOk="0">
                  <a:moveTo>
                    <a:pt x="1" y="1"/>
                  </a:moveTo>
                  <a:lnTo>
                    <a:pt x="1" y="1"/>
                  </a:lnTo>
                  <a:cubicBezTo>
                    <a:pt x="303" y="493"/>
                    <a:pt x="579" y="506"/>
                    <a:pt x="607" y="506"/>
                  </a:cubicBezTo>
                  <a:cubicBezTo>
                    <a:pt x="608" y="506"/>
                    <a:pt x="609" y="506"/>
                    <a:pt x="609" y="506"/>
                  </a:cubicBezTo>
                  <a:lnTo>
                    <a:pt x="616" y="431"/>
                  </a:lnTo>
                  <a:lnTo>
                    <a:pt x="616" y="431"/>
                  </a:lnTo>
                  <a:cubicBezTo>
                    <a:pt x="616" y="431"/>
                    <a:pt x="610" y="436"/>
                    <a:pt x="593" y="436"/>
                  </a:cubicBezTo>
                  <a:cubicBezTo>
                    <a:pt x="557" y="436"/>
                    <a:pt x="469" y="415"/>
                    <a:pt x="282" y="284"/>
                  </a:cubicBezTo>
                  <a:cubicBezTo>
                    <a:pt x="127" y="17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7" name="Google Shape;5267;p53">
              <a:extLst>
                <a:ext uri="{FF2B5EF4-FFF2-40B4-BE49-F238E27FC236}">
                  <a16:creationId xmlns:a16="http://schemas.microsoft.com/office/drawing/2014/main" id="{E6CFF928-8E39-3FBA-E360-2B1E317CD054}"/>
                </a:ext>
              </a:extLst>
            </p:cNvPr>
            <p:cNvSpPr/>
            <p:nvPr/>
          </p:nvSpPr>
          <p:spPr>
            <a:xfrm>
              <a:off x="7421675" y="1540075"/>
              <a:ext cx="120425" cy="117100"/>
            </a:xfrm>
            <a:custGeom>
              <a:avLst/>
              <a:gdLst/>
              <a:ahLst/>
              <a:cxnLst/>
              <a:rect l="l" t="t" r="r" b="b"/>
              <a:pathLst>
                <a:path w="4817" h="4684" extrusionOk="0">
                  <a:moveTo>
                    <a:pt x="2475" y="1"/>
                  </a:moveTo>
                  <a:cubicBezTo>
                    <a:pt x="2390" y="1"/>
                    <a:pt x="2305" y="23"/>
                    <a:pt x="2230" y="67"/>
                  </a:cubicBezTo>
                  <a:cubicBezTo>
                    <a:pt x="1704" y="400"/>
                    <a:pt x="0" y="4684"/>
                    <a:pt x="2476" y="4684"/>
                  </a:cubicBezTo>
                  <a:cubicBezTo>
                    <a:pt x="4816" y="4684"/>
                    <a:pt x="3253" y="400"/>
                    <a:pt x="2719" y="67"/>
                  </a:cubicBezTo>
                  <a:cubicBezTo>
                    <a:pt x="2646" y="23"/>
                    <a:pt x="2561" y="1"/>
                    <a:pt x="2475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8" name="Google Shape;5268;p53">
              <a:extLst>
                <a:ext uri="{FF2B5EF4-FFF2-40B4-BE49-F238E27FC236}">
                  <a16:creationId xmlns:a16="http://schemas.microsoft.com/office/drawing/2014/main" id="{5BCDB3B2-0A72-EEE3-ACB6-8B3E39BAE62B}"/>
                </a:ext>
              </a:extLst>
            </p:cNvPr>
            <p:cNvSpPr/>
            <p:nvPr/>
          </p:nvSpPr>
          <p:spPr>
            <a:xfrm>
              <a:off x="7423525" y="1545050"/>
              <a:ext cx="56550" cy="111550"/>
            </a:xfrm>
            <a:custGeom>
              <a:avLst/>
              <a:gdLst/>
              <a:ahLst/>
              <a:cxnLst/>
              <a:rect l="l" t="t" r="r" b="b"/>
              <a:pathLst>
                <a:path w="2262" h="4462" extrusionOk="0">
                  <a:moveTo>
                    <a:pt x="2027" y="0"/>
                  </a:moveTo>
                  <a:cubicBezTo>
                    <a:pt x="2026" y="0"/>
                    <a:pt x="2024" y="1"/>
                    <a:pt x="2023" y="2"/>
                  </a:cubicBezTo>
                  <a:cubicBezTo>
                    <a:pt x="1512" y="327"/>
                    <a:pt x="1" y="4462"/>
                    <a:pt x="2261" y="4462"/>
                  </a:cubicBezTo>
                  <a:cubicBezTo>
                    <a:pt x="2261" y="4462"/>
                    <a:pt x="1690" y="4410"/>
                    <a:pt x="1653" y="2795"/>
                  </a:cubicBezTo>
                  <a:cubicBezTo>
                    <a:pt x="1623" y="1194"/>
                    <a:pt x="2088" y="0"/>
                    <a:pt x="2027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9" name="Google Shape;5269;p53">
              <a:extLst>
                <a:ext uri="{FF2B5EF4-FFF2-40B4-BE49-F238E27FC236}">
                  <a16:creationId xmlns:a16="http://schemas.microsoft.com/office/drawing/2014/main" id="{34D27D6F-27A2-1222-7779-4EF7BE2B1742}"/>
                </a:ext>
              </a:extLst>
            </p:cNvPr>
            <p:cNvSpPr/>
            <p:nvPr/>
          </p:nvSpPr>
          <p:spPr>
            <a:xfrm>
              <a:off x="7478000" y="1600800"/>
              <a:ext cx="8325" cy="79550"/>
            </a:xfrm>
            <a:custGeom>
              <a:avLst/>
              <a:gdLst/>
              <a:ahLst/>
              <a:cxnLst/>
              <a:rect l="l" t="t" r="r" b="b"/>
              <a:pathLst>
                <a:path w="333" h="3182" extrusionOk="0">
                  <a:moveTo>
                    <a:pt x="165" y="0"/>
                  </a:moveTo>
                  <a:cubicBezTo>
                    <a:pt x="163" y="0"/>
                    <a:pt x="162" y="4"/>
                    <a:pt x="162" y="16"/>
                  </a:cubicBezTo>
                  <a:lnTo>
                    <a:pt x="0" y="3181"/>
                  </a:lnTo>
                  <a:lnTo>
                    <a:pt x="333" y="3181"/>
                  </a:lnTo>
                  <a:cubicBezTo>
                    <a:pt x="319" y="1825"/>
                    <a:pt x="200" y="16"/>
                    <a:pt x="171" y="16"/>
                  </a:cubicBezTo>
                  <a:cubicBezTo>
                    <a:pt x="171" y="16"/>
                    <a:pt x="167" y="0"/>
                    <a:pt x="165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0" name="Google Shape;5270;p53">
              <a:extLst>
                <a:ext uri="{FF2B5EF4-FFF2-40B4-BE49-F238E27FC236}">
                  <a16:creationId xmlns:a16="http://schemas.microsoft.com/office/drawing/2014/main" id="{E9106D3A-EEF7-02C2-A945-5618A611A263}"/>
                </a:ext>
              </a:extLst>
            </p:cNvPr>
            <p:cNvSpPr/>
            <p:nvPr/>
          </p:nvSpPr>
          <p:spPr>
            <a:xfrm>
              <a:off x="7459625" y="1628975"/>
              <a:ext cx="22675" cy="18200"/>
            </a:xfrm>
            <a:custGeom>
              <a:avLst/>
              <a:gdLst/>
              <a:ahLst/>
              <a:cxnLst/>
              <a:rect l="l" t="t" r="r" b="b"/>
              <a:pathLst>
                <a:path w="907" h="728" extrusionOk="0">
                  <a:moveTo>
                    <a:pt x="1" y="0"/>
                  </a:moveTo>
                  <a:cubicBezTo>
                    <a:pt x="443" y="709"/>
                    <a:pt x="844" y="728"/>
                    <a:pt x="886" y="728"/>
                  </a:cubicBezTo>
                  <a:cubicBezTo>
                    <a:pt x="889" y="728"/>
                    <a:pt x="890" y="728"/>
                    <a:pt x="890" y="728"/>
                  </a:cubicBezTo>
                  <a:lnTo>
                    <a:pt x="906" y="623"/>
                  </a:lnTo>
                  <a:lnTo>
                    <a:pt x="906" y="623"/>
                  </a:lnTo>
                  <a:cubicBezTo>
                    <a:pt x="906" y="623"/>
                    <a:pt x="896" y="630"/>
                    <a:pt x="868" y="630"/>
                  </a:cubicBezTo>
                  <a:cubicBezTo>
                    <a:pt x="812" y="630"/>
                    <a:pt x="681" y="599"/>
                    <a:pt x="417" y="409"/>
                  </a:cubicBezTo>
                  <a:cubicBezTo>
                    <a:pt x="186" y="246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1" name="Google Shape;5271;p53">
              <a:extLst>
                <a:ext uri="{FF2B5EF4-FFF2-40B4-BE49-F238E27FC236}">
                  <a16:creationId xmlns:a16="http://schemas.microsoft.com/office/drawing/2014/main" id="{EEFCC8A1-70F5-6AA3-87E2-4A9A24589CE5}"/>
                </a:ext>
              </a:extLst>
            </p:cNvPr>
            <p:cNvSpPr/>
            <p:nvPr/>
          </p:nvSpPr>
          <p:spPr>
            <a:xfrm>
              <a:off x="7482275" y="162400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0"/>
                    <a:pt x="606" y="208"/>
                    <a:pt x="414" y="342"/>
                  </a:cubicBezTo>
                  <a:cubicBezTo>
                    <a:pt x="184" y="506"/>
                    <a:pt x="76" y="533"/>
                    <a:pt x="30" y="533"/>
                  </a:cubicBezTo>
                  <a:cubicBezTo>
                    <a:pt x="8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8" y="616"/>
                    <a:pt x="9" y="616"/>
                  </a:cubicBezTo>
                  <a:cubicBezTo>
                    <a:pt x="39" y="616"/>
                    <a:pt x="387" y="603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2" name="Google Shape;5272;p53">
              <a:extLst>
                <a:ext uri="{FF2B5EF4-FFF2-40B4-BE49-F238E27FC236}">
                  <a16:creationId xmlns:a16="http://schemas.microsoft.com/office/drawing/2014/main" id="{62C670C5-7975-21C6-98C1-32EC0DB8E5FF}"/>
                </a:ext>
              </a:extLst>
            </p:cNvPr>
            <p:cNvSpPr/>
            <p:nvPr/>
          </p:nvSpPr>
          <p:spPr>
            <a:xfrm>
              <a:off x="7466700" y="1612875"/>
              <a:ext cx="15600" cy="12425"/>
            </a:xfrm>
            <a:custGeom>
              <a:avLst/>
              <a:gdLst/>
              <a:ahLst/>
              <a:cxnLst/>
              <a:rect l="l" t="t" r="r" b="b"/>
              <a:pathLst>
                <a:path w="624" h="497" extrusionOk="0">
                  <a:moveTo>
                    <a:pt x="1" y="1"/>
                  </a:moveTo>
                  <a:cubicBezTo>
                    <a:pt x="302" y="484"/>
                    <a:pt x="583" y="497"/>
                    <a:pt x="612" y="497"/>
                  </a:cubicBezTo>
                  <a:cubicBezTo>
                    <a:pt x="613" y="497"/>
                    <a:pt x="614" y="497"/>
                    <a:pt x="614" y="497"/>
                  </a:cubicBezTo>
                  <a:lnTo>
                    <a:pt x="623" y="422"/>
                  </a:lnTo>
                  <a:lnTo>
                    <a:pt x="623" y="422"/>
                  </a:lnTo>
                  <a:cubicBezTo>
                    <a:pt x="623" y="422"/>
                    <a:pt x="615" y="429"/>
                    <a:pt x="591" y="429"/>
                  </a:cubicBezTo>
                  <a:cubicBezTo>
                    <a:pt x="549" y="429"/>
                    <a:pt x="458" y="407"/>
                    <a:pt x="282" y="282"/>
                  </a:cubicBezTo>
                  <a:cubicBezTo>
                    <a:pt x="125" y="17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3" name="Google Shape;5273;p53">
              <a:extLst>
                <a:ext uri="{FF2B5EF4-FFF2-40B4-BE49-F238E27FC236}">
                  <a16:creationId xmlns:a16="http://schemas.microsoft.com/office/drawing/2014/main" id="{531D56E5-CBDE-22C2-C85C-F7AAD3BA5512}"/>
                </a:ext>
              </a:extLst>
            </p:cNvPr>
            <p:cNvSpPr/>
            <p:nvPr/>
          </p:nvSpPr>
          <p:spPr>
            <a:xfrm>
              <a:off x="7454475" y="1518300"/>
              <a:ext cx="141725" cy="137775"/>
            </a:xfrm>
            <a:custGeom>
              <a:avLst/>
              <a:gdLst/>
              <a:ahLst/>
              <a:cxnLst/>
              <a:rect l="l" t="t" r="r" b="b"/>
              <a:pathLst>
                <a:path w="5669" h="5511" extrusionOk="0">
                  <a:moveTo>
                    <a:pt x="2909" y="1"/>
                  </a:moveTo>
                  <a:cubicBezTo>
                    <a:pt x="2808" y="1"/>
                    <a:pt x="2708" y="27"/>
                    <a:pt x="2624" y="79"/>
                  </a:cubicBezTo>
                  <a:cubicBezTo>
                    <a:pt x="2001" y="471"/>
                    <a:pt x="1" y="5510"/>
                    <a:pt x="2912" y="5510"/>
                  </a:cubicBezTo>
                  <a:cubicBezTo>
                    <a:pt x="5668" y="5510"/>
                    <a:pt x="3824" y="471"/>
                    <a:pt x="3202" y="79"/>
                  </a:cubicBezTo>
                  <a:cubicBezTo>
                    <a:pt x="3113" y="27"/>
                    <a:pt x="3011" y="1"/>
                    <a:pt x="2909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4" name="Google Shape;5274;p53">
              <a:extLst>
                <a:ext uri="{FF2B5EF4-FFF2-40B4-BE49-F238E27FC236}">
                  <a16:creationId xmlns:a16="http://schemas.microsoft.com/office/drawing/2014/main" id="{24E6D97D-4D41-3323-D61D-A7366E6EC794}"/>
                </a:ext>
              </a:extLst>
            </p:cNvPr>
            <p:cNvSpPr/>
            <p:nvPr/>
          </p:nvSpPr>
          <p:spPr>
            <a:xfrm>
              <a:off x="7457225" y="1524100"/>
              <a:ext cx="67075" cy="132500"/>
            </a:xfrm>
            <a:custGeom>
              <a:avLst/>
              <a:gdLst/>
              <a:ahLst/>
              <a:cxnLst/>
              <a:rect l="l" t="t" r="r" b="b"/>
              <a:pathLst>
                <a:path w="2683" h="5300" extrusionOk="0">
                  <a:moveTo>
                    <a:pt x="2413" y="1"/>
                  </a:moveTo>
                  <a:cubicBezTo>
                    <a:pt x="2412" y="1"/>
                    <a:pt x="2410" y="1"/>
                    <a:pt x="2409" y="2"/>
                  </a:cubicBezTo>
                  <a:cubicBezTo>
                    <a:pt x="1793" y="388"/>
                    <a:pt x="1" y="5300"/>
                    <a:pt x="2683" y="5300"/>
                  </a:cubicBezTo>
                  <a:cubicBezTo>
                    <a:pt x="2683" y="5300"/>
                    <a:pt x="2009" y="5241"/>
                    <a:pt x="1971" y="3322"/>
                  </a:cubicBezTo>
                  <a:cubicBezTo>
                    <a:pt x="1928" y="1421"/>
                    <a:pt x="2478" y="1"/>
                    <a:pt x="2413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5" name="Google Shape;5275;p53">
              <a:extLst>
                <a:ext uri="{FF2B5EF4-FFF2-40B4-BE49-F238E27FC236}">
                  <a16:creationId xmlns:a16="http://schemas.microsoft.com/office/drawing/2014/main" id="{42AB9156-7802-44B5-5C9E-A7EA5EBC4080}"/>
                </a:ext>
              </a:extLst>
            </p:cNvPr>
            <p:cNvSpPr/>
            <p:nvPr/>
          </p:nvSpPr>
          <p:spPr>
            <a:xfrm>
              <a:off x="7521700" y="1591900"/>
              <a:ext cx="9275" cy="88450"/>
            </a:xfrm>
            <a:custGeom>
              <a:avLst/>
              <a:gdLst/>
              <a:ahLst/>
              <a:cxnLst/>
              <a:rect l="l" t="t" r="r" b="b"/>
              <a:pathLst>
                <a:path w="371" h="3538" extrusionOk="0">
                  <a:moveTo>
                    <a:pt x="187" y="0"/>
                  </a:moveTo>
                  <a:cubicBezTo>
                    <a:pt x="186" y="0"/>
                    <a:pt x="185" y="4"/>
                    <a:pt x="185" y="16"/>
                  </a:cubicBezTo>
                  <a:lnTo>
                    <a:pt x="1" y="3537"/>
                  </a:lnTo>
                  <a:lnTo>
                    <a:pt x="370" y="3537"/>
                  </a:lnTo>
                  <a:cubicBezTo>
                    <a:pt x="356" y="2033"/>
                    <a:pt x="223" y="16"/>
                    <a:pt x="193" y="16"/>
                  </a:cubicBezTo>
                  <a:cubicBezTo>
                    <a:pt x="193" y="16"/>
                    <a:pt x="189" y="0"/>
                    <a:pt x="18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6" name="Google Shape;5276;p53">
              <a:extLst>
                <a:ext uri="{FF2B5EF4-FFF2-40B4-BE49-F238E27FC236}">
                  <a16:creationId xmlns:a16="http://schemas.microsoft.com/office/drawing/2014/main" id="{CE87F6F6-9911-7162-BDF1-A83F94CE83E9}"/>
                </a:ext>
              </a:extLst>
            </p:cNvPr>
            <p:cNvSpPr/>
            <p:nvPr/>
          </p:nvSpPr>
          <p:spPr>
            <a:xfrm>
              <a:off x="7501525" y="1623250"/>
              <a:ext cx="25000" cy="20200"/>
            </a:xfrm>
            <a:custGeom>
              <a:avLst/>
              <a:gdLst/>
              <a:ahLst/>
              <a:cxnLst/>
              <a:rect l="l" t="t" r="r" b="b"/>
              <a:pathLst>
                <a:path w="1000" h="808" extrusionOk="0">
                  <a:moveTo>
                    <a:pt x="0" y="0"/>
                  </a:moveTo>
                  <a:lnTo>
                    <a:pt x="0" y="0"/>
                  </a:lnTo>
                  <a:cubicBezTo>
                    <a:pt x="484" y="787"/>
                    <a:pt x="935" y="807"/>
                    <a:pt x="981" y="807"/>
                  </a:cubicBezTo>
                  <a:cubicBezTo>
                    <a:pt x="984" y="807"/>
                    <a:pt x="985" y="807"/>
                    <a:pt x="985" y="807"/>
                  </a:cubicBezTo>
                  <a:lnTo>
                    <a:pt x="1000" y="690"/>
                  </a:lnTo>
                  <a:lnTo>
                    <a:pt x="1000" y="690"/>
                  </a:lnTo>
                  <a:cubicBezTo>
                    <a:pt x="1000" y="690"/>
                    <a:pt x="989" y="697"/>
                    <a:pt x="960" y="697"/>
                  </a:cubicBezTo>
                  <a:cubicBezTo>
                    <a:pt x="899" y="697"/>
                    <a:pt x="755" y="664"/>
                    <a:pt x="452" y="452"/>
                  </a:cubicBezTo>
                  <a:cubicBezTo>
                    <a:pt x="199" y="27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7" name="Google Shape;5277;p53">
              <a:extLst>
                <a:ext uri="{FF2B5EF4-FFF2-40B4-BE49-F238E27FC236}">
                  <a16:creationId xmlns:a16="http://schemas.microsoft.com/office/drawing/2014/main" id="{218C8709-82CC-7BD7-1344-E07EF2535ED9}"/>
                </a:ext>
              </a:extLst>
            </p:cNvPr>
            <p:cNvSpPr/>
            <p:nvPr/>
          </p:nvSpPr>
          <p:spPr>
            <a:xfrm>
              <a:off x="7526500" y="1617675"/>
              <a:ext cx="21150" cy="17100"/>
            </a:xfrm>
            <a:custGeom>
              <a:avLst/>
              <a:gdLst/>
              <a:ahLst/>
              <a:cxnLst/>
              <a:rect l="l" t="t" r="r" b="b"/>
              <a:pathLst>
                <a:path w="846" h="684" extrusionOk="0">
                  <a:moveTo>
                    <a:pt x="845" y="1"/>
                  </a:moveTo>
                  <a:cubicBezTo>
                    <a:pt x="845" y="1"/>
                    <a:pt x="676" y="230"/>
                    <a:pt x="461" y="387"/>
                  </a:cubicBezTo>
                  <a:cubicBezTo>
                    <a:pt x="210" y="564"/>
                    <a:pt x="89" y="593"/>
                    <a:pt x="37" y="593"/>
                  </a:cubicBezTo>
                  <a:cubicBezTo>
                    <a:pt x="10" y="593"/>
                    <a:pt x="1" y="586"/>
                    <a:pt x="1" y="586"/>
                  </a:cubicBezTo>
                  <a:lnTo>
                    <a:pt x="1" y="586"/>
                  </a:lnTo>
                  <a:lnTo>
                    <a:pt x="9" y="684"/>
                  </a:lnTo>
                  <a:cubicBezTo>
                    <a:pt x="9" y="684"/>
                    <a:pt x="11" y="684"/>
                    <a:pt x="13" y="684"/>
                  </a:cubicBezTo>
                  <a:cubicBezTo>
                    <a:pt x="55" y="684"/>
                    <a:pt x="434" y="665"/>
                    <a:pt x="845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8" name="Google Shape;5278;p53">
              <a:extLst>
                <a:ext uri="{FF2B5EF4-FFF2-40B4-BE49-F238E27FC236}">
                  <a16:creationId xmlns:a16="http://schemas.microsoft.com/office/drawing/2014/main" id="{3692D1FA-1424-1233-AB94-A2C44D6A1459}"/>
                </a:ext>
              </a:extLst>
            </p:cNvPr>
            <p:cNvSpPr/>
            <p:nvPr/>
          </p:nvSpPr>
          <p:spPr>
            <a:xfrm>
              <a:off x="7509300" y="1605275"/>
              <a:ext cx="17225" cy="13950"/>
            </a:xfrm>
            <a:custGeom>
              <a:avLst/>
              <a:gdLst/>
              <a:ahLst/>
              <a:cxnLst/>
              <a:rect l="l" t="t" r="r" b="b"/>
              <a:pathLst>
                <a:path w="689" h="558" extrusionOk="0">
                  <a:moveTo>
                    <a:pt x="0" y="1"/>
                  </a:moveTo>
                  <a:lnTo>
                    <a:pt x="0" y="1"/>
                  </a:lnTo>
                  <a:cubicBezTo>
                    <a:pt x="339" y="544"/>
                    <a:pt x="650" y="557"/>
                    <a:pt x="679" y="557"/>
                  </a:cubicBezTo>
                  <a:cubicBezTo>
                    <a:pt x="681" y="557"/>
                    <a:pt x="681" y="557"/>
                    <a:pt x="681" y="557"/>
                  </a:cubicBezTo>
                  <a:lnTo>
                    <a:pt x="689" y="475"/>
                  </a:lnTo>
                  <a:lnTo>
                    <a:pt x="689" y="475"/>
                  </a:lnTo>
                  <a:cubicBezTo>
                    <a:pt x="689" y="475"/>
                    <a:pt x="681" y="481"/>
                    <a:pt x="660" y="481"/>
                  </a:cubicBezTo>
                  <a:cubicBezTo>
                    <a:pt x="617" y="481"/>
                    <a:pt x="517" y="457"/>
                    <a:pt x="312" y="312"/>
                  </a:cubicBezTo>
                  <a:cubicBezTo>
                    <a:pt x="141" y="193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9" name="Google Shape;5279;p53">
              <a:extLst>
                <a:ext uri="{FF2B5EF4-FFF2-40B4-BE49-F238E27FC236}">
                  <a16:creationId xmlns:a16="http://schemas.microsoft.com/office/drawing/2014/main" id="{2E2519E3-33AE-6003-5AED-1BD0F19015DA}"/>
                </a:ext>
              </a:extLst>
            </p:cNvPr>
            <p:cNvSpPr/>
            <p:nvPr/>
          </p:nvSpPr>
          <p:spPr>
            <a:xfrm>
              <a:off x="7404450" y="1558600"/>
              <a:ext cx="64675" cy="81525"/>
            </a:xfrm>
            <a:custGeom>
              <a:avLst/>
              <a:gdLst/>
              <a:ahLst/>
              <a:cxnLst/>
              <a:rect l="l" t="t" r="r" b="b"/>
              <a:pathLst>
                <a:path w="2587" h="3261" extrusionOk="0">
                  <a:moveTo>
                    <a:pt x="1290" y="0"/>
                  </a:moveTo>
                  <a:cubicBezTo>
                    <a:pt x="734" y="0"/>
                    <a:pt x="275" y="452"/>
                    <a:pt x="275" y="1016"/>
                  </a:cubicBezTo>
                  <a:cubicBezTo>
                    <a:pt x="275" y="1067"/>
                    <a:pt x="282" y="1112"/>
                    <a:pt x="289" y="1156"/>
                  </a:cubicBezTo>
                  <a:cubicBezTo>
                    <a:pt x="111" y="1379"/>
                    <a:pt x="1" y="1659"/>
                    <a:pt x="1" y="1964"/>
                  </a:cubicBezTo>
                  <a:cubicBezTo>
                    <a:pt x="1" y="2682"/>
                    <a:pt x="579" y="3260"/>
                    <a:pt x="1290" y="3260"/>
                  </a:cubicBezTo>
                  <a:cubicBezTo>
                    <a:pt x="2009" y="3260"/>
                    <a:pt x="2587" y="2682"/>
                    <a:pt x="2587" y="1964"/>
                  </a:cubicBezTo>
                  <a:cubicBezTo>
                    <a:pt x="2587" y="1659"/>
                    <a:pt x="2475" y="1379"/>
                    <a:pt x="2297" y="1156"/>
                  </a:cubicBezTo>
                  <a:cubicBezTo>
                    <a:pt x="2304" y="1112"/>
                    <a:pt x="2313" y="1067"/>
                    <a:pt x="2313" y="1016"/>
                  </a:cubicBezTo>
                  <a:cubicBezTo>
                    <a:pt x="2313" y="452"/>
                    <a:pt x="1852" y="0"/>
                    <a:pt x="1290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0" name="Google Shape;5280;p53">
              <a:extLst>
                <a:ext uri="{FF2B5EF4-FFF2-40B4-BE49-F238E27FC236}">
                  <a16:creationId xmlns:a16="http://schemas.microsoft.com/office/drawing/2014/main" id="{46807175-3C8D-4A2A-4516-C4CA4D63E289}"/>
                </a:ext>
              </a:extLst>
            </p:cNvPr>
            <p:cNvSpPr/>
            <p:nvPr/>
          </p:nvSpPr>
          <p:spPr>
            <a:xfrm>
              <a:off x="7436700" y="1583475"/>
              <a:ext cx="2950" cy="96875"/>
            </a:xfrm>
            <a:custGeom>
              <a:avLst/>
              <a:gdLst/>
              <a:ahLst/>
              <a:cxnLst/>
              <a:rect l="l" t="t" r="r" b="b"/>
              <a:pathLst>
                <a:path w="118" h="3875" extrusionOk="0">
                  <a:moveTo>
                    <a:pt x="54" y="0"/>
                  </a:moveTo>
                  <a:cubicBezTo>
                    <a:pt x="53" y="0"/>
                    <a:pt x="52" y="4"/>
                    <a:pt x="52" y="14"/>
                  </a:cubicBezTo>
                  <a:lnTo>
                    <a:pt x="0" y="3821"/>
                  </a:lnTo>
                  <a:cubicBezTo>
                    <a:pt x="0" y="3851"/>
                    <a:pt x="22" y="3874"/>
                    <a:pt x="52" y="3874"/>
                  </a:cubicBezTo>
                  <a:lnTo>
                    <a:pt x="59" y="3874"/>
                  </a:lnTo>
                  <a:cubicBezTo>
                    <a:pt x="96" y="3874"/>
                    <a:pt x="118" y="3851"/>
                    <a:pt x="118" y="3821"/>
                  </a:cubicBezTo>
                  <a:cubicBezTo>
                    <a:pt x="118" y="3821"/>
                    <a:pt x="96" y="14"/>
                    <a:pt x="59" y="14"/>
                  </a:cubicBezTo>
                  <a:cubicBezTo>
                    <a:pt x="59" y="14"/>
                    <a:pt x="56" y="0"/>
                    <a:pt x="54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1" name="Google Shape;5281;p53">
              <a:extLst>
                <a:ext uri="{FF2B5EF4-FFF2-40B4-BE49-F238E27FC236}">
                  <a16:creationId xmlns:a16="http://schemas.microsoft.com/office/drawing/2014/main" id="{F42A75C6-DE9E-DE24-E814-369B2564A03E}"/>
                </a:ext>
              </a:extLst>
            </p:cNvPr>
            <p:cNvSpPr/>
            <p:nvPr/>
          </p:nvSpPr>
          <p:spPr>
            <a:xfrm>
              <a:off x="7419800" y="1606975"/>
              <a:ext cx="18375" cy="15000"/>
            </a:xfrm>
            <a:custGeom>
              <a:avLst/>
              <a:gdLst/>
              <a:ahLst/>
              <a:cxnLst/>
              <a:rect l="l" t="t" r="r" b="b"/>
              <a:pathLst>
                <a:path w="735" h="600" extrusionOk="0">
                  <a:moveTo>
                    <a:pt x="0" y="0"/>
                  </a:moveTo>
                  <a:lnTo>
                    <a:pt x="0" y="0"/>
                  </a:lnTo>
                  <a:cubicBezTo>
                    <a:pt x="353" y="580"/>
                    <a:pt x="679" y="600"/>
                    <a:pt x="723" y="600"/>
                  </a:cubicBezTo>
                  <a:cubicBezTo>
                    <a:pt x="726" y="600"/>
                    <a:pt x="728" y="599"/>
                    <a:pt x="728" y="599"/>
                  </a:cubicBezTo>
                  <a:lnTo>
                    <a:pt x="735" y="511"/>
                  </a:lnTo>
                  <a:lnTo>
                    <a:pt x="735" y="511"/>
                  </a:lnTo>
                  <a:cubicBezTo>
                    <a:pt x="735" y="511"/>
                    <a:pt x="726" y="517"/>
                    <a:pt x="702" y="517"/>
                  </a:cubicBezTo>
                  <a:cubicBezTo>
                    <a:pt x="656" y="517"/>
                    <a:pt x="550" y="492"/>
                    <a:pt x="335" y="340"/>
                  </a:cubicBezTo>
                  <a:cubicBezTo>
                    <a:pt x="150" y="199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2" name="Google Shape;5282;p53">
              <a:extLst>
                <a:ext uri="{FF2B5EF4-FFF2-40B4-BE49-F238E27FC236}">
                  <a16:creationId xmlns:a16="http://schemas.microsoft.com/office/drawing/2014/main" id="{87050A36-8AB2-000A-E016-3822610906E6}"/>
                </a:ext>
              </a:extLst>
            </p:cNvPr>
            <p:cNvSpPr/>
            <p:nvPr/>
          </p:nvSpPr>
          <p:spPr>
            <a:xfrm>
              <a:off x="7438150" y="1602700"/>
              <a:ext cx="15600" cy="12775"/>
            </a:xfrm>
            <a:custGeom>
              <a:avLst/>
              <a:gdLst/>
              <a:ahLst/>
              <a:cxnLst/>
              <a:rect l="l" t="t" r="r" b="b"/>
              <a:pathLst>
                <a:path w="624" h="511" extrusionOk="0">
                  <a:moveTo>
                    <a:pt x="623" y="0"/>
                  </a:moveTo>
                  <a:cubicBezTo>
                    <a:pt x="623" y="0"/>
                    <a:pt x="497" y="178"/>
                    <a:pt x="342" y="289"/>
                  </a:cubicBezTo>
                  <a:cubicBezTo>
                    <a:pt x="156" y="421"/>
                    <a:pt x="67" y="444"/>
                    <a:pt x="28" y="444"/>
                  </a:cubicBezTo>
                  <a:cubicBezTo>
                    <a:pt x="8" y="444"/>
                    <a:pt x="1" y="438"/>
                    <a:pt x="1" y="438"/>
                  </a:cubicBezTo>
                  <a:lnTo>
                    <a:pt x="1" y="438"/>
                  </a:lnTo>
                  <a:lnTo>
                    <a:pt x="8" y="511"/>
                  </a:lnTo>
                  <a:cubicBezTo>
                    <a:pt x="8" y="511"/>
                    <a:pt x="9" y="511"/>
                    <a:pt x="11" y="511"/>
                  </a:cubicBezTo>
                  <a:cubicBezTo>
                    <a:pt x="42" y="511"/>
                    <a:pt x="323" y="497"/>
                    <a:pt x="62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3" name="Google Shape;5283;p53">
              <a:extLst>
                <a:ext uri="{FF2B5EF4-FFF2-40B4-BE49-F238E27FC236}">
                  <a16:creationId xmlns:a16="http://schemas.microsoft.com/office/drawing/2014/main" id="{2CB388CF-6611-8039-BEA0-07ABAB0C6DC1}"/>
                </a:ext>
              </a:extLst>
            </p:cNvPr>
            <p:cNvSpPr/>
            <p:nvPr/>
          </p:nvSpPr>
          <p:spPr>
            <a:xfrm>
              <a:off x="7425575" y="1593625"/>
              <a:ext cx="12600" cy="10200"/>
            </a:xfrm>
            <a:custGeom>
              <a:avLst/>
              <a:gdLst/>
              <a:ahLst/>
              <a:cxnLst/>
              <a:rect l="l" t="t" r="r" b="b"/>
              <a:pathLst>
                <a:path w="504" h="408" extrusionOk="0">
                  <a:moveTo>
                    <a:pt x="1" y="1"/>
                  </a:moveTo>
                  <a:lnTo>
                    <a:pt x="1" y="1"/>
                  </a:lnTo>
                  <a:cubicBezTo>
                    <a:pt x="242" y="395"/>
                    <a:pt x="467" y="408"/>
                    <a:pt x="494" y="408"/>
                  </a:cubicBezTo>
                  <a:cubicBezTo>
                    <a:pt x="496" y="408"/>
                    <a:pt x="497" y="408"/>
                    <a:pt x="497" y="408"/>
                  </a:cubicBezTo>
                  <a:lnTo>
                    <a:pt x="504" y="347"/>
                  </a:lnTo>
                  <a:lnTo>
                    <a:pt x="504" y="347"/>
                  </a:lnTo>
                  <a:cubicBezTo>
                    <a:pt x="504" y="347"/>
                    <a:pt x="497" y="353"/>
                    <a:pt x="479" y="353"/>
                  </a:cubicBezTo>
                  <a:cubicBezTo>
                    <a:pt x="446" y="353"/>
                    <a:pt x="374" y="334"/>
                    <a:pt x="230" y="230"/>
                  </a:cubicBezTo>
                  <a:cubicBezTo>
                    <a:pt x="104" y="14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4" name="Google Shape;5284;p53">
              <a:extLst>
                <a:ext uri="{FF2B5EF4-FFF2-40B4-BE49-F238E27FC236}">
                  <a16:creationId xmlns:a16="http://schemas.microsoft.com/office/drawing/2014/main" id="{3DE0D7C9-4DE5-44D1-0DE5-AA521D85DB98}"/>
                </a:ext>
              </a:extLst>
            </p:cNvPr>
            <p:cNvSpPr/>
            <p:nvPr/>
          </p:nvSpPr>
          <p:spPr>
            <a:xfrm>
              <a:off x="7286250" y="1591750"/>
              <a:ext cx="46350" cy="58600"/>
            </a:xfrm>
            <a:custGeom>
              <a:avLst/>
              <a:gdLst/>
              <a:ahLst/>
              <a:cxnLst/>
              <a:rect l="l" t="t" r="r" b="b"/>
              <a:pathLst>
                <a:path w="1854" h="2344" extrusionOk="0">
                  <a:moveTo>
                    <a:pt x="927" y="1"/>
                  </a:moveTo>
                  <a:cubicBezTo>
                    <a:pt x="527" y="1"/>
                    <a:pt x="194" y="326"/>
                    <a:pt x="194" y="734"/>
                  </a:cubicBezTo>
                  <a:cubicBezTo>
                    <a:pt x="194" y="764"/>
                    <a:pt x="201" y="801"/>
                    <a:pt x="208" y="831"/>
                  </a:cubicBezTo>
                  <a:cubicBezTo>
                    <a:pt x="75" y="993"/>
                    <a:pt x="0" y="1194"/>
                    <a:pt x="0" y="1417"/>
                  </a:cubicBezTo>
                  <a:cubicBezTo>
                    <a:pt x="0" y="1927"/>
                    <a:pt x="416" y="2343"/>
                    <a:pt x="927" y="2343"/>
                  </a:cubicBezTo>
                  <a:cubicBezTo>
                    <a:pt x="1439" y="2343"/>
                    <a:pt x="1853" y="1927"/>
                    <a:pt x="1853" y="1417"/>
                  </a:cubicBezTo>
                  <a:cubicBezTo>
                    <a:pt x="1853" y="1194"/>
                    <a:pt x="1772" y="993"/>
                    <a:pt x="1645" y="831"/>
                  </a:cubicBezTo>
                  <a:cubicBezTo>
                    <a:pt x="1652" y="801"/>
                    <a:pt x="1652" y="764"/>
                    <a:pt x="1652" y="734"/>
                  </a:cubicBezTo>
                  <a:cubicBezTo>
                    <a:pt x="1652" y="326"/>
                    <a:pt x="1327" y="1"/>
                    <a:pt x="92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5" name="Google Shape;5285;p53">
              <a:extLst>
                <a:ext uri="{FF2B5EF4-FFF2-40B4-BE49-F238E27FC236}">
                  <a16:creationId xmlns:a16="http://schemas.microsoft.com/office/drawing/2014/main" id="{37055252-CF29-DC8E-D751-BDCAFF40B632}"/>
                </a:ext>
              </a:extLst>
            </p:cNvPr>
            <p:cNvSpPr/>
            <p:nvPr/>
          </p:nvSpPr>
          <p:spPr>
            <a:xfrm>
              <a:off x="7309225" y="1609675"/>
              <a:ext cx="2250" cy="69550"/>
            </a:xfrm>
            <a:custGeom>
              <a:avLst/>
              <a:gdLst/>
              <a:ahLst/>
              <a:cxnLst/>
              <a:rect l="l" t="t" r="r" b="b"/>
              <a:pathLst>
                <a:path w="90" h="2782" extrusionOk="0">
                  <a:moveTo>
                    <a:pt x="47" y="0"/>
                  </a:moveTo>
                  <a:cubicBezTo>
                    <a:pt x="46" y="0"/>
                    <a:pt x="45" y="2"/>
                    <a:pt x="45" y="10"/>
                  </a:cubicBezTo>
                  <a:lnTo>
                    <a:pt x="1" y="2738"/>
                  </a:lnTo>
                  <a:cubicBezTo>
                    <a:pt x="1" y="2759"/>
                    <a:pt x="22" y="2782"/>
                    <a:pt x="45" y="2782"/>
                  </a:cubicBezTo>
                  <a:lnTo>
                    <a:pt x="52" y="2782"/>
                  </a:lnTo>
                  <a:cubicBezTo>
                    <a:pt x="75" y="2782"/>
                    <a:pt x="90" y="2759"/>
                    <a:pt x="90" y="2738"/>
                  </a:cubicBezTo>
                  <a:cubicBezTo>
                    <a:pt x="90" y="2738"/>
                    <a:pt x="75" y="10"/>
                    <a:pt x="52" y="10"/>
                  </a:cubicBezTo>
                  <a:cubicBezTo>
                    <a:pt x="52" y="10"/>
                    <a:pt x="49" y="0"/>
                    <a:pt x="4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6" name="Google Shape;5286;p53">
              <a:extLst>
                <a:ext uri="{FF2B5EF4-FFF2-40B4-BE49-F238E27FC236}">
                  <a16:creationId xmlns:a16="http://schemas.microsoft.com/office/drawing/2014/main" id="{692F5359-4FC9-FF50-4499-2492EA20D494}"/>
                </a:ext>
              </a:extLst>
            </p:cNvPr>
            <p:cNvSpPr/>
            <p:nvPr/>
          </p:nvSpPr>
          <p:spPr>
            <a:xfrm>
              <a:off x="7297175" y="1626400"/>
              <a:ext cx="13200" cy="10950"/>
            </a:xfrm>
            <a:custGeom>
              <a:avLst/>
              <a:gdLst/>
              <a:ahLst/>
              <a:cxnLst/>
              <a:rect l="l" t="t" r="r" b="b"/>
              <a:pathLst>
                <a:path w="528" h="438" extrusionOk="0">
                  <a:moveTo>
                    <a:pt x="1" y="0"/>
                  </a:moveTo>
                  <a:cubicBezTo>
                    <a:pt x="266" y="431"/>
                    <a:pt x="505" y="438"/>
                    <a:pt x="519" y="438"/>
                  </a:cubicBezTo>
                  <a:cubicBezTo>
                    <a:pt x="520" y="438"/>
                    <a:pt x="520" y="438"/>
                    <a:pt x="520" y="438"/>
                  </a:cubicBezTo>
                  <a:lnTo>
                    <a:pt x="527" y="370"/>
                  </a:lnTo>
                  <a:lnTo>
                    <a:pt x="527" y="370"/>
                  </a:lnTo>
                  <a:cubicBezTo>
                    <a:pt x="527" y="370"/>
                    <a:pt x="521" y="375"/>
                    <a:pt x="504" y="375"/>
                  </a:cubicBezTo>
                  <a:cubicBezTo>
                    <a:pt x="470" y="375"/>
                    <a:pt x="396" y="356"/>
                    <a:pt x="246" y="246"/>
                  </a:cubicBezTo>
                  <a:cubicBezTo>
                    <a:pt x="104" y="148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7" name="Google Shape;5287;p53">
              <a:extLst>
                <a:ext uri="{FF2B5EF4-FFF2-40B4-BE49-F238E27FC236}">
                  <a16:creationId xmlns:a16="http://schemas.microsoft.com/office/drawing/2014/main" id="{27ADC529-863D-CFA6-55E5-F3BB78B3543D}"/>
                </a:ext>
              </a:extLst>
            </p:cNvPr>
            <p:cNvSpPr/>
            <p:nvPr/>
          </p:nvSpPr>
          <p:spPr>
            <a:xfrm>
              <a:off x="7310350" y="1623425"/>
              <a:ext cx="11300" cy="9300"/>
            </a:xfrm>
            <a:custGeom>
              <a:avLst/>
              <a:gdLst/>
              <a:ahLst/>
              <a:cxnLst/>
              <a:rect l="l" t="t" r="r" b="b"/>
              <a:pathLst>
                <a:path w="452" h="372" extrusionOk="0">
                  <a:moveTo>
                    <a:pt x="452" y="0"/>
                  </a:moveTo>
                  <a:lnTo>
                    <a:pt x="452" y="0"/>
                  </a:lnTo>
                  <a:cubicBezTo>
                    <a:pt x="452" y="0"/>
                    <a:pt x="356" y="126"/>
                    <a:pt x="244" y="208"/>
                  </a:cubicBezTo>
                  <a:cubicBezTo>
                    <a:pt x="102" y="308"/>
                    <a:pt x="39" y="323"/>
                    <a:pt x="14" y="323"/>
                  </a:cubicBezTo>
                  <a:cubicBezTo>
                    <a:pt x="4" y="323"/>
                    <a:pt x="0" y="320"/>
                    <a:pt x="0" y="320"/>
                  </a:cubicBezTo>
                  <a:lnTo>
                    <a:pt x="0" y="320"/>
                  </a:lnTo>
                  <a:lnTo>
                    <a:pt x="7" y="372"/>
                  </a:lnTo>
                  <a:cubicBezTo>
                    <a:pt x="7" y="372"/>
                    <a:pt x="8" y="372"/>
                    <a:pt x="8" y="372"/>
                  </a:cubicBezTo>
                  <a:cubicBezTo>
                    <a:pt x="22" y="372"/>
                    <a:pt x="224" y="365"/>
                    <a:pt x="452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8" name="Google Shape;5288;p53">
              <a:extLst>
                <a:ext uri="{FF2B5EF4-FFF2-40B4-BE49-F238E27FC236}">
                  <a16:creationId xmlns:a16="http://schemas.microsoft.com/office/drawing/2014/main" id="{A8BF9EF0-486D-AB77-B429-0E4805BD65D2}"/>
                </a:ext>
              </a:extLst>
            </p:cNvPr>
            <p:cNvSpPr/>
            <p:nvPr/>
          </p:nvSpPr>
          <p:spPr>
            <a:xfrm>
              <a:off x="7301275" y="1616975"/>
              <a:ext cx="9100" cy="7400"/>
            </a:xfrm>
            <a:custGeom>
              <a:avLst/>
              <a:gdLst/>
              <a:ahLst/>
              <a:cxnLst/>
              <a:rect l="l" t="t" r="r" b="b"/>
              <a:pathLst>
                <a:path w="364" h="296" extrusionOk="0">
                  <a:moveTo>
                    <a:pt x="0" y="0"/>
                  </a:moveTo>
                  <a:cubicBezTo>
                    <a:pt x="184" y="289"/>
                    <a:pt x="348" y="295"/>
                    <a:pt x="362" y="295"/>
                  </a:cubicBezTo>
                  <a:cubicBezTo>
                    <a:pt x="363" y="295"/>
                    <a:pt x="363" y="295"/>
                    <a:pt x="363" y="295"/>
                  </a:cubicBezTo>
                  <a:lnTo>
                    <a:pt x="363" y="251"/>
                  </a:lnTo>
                  <a:cubicBezTo>
                    <a:pt x="363" y="251"/>
                    <a:pt x="359" y="254"/>
                    <a:pt x="347" y="254"/>
                  </a:cubicBezTo>
                  <a:cubicBezTo>
                    <a:pt x="325" y="254"/>
                    <a:pt x="274" y="241"/>
                    <a:pt x="171" y="162"/>
                  </a:cubicBezTo>
                  <a:cubicBezTo>
                    <a:pt x="73" y="9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9" name="Google Shape;5289;p53">
              <a:extLst>
                <a:ext uri="{FF2B5EF4-FFF2-40B4-BE49-F238E27FC236}">
                  <a16:creationId xmlns:a16="http://schemas.microsoft.com/office/drawing/2014/main" id="{AE56F841-0E9C-ABE4-EBD6-3BB05DBAB1F5}"/>
                </a:ext>
              </a:extLst>
            </p:cNvPr>
            <p:cNvSpPr/>
            <p:nvPr/>
          </p:nvSpPr>
          <p:spPr>
            <a:xfrm>
              <a:off x="7200475" y="1642125"/>
              <a:ext cx="91000" cy="37825"/>
            </a:xfrm>
            <a:custGeom>
              <a:avLst/>
              <a:gdLst/>
              <a:ahLst/>
              <a:cxnLst/>
              <a:rect l="l" t="t" r="r" b="b"/>
              <a:pathLst>
                <a:path w="3640" h="1513" extrusionOk="0">
                  <a:moveTo>
                    <a:pt x="1215" y="1"/>
                  </a:moveTo>
                  <a:cubicBezTo>
                    <a:pt x="801" y="1"/>
                    <a:pt x="469" y="335"/>
                    <a:pt x="469" y="750"/>
                  </a:cubicBezTo>
                  <a:lnTo>
                    <a:pt x="469" y="764"/>
                  </a:lnTo>
                  <a:cubicBezTo>
                    <a:pt x="438" y="757"/>
                    <a:pt x="408" y="750"/>
                    <a:pt x="380" y="750"/>
                  </a:cubicBezTo>
                  <a:cubicBezTo>
                    <a:pt x="172" y="750"/>
                    <a:pt x="1" y="920"/>
                    <a:pt x="1" y="1128"/>
                  </a:cubicBezTo>
                  <a:cubicBezTo>
                    <a:pt x="1" y="1335"/>
                    <a:pt x="172" y="1498"/>
                    <a:pt x="380" y="1498"/>
                  </a:cubicBezTo>
                  <a:lnTo>
                    <a:pt x="380" y="1512"/>
                  </a:lnTo>
                  <a:lnTo>
                    <a:pt x="3403" y="1512"/>
                  </a:lnTo>
                  <a:lnTo>
                    <a:pt x="3403" y="1498"/>
                  </a:lnTo>
                  <a:cubicBezTo>
                    <a:pt x="3536" y="1475"/>
                    <a:pt x="3639" y="1365"/>
                    <a:pt x="3639" y="1217"/>
                  </a:cubicBezTo>
                  <a:cubicBezTo>
                    <a:pt x="3639" y="1061"/>
                    <a:pt x="3513" y="934"/>
                    <a:pt x="3358" y="934"/>
                  </a:cubicBezTo>
                  <a:cubicBezTo>
                    <a:pt x="3291" y="934"/>
                    <a:pt x="3232" y="965"/>
                    <a:pt x="3181" y="1002"/>
                  </a:cubicBezTo>
                  <a:lnTo>
                    <a:pt x="3181" y="965"/>
                  </a:lnTo>
                  <a:cubicBezTo>
                    <a:pt x="3181" y="668"/>
                    <a:pt x="2942" y="424"/>
                    <a:pt x="2647" y="424"/>
                  </a:cubicBezTo>
                  <a:cubicBezTo>
                    <a:pt x="2476" y="424"/>
                    <a:pt x="2327" y="497"/>
                    <a:pt x="2224" y="623"/>
                  </a:cubicBezTo>
                  <a:cubicBezTo>
                    <a:pt x="2186" y="609"/>
                    <a:pt x="2149" y="602"/>
                    <a:pt x="2114" y="602"/>
                  </a:cubicBezTo>
                  <a:cubicBezTo>
                    <a:pt x="2053" y="602"/>
                    <a:pt x="2001" y="616"/>
                    <a:pt x="1957" y="639"/>
                  </a:cubicBezTo>
                  <a:cubicBezTo>
                    <a:pt x="1898" y="275"/>
                    <a:pt x="1594" y="1"/>
                    <a:pt x="121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0" name="Google Shape;5290;p53">
              <a:extLst>
                <a:ext uri="{FF2B5EF4-FFF2-40B4-BE49-F238E27FC236}">
                  <a16:creationId xmlns:a16="http://schemas.microsoft.com/office/drawing/2014/main" id="{D7FDF51C-F31B-7F2F-5D61-5BE4EC046180}"/>
                </a:ext>
              </a:extLst>
            </p:cNvPr>
            <p:cNvSpPr/>
            <p:nvPr/>
          </p:nvSpPr>
          <p:spPr>
            <a:xfrm>
              <a:off x="7211775" y="1643250"/>
              <a:ext cx="12425" cy="17975"/>
            </a:xfrm>
            <a:custGeom>
              <a:avLst/>
              <a:gdLst/>
              <a:ahLst/>
              <a:cxnLst/>
              <a:rect l="l" t="t" r="r" b="b"/>
              <a:pathLst>
                <a:path w="497" h="719" extrusionOk="0">
                  <a:moveTo>
                    <a:pt x="497" y="0"/>
                  </a:moveTo>
                  <a:lnTo>
                    <a:pt x="497" y="0"/>
                  </a:lnTo>
                  <a:cubicBezTo>
                    <a:pt x="209" y="82"/>
                    <a:pt x="1" y="349"/>
                    <a:pt x="1" y="667"/>
                  </a:cubicBezTo>
                  <a:lnTo>
                    <a:pt x="1" y="712"/>
                  </a:lnTo>
                  <a:cubicBezTo>
                    <a:pt x="8" y="712"/>
                    <a:pt x="8" y="712"/>
                    <a:pt x="17" y="719"/>
                  </a:cubicBezTo>
                  <a:lnTo>
                    <a:pt x="17" y="705"/>
                  </a:lnTo>
                  <a:cubicBezTo>
                    <a:pt x="17" y="386"/>
                    <a:pt x="216" y="112"/>
                    <a:pt x="497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1" name="Google Shape;5291;p53">
              <a:extLst>
                <a:ext uri="{FF2B5EF4-FFF2-40B4-BE49-F238E27FC236}">
                  <a16:creationId xmlns:a16="http://schemas.microsoft.com/office/drawing/2014/main" id="{05939C1C-14B4-3BE4-642D-70AC016E1503}"/>
                </a:ext>
              </a:extLst>
            </p:cNvPr>
            <p:cNvSpPr/>
            <p:nvPr/>
          </p:nvSpPr>
          <p:spPr>
            <a:xfrm>
              <a:off x="7211775" y="1642700"/>
              <a:ext cx="17100" cy="34325"/>
            </a:xfrm>
            <a:custGeom>
              <a:avLst/>
              <a:gdLst/>
              <a:ahLst/>
              <a:cxnLst/>
              <a:rect l="l" t="t" r="r" b="b"/>
              <a:pathLst>
                <a:path w="684" h="1373" extrusionOk="0">
                  <a:moveTo>
                    <a:pt x="683" y="1"/>
                  </a:moveTo>
                  <a:cubicBezTo>
                    <a:pt x="623" y="1"/>
                    <a:pt x="557" y="8"/>
                    <a:pt x="497" y="22"/>
                  </a:cubicBezTo>
                  <a:cubicBezTo>
                    <a:pt x="216" y="134"/>
                    <a:pt x="17" y="408"/>
                    <a:pt x="17" y="727"/>
                  </a:cubicBezTo>
                  <a:lnTo>
                    <a:pt x="17" y="741"/>
                  </a:lnTo>
                  <a:cubicBezTo>
                    <a:pt x="8" y="734"/>
                    <a:pt x="8" y="734"/>
                    <a:pt x="1" y="734"/>
                  </a:cubicBezTo>
                  <a:cubicBezTo>
                    <a:pt x="24" y="1089"/>
                    <a:pt x="319" y="1372"/>
                    <a:pt x="683" y="1372"/>
                  </a:cubicBezTo>
                  <a:cubicBezTo>
                    <a:pt x="683" y="1372"/>
                    <a:pt x="290" y="1246"/>
                    <a:pt x="260" y="689"/>
                  </a:cubicBezTo>
                  <a:cubicBezTo>
                    <a:pt x="230" y="179"/>
                    <a:pt x="683" y="1"/>
                    <a:pt x="683" y="1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2" name="Google Shape;5292;p53">
              <a:extLst>
                <a:ext uri="{FF2B5EF4-FFF2-40B4-BE49-F238E27FC236}">
                  <a16:creationId xmlns:a16="http://schemas.microsoft.com/office/drawing/2014/main" id="{2ADAA09E-C93E-15D6-317E-5E0DE2535E11}"/>
                </a:ext>
              </a:extLst>
            </p:cNvPr>
            <p:cNvSpPr/>
            <p:nvPr/>
          </p:nvSpPr>
          <p:spPr>
            <a:xfrm>
              <a:off x="7244575" y="1657350"/>
              <a:ext cx="18000" cy="9075"/>
            </a:xfrm>
            <a:custGeom>
              <a:avLst/>
              <a:gdLst/>
              <a:ahLst/>
              <a:cxnLst/>
              <a:rect l="l" t="t" r="r" b="b"/>
              <a:pathLst>
                <a:path w="720" h="363" extrusionOk="0">
                  <a:moveTo>
                    <a:pt x="357" y="0"/>
                  </a:moveTo>
                  <a:cubicBezTo>
                    <a:pt x="163" y="7"/>
                    <a:pt x="1" y="171"/>
                    <a:pt x="8" y="363"/>
                  </a:cubicBezTo>
                  <a:cubicBezTo>
                    <a:pt x="8" y="363"/>
                    <a:pt x="67" y="164"/>
                    <a:pt x="357" y="141"/>
                  </a:cubicBezTo>
                  <a:lnTo>
                    <a:pt x="385" y="141"/>
                  </a:lnTo>
                  <a:cubicBezTo>
                    <a:pt x="630" y="141"/>
                    <a:pt x="719" y="356"/>
                    <a:pt x="719" y="356"/>
                  </a:cubicBezTo>
                  <a:cubicBezTo>
                    <a:pt x="719" y="164"/>
                    <a:pt x="556" y="0"/>
                    <a:pt x="364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3" name="Google Shape;5293;p53">
              <a:extLst>
                <a:ext uri="{FF2B5EF4-FFF2-40B4-BE49-F238E27FC236}">
                  <a16:creationId xmlns:a16="http://schemas.microsoft.com/office/drawing/2014/main" id="{2B0A0160-737C-18C8-4EBD-434B39A8742F}"/>
                </a:ext>
              </a:extLst>
            </p:cNvPr>
            <p:cNvSpPr/>
            <p:nvPr/>
          </p:nvSpPr>
          <p:spPr>
            <a:xfrm>
              <a:off x="7488350" y="1497900"/>
              <a:ext cx="29500" cy="12925"/>
            </a:xfrm>
            <a:custGeom>
              <a:avLst/>
              <a:gdLst/>
              <a:ahLst/>
              <a:cxnLst/>
              <a:rect l="l" t="t" r="r" b="b"/>
              <a:pathLst>
                <a:path w="1180" h="517" extrusionOk="0">
                  <a:moveTo>
                    <a:pt x="1026" y="0"/>
                  </a:moveTo>
                  <a:cubicBezTo>
                    <a:pt x="950" y="0"/>
                    <a:pt x="859" y="34"/>
                    <a:pt x="771" y="102"/>
                  </a:cubicBezTo>
                  <a:cubicBezTo>
                    <a:pt x="698" y="154"/>
                    <a:pt x="637" y="228"/>
                    <a:pt x="609" y="294"/>
                  </a:cubicBezTo>
                  <a:cubicBezTo>
                    <a:pt x="548" y="250"/>
                    <a:pt x="468" y="220"/>
                    <a:pt x="380" y="205"/>
                  </a:cubicBezTo>
                  <a:cubicBezTo>
                    <a:pt x="346" y="200"/>
                    <a:pt x="315" y="198"/>
                    <a:pt x="285" y="198"/>
                  </a:cubicBezTo>
                  <a:cubicBezTo>
                    <a:pt x="128" y="198"/>
                    <a:pt x="20" y="263"/>
                    <a:pt x="1" y="369"/>
                  </a:cubicBezTo>
                  <a:cubicBezTo>
                    <a:pt x="1" y="369"/>
                    <a:pt x="44" y="287"/>
                    <a:pt x="248" y="287"/>
                  </a:cubicBezTo>
                  <a:cubicBezTo>
                    <a:pt x="282" y="287"/>
                    <a:pt x="320" y="289"/>
                    <a:pt x="364" y="294"/>
                  </a:cubicBezTo>
                  <a:cubicBezTo>
                    <a:pt x="460" y="301"/>
                    <a:pt x="534" y="332"/>
                    <a:pt x="586" y="362"/>
                  </a:cubicBezTo>
                  <a:lnTo>
                    <a:pt x="579" y="517"/>
                  </a:lnTo>
                  <a:lnTo>
                    <a:pt x="653" y="502"/>
                  </a:lnTo>
                  <a:lnTo>
                    <a:pt x="742" y="479"/>
                  </a:lnTo>
                  <a:lnTo>
                    <a:pt x="661" y="346"/>
                  </a:lnTo>
                  <a:cubicBezTo>
                    <a:pt x="698" y="294"/>
                    <a:pt x="742" y="236"/>
                    <a:pt x="824" y="168"/>
                  </a:cubicBezTo>
                  <a:cubicBezTo>
                    <a:pt x="938" y="77"/>
                    <a:pt x="1032" y="56"/>
                    <a:pt x="1094" y="56"/>
                  </a:cubicBezTo>
                  <a:cubicBezTo>
                    <a:pt x="1149" y="56"/>
                    <a:pt x="1180" y="72"/>
                    <a:pt x="1180" y="72"/>
                  </a:cubicBezTo>
                  <a:cubicBezTo>
                    <a:pt x="1145" y="25"/>
                    <a:pt x="1091" y="0"/>
                    <a:pt x="1026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4" name="Google Shape;5294;p53">
              <a:extLst>
                <a:ext uri="{FF2B5EF4-FFF2-40B4-BE49-F238E27FC236}">
                  <a16:creationId xmlns:a16="http://schemas.microsoft.com/office/drawing/2014/main" id="{D86401D7-44F3-0749-60D7-2D25115431E0}"/>
                </a:ext>
              </a:extLst>
            </p:cNvPr>
            <p:cNvSpPr/>
            <p:nvPr/>
          </p:nvSpPr>
          <p:spPr>
            <a:xfrm>
              <a:off x="7313675" y="1413575"/>
              <a:ext cx="24825" cy="12025"/>
            </a:xfrm>
            <a:custGeom>
              <a:avLst/>
              <a:gdLst/>
              <a:ahLst/>
              <a:cxnLst/>
              <a:rect l="l" t="t" r="r" b="b"/>
              <a:pathLst>
                <a:path w="993" h="481" extrusionOk="0">
                  <a:moveTo>
                    <a:pt x="851" y="0"/>
                  </a:moveTo>
                  <a:cubicBezTo>
                    <a:pt x="787" y="0"/>
                    <a:pt x="715" y="30"/>
                    <a:pt x="644" y="89"/>
                  </a:cubicBezTo>
                  <a:cubicBezTo>
                    <a:pt x="578" y="141"/>
                    <a:pt x="534" y="207"/>
                    <a:pt x="511" y="267"/>
                  </a:cubicBezTo>
                  <a:cubicBezTo>
                    <a:pt x="459" y="230"/>
                    <a:pt x="394" y="192"/>
                    <a:pt x="312" y="178"/>
                  </a:cubicBezTo>
                  <a:cubicBezTo>
                    <a:pt x="281" y="173"/>
                    <a:pt x="251" y="170"/>
                    <a:pt x="224" y="170"/>
                  </a:cubicBezTo>
                  <a:cubicBezTo>
                    <a:pt x="93" y="170"/>
                    <a:pt x="6" y="227"/>
                    <a:pt x="1" y="326"/>
                  </a:cubicBezTo>
                  <a:cubicBezTo>
                    <a:pt x="1" y="326"/>
                    <a:pt x="33" y="251"/>
                    <a:pt x="203" y="251"/>
                  </a:cubicBezTo>
                  <a:cubicBezTo>
                    <a:pt x="233" y="251"/>
                    <a:pt x="266" y="253"/>
                    <a:pt x="305" y="258"/>
                  </a:cubicBezTo>
                  <a:cubicBezTo>
                    <a:pt x="386" y="274"/>
                    <a:pt x="445" y="303"/>
                    <a:pt x="490" y="333"/>
                  </a:cubicBezTo>
                  <a:lnTo>
                    <a:pt x="490" y="480"/>
                  </a:lnTo>
                  <a:lnTo>
                    <a:pt x="555" y="466"/>
                  </a:lnTo>
                  <a:lnTo>
                    <a:pt x="630" y="452"/>
                  </a:lnTo>
                  <a:lnTo>
                    <a:pt x="555" y="319"/>
                  </a:lnTo>
                  <a:cubicBezTo>
                    <a:pt x="586" y="274"/>
                    <a:pt x="623" y="214"/>
                    <a:pt x="689" y="162"/>
                  </a:cubicBezTo>
                  <a:cubicBezTo>
                    <a:pt x="782" y="77"/>
                    <a:pt x="862" y="57"/>
                    <a:pt x="916" y="57"/>
                  </a:cubicBezTo>
                  <a:cubicBezTo>
                    <a:pt x="964" y="57"/>
                    <a:pt x="993" y="73"/>
                    <a:pt x="993" y="73"/>
                  </a:cubicBezTo>
                  <a:cubicBezTo>
                    <a:pt x="958" y="24"/>
                    <a:pt x="908" y="0"/>
                    <a:pt x="851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5" name="Google Shape;5295;p53">
              <a:extLst>
                <a:ext uri="{FF2B5EF4-FFF2-40B4-BE49-F238E27FC236}">
                  <a16:creationId xmlns:a16="http://schemas.microsoft.com/office/drawing/2014/main" id="{12449558-9123-601C-DD1E-929AD1840771}"/>
                </a:ext>
              </a:extLst>
            </p:cNvPr>
            <p:cNvSpPr/>
            <p:nvPr/>
          </p:nvSpPr>
          <p:spPr>
            <a:xfrm>
              <a:off x="7314425" y="1458625"/>
              <a:ext cx="15025" cy="6450"/>
            </a:xfrm>
            <a:custGeom>
              <a:avLst/>
              <a:gdLst/>
              <a:ahLst/>
              <a:cxnLst/>
              <a:rect l="l" t="t" r="r" b="b"/>
              <a:pathLst>
                <a:path w="601" h="258" extrusionOk="0">
                  <a:moveTo>
                    <a:pt x="520" y="1"/>
                  </a:moveTo>
                  <a:cubicBezTo>
                    <a:pt x="482" y="1"/>
                    <a:pt x="437" y="17"/>
                    <a:pt x="392" y="50"/>
                  </a:cubicBezTo>
                  <a:cubicBezTo>
                    <a:pt x="348" y="80"/>
                    <a:pt x="326" y="110"/>
                    <a:pt x="303" y="146"/>
                  </a:cubicBezTo>
                  <a:cubicBezTo>
                    <a:pt x="275" y="124"/>
                    <a:pt x="237" y="110"/>
                    <a:pt x="193" y="101"/>
                  </a:cubicBezTo>
                  <a:cubicBezTo>
                    <a:pt x="178" y="99"/>
                    <a:pt x="164" y="98"/>
                    <a:pt x="150" y="98"/>
                  </a:cubicBezTo>
                  <a:cubicBezTo>
                    <a:pt x="68" y="98"/>
                    <a:pt x="7" y="133"/>
                    <a:pt x="1" y="183"/>
                  </a:cubicBezTo>
                  <a:cubicBezTo>
                    <a:pt x="1" y="183"/>
                    <a:pt x="23" y="143"/>
                    <a:pt x="134" y="143"/>
                  </a:cubicBezTo>
                  <a:cubicBezTo>
                    <a:pt x="150" y="143"/>
                    <a:pt x="167" y="144"/>
                    <a:pt x="186" y="146"/>
                  </a:cubicBezTo>
                  <a:cubicBezTo>
                    <a:pt x="230" y="146"/>
                    <a:pt x="268" y="162"/>
                    <a:pt x="296" y="176"/>
                  </a:cubicBezTo>
                  <a:lnTo>
                    <a:pt x="289" y="258"/>
                  </a:lnTo>
                  <a:lnTo>
                    <a:pt x="333" y="243"/>
                  </a:lnTo>
                  <a:lnTo>
                    <a:pt x="378" y="234"/>
                  </a:lnTo>
                  <a:lnTo>
                    <a:pt x="333" y="169"/>
                  </a:lnTo>
                  <a:cubicBezTo>
                    <a:pt x="348" y="146"/>
                    <a:pt x="378" y="117"/>
                    <a:pt x="415" y="87"/>
                  </a:cubicBezTo>
                  <a:cubicBezTo>
                    <a:pt x="475" y="39"/>
                    <a:pt x="524" y="28"/>
                    <a:pt x="557" y="28"/>
                  </a:cubicBezTo>
                  <a:cubicBezTo>
                    <a:pt x="585" y="28"/>
                    <a:pt x="600" y="35"/>
                    <a:pt x="600" y="35"/>
                  </a:cubicBezTo>
                  <a:cubicBezTo>
                    <a:pt x="580" y="12"/>
                    <a:pt x="552" y="1"/>
                    <a:pt x="520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6" name="Google Shape;5296;p53">
              <a:extLst>
                <a:ext uri="{FF2B5EF4-FFF2-40B4-BE49-F238E27FC236}">
                  <a16:creationId xmlns:a16="http://schemas.microsoft.com/office/drawing/2014/main" id="{F5C433DE-79A4-31D5-2CEF-76A47B62408C}"/>
                </a:ext>
              </a:extLst>
            </p:cNvPr>
            <p:cNvSpPr/>
            <p:nvPr/>
          </p:nvSpPr>
          <p:spPr>
            <a:xfrm>
              <a:off x="7228275" y="1437800"/>
              <a:ext cx="20375" cy="8725"/>
            </a:xfrm>
            <a:custGeom>
              <a:avLst/>
              <a:gdLst/>
              <a:ahLst/>
              <a:cxnLst/>
              <a:rect l="l" t="t" r="r" b="b"/>
              <a:pathLst>
                <a:path w="815" h="349" extrusionOk="0">
                  <a:moveTo>
                    <a:pt x="712" y="1"/>
                  </a:moveTo>
                  <a:cubicBezTo>
                    <a:pt x="659" y="1"/>
                    <a:pt x="596" y="23"/>
                    <a:pt x="534" y="68"/>
                  </a:cubicBezTo>
                  <a:cubicBezTo>
                    <a:pt x="482" y="105"/>
                    <a:pt x="445" y="157"/>
                    <a:pt x="424" y="201"/>
                  </a:cubicBezTo>
                  <a:cubicBezTo>
                    <a:pt x="379" y="171"/>
                    <a:pt x="326" y="150"/>
                    <a:pt x="260" y="143"/>
                  </a:cubicBezTo>
                  <a:cubicBezTo>
                    <a:pt x="237" y="139"/>
                    <a:pt x="215" y="137"/>
                    <a:pt x="194" y="137"/>
                  </a:cubicBezTo>
                  <a:cubicBezTo>
                    <a:pt x="88" y="137"/>
                    <a:pt x="12" y="184"/>
                    <a:pt x="0" y="253"/>
                  </a:cubicBezTo>
                  <a:cubicBezTo>
                    <a:pt x="0" y="253"/>
                    <a:pt x="28" y="197"/>
                    <a:pt x="176" y="197"/>
                  </a:cubicBezTo>
                  <a:cubicBezTo>
                    <a:pt x="198" y="197"/>
                    <a:pt x="224" y="198"/>
                    <a:pt x="253" y="201"/>
                  </a:cubicBezTo>
                  <a:cubicBezTo>
                    <a:pt x="319" y="209"/>
                    <a:pt x="370" y="223"/>
                    <a:pt x="400" y="246"/>
                  </a:cubicBezTo>
                  <a:lnTo>
                    <a:pt x="400" y="349"/>
                  </a:lnTo>
                  <a:lnTo>
                    <a:pt x="452" y="342"/>
                  </a:lnTo>
                  <a:lnTo>
                    <a:pt x="512" y="328"/>
                  </a:lnTo>
                  <a:lnTo>
                    <a:pt x="459" y="232"/>
                  </a:lnTo>
                  <a:cubicBezTo>
                    <a:pt x="482" y="201"/>
                    <a:pt x="512" y="157"/>
                    <a:pt x="571" y="120"/>
                  </a:cubicBezTo>
                  <a:cubicBezTo>
                    <a:pt x="656" y="51"/>
                    <a:pt x="723" y="37"/>
                    <a:pt x="766" y="37"/>
                  </a:cubicBezTo>
                  <a:cubicBezTo>
                    <a:pt x="797" y="37"/>
                    <a:pt x="815" y="45"/>
                    <a:pt x="815" y="45"/>
                  </a:cubicBezTo>
                  <a:cubicBezTo>
                    <a:pt x="792" y="15"/>
                    <a:pt x="755" y="1"/>
                    <a:pt x="712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7" name="Google Shape;5297;p53">
              <a:extLst>
                <a:ext uri="{FF2B5EF4-FFF2-40B4-BE49-F238E27FC236}">
                  <a16:creationId xmlns:a16="http://schemas.microsoft.com/office/drawing/2014/main" id="{CC5C3D67-3A1F-4802-67F5-E336CCDCA324}"/>
                </a:ext>
              </a:extLst>
            </p:cNvPr>
            <p:cNvSpPr/>
            <p:nvPr/>
          </p:nvSpPr>
          <p:spPr>
            <a:xfrm>
              <a:off x="7503925" y="1476125"/>
              <a:ext cx="10950" cy="4700"/>
            </a:xfrm>
            <a:custGeom>
              <a:avLst/>
              <a:gdLst/>
              <a:ahLst/>
              <a:cxnLst/>
              <a:rect l="l" t="t" r="r" b="b"/>
              <a:pathLst>
                <a:path w="438" h="188" extrusionOk="0">
                  <a:moveTo>
                    <a:pt x="385" y="1"/>
                  </a:moveTo>
                  <a:cubicBezTo>
                    <a:pt x="357" y="1"/>
                    <a:pt x="324" y="14"/>
                    <a:pt x="290" y="40"/>
                  </a:cubicBezTo>
                  <a:cubicBezTo>
                    <a:pt x="260" y="54"/>
                    <a:pt x="237" y="84"/>
                    <a:pt x="230" y="105"/>
                  </a:cubicBezTo>
                  <a:cubicBezTo>
                    <a:pt x="208" y="91"/>
                    <a:pt x="178" y="77"/>
                    <a:pt x="141" y="77"/>
                  </a:cubicBezTo>
                  <a:cubicBezTo>
                    <a:pt x="127" y="74"/>
                    <a:pt x="114" y="73"/>
                    <a:pt x="102" y="73"/>
                  </a:cubicBezTo>
                  <a:cubicBezTo>
                    <a:pt x="47" y="73"/>
                    <a:pt x="6" y="99"/>
                    <a:pt x="0" y="136"/>
                  </a:cubicBezTo>
                  <a:cubicBezTo>
                    <a:pt x="0" y="136"/>
                    <a:pt x="17" y="103"/>
                    <a:pt x="93" y="103"/>
                  </a:cubicBezTo>
                  <a:cubicBezTo>
                    <a:pt x="105" y="103"/>
                    <a:pt x="118" y="103"/>
                    <a:pt x="134" y="105"/>
                  </a:cubicBezTo>
                  <a:cubicBezTo>
                    <a:pt x="171" y="105"/>
                    <a:pt x="201" y="121"/>
                    <a:pt x="215" y="128"/>
                  </a:cubicBezTo>
                  <a:lnTo>
                    <a:pt x="215" y="187"/>
                  </a:lnTo>
                  <a:lnTo>
                    <a:pt x="246" y="180"/>
                  </a:lnTo>
                  <a:lnTo>
                    <a:pt x="274" y="173"/>
                  </a:lnTo>
                  <a:lnTo>
                    <a:pt x="246" y="121"/>
                  </a:lnTo>
                  <a:cubicBezTo>
                    <a:pt x="260" y="105"/>
                    <a:pt x="274" y="84"/>
                    <a:pt x="304" y="61"/>
                  </a:cubicBezTo>
                  <a:cubicBezTo>
                    <a:pt x="348" y="26"/>
                    <a:pt x="383" y="17"/>
                    <a:pt x="406" y="17"/>
                  </a:cubicBezTo>
                  <a:cubicBezTo>
                    <a:pt x="427" y="17"/>
                    <a:pt x="438" y="24"/>
                    <a:pt x="438" y="24"/>
                  </a:cubicBezTo>
                  <a:cubicBezTo>
                    <a:pt x="425" y="8"/>
                    <a:pt x="407" y="1"/>
                    <a:pt x="38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8" name="Google Shape;5298;p53">
              <a:extLst>
                <a:ext uri="{FF2B5EF4-FFF2-40B4-BE49-F238E27FC236}">
                  <a16:creationId xmlns:a16="http://schemas.microsoft.com/office/drawing/2014/main" id="{FCDC0B66-DC0A-2E76-65F4-38500ED768A6}"/>
                </a:ext>
              </a:extLst>
            </p:cNvPr>
            <p:cNvSpPr/>
            <p:nvPr/>
          </p:nvSpPr>
          <p:spPr>
            <a:xfrm>
              <a:off x="7717150" y="1657150"/>
              <a:ext cx="58350" cy="24300"/>
            </a:xfrm>
            <a:custGeom>
              <a:avLst/>
              <a:gdLst/>
              <a:ahLst/>
              <a:cxnLst/>
              <a:rect l="l" t="t" r="r" b="b"/>
              <a:pathLst>
                <a:path w="2334" h="972" extrusionOk="0">
                  <a:moveTo>
                    <a:pt x="777" y="1"/>
                  </a:moveTo>
                  <a:cubicBezTo>
                    <a:pt x="511" y="1"/>
                    <a:pt x="297" y="216"/>
                    <a:pt x="297" y="474"/>
                  </a:cubicBezTo>
                  <a:lnTo>
                    <a:pt x="297" y="483"/>
                  </a:lnTo>
                  <a:cubicBezTo>
                    <a:pt x="281" y="483"/>
                    <a:pt x="260" y="474"/>
                    <a:pt x="244" y="474"/>
                  </a:cubicBezTo>
                  <a:cubicBezTo>
                    <a:pt x="110" y="474"/>
                    <a:pt x="0" y="586"/>
                    <a:pt x="0" y="719"/>
                  </a:cubicBezTo>
                  <a:cubicBezTo>
                    <a:pt x="0" y="853"/>
                    <a:pt x="110" y="956"/>
                    <a:pt x="244" y="956"/>
                  </a:cubicBezTo>
                  <a:lnTo>
                    <a:pt x="244" y="972"/>
                  </a:lnTo>
                  <a:lnTo>
                    <a:pt x="2179" y="972"/>
                  </a:lnTo>
                  <a:lnTo>
                    <a:pt x="2179" y="956"/>
                  </a:lnTo>
                  <a:cubicBezTo>
                    <a:pt x="2268" y="949"/>
                    <a:pt x="2333" y="867"/>
                    <a:pt x="2333" y="778"/>
                  </a:cubicBezTo>
                  <a:cubicBezTo>
                    <a:pt x="2333" y="682"/>
                    <a:pt x="2253" y="600"/>
                    <a:pt x="2156" y="600"/>
                  </a:cubicBezTo>
                  <a:cubicBezTo>
                    <a:pt x="2111" y="600"/>
                    <a:pt x="2076" y="616"/>
                    <a:pt x="2038" y="638"/>
                  </a:cubicBezTo>
                  <a:lnTo>
                    <a:pt x="2038" y="616"/>
                  </a:lnTo>
                  <a:cubicBezTo>
                    <a:pt x="2038" y="422"/>
                    <a:pt x="1889" y="268"/>
                    <a:pt x="1697" y="268"/>
                  </a:cubicBezTo>
                  <a:cubicBezTo>
                    <a:pt x="1587" y="268"/>
                    <a:pt x="1489" y="319"/>
                    <a:pt x="1430" y="394"/>
                  </a:cubicBezTo>
                  <a:cubicBezTo>
                    <a:pt x="1409" y="385"/>
                    <a:pt x="1378" y="385"/>
                    <a:pt x="1355" y="385"/>
                  </a:cubicBezTo>
                  <a:cubicBezTo>
                    <a:pt x="1320" y="385"/>
                    <a:pt x="1282" y="394"/>
                    <a:pt x="1252" y="408"/>
                  </a:cubicBezTo>
                  <a:cubicBezTo>
                    <a:pt x="1222" y="172"/>
                    <a:pt x="1023" y="1"/>
                    <a:pt x="77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9" name="Google Shape;5299;p53">
              <a:extLst>
                <a:ext uri="{FF2B5EF4-FFF2-40B4-BE49-F238E27FC236}">
                  <a16:creationId xmlns:a16="http://schemas.microsoft.com/office/drawing/2014/main" id="{7C6FF2D4-C9BD-D120-4BD4-E49669C727A5}"/>
                </a:ext>
              </a:extLst>
            </p:cNvPr>
            <p:cNvSpPr/>
            <p:nvPr/>
          </p:nvSpPr>
          <p:spPr>
            <a:xfrm>
              <a:off x="7724350" y="1657350"/>
              <a:ext cx="10950" cy="22075"/>
            </a:xfrm>
            <a:custGeom>
              <a:avLst/>
              <a:gdLst/>
              <a:ahLst/>
              <a:cxnLst/>
              <a:rect l="l" t="t" r="r" b="b"/>
              <a:pathLst>
                <a:path w="438" h="883" extrusionOk="0">
                  <a:moveTo>
                    <a:pt x="438" y="0"/>
                  </a:moveTo>
                  <a:cubicBezTo>
                    <a:pt x="201" y="0"/>
                    <a:pt x="0" y="199"/>
                    <a:pt x="0" y="445"/>
                  </a:cubicBezTo>
                  <a:cubicBezTo>
                    <a:pt x="0" y="688"/>
                    <a:pt x="201" y="882"/>
                    <a:pt x="438" y="882"/>
                  </a:cubicBezTo>
                  <a:cubicBezTo>
                    <a:pt x="438" y="882"/>
                    <a:pt x="187" y="800"/>
                    <a:pt x="171" y="445"/>
                  </a:cubicBezTo>
                  <a:cubicBezTo>
                    <a:pt x="150" y="119"/>
                    <a:pt x="438" y="0"/>
                    <a:pt x="43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0" name="Google Shape;5300;p53">
              <a:extLst>
                <a:ext uri="{FF2B5EF4-FFF2-40B4-BE49-F238E27FC236}">
                  <a16:creationId xmlns:a16="http://schemas.microsoft.com/office/drawing/2014/main" id="{74AF0460-08B3-CB1F-C6D3-4C7CA7E0A5D0}"/>
                </a:ext>
              </a:extLst>
            </p:cNvPr>
            <p:cNvSpPr/>
            <p:nvPr/>
          </p:nvSpPr>
          <p:spPr>
            <a:xfrm>
              <a:off x="7745475" y="1666775"/>
              <a:ext cx="11525" cy="5975"/>
            </a:xfrm>
            <a:custGeom>
              <a:avLst/>
              <a:gdLst/>
              <a:ahLst/>
              <a:cxnLst/>
              <a:rect l="l" t="t" r="r" b="b"/>
              <a:pathLst>
                <a:path w="461" h="239" extrusionOk="0">
                  <a:moveTo>
                    <a:pt x="231" y="0"/>
                  </a:moveTo>
                  <a:cubicBezTo>
                    <a:pt x="105" y="9"/>
                    <a:pt x="0" y="112"/>
                    <a:pt x="0" y="238"/>
                  </a:cubicBezTo>
                  <a:cubicBezTo>
                    <a:pt x="0" y="238"/>
                    <a:pt x="37" y="105"/>
                    <a:pt x="231" y="89"/>
                  </a:cubicBezTo>
                  <a:cubicBezTo>
                    <a:pt x="235" y="89"/>
                    <a:pt x="239" y="89"/>
                    <a:pt x="243" y="89"/>
                  </a:cubicBezTo>
                  <a:cubicBezTo>
                    <a:pt x="403" y="89"/>
                    <a:pt x="461" y="231"/>
                    <a:pt x="461" y="231"/>
                  </a:cubicBezTo>
                  <a:cubicBezTo>
                    <a:pt x="461" y="105"/>
                    <a:pt x="356" y="0"/>
                    <a:pt x="23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1" name="Google Shape;5301;p53">
              <a:extLst>
                <a:ext uri="{FF2B5EF4-FFF2-40B4-BE49-F238E27FC236}">
                  <a16:creationId xmlns:a16="http://schemas.microsoft.com/office/drawing/2014/main" id="{E924AA07-0BE8-E946-6544-FB36A9734C4A}"/>
                </a:ext>
              </a:extLst>
            </p:cNvPr>
            <p:cNvSpPr/>
            <p:nvPr/>
          </p:nvSpPr>
          <p:spPr>
            <a:xfrm>
              <a:off x="7352750" y="1654925"/>
              <a:ext cx="60225" cy="25025"/>
            </a:xfrm>
            <a:custGeom>
              <a:avLst/>
              <a:gdLst/>
              <a:ahLst/>
              <a:cxnLst/>
              <a:rect l="l" t="t" r="r" b="b"/>
              <a:pathLst>
                <a:path w="2409" h="1001" extrusionOk="0">
                  <a:moveTo>
                    <a:pt x="1608" y="1"/>
                  </a:moveTo>
                  <a:cubicBezTo>
                    <a:pt x="1358" y="1"/>
                    <a:pt x="1150" y="186"/>
                    <a:pt x="1119" y="422"/>
                  </a:cubicBezTo>
                  <a:cubicBezTo>
                    <a:pt x="1082" y="408"/>
                    <a:pt x="1054" y="401"/>
                    <a:pt x="1016" y="401"/>
                  </a:cubicBezTo>
                  <a:cubicBezTo>
                    <a:pt x="986" y="401"/>
                    <a:pt x="965" y="401"/>
                    <a:pt x="934" y="408"/>
                  </a:cubicBezTo>
                  <a:cubicBezTo>
                    <a:pt x="876" y="334"/>
                    <a:pt x="771" y="282"/>
                    <a:pt x="660" y="282"/>
                  </a:cubicBezTo>
                  <a:cubicBezTo>
                    <a:pt x="468" y="282"/>
                    <a:pt x="305" y="438"/>
                    <a:pt x="305" y="638"/>
                  </a:cubicBezTo>
                  <a:lnTo>
                    <a:pt x="305" y="661"/>
                  </a:lnTo>
                  <a:cubicBezTo>
                    <a:pt x="275" y="638"/>
                    <a:pt x="230" y="623"/>
                    <a:pt x="186" y="623"/>
                  </a:cubicBezTo>
                  <a:cubicBezTo>
                    <a:pt x="83" y="623"/>
                    <a:pt x="1" y="705"/>
                    <a:pt x="1" y="808"/>
                  </a:cubicBezTo>
                  <a:cubicBezTo>
                    <a:pt x="1" y="904"/>
                    <a:pt x="68" y="979"/>
                    <a:pt x="164" y="993"/>
                  </a:cubicBezTo>
                  <a:lnTo>
                    <a:pt x="164" y="1000"/>
                  </a:lnTo>
                  <a:lnTo>
                    <a:pt x="2165" y="1000"/>
                  </a:lnTo>
                  <a:lnTo>
                    <a:pt x="2165" y="993"/>
                  </a:lnTo>
                  <a:cubicBezTo>
                    <a:pt x="2298" y="993"/>
                    <a:pt x="2409" y="883"/>
                    <a:pt x="2409" y="750"/>
                  </a:cubicBezTo>
                  <a:cubicBezTo>
                    <a:pt x="2409" y="607"/>
                    <a:pt x="2298" y="497"/>
                    <a:pt x="2165" y="497"/>
                  </a:cubicBezTo>
                  <a:cubicBezTo>
                    <a:pt x="2142" y="497"/>
                    <a:pt x="2121" y="497"/>
                    <a:pt x="2105" y="504"/>
                  </a:cubicBezTo>
                  <a:lnTo>
                    <a:pt x="2105" y="497"/>
                  </a:lnTo>
                  <a:cubicBezTo>
                    <a:pt x="2105" y="223"/>
                    <a:pt x="1882" y="1"/>
                    <a:pt x="1608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2" name="Google Shape;5302;p53">
              <a:extLst>
                <a:ext uri="{FF2B5EF4-FFF2-40B4-BE49-F238E27FC236}">
                  <a16:creationId xmlns:a16="http://schemas.microsoft.com/office/drawing/2014/main" id="{78853A0F-C74F-FA70-2DF8-B1EB081F1869}"/>
                </a:ext>
              </a:extLst>
            </p:cNvPr>
            <p:cNvSpPr/>
            <p:nvPr/>
          </p:nvSpPr>
          <p:spPr>
            <a:xfrm>
              <a:off x="7397225" y="1655650"/>
              <a:ext cx="8375" cy="11900"/>
            </a:xfrm>
            <a:custGeom>
              <a:avLst/>
              <a:gdLst/>
              <a:ahLst/>
              <a:cxnLst/>
              <a:rect l="l" t="t" r="r" b="b"/>
              <a:pathLst>
                <a:path w="335" h="476" extrusionOk="0">
                  <a:moveTo>
                    <a:pt x="0" y="0"/>
                  </a:moveTo>
                  <a:lnTo>
                    <a:pt x="0" y="0"/>
                  </a:lnTo>
                  <a:cubicBezTo>
                    <a:pt x="192" y="75"/>
                    <a:pt x="326" y="253"/>
                    <a:pt x="326" y="468"/>
                  </a:cubicBezTo>
                  <a:lnTo>
                    <a:pt x="326" y="475"/>
                  </a:lnTo>
                  <a:lnTo>
                    <a:pt x="334" y="475"/>
                  </a:lnTo>
                  <a:lnTo>
                    <a:pt x="334" y="438"/>
                  </a:lnTo>
                  <a:cubicBezTo>
                    <a:pt x="334" y="232"/>
                    <a:pt x="192" y="61"/>
                    <a:pt x="0" y="0"/>
                  </a:cubicBezTo>
                  <a:close/>
                </a:path>
              </a:pathLst>
            </a:custGeom>
            <a:solidFill>
              <a:srgbClr val="EDED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3" name="Google Shape;5303;p53">
              <a:extLst>
                <a:ext uri="{FF2B5EF4-FFF2-40B4-BE49-F238E27FC236}">
                  <a16:creationId xmlns:a16="http://schemas.microsoft.com/office/drawing/2014/main" id="{EE10F6F9-CEF3-3489-BE3A-8A79A23F4908}"/>
                </a:ext>
              </a:extLst>
            </p:cNvPr>
            <p:cNvSpPr/>
            <p:nvPr/>
          </p:nvSpPr>
          <p:spPr>
            <a:xfrm>
              <a:off x="7394225" y="1655300"/>
              <a:ext cx="11375" cy="22825"/>
            </a:xfrm>
            <a:custGeom>
              <a:avLst/>
              <a:gdLst/>
              <a:ahLst/>
              <a:cxnLst/>
              <a:rect l="l" t="t" r="r" b="b"/>
              <a:pathLst>
                <a:path w="455" h="913" extrusionOk="0">
                  <a:moveTo>
                    <a:pt x="1" y="0"/>
                  </a:moveTo>
                  <a:cubicBezTo>
                    <a:pt x="1" y="0"/>
                    <a:pt x="298" y="119"/>
                    <a:pt x="284" y="452"/>
                  </a:cubicBezTo>
                  <a:cubicBezTo>
                    <a:pt x="261" y="824"/>
                    <a:pt x="1" y="913"/>
                    <a:pt x="1" y="913"/>
                  </a:cubicBezTo>
                  <a:cubicBezTo>
                    <a:pt x="239" y="913"/>
                    <a:pt x="438" y="719"/>
                    <a:pt x="454" y="489"/>
                  </a:cubicBezTo>
                  <a:lnTo>
                    <a:pt x="446" y="489"/>
                  </a:lnTo>
                  <a:lnTo>
                    <a:pt x="446" y="482"/>
                  </a:lnTo>
                  <a:cubicBezTo>
                    <a:pt x="446" y="267"/>
                    <a:pt x="312" y="89"/>
                    <a:pt x="120" y="14"/>
                  </a:cubicBezTo>
                  <a:cubicBezTo>
                    <a:pt x="83" y="7"/>
                    <a:pt x="45" y="0"/>
                    <a:pt x="1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4" name="Google Shape;5304;p53">
              <a:extLst>
                <a:ext uri="{FF2B5EF4-FFF2-40B4-BE49-F238E27FC236}">
                  <a16:creationId xmlns:a16="http://schemas.microsoft.com/office/drawing/2014/main" id="{7DF517D6-1152-4819-F9E0-62A52701FFAF}"/>
                </a:ext>
              </a:extLst>
            </p:cNvPr>
            <p:cNvSpPr/>
            <p:nvPr/>
          </p:nvSpPr>
          <p:spPr>
            <a:xfrm>
              <a:off x="7371825" y="1665125"/>
              <a:ext cx="11900" cy="5925"/>
            </a:xfrm>
            <a:custGeom>
              <a:avLst/>
              <a:gdLst/>
              <a:ahLst/>
              <a:cxnLst/>
              <a:rect l="l" t="t" r="r" b="b"/>
              <a:pathLst>
                <a:path w="476" h="237" extrusionOk="0">
                  <a:moveTo>
                    <a:pt x="239" y="0"/>
                  </a:moveTo>
                  <a:cubicBezTo>
                    <a:pt x="113" y="0"/>
                    <a:pt x="8" y="103"/>
                    <a:pt x="1" y="230"/>
                  </a:cubicBezTo>
                  <a:cubicBezTo>
                    <a:pt x="1" y="230"/>
                    <a:pt x="61" y="89"/>
                    <a:pt x="223" y="89"/>
                  </a:cubicBezTo>
                  <a:lnTo>
                    <a:pt x="246" y="89"/>
                  </a:lnTo>
                  <a:cubicBezTo>
                    <a:pt x="438" y="103"/>
                    <a:pt x="475" y="237"/>
                    <a:pt x="475" y="237"/>
                  </a:cubicBezTo>
                  <a:cubicBezTo>
                    <a:pt x="475" y="103"/>
                    <a:pt x="372" y="0"/>
                    <a:pt x="246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5" name="Google Shape;5305;p53">
              <a:extLst>
                <a:ext uri="{FF2B5EF4-FFF2-40B4-BE49-F238E27FC236}">
                  <a16:creationId xmlns:a16="http://schemas.microsoft.com/office/drawing/2014/main" id="{71FFAA7A-1D6C-A965-5CB9-27F04D013A7F}"/>
                </a:ext>
              </a:extLst>
            </p:cNvPr>
            <p:cNvSpPr/>
            <p:nvPr/>
          </p:nvSpPr>
          <p:spPr>
            <a:xfrm>
              <a:off x="7309975" y="1567125"/>
              <a:ext cx="59475" cy="74850"/>
            </a:xfrm>
            <a:custGeom>
              <a:avLst/>
              <a:gdLst/>
              <a:ahLst/>
              <a:cxnLst/>
              <a:rect l="l" t="t" r="r" b="b"/>
              <a:pathLst>
                <a:path w="2379" h="2994" extrusionOk="0">
                  <a:moveTo>
                    <a:pt x="1185" y="1"/>
                  </a:moveTo>
                  <a:cubicBezTo>
                    <a:pt x="675" y="1"/>
                    <a:pt x="252" y="415"/>
                    <a:pt x="252" y="934"/>
                  </a:cubicBezTo>
                  <a:cubicBezTo>
                    <a:pt x="252" y="979"/>
                    <a:pt x="259" y="1023"/>
                    <a:pt x="268" y="1068"/>
                  </a:cubicBezTo>
                  <a:cubicBezTo>
                    <a:pt x="104" y="1267"/>
                    <a:pt x="1" y="1527"/>
                    <a:pt x="1" y="1808"/>
                  </a:cubicBezTo>
                  <a:cubicBezTo>
                    <a:pt x="1" y="2467"/>
                    <a:pt x="534" y="2994"/>
                    <a:pt x="1185" y="2994"/>
                  </a:cubicBezTo>
                  <a:cubicBezTo>
                    <a:pt x="1845" y="2994"/>
                    <a:pt x="2379" y="2467"/>
                    <a:pt x="2379" y="1808"/>
                  </a:cubicBezTo>
                  <a:cubicBezTo>
                    <a:pt x="2379" y="1527"/>
                    <a:pt x="2275" y="1267"/>
                    <a:pt x="2112" y="1068"/>
                  </a:cubicBezTo>
                  <a:cubicBezTo>
                    <a:pt x="2119" y="1023"/>
                    <a:pt x="2126" y="979"/>
                    <a:pt x="2126" y="934"/>
                  </a:cubicBezTo>
                  <a:cubicBezTo>
                    <a:pt x="2126" y="415"/>
                    <a:pt x="1705" y="1"/>
                    <a:pt x="118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6" name="Google Shape;5306;p53">
              <a:extLst>
                <a:ext uri="{FF2B5EF4-FFF2-40B4-BE49-F238E27FC236}">
                  <a16:creationId xmlns:a16="http://schemas.microsoft.com/office/drawing/2014/main" id="{67664C9C-AED6-4447-97DC-BDF63216E883}"/>
                </a:ext>
              </a:extLst>
            </p:cNvPr>
            <p:cNvSpPr/>
            <p:nvPr/>
          </p:nvSpPr>
          <p:spPr>
            <a:xfrm>
              <a:off x="7339600" y="1590125"/>
              <a:ext cx="2825" cy="89100"/>
            </a:xfrm>
            <a:custGeom>
              <a:avLst/>
              <a:gdLst/>
              <a:ahLst/>
              <a:cxnLst/>
              <a:rect l="l" t="t" r="r" b="b"/>
              <a:pathLst>
                <a:path w="113" h="3564" extrusionOk="0">
                  <a:moveTo>
                    <a:pt x="54" y="1"/>
                  </a:moveTo>
                  <a:cubicBezTo>
                    <a:pt x="53" y="1"/>
                    <a:pt x="52" y="4"/>
                    <a:pt x="52" y="14"/>
                  </a:cubicBezTo>
                  <a:lnTo>
                    <a:pt x="0" y="3511"/>
                  </a:lnTo>
                  <a:cubicBezTo>
                    <a:pt x="0" y="3534"/>
                    <a:pt x="23" y="3564"/>
                    <a:pt x="52" y="3564"/>
                  </a:cubicBezTo>
                  <a:lnTo>
                    <a:pt x="61" y="3564"/>
                  </a:lnTo>
                  <a:cubicBezTo>
                    <a:pt x="89" y="3564"/>
                    <a:pt x="112" y="3534"/>
                    <a:pt x="112" y="3511"/>
                  </a:cubicBezTo>
                  <a:cubicBezTo>
                    <a:pt x="112" y="3511"/>
                    <a:pt x="89" y="14"/>
                    <a:pt x="61" y="14"/>
                  </a:cubicBezTo>
                  <a:cubicBezTo>
                    <a:pt x="61" y="14"/>
                    <a:pt x="57" y="1"/>
                    <a:pt x="5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7" name="Google Shape;5307;p53">
              <a:extLst>
                <a:ext uri="{FF2B5EF4-FFF2-40B4-BE49-F238E27FC236}">
                  <a16:creationId xmlns:a16="http://schemas.microsoft.com/office/drawing/2014/main" id="{E4D36F8F-29A7-C596-8313-41F14966E22D}"/>
                </a:ext>
              </a:extLst>
            </p:cNvPr>
            <p:cNvSpPr/>
            <p:nvPr/>
          </p:nvSpPr>
          <p:spPr>
            <a:xfrm>
              <a:off x="7324025" y="1611600"/>
              <a:ext cx="16875" cy="13875"/>
            </a:xfrm>
            <a:custGeom>
              <a:avLst/>
              <a:gdLst/>
              <a:ahLst/>
              <a:cxnLst/>
              <a:rect l="l" t="t" r="r" b="b"/>
              <a:pathLst>
                <a:path w="675" h="555" extrusionOk="0">
                  <a:moveTo>
                    <a:pt x="1" y="0"/>
                  </a:moveTo>
                  <a:lnTo>
                    <a:pt x="1" y="0"/>
                  </a:lnTo>
                  <a:cubicBezTo>
                    <a:pt x="331" y="541"/>
                    <a:pt x="634" y="555"/>
                    <a:pt x="665" y="555"/>
                  </a:cubicBezTo>
                  <a:cubicBezTo>
                    <a:pt x="667" y="555"/>
                    <a:pt x="668" y="555"/>
                    <a:pt x="668" y="555"/>
                  </a:cubicBezTo>
                  <a:lnTo>
                    <a:pt x="675" y="473"/>
                  </a:lnTo>
                  <a:lnTo>
                    <a:pt x="675" y="473"/>
                  </a:lnTo>
                  <a:cubicBezTo>
                    <a:pt x="675" y="473"/>
                    <a:pt x="668" y="479"/>
                    <a:pt x="647" y="479"/>
                  </a:cubicBezTo>
                  <a:cubicBezTo>
                    <a:pt x="606" y="479"/>
                    <a:pt x="511" y="455"/>
                    <a:pt x="312" y="311"/>
                  </a:cubicBezTo>
                  <a:cubicBezTo>
                    <a:pt x="134" y="18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8" name="Google Shape;5308;p53">
              <a:extLst>
                <a:ext uri="{FF2B5EF4-FFF2-40B4-BE49-F238E27FC236}">
                  <a16:creationId xmlns:a16="http://schemas.microsoft.com/office/drawing/2014/main" id="{F2A519E0-9673-8699-451E-A40012DED7A8}"/>
                </a:ext>
              </a:extLst>
            </p:cNvPr>
            <p:cNvSpPr/>
            <p:nvPr/>
          </p:nvSpPr>
          <p:spPr>
            <a:xfrm>
              <a:off x="7340875" y="1607675"/>
              <a:ext cx="14475" cy="11900"/>
            </a:xfrm>
            <a:custGeom>
              <a:avLst/>
              <a:gdLst/>
              <a:ahLst/>
              <a:cxnLst/>
              <a:rect l="l" t="t" r="r" b="b"/>
              <a:pathLst>
                <a:path w="579" h="476" extrusionOk="0">
                  <a:moveTo>
                    <a:pt x="579" y="1"/>
                  </a:moveTo>
                  <a:cubicBezTo>
                    <a:pt x="579" y="1"/>
                    <a:pt x="461" y="164"/>
                    <a:pt x="312" y="267"/>
                  </a:cubicBezTo>
                  <a:cubicBezTo>
                    <a:pt x="143" y="392"/>
                    <a:pt x="60" y="413"/>
                    <a:pt x="24" y="413"/>
                  </a:cubicBezTo>
                  <a:cubicBezTo>
                    <a:pt x="7" y="413"/>
                    <a:pt x="1" y="408"/>
                    <a:pt x="1" y="408"/>
                  </a:cubicBezTo>
                  <a:lnTo>
                    <a:pt x="1" y="408"/>
                  </a:lnTo>
                  <a:lnTo>
                    <a:pt x="10" y="475"/>
                  </a:lnTo>
                  <a:cubicBezTo>
                    <a:pt x="10" y="475"/>
                    <a:pt x="11" y="475"/>
                    <a:pt x="12" y="475"/>
                  </a:cubicBezTo>
                  <a:cubicBezTo>
                    <a:pt x="40" y="475"/>
                    <a:pt x="300" y="463"/>
                    <a:pt x="57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9" name="Google Shape;5309;p53">
              <a:extLst>
                <a:ext uri="{FF2B5EF4-FFF2-40B4-BE49-F238E27FC236}">
                  <a16:creationId xmlns:a16="http://schemas.microsoft.com/office/drawing/2014/main" id="{36DF79F1-7279-5A64-5E19-BC6BF08B1B1D}"/>
                </a:ext>
              </a:extLst>
            </p:cNvPr>
            <p:cNvSpPr/>
            <p:nvPr/>
          </p:nvSpPr>
          <p:spPr>
            <a:xfrm>
              <a:off x="7329425" y="1599375"/>
              <a:ext cx="11475" cy="9450"/>
            </a:xfrm>
            <a:custGeom>
              <a:avLst/>
              <a:gdLst/>
              <a:ahLst/>
              <a:cxnLst/>
              <a:rect l="l" t="t" r="r" b="b"/>
              <a:pathLst>
                <a:path w="459" h="378" extrusionOk="0">
                  <a:moveTo>
                    <a:pt x="0" y="0"/>
                  </a:moveTo>
                  <a:cubicBezTo>
                    <a:pt x="228" y="370"/>
                    <a:pt x="443" y="377"/>
                    <a:pt x="458" y="377"/>
                  </a:cubicBezTo>
                  <a:cubicBezTo>
                    <a:pt x="459" y="377"/>
                    <a:pt x="459" y="377"/>
                    <a:pt x="459" y="377"/>
                  </a:cubicBezTo>
                  <a:lnTo>
                    <a:pt x="459" y="325"/>
                  </a:lnTo>
                  <a:cubicBezTo>
                    <a:pt x="459" y="325"/>
                    <a:pt x="455" y="328"/>
                    <a:pt x="444" y="328"/>
                  </a:cubicBezTo>
                  <a:cubicBezTo>
                    <a:pt x="417" y="328"/>
                    <a:pt x="352" y="313"/>
                    <a:pt x="208" y="215"/>
                  </a:cubicBezTo>
                  <a:cubicBezTo>
                    <a:pt x="89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0" name="Google Shape;5310;p53">
              <a:extLst>
                <a:ext uri="{FF2B5EF4-FFF2-40B4-BE49-F238E27FC236}">
                  <a16:creationId xmlns:a16="http://schemas.microsoft.com/office/drawing/2014/main" id="{2DBCD4D8-10AF-1B5B-0202-1AC3D419DE37}"/>
                </a:ext>
              </a:extLst>
            </p:cNvPr>
            <p:cNvSpPr/>
            <p:nvPr/>
          </p:nvSpPr>
          <p:spPr>
            <a:xfrm>
              <a:off x="7378150" y="1188300"/>
              <a:ext cx="26700" cy="26700"/>
            </a:xfrm>
            <a:custGeom>
              <a:avLst/>
              <a:gdLst/>
              <a:ahLst/>
              <a:cxnLst/>
              <a:rect l="l" t="t" r="r" b="b"/>
              <a:pathLst>
                <a:path w="1068" h="1068" extrusionOk="0">
                  <a:moveTo>
                    <a:pt x="534" y="0"/>
                  </a:moveTo>
                  <a:cubicBezTo>
                    <a:pt x="237" y="0"/>
                    <a:pt x="0" y="237"/>
                    <a:pt x="0" y="534"/>
                  </a:cubicBezTo>
                  <a:cubicBezTo>
                    <a:pt x="0" y="831"/>
                    <a:pt x="237" y="1067"/>
                    <a:pt x="534" y="1067"/>
                  </a:cubicBezTo>
                  <a:cubicBezTo>
                    <a:pt x="831" y="1067"/>
                    <a:pt x="1067" y="831"/>
                    <a:pt x="1067" y="534"/>
                  </a:cubicBezTo>
                  <a:cubicBezTo>
                    <a:pt x="1067" y="237"/>
                    <a:pt x="831" y="0"/>
                    <a:pt x="534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1" name="Google Shape;5311;p53">
              <a:extLst>
                <a:ext uri="{FF2B5EF4-FFF2-40B4-BE49-F238E27FC236}">
                  <a16:creationId xmlns:a16="http://schemas.microsoft.com/office/drawing/2014/main" id="{3074E1D9-C6CB-D360-4D1F-42A5EAAA58FC}"/>
                </a:ext>
              </a:extLst>
            </p:cNvPr>
            <p:cNvSpPr/>
            <p:nvPr/>
          </p:nvSpPr>
          <p:spPr>
            <a:xfrm>
              <a:off x="7314200" y="1224800"/>
              <a:ext cx="9850" cy="9850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2" y="0"/>
                  </a:moveTo>
                  <a:cubicBezTo>
                    <a:pt x="90" y="0"/>
                    <a:pt x="1" y="89"/>
                    <a:pt x="1" y="192"/>
                  </a:cubicBezTo>
                  <a:cubicBezTo>
                    <a:pt x="1" y="304"/>
                    <a:pt x="90" y="393"/>
                    <a:pt x="202" y="393"/>
                  </a:cubicBezTo>
                  <a:cubicBezTo>
                    <a:pt x="312" y="393"/>
                    <a:pt x="394" y="304"/>
                    <a:pt x="394" y="192"/>
                  </a:cubicBezTo>
                  <a:cubicBezTo>
                    <a:pt x="394" y="89"/>
                    <a:pt x="312" y="0"/>
                    <a:pt x="202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2" name="Google Shape;5312;p53">
              <a:extLst>
                <a:ext uri="{FF2B5EF4-FFF2-40B4-BE49-F238E27FC236}">
                  <a16:creationId xmlns:a16="http://schemas.microsoft.com/office/drawing/2014/main" id="{F53C1119-BCB3-E030-2127-FE746F9317FD}"/>
                </a:ext>
              </a:extLst>
            </p:cNvPr>
            <p:cNvSpPr/>
            <p:nvPr/>
          </p:nvSpPr>
          <p:spPr>
            <a:xfrm>
              <a:off x="7569850" y="1372975"/>
              <a:ext cx="12650" cy="12600"/>
            </a:xfrm>
            <a:custGeom>
              <a:avLst/>
              <a:gdLst/>
              <a:ahLst/>
              <a:cxnLst/>
              <a:rect l="l" t="t" r="r" b="b"/>
              <a:pathLst>
                <a:path w="506" h="504" extrusionOk="0">
                  <a:moveTo>
                    <a:pt x="253" y="1"/>
                  </a:moveTo>
                  <a:cubicBezTo>
                    <a:pt x="113" y="1"/>
                    <a:pt x="0" y="113"/>
                    <a:pt x="0" y="253"/>
                  </a:cubicBezTo>
                  <a:cubicBezTo>
                    <a:pt x="0" y="394"/>
                    <a:pt x="113" y="504"/>
                    <a:pt x="253" y="504"/>
                  </a:cubicBezTo>
                  <a:cubicBezTo>
                    <a:pt x="394" y="504"/>
                    <a:pt x="506" y="394"/>
                    <a:pt x="506" y="253"/>
                  </a:cubicBezTo>
                  <a:cubicBezTo>
                    <a:pt x="506" y="113"/>
                    <a:pt x="394" y="1"/>
                    <a:pt x="253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3" name="Google Shape;5313;p53">
              <a:extLst>
                <a:ext uri="{FF2B5EF4-FFF2-40B4-BE49-F238E27FC236}">
                  <a16:creationId xmlns:a16="http://schemas.microsoft.com/office/drawing/2014/main" id="{0892F9E0-65E8-CEEB-E1C6-A7DCA1977EEE}"/>
                </a:ext>
              </a:extLst>
            </p:cNvPr>
            <p:cNvSpPr/>
            <p:nvPr/>
          </p:nvSpPr>
          <p:spPr>
            <a:xfrm>
              <a:off x="7452975" y="1412050"/>
              <a:ext cx="63550" cy="63775"/>
            </a:xfrm>
            <a:custGeom>
              <a:avLst/>
              <a:gdLst/>
              <a:ahLst/>
              <a:cxnLst/>
              <a:rect l="l" t="t" r="r" b="b"/>
              <a:pathLst>
                <a:path w="2542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1972" y="2551"/>
                    <a:pt x="2541" y="1980"/>
                    <a:pt x="2541" y="1276"/>
                  </a:cubicBezTo>
                  <a:cubicBezTo>
                    <a:pt x="2541" y="572"/>
                    <a:pt x="1972" y="1"/>
                    <a:pt x="1275" y="1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4" name="Google Shape;5314;p53">
              <a:extLst>
                <a:ext uri="{FF2B5EF4-FFF2-40B4-BE49-F238E27FC236}">
                  <a16:creationId xmlns:a16="http://schemas.microsoft.com/office/drawing/2014/main" id="{1E1023C5-AEC5-AED5-6BBE-8934D99DE0F7}"/>
                </a:ext>
              </a:extLst>
            </p:cNvPr>
            <p:cNvSpPr/>
            <p:nvPr/>
          </p:nvSpPr>
          <p:spPr>
            <a:xfrm>
              <a:off x="7452800" y="1412050"/>
              <a:ext cx="31900" cy="63775"/>
            </a:xfrm>
            <a:custGeom>
              <a:avLst/>
              <a:gdLst/>
              <a:ahLst/>
              <a:cxnLst/>
              <a:rect l="l" t="t" r="r" b="b"/>
              <a:pathLst>
                <a:path w="1276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571" y="2542"/>
                    <a:pt x="7" y="1980"/>
                    <a:pt x="7" y="1276"/>
                  </a:cubicBezTo>
                  <a:cubicBezTo>
                    <a:pt x="7" y="572"/>
                    <a:pt x="571" y="8"/>
                    <a:pt x="1275" y="1"/>
                  </a:cubicBezTo>
                  <a:close/>
                </a:path>
              </a:pathLst>
            </a:custGeom>
            <a:solidFill>
              <a:srgbClr val="99A0A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5" name="Google Shape;5315;p53">
              <a:extLst>
                <a:ext uri="{FF2B5EF4-FFF2-40B4-BE49-F238E27FC236}">
                  <a16:creationId xmlns:a16="http://schemas.microsoft.com/office/drawing/2014/main" id="{4254AC3B-16BB-513C-938F-B5386CC25181}"/>
                </a:ext>
              </a:extLst>
            </p:cNvPr>
            <p:cNvSpPr/>
            <p:nvPr/>
          </p:nvSpPr>
          <p:spPr>
            <a:xfrm>
              <a:off x="7452975" y="1412050"/>
              <a:ext cx="31725" cy="63775"/>
            </a:xfrm>
            <a:custGeom>
              <a:avLst/>
              <a:gdLst/>
              <a:ahLst/>
              <a:cxnLst/>
              <a:rect l="l" t="t" r="r" b="b"/>
              <a:pathLst>
                <a:path w="1269" h="2551" extrusionOk="0">
                  <a:moveTo>
                    <a:pt x="1268" y="1"/>
                  </a:moveTo>
                  <a:cubicBezTo>
                    <a:pt x="564" y="8"/>
                    <a:pt x="0" y="572"/>
                    <a:pt x="0" y="1276"/>
                  </a:cubicBezTo>
                  <a:cubicBezTo>
                    <a:pt x="0" y="1980"/>
                    <a:pt x="564" y="2542"/>
                    <a:pt x="1268" y="2551"/>
                  </a:cubicBezTo>
                  <a:cubicBezTo>
                    <a:pt x="1268" y="2542"/>
                    <a:pt x="578" y="1913"/>
                    <a:pt x="578" y="1276"/>
                  </a:cubicBezTo>
                  <a:cubicBezTo>
                    <a:pt x="578" y="639"/>
                    <a:pt x="1268" y="8"/>
                    <a:pt x="1268" y="1"/>
                  </a:cubicBezTo>
                  <a:close/>
                </a:path>
              </a:pathLst>
            </a:custGeom>
            <a:solidFill>
              <a:srgbClr val="FFE9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6" name="Google Shape;5316;p53">
              <a:extLst>
                <a:ext uri="{FF2B5EF4-FFF2-40B4-BE49-F238E27FC236}">
                  <a16:creationId xmlns:a16="http://schemas.microsoft.com/office/drawing/2014/main" id="{C7400F49-0A50-B694-3A7A-92F5BF93B23B}"/>
                </a:ext>
              </a:extLst>
            </p:cNvPr>
            <p:cNvSpPr/>
            <p:nvPr/>
          </p:nvSpPr>
          <p:spPr>
            <a:xfrm>
              <a:off x="7148250" y="1678625"/>
              <a:ext cx="644150" cy="39875"/>
            </a:xfrm>
            <a:custGeom>
              <a:avLst/>
              <a:gdLst/>
              <a:ahLst/>
              <a:cxnLst/>
              <a:rect l="l" t="t" r="r" b="b"/>
              <a:pathLst>
                <a:path w="25766" h="1595" extrusionOk="0">
                  <a:moveTo>
                    <a:pt x="1615" y="1"/>
                  </a:moveTo>
                  <a:cubicBezTo>
                    <a:pt x="0" y="1"/>
                    <a:pt x="141" y="1594"/>
                    <a:pt x="1615" y="1594"/>
                  </a:cubicBezTo>
                  <a:lnTo>
                    <a:pt x="25765" y="1594"/>
                  </a:lnTo>
                  <a:lnTo>
                    <a:pt x="25765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7" name="Google Shape;5317;p53">
              <a:extLst>
                <a:ext uri="{FF2B5EF4-FFF2-40B4-BE49-F238E27FC236}">
                  <a16:creationId xmlns:a16="http://schemas.microsoft.com/office/drawing/2014/main" id="{C21E8B54-3267-3E3F-9749-7CBB78CA0B1F}"/>
                </a:ext>
              </a:extLst>
            </p:cNvPr>
            <p:cNvSpPr/>
            <p:nvPr/>
          </p:nvSpPr>
          <p:spPr>
            <a:xfrm>
              <a:off x="7095475" y="1718475"/>
              <a:ext cx="696925" cy="39850"/>
            </a:xfrm>
            <a:custGeom>
              <a:avLst/>
              <a:gdLst/>
              <a:ahLst/>
              <a:cxnLst/>
              <a:rect l="l" t="t" r="r" b="b"/>
              <a:pathLst>
                <a:path w="27877" h="1594" extrusionOk="0">
                  <a:moveTo>
                    <a:pt x="1615" y="0"/>
                  </a:moveTo>
                  <a:cubicBezTo>
                    <a:pt x="45" y="0"/>
                    <a:pt x="0" y="1594"/>
                    <a:pt x="1615" y="1594"/>
                  </a:cubicBezTo>
                  <a:lnTo>
                    <a:pt x="27876" y="1594"/>
                  </a:lnTo>
                  <a:lnTo>
                    <a:pt x="2787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" name="Google Shape;5221;p53">
            <a:extLst>
              <a:ext uri="{FF2B5EF4-FFF2-40B4-BE49-F238E27FC236}">
                <a16:creationId xmlns:a16="http://schemas.microsoft.com/office/drawing/2014/main" id="{865D45CA-7437-931F-551A-2B5DDE5A982C}"/>
              </a:ext>
            </a:extLst>
          </p:cNvPr>
          <p:cNvGrpSpPr/>
          <p:nvPr/>
        </p:nvGrpSpPr>
        <p:grpSpPr>
          <a:xfrm>
            <a:off x="-1746062" y="-869871"/>
            <a:ext cx="2520565" cy="1945481"/>
            <a:chOff x="7095475" y="1127208"/>
            <a:chExt cx="817675" cy="631117"/>
          </a:xfrm>
        </p:grpSpPr>
        <p:sp>
          <p:nvSpPr>
            <p:cNvPr id="12" name="Google Shape;5222;p53">
              <a:extLst>
                <a:ext uri="{FF2B5EF4-FFF2-40B4-BE49-F238E27FC236}">
                  <a16:creationId xmlns:a16="http://schemas.microsoft.com/office/drawing/2014/main" id="{5597BE65-1668-0366-9CE3-F952C99E8E51}"/>
                </a:ext>
              </a:extLst>
            </p:cNvPr>
            <p:cNvSpPr/>
            <p:nvPr/>
          </p:nvSpPr>
          <p:spPr>
            <a:xfrm>
              <a:off x="7137300" y="1488925"/>
              <a:ext cx="169725" cy="73950"/>
            </a:xfrm>
            <a:custGeom>
              <a:avLst/>
              <a:gdLst/>
              <a:ahLst/>
              <a:cxnLst/>
              <a:rect l="l" t="t" r="r" b="b"/>
              <a:pathLst>
                <a:path w="6789" h="2958" extrusionOk="0">
                  <a:moveTo>
                    <a:pt x="3232" y="0"/>
                  </a:moveTo>
                  <a:cubicBezTo>
                    <a:pt x="2690" y="0"/>
                    <a:pt x="2239" y="391"/>
                    <a:pt x="2135" y="906"/>
                  </a:cubicBezTo>
                  <a:cubicBezTo>
                    <a:pt x="2097" y="899"/>
                    <a:pt x="2062" y="899"/>
                    <a:pt x="2017" y="890"/>
                  </a:cubicBezTo>
                  <a:cubicBezTo>
                    <a:pt x="1550" y="890"/>
                    <a:pt x="1157" y="1261"/>
                    <a:pt x="1135" y="1727"/>
                  </a:cubicBezTo>
                  <a:cubicBezTo>
                    <a:pt x="586" y="1868"/>
                    <a:pt x="150" y="2305"/>
                    <a:pt x="1" y="2855"/>
                  </a:cubicBezTo>
                  <a:lnTo>
                    <a:pt x="6789" y="2958"/>
                  </a:lnTo>
                  <a:cubicBezTo>
                    <a:pt x="6625" y="2268"/>
                    <a:pt x="6241" y="1743"/>
                    <a:pt x="5499" y="1734"/>
                  </a:cubicBezTo>
                  <a:lnTo>
                    <a:pt x="5432" y="1734"/>
                  </a:lnTo>
                  <a:cubicBezTo>
                    <a:pt x="5441" y="1210"/>
                    <a:pt x="5025" y="772"/>
                    <a:pt x="4498" y="765"/>
                  </a:cubicBezTo>
                  <a:cubicBezTo>
                    <a:pt x="4425" y="765"/>
                    <a:pt x="4358" y="772"/>
                    <a:pt x="4292" y="787"/>
                  </a:cubicBezTo>
                  <a:cubicBezTo>
                    <a:pt x="4159" y="335"/>
                    <a:pt x="3742" y="9"/>
                    <a:pt x="3246" y="1"/>
                  </a:cubicBezTo>
                  <a:cubicBezTo>
                    <a:pt x="3241" y="1"/>
                    <a:pt x="3237" y="0"/>
                    <a:pt x="3232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5223;p53">
              <a:extLst>
                <a:ext uri="{FF2B5EF4-FFF2-40B4-BE49-F238E27FC236}">
                  <a16:creationId xmlns:a16="http://schemas.microsoft.com/office/drawing/2014/main" id="{D7910C7C-4AC8-1608-49A6-8591F0FEEEE7}"/>
                </a:ext>
              </a:extLst>
            </p:cNvPr>
            <p:cNvSpPr/>
            <p:nvPr/>
          </p:nvSpPr>
          <p:spPr>
            <a:xfrm>
              <a:off x="7191050" y="1511725"/>
              <a:ext cx="18700" cy="37475"/>
            </a:xfrm>
            <a:custGeom>
              <a:avLst/>
              <a:gdLst/>
              <a:ahLst/>
              <a:cxnLst/>
              <a:rect l="l" t="t" r="r" b="b"/>
              <a:pathLst>
                <a:path w="748" h="1499" extrusionOk="0">
                  <a:moveTo>
                    <a:pt x="1" y="1"/>
                  </a:moveTo>
                  <a:cubicBezTo>
                    <a:pt x="1" y="1"/>
                    <a:pt x="593" y="193"/>
                    <a:pt x="563" y="750"/>
                  </a:cubicBezTo>
                  <a:cubicBezTo>
                    <a:pt x="534" y="1365"/>
                    <a:pt x="1" y="1498"/>
                    <a:pt x="1" y="1498"/>
                  </a:cubicBezTo>
                  <a:cubicBezTo>
                    <a:pt x="415" y="1498"/>
                    <a:pt x="748" y="1164"/>
                    <a:pt x="748" y="750"/>
                  </a:cubicBezTo>
                  <a:cubicBezTo>
                    <a:pt x="748" y="333"/>
                    <a:pt x="415" y="1"/>
                    <a:pt x="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5224;p53">
              <a:extLst>
                <a:ext uri="{FF2B5EF4-FFF2-40B4-BE49-F238E27FC236}">
                  <a16:creationId xmlns:a16="http://schemas.microsoft.com/office/drawing/2014/main" id="{462EFA5E-F4D4-A09D-92F0-E351D9380A63}"/>
                </a:ext>
              </a:extLst>
            </p:cNvPr>
            <p:cNvSpPr/>
            <p:nvPr/>
          </p:nvSpPr>
          <p:spPr>
            <a:xfrm>
              <a:off x="7286250" y="1534500"/>
              <a:ext cx="11300" cy="7100"/>
            </a:xfrm>
            <a:custGeom>
              <a:avLst/>
              <a:gdLst/>
              <a:ahLst/>
              <a:cxnLst/>
              <a:rect l="l" t="t" r="r" b="b"/>
              <a:pathLst>
                <a:path w="452" h="284" extrusionOk="0">
                  <a:moveTo>
                    <a:pt x="0" y="0"/>
                  </a:moveTo>
                  <a:lnTo>
                    <a:pt x="0" y="0"/>
                  </a:lnTo>
                  <a:cubicBezTo>
                    <a:pt x="164" y="61"/>
                    <a:pt x="297" y="157"/>
                    <a:pt x="416" y="283"/>
                  </a:cubicBezTo>
                  <a:lnTo>
                    <a:pt x="452" y="232"/>
                  </a:lnTo>
                  <a:cubicBezTo>
                    <a:pt x="319" y="120"/>
                    <a:pt x="171" y="38"/>
                    <a:pt x="0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5225;p53">
              <a:extLst>
                <a:ext uri="{FF2B5EF4-FFF2-40B4-BE49-F238E27FC236}">
                  <a16:creationId xmlns:a16="http://schemas.microsoft.com/office/drawing/2014/main" id="{131AA0CB-BDB1-700E-4660-9731DAEF2FCC}"/>
                </a:ext>
              </a:extLst>
            </p:cNvPr>
            <p:cNvSpPr/>
            <p:nvPr/>
          </p:nvSpPr>
          <p:spPr>
            <a:xfrm>
              <a:off x="7251975" y="1533600"/>
              <a:ext cx="44700" cy="27250"/>
            </a:xfrm>
            <a:custGeom>
              <a:avLst/>
              <a:gdLst/>
              <a:ahLst/>
              <a:cxnLst/>
              <a:rect l="l" t="t" r="r" b="b"/>
              <a:pathLst>
                <a:path w="1788" h="1090" extrusionOk="0">
                  <a:moveTo>
                    <a:pt x="1105" y="1"/>
                  </a:moveTo>
                  <a:cubicBezTo>
                    <a:pt x="505" y="1"/>
                    <a:pt x="16" y="481"/>
                    <a:pt x="0" y="1089"/>
                  </a:cubicBezTo>
                  <a:cubicBezTo>
                    <a:pt x="0" y="1089"/>
                    <a:pt x="283" y="214"/>
                    <a:pt x="1046" y="214"/>
                  </a:cubicBezTo>
                  <a:lnTo>
                    <a:pt x="1121" y="214"/>
                  </a:lnTo>
                  <a:cubicBezTo>
                    <a:pt x="1364" y="237"/>
                    <a:pt x="1565" y="312"/>
                    <a:pt x="1713" y="415"/>
                  </a:cubicBezTo>
                  <a:lnTo>
                    <a:pt x="1787" y="319"/>
                  </a:lnTo>
                  <a:cubicBezTo>
                    <a:pt x="1668" y="193"/>
                    <a:pt x="1535" y="97"/>
                    <a:pt x="1371" y="36"/>
                  </a:cubicBezTo>
                  <a:cubicBezTo>
                    <a:pt x="1298" y="15"/>
                    <a:pt x="1209" y="1"/>
                    <a:pt x="112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5226;p53">
              <a:extLst>
                <a:ext uri="{FF2B5EF4-FFF2-40B4-BE49-F238E27FC236}">
                  <a16:creationId xmlns:a16="http://schemas.microsoft.com/office/drawing/2014/main" id="{9677A889-5EBA-EA28-0B24-947635205A92}"/>
                </a:ext>
              </a:extLst>
            </p:cNvPr>
            <p:cNvSpPr/>
            <p:nvPr/>
          </p:nvSpPr>
          <p:spPr>
            <a:xfrm>
              <a:off x="7457400" y="1303300"/>
              <a:ext cx="214200" cy="93225"/>
            </a:xfrm>
            <a:custGeom>
              <a:avLst/>
              <a:gdLst/>
              <a:ahLst/>
              <a:cxnLst/>
              <a:rect l="l" t="t" r="r" b="b"/>
              <a:pathLst>
                <a:path w="8568" h="3729" extrusionOk="0">
                  <a:moveTo>
                    <a:pt x="4485" y="1"/>
                  </a:moveTo>
                  <a:cubicBezTo>
                    <a:pt x="4480" y="1"/>
                    <a:pt x="4475" y="1"/>
                    <a:pt x="4470" y="1"/>
                  </a:cubicBezTo>
                  <a:cubicBezTo>
                    <a:pt x="3848" y="17"/>
                    <a:pt x="3328" y="424"/>
                    <a:pt x="3150" y="995"/>
                  </a:cubicBezTo>
                  <a:cubicBezTo>
                    <a:pt x="3069" y="972"/>
                    <a:pt x="2987" y="965"/>
                    <a:pt x="2898" y="965"/>
                  </a:cubicBezTo>
                  <a:cubicBezTo>
                    <a:pt x="2231" y="979"/>
                    <a:pt x="1706" y="1521"/>
                    <a:pt x="1714" y="2188"/>
                  </a:cubicBezTo>
                  <a:lnTo>
                    <a:pt x="1632" y="2188"/>
                  </a:lnTo>
                  <a:cubicBezTo>
                    <a:pt x="698" y="2202"/>
                    <a:pt x="209" y="2862"/>
                    <a:pt x="1" y="3728"/>
                  </a:cubicBezTo>
                  <a:lnTo>
                    <a:pt x="8567" y="3602"/>
                  </a:lnTo>
                  <a:cubicBezTo>
                    <a:pt x="8382" y="2907"/>
                    <a:pt x="7826" y="2357"/>
                    <a:pt x="7130" y="2179"/>
                  </a:cubicBezTo>
                  <a:cubicBezTo>
                    <a:pt x="7108" y="1592"/>
                    <a:pt x="6626" y="1128"/>
                    <a:pt x="6033" y="1128"/>
                  </a:cubicBezTo>
                  <a:cubicBezTo>
                    <a:pt x="6028" y="1128"/>
                    <a:pt x="6024" y="1128"/>
                    <a:pt x="6019" y="1128"/>
                  </a:cubicBezTo>
                  <a:cubicBezTo>
                    <a:pt x="5975" y="1128"/>
                    <a:pt x="5921" y="1135"/>
                    <a:pt x="5877" y="1143"/>
                  </a:cubicBezTo>
                  <a:cubicBezTo>
                    <a:pt x="5744" y="488"/>
                    <a:pt x="5174" y="1"/>
                    <a:pt x="4485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5227;p53">
              <a:extLst>
                <a:ext uri="{FF2B5EF4-FFF2-40B4-BE49-F238E27FC236}">
                  <a16:creationId xmlns:a16="http://schemas.microsoft.com/office/drawing/2014/main" id="{79EC2A93-643B-8AE2-68EC-A7328A698CBF}"/>
                </a:ext>
              </a:extLst>
            </p:cNvPr>
            <p:cNvSpPr/>
            <p:nvPr/>
          </p:nvSpPr>
          <p:spPr>
            <a:xfrm>
              <a:off x="7580250" y="1332200"/>
              <a:ext cx="23550" cy="47125"/>
            </a:xfrm>
            <a:custGeom>
              <a:avLst/>
              <a:gdLst/>
              <a:ahLst/>
              <a:cxnLst/>
              <a:rect l="l" t="t" r="r" b="b"/>
              <a:pathLst>
                <a:path w="942" h="1885" extrusionOk="0">
                  <a:moveTo>
                    <a:pt x="941" y="1"/>
                  </a:moveTo>
                  <a:cubicBezTo>
                    <a:pt x="422" y="1"/>
                    <a:pt x="1" y="424"/>
                    <a:pt x="1" y="943"/>
                  </a:cubicBezTo>
                  <a:cubicBezTo>
                    <a:pt x="1" y="1461"/>
                    <a:pt x="422" y="1884"/>
                    <a:pt x="941" y="1884"/>
                  </a:cubicBezTo>
                  <a:cubicBezTo>
                    <a:pt x="941" y="1884"/>
                    <a:pt x="274" y="1713"/>
                    <a:pt x="230" y="943"/>
                  </a:cubicBezTo>
                  <a:cubicBezTo>
                    <a:pt x="193" y="246"/>
                    <a:pt x="941" y="1"/>
                    <a:pt x="94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5228;p53">
              <a:extLst>
                <a:ext uri="{FF2B5EF4-FFF2-40B4-BE49-F238E27FC236}">
                  <a16:creationId xmlns:a16="http://schemas.microsoft.com/office/drawing/2014/main" id="{90993A83-66C0-378D-B8DD-A900FB7CA6CE}"/>
                </a:ext>
              </a:extLst>
            </p:cNvPr>
            <p:cNvSpPr/>
            <p:nvPr/>
          </p:nvSpPr>
          <p:spPr>
            <a:xfrm>
              <a:off x="7457050" y="1360750"/>
              <a:ext cx="26525" cy="34300"/>
            </a:xfrm>
            <a:custGeom>
              <a:avLst/>
              <a:gdLst/>
              <a:ahLst/>
              <a:cxnLst/>
              <a:rect l="l" t="t" r="r" b="b"/>
              <a:pathLst>
                <a:path w="1061" h="1372" extrusionOk="0">
                  <a:moveTo>
                    <a:pt x="1061" y="1"/>
                  </a:moveTo>
                  <a:cubicBezTo>
                    <a:pt x="452" y="157"/>
                    <a:pt x="1" y="712"/>
                    <a:pt x="8" y="1372"/>
                  </a:cubicBezTo>
                  <a:cubicBezTo>
                    <a:pt x="8" y="1372"/>
                    <a:pt x="38" y="1245"/>
                    <a:pt x="120" y="1082"/>
                  </a:cubicBezTo>
                  <a:cubicBezTo>
                    <a:pt x="305" y="579"/>
                    <a:pt x="600" y="185"/>
                    <a:pt x="1061" y="1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5229;p53">
              <a:extLst>
                <a:ext uri="{FF2B5EF4-FFF2-40B4-BE49-F238E27FC236}">
                  <a16:creationId xmlns:a16="http://schemas.microsoft.com/office/drawing/2014/main" id="{A34FE093-0D89-7E4A-B389-F43724689AA8}"/>
                </a:ext>
              </a:extLst>
            </p:cNvPr>
            <p:cNvSpPr/>
            <p:nvPr/>
          </p:nvSpPr>
          <p:spPr>
            <a:xfrm>
              <a:off x="7460025" y="1359825"/>
              <a:ext cx="66900" cy="34125"/>
            </a:xfrm>
            <a:custGeom>
              <a:avLst/>
              <a:gdLst/>
              <a:ahLst/>
              <a:cxnLst/>
              <a:rect l="l" t="t" r="r" b="b"/>
              <a:pathLst>
                <a:path w="2676" h="1365" extrusionOk="0">
                  <a:moveTo>
                    <a:pt x="1260" y="0"/>
                  </a:moveTo>
                  <a:cubicBezTo>
                    <a:pt x="1148" y="0"/>
                    <a:pt x="1045" y="16"/>
                    <a:pt x="942" y="38"/>
                  </a:cubicBezTo>
                  <a:cubicBezTo>
                    <a:pt x="481" y="222"/>
                    <a:pt x="186" y="616"/>
                    <a:pt x="1" y="1119"/>
                  </a:cubicBezTo>
                  <a:cubicBezTo>
                    <a:pt x="163" y="800"/>
                    <a:pt x="518" y="319"/>
                    <a:pt x="1267" y="267"/>
                  </a:cubicBezTo>
                  <a:lnTo>
                    <a:pt x="1356" y="267"/>
                  </a:lnTo>
                  <a:cubicBezTo>
                    <a:pt x="2320" y="267"/>
                    <a:pt x="2676" y="1364"/>
                    <a:pt x="2676" y="1364"/>
                  </a:cubicBezTo>
                  <a:cubicBezTo>
                    <a:pt x="2660" y="608"/>
                    <a:pt x="2037" y="0"/>
                    <a:pt x="1281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5230;p53">
              <a:extLst>
                <a:ext uri="{FF2B5EF4-FFF2-40B4-BE49-F238E27FC236}">
                  <a16:creationId xmlns:a16="http://schemas.microsoft.com/office/drawing/2014/main" id="{F249B91A-549E-BDCE-443A-14464DEE415E}"/>
                </a:ext>
              </a:extLst>
            </p:cNvPr>
            <p:cNvSpPr/>
            <p:nvPr/>
          </p:nvSpPr>
          <p:spPr>
            <a:xfrm>
              <a:off x="7364800" y="1192375"/>
              <a:ext cx="181725" cy="65975"/>
            </a:xfrm>
            <a:custGeom>
              <a:avLst/>
              <a:gdLst/>
              <a:ahLst/>
              <a:cxnLst/>
              <a:rect l="l" t="t" r="r" b="b"/>
              <a:pathLst>
                <a:path w="7269" h="2639" extrusionOk="0">
                  <a:moveTo>
                    <a:pt x="3113" y="1"/>
                  </a:moveTo>
                  <a:cubicBezTo>
                    <a:pt x="2305" y="1"/>
                    <a:pt x="1615" y="497"/>
                    <a:pt x="1334" y="1192"/>
                  </a:cubicBezTo>
                  <a:cubicBezTo>
                    <a:pt x="1283" y="1185"/>
                    <a:pt x="1238" y="1185"/>
                    <a:pt x="1187" y="1185"/>
                  </a:cubicBezTo>
                  <a:cubicBezTo>
                    <a:pt x="534" y="1185"/>
                    <a:pt x="1" y="1712"/>
                    <a:pt x="1" y="2371"/>
                  </a:cubicBezTo>
                  <a:cubicBezTo>
                    <a:pt x="1" y="2460"/>
                    <a:pt x="15" y="2549"/>
                    <a:pt x="38" y="2638"/>
                  </a:cubicBezTo>
                  <a:lnTo>
                    <a:pt x="5876" y="2638"/>
                  </a:lnTo>
                  <a:cubicBezTo>
                    <a:pt x="5891" y="2624"/>
                    <a:pt x="5907" y="2615"/>
                    <a:pt x="5921" y="2601"/>
                  </a:cubicBezTo>
                  <a:cubicBezTo>
                    <a:pt x="5921" y="2615"/>
                    <a:pt x="5928" y="2624"/>
                    <a:pt x="5935" y="2638"/>
                  </a:cubicBezTo>
                  <a:lnTo>
                    <a:pt x="7217" y="2638"/>
                  </a:lnTo>
                  <a:cubicBezTo>
                    <a:pt x="7248" y="2556"/>
                    <a:pt x="7269" y="2467"/>
                    <a:pt x="7269" y="2371"/>
                  </a:cubicBezTo>
                  <a:cubicBezTo>
                    <a:pt x="7269" y="1986"/>
                    <a:pt x="6958" y="1674"/>
                    <a:pt x="6573" y="1674"/>
                  </a:cubicBezTo>
                  <a:cubicBezTo>
                    <a:pt x="6440" y="1674"/>
                    <a:pt x="6314" y="1712"/>
                    <a:pt x="6202" y="1779"/>
                  </a:cubicBezTo>
                  <a:cubicBezTo>
                    <a:pt x="6136" y="1335"/>
                    <a:pt x="5750" y="993"/>
                    <a:pt x="5291" y="993"/>
                  </a:cubicBezTo>
                  <a:cubicBezTo>
                    <a:pt x="5128" y="993"/>
                    <a:pt x="4980" y="1038"/>
                    <a:pt x="4854" y="1103"/>
                  </a:cubicBezTo>
                  <a:cubicBezTo>
                    <a:pt x="4543" y="453"/>
                    <a:pt x="3883" y="1"/>
                    <a:pt x="3113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5231;p53">
              <a:extLst>
                <a:ext uri="{FF2B5EF4-FFF2-40B4-BE49-F238E27FC236}">
                  <a16:creationId xmlns:a16="http://schemas.microsoft.com/office/drawing/2014/main" id="{5BC91652-1EE0-2002-9BDA-5E7A0F3FF499}"/>
                </a:ext>
              </a:extLst>
            </p:cNvPr>
            <p:cNvSpPr/>
            <p:nvPr/>
          </p:nvSpPr>
          <p:spPr>
            <a:xfrm>
              <a:off x="7506267" y="1127208"/>
              <a:ext cx="100825" cy="36700"/>
            </a:xfrm>
            <a:custGeom>
              <a:avLst/>
              <a:gdLst/>
              <a:ahLst/>
              <a:cxnLst/>
              <a:rect l="l" t="t" r="r" b="b"/>
              <a:pathLst>
                <a:path w="4033" h="1468" extrusionOk="0">
                  <a:moveTo>
                    <a:pt x="2306" y="0"/>
                  </a:moveTo>
                  <a:cubicBezTo>
                    <a:pt x="1875" y="0"/>
                    <a:pt x="1512" y="253"/>
                    <a:pt x="1342" y="616"/>
                  </a:cubicBezTo>
                  <a:cubicBezTo>
                    <a:pt x="1267" y="578"/>
                    <a:pt x="1187" y="557"/>
                    <a:pt x="1098" y="557"/>
                  </a:cubicBezTo>
                  <a:cubicBezTo>
                    <a:pt x="838" y="557"/>
                    <a:pt x="623" y="742"/>
                    <a:pt x="586" y="986"/>
                  </a:cubicBezTo>
                  <a:cubicBezTo>
                    <a:pt x="527" y="950"/>
                    <a:pt x="460" y="927"/>
                    <a:pt x="387" y="927"/>
                  </a:cubicBezTo>
                  <a:cubicBezTo>
                    <a:pt x="171" y="927"/>
                    <a:pt x="1" y="1105"/>
                    <a:pt x="1" y="1320"/>
                  </a:cubicBezTo>
                  <a:cubicBezTo>
                    <a:pt x="1" y="1372"/>
                    <a:pt x="8" y="1416"/>
                    <a:pt x="31" y="1468"/>
                  </a:cubicBezTo>
                  <a:lnTo>
                    <a:pt x="742" y="1468"/>
                  </a:lnTo>
                  <a:cubicBezTo>
                    <a:pt x="742" y="1460"/>
                    <a:pt x="742" y="1453"/>
                    <a:pt x="749" y="1446"/>
                  </a:cubicBezTo>
                  <a:cubicBezTo>
                    <a:pt x="757" y="1453"/>
                    <a:pt x="764" y="1460"/>
                    <a:pt x="771" y="1468"/>
                  </a:cubicBezTo>
                  <a:lnTo>
                    <a:pt x="4009" y="1468"/>
                  </a:lnTo>
                  <a:cubicBezTo>
                    <a:pt x="4023" y="1416"/>
                    <a:pt x="4032" y="1364"/>
                    <a:pt x="4032" y="1320"/>
                  </a:cubicBezTo>
                  <a:cubicBezTo>
                    <a:pt x="4032" y="957"/>
                    <a:pt x="3735" y="660"/>
                    <a:pt x="3373" y="660"/>
                  </a:cubicBezTo>
                  <a:cubicBezTo>
                    <a:pt x="3342" y="660"/>
                    <a:pt x="3321" y="660"/>
                    <a:pt x="3291" y="667"/>
                  </a:cubicBezTo>
                  <a:cubicBezTo>
                    <a:pt x="3134" y="274"/>
                    <a:pt x="2750" y="0"/>
                    <a:pt x="230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5232;p53">
              <a:extLst>
                <a:ext uri="{FF2B5EF4-FFF2-40B4-BE49-F238E27FC236}">
                  <a16:creationId xmlns:a16="http://schemas.microsoft.com/office/drawing/2014/main" id="{CABFDC65-BBAF-74EA-26D4-277B083A5077}"/>
                </a:ext>
              </a:extLst>
            </p:cNvPr>
            <p:cNvSpPr/>
            <p:nvPr/>
          </p:nvSpPr>
          <p:spPr>
            <a:xfrm>
              <a:off x="7210300" y="1305925"/>
              <a:ext cx="123225" cy="60400"/>
            </a:xfrm>
            <a:custGeom>
              <a:avLst/>
              <a:gdLst/>
              <a:ahLst/>
              <a:cxnLst/>
              <a:rect l="l" t="t" r="r" b="b"/>
              <a:pathLst>
                <a:path w="4929" h="2416" extrusionOk="0">
                  <a:moveTo>
                    <a:pt x="2165" y="1"/>
                  </a:moveTo>
                  <a:cubicBezTo>
                    <a:pt x="1290" y="1"/>
                    <a:pt x="579" y="682"/>
                    <a:pt x="527" y="1541"/>
                  </a:cubicBezTo>
                  <a:cubicBezTo>
                    <a:pt x="223" y="1601"/>
                    <a:pt x="1" y="1868"/>
                    <a:pt x="1" y="2186"/>
                  </a:cubicBezTo>
                  <a:cubicBezTo>
                    <a:pt x="1" y="2261"/>
                    <a:pt x="15" y="2341"/>
                    <a:pt x="45" y="2416"/>
                  </a:cubicBezTo>
                  <a:lnTo>
                    <a:pt x="4922" y="2416"/>
                  </a:lnTo>
                  <a:cubicBezTo>
                    <a:pt x="4922" y="2394"/>
                    <a:pt x="4929" y="2371"/>
                    <a:pt x="4929" y="2357"/>
                  </a:cubicBezTo>
                  <a:cubicBezTo>
                    <a:pt x="4929" y="1889"/>
                    <a:pt x="4550" y="1512"/>
                    <a:pt x="4084" y="1512"/>
                  </a:cubicBezTo>
                  <a:cubicBezTo>
                    <a:pt x="3988" y="1512"/>
                    <a:pt x="3890" y="1534"/>
                    <a:pt x="3810" y="1564"/>
                  </a:cubicBezTo>
                  <a:cubicBezTo>
                    <a:pt x="3766" y="696"/>
                    <a:pt x="3045" y="1"/>
                    <a:pt x="216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5233;p53">
              <a:extLst>
                <a:ext uri="{FF2B5EF4-FFF2-40B4-BE49-F238E27FC236}">
                  <a16:creationId xmlns:a16="http://schemas.microsoft.com/office/drawing/2014/main" id="{AAFF8532-6683-D96C-7FCB-747043CE4AC1}"/>
                </a:ext>
              </a:extLst>
            </p:cNvPr>
            <p:cNvSpPr/>
            <p:nvPr/>
          </p:nvSpPr>
          <p:spPr>
            <a:xfrm>
              <a:off x="7267000" y="1159750"/>
              <a:ext cx="166575" cy="81575"/>
            </a:xfrm>
            <a:custGeom>
              <a:avLst/>
              <a:gdLst/>
              <a:ahLst/>
              <a:cxnLst/>
              <a:rect l="l" t="t" r="r" b="b"/>
              <a:pathLst>
                <a:path w="6663" h="3263" extrusionOk="0">
                  <a:moveTo>
                    <a:pt x="3742" y="1"/>
                  </a:moveTo>
                  <a:cubicBezTo>
                    <a:pt x="2549" y="1"/>
                    <a:pt x="1578" y="934"/>
                    <a:pt x="1519" y="2113"/>
                  </a:cubicBezTo>
                  <a:cubicBezTo>
                    <a:pt x="1400" y="2069"/>
                    <a:pt x="1275" y="2046"/>
                    <a:pt x="1142" y="2046"/>
                  </a:cubicBezTo>
                  <a:cubicBezTo>
                    <a:pt x="511" y="2046"/>
                    <a:pt x="0" y="2551"/>
                    <a:pt x="0" y="3180"/>
                  </a:cubicBezTo>
                  <a:cubicBezTo>
                    <a:pt x="0" y="3209"/>
                    <a:pt x="0" y="3232"/>
                    <a:pt x="7" y="3262"/>
                  </a:cubicBezTo>
                  <a:lnTo>
                    <a:pt x="6610" y="3262"/>
                  </a:lnTo>
                  <a:cubicBezTo>
                    <a:pt x="6646" y="3164"/>
                    <a:pt x="6662" y="3061"/>
                    <a:pt x="6662" y="2951"/>
                  </a:cubicBezTo>
                  <a:cubicBezTo>
                    <a:pt x="6662" y="2520"/>
                    <a:pt x="6365" y="2165"/>
                    <a:pt x="5958" y="2076"/>
                  </a:cubicBezTo>
                  <a:cubicBezTo>
                    <a:pt x="5883" y="920"/>
                    <a:pt x="4921" y="1"/>
                    <a:pt x="3742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5234;p53">
              <a:extLst>
                <a:ext uri="{FF2B5EF4-FFF2-40B4-BE49-F238E27FC236}">
                  <a16:creationId xmlns:a16="http://schemas.microsoft.com/office/drawing/2014/main" id="{13AF813B-A732-C7B6-D056-765322B0565D}"/>
                </a:ext>
              </a:extLst>
            </p:cNvPr>
            <p:cNvSpPr/>
            <p:nvPr/>
          </p:nvSpPr>
          <p:spPr>
            <a:xfrm>
              <a:off x="7225125" y="1603800"/>
              <a:ext cx="228450" cy="75025"/>
            </a:xfrm>
            <a:custGeom>
              <a:avLst/>
              <a:gdLst/>
              <a:ahLst/>
              <a:cxnLst/>
              <a:rect l="l" t="t" r="r" b="b"/>
              <a:pathLst>
                <a:path w="9138" h="3001" extrusionOk="0">
                  <a:moveTo>
                    <a:pt x="1104" y="1"/>
                  </a:moveTo>
                  <a:lnTo>
                    <a:pt x="0" y="1571"/>
                  </a:lnTo>
                  <a:cubicBezTo>
                    <a:pt x="75" y="1550"/>
                    <a:pt x="149" y="1534"/>
                    <a:pt x="229" y="1534"/>
                  </a:cubicBezTo>
                  <a:cubicBezTo>
                    <a:pt x="608" y="1534"/>
                    <a:pt x="912" y="1808"/>
                    <a:pt x="971" y="2172"/>
                  </a:cubicBezTo>
                  <a:cubicBezTo>
                    <a:pt x="1015" y="2149"/>
                    <a:pt x="1067" y="2135"/>
                    <a:pt x="1128" y="2135"/>
                  </a:cubicBezTo>
                  <a:cubicBezTo>
                    <a:pt x="1163" y="2135"/>
                    <a:pt x="1200" y="2142"/>
                    <a:pt x="1238" y="2156"/>
                  </a:cubicBezTo>
                  <a:cubicBezTo>
                    <a:pt x="1341" y="2030"/>
                    <a:pt x="1490" y="1957"/>
                    <a:pt x="1661" y="1957"/>
                  </a:cubicBezTo>
                  <a:cubicBezTo>
                    <a:pt x="1956" y="1957"/>
                    <a:pt x="2195" y="2201"/>
                    <a:pt x="2195" y="2498"/>
                  </a:cubicBezTo>
                  <a:lnTo>
                    <a:pt x="2195" y="2535"/>
                  </a:lnTo>
                  <a:cubicBezTo>
                    <a:pt x="2246" y="2498"/>
                    <a:pt x="2305" y="2467"/>
                    <a:pt x="2372" y="2467"/>
                  </a:cubicBezTo>
                  <a:cubicBezTo>
                    <a:pt x="2527" y="2467"/>
                    <a:pt x="2653" y="2594"/>
                    <a:pt x="2653" y="2750"/>
                  </a:cubicBezTo>
                  <a:cubicBezTo>
                    <a:pt x="2653" y="2860"/>
                    <a:pt x="2595" y="2957"/>
                    <a:pt x="2497" y="3001"/>
                  </a:cubicBezTo>
                  <a:lnTo>
                    <a:pt x="5188" y="3001"/>
                  </a:lnTo>
                  <a:cubicBezTo>
                    <a:pt x="5136" y="2973"/>
                    <a:pt x="5106" y="2912"/>
                    <a:pt x="5106" y="2853"/>
                  </a:cubicBezTo>
                  <a:cubicBezTo>
                    <a:pt x="5106" y="2750"/>
                    <a:pt x="5188" y="2668"/>
                    <a:pt x="5291" y="2668"/>
                  </a:cubicBezTo>
                  <a:cubicBezTo>
                    <a:pt x="5335" y="2668"/>
                    <a:pt x="5380" y="2683"/>
                    <a:pt x="5410" y="2706"/>
                  </a:cubicBezTo>
                  <a:lnTo>
                    <a:pt x="5410" y="2683"/>
                  </a:lnTo>
                  <a:cubicBezTo>
                    <a:pt x="5410" y="2483"/>
                    <a:pt x="5573" y="2327"/>
                    <a:pt x="5765" y="2327"/>
                  </a:cubicBezTo>
                  <a:cubicBezTo>
                    <a:pt x="5876" y="2327"/>
                    <a:pt x="5981" y="2379"/>
                    <a:pt x="6039" y="2453"/>
                  </a:cubicBezTo>
                  <a:cubicBezTo>
                    <a:pt x="6070" y="2446"/>
                    <a:pt x="6091" y="2446"/>
                    <a:pt x="6121" y="2446"/>
                  </a:cubicBezTo>
                  <a:cubicBezTo>
                    <a:pt x="6159" y="2446"/>
                    <a:pt x="6187" y="2453"/>
                    <a:pt x="6224" y="2467"/>
                  </a:cubicBezTo>
                  <a:cubicBezTo>
                    <a:pt x="6240" y="2357"/>
                    <a:pt x="6292" y="2261"/>
                    <a:pt x="6365" y="2186"/>
                  </a:cubicBezTo>
                  <a:lnTo>
                    <a:pt x="6388" y="734"/>
                  </a:lnTo>
                  <a:cubicBezTo>
                    <a:pt x="6402" y="734"/>
                    <a:pt x="6409" y="1505"/>
                    <a:pt x="6418" y="2142"/>
                  </a:cubicBezTo>
                  <a:cubicBezTo>
                    <a:pt x="6498" y="2083"/>
                    <a:pt x="6603" y="2046"/>
                    <a:pt x="6713" y="2046"/>
                  </a:cubicBezTo>
                  <a:cubicBezTo>
                    <a:pt x="6774" y="2046"/>
                    <a:pt x="6833" y="2060"/>
                    <a:pt x="6884" y="2074"/>
                  </a:cubicBezTo>
                  <a:cubicBezTo>
                    <a:pt x="7076" y="2135"/>
                    <a:pt x="7218" y="2306"/>
                    <a:pt x="7218" y="2512"/>
                  </a:cubicBezTo>
                  <a:lnTo>
                    <a:pt x="7218" y="2549"/>
                  </a:lnTo>
                  <a:cubicBezTo>
                    <a:pt x="7233" y="2542"/>
                    <a:pt x="7247" y="2542"/>
                    <a:pt x="7270" y="2542"/>
                  </a:cubicBezTo>
                  <a:lnTo>
                    <a:pt x="7284" y="2542"/>
                  </a:lnTo>
                  <a:cubicBezTo>
                    <a:pt x="7441" y="2386"/>
                    <a:pt x="7626" y="2245"/>
                    <a:pt x="7832" y="2112"/>
                  </a:cubicBezTo>
                  <a:cubicBezTo>
                    <a:pt x="7841" y="1934"/>
                    <a:pt x="7900" y="1756"/>
                    <a:pt x="8010" y="1601"/>
                  </a:cubicBezTo>
                  <a:lnTo>
                    <a:pt x="9137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5235;p53">
              <a:extLst>
                <a:ext uri="{FF2B5EF4-FFF2-40B4-BE49-F238E27FC236}">
                  <a16:creationId xmlns:a16="http://schemas.microsoft.com/office/drawing/2014/main" id="{321C2D34-3F7B-843B-5465-FB309E275602}"/>
                </a:ext>
              </a:extLst>
            </p:cNvPr>
            <p:cNvSpPr/>
            <p:nvPr/>
          </p:nvSpPr>
          <p:spPr>
            <a:xfrm>
              <a:off x="7415350" y="1386900"/>
              <a:ext cx="497800" cy="293450"/>
            </a:xfrm>
            <a:custGeom>
              <a:avLst/>
              <a:gdLst/>
              <a:ahLst/>
              <a:cxnLst/>
              <a:rect l="l" t="t" r="r" b="b"/>
              <a:pathLst>
                <a:path w="19912" h="11738" extrusionOk="0">
                  <a:moveTo>
                    <a:pt x="8752" y="0"/>
                  </a:moveTo>
                  <a:cubicBezTo>
                    <a:pt x="8604" y="0"/>
                    <a:pt x="8471" y="59"/>
                    <a:pt x="8368" y="155"/>
                  </a:cubicBezTo>
                  <a:cubicBezTo>
                    <a:pt x="8270" y="251"/>
                    <a:pt x="8211" y="391"/>
                    <a:pt x="8211" y="541"/>
                  </a:cubicBezTo>
                  <a:lnTo>
                    <a:pt x="8211" y="770"/>
                  </a:lnTo>
                  <a:lnTo>
                    <a:pt x="8211" y="3512"/>
                  </a:lnTo>
                  <a:lnTo>
                    <a:pt x="8211" y="3742"/>
                  </a:lnTo>
                  <a:cubicBezTo>
                    <a:pt x="8211" y="3890"/>
                    <a:pt x="8153" y="4023"/>
                    <a:pt x="8048" y="4126"/>
                  </a:cubicBezTo>
                  <a:cubicBezTo>
                    <a:pt x="7952" y="4224"/>
                    <a:pt x="7818" y="4283"/>
                    <a:pt x="7664" y="4283"/>
                  </a:cubicBezTo>
                  <a:cubicBezTo>
                    <a:pt x="7367" y="4283"/>
                    <a:pt x="7123" y="4037"/>
                    <a:pt x="7123" y="3742"/>
                  </a:cubicBezTo>
                  <a:lnTo>
                    <a:pt x="7123" y="770"/>
                  </a:lnTo>
                  <a:lnTo>
                    <a:pt x="7123" y="756"/>
                  </a:lnTo>
                  <a:lnTo>
                    <a:pt x="401" y="10277"/>
                  </a:lnTo>
                  <a:cubicBezTo>
                    <a:pt x="1" y="10848"/>
                    <a:pt x="328" y="11693"/>
                    <a:pt x="979" y="11737"/>
                  </a:cubicBezTo>
                  <a:lnTo>
                    <a:pt x="18933" y="11737"/>
                  </a:lnTo>
                  <a:cubicBezTo>
                    <a:pt x="19586" y="11693"/>
                    <a:pt x="19911" y="10839"/>
                    <a:pt x="19511" y="10277"/>
                  </a:cubicBezTo>
                  <a:lnTo>
                    <a:pt x="12561" y="496"/>
                  </a:lnTo>
                  <a:lnTo>
                    <a:pt x="12561" y="3393"/>
                  </a:lnTo>
                  <a:cubicBezTo>
                    <a:pt x="12561" y="3541"/>
                    <a:pt x="12494" y="3674"/>
                    <a:pt x="12398" y="3770"/>
                  </a:cubicBezTo>
                  <a:cubicBezTo>
                    <a:pt x="12302" y="3875"/>
                    <a:pt x="12161" y="3934"/>
                    <a:pt x="12014" y="3934"/>
                  </a:cubicBezTo>
                  <a:cubicBezTo>
                    <a:pt x="11717" y="3934"/>
                    <a:pt x="11471" y="3690"/>
                    <a:pt x="11471" y="3393"/>
                  </a:cubicBezTo>
                  <a:lnTo>
                    <a:pt x="11471" y="1592"/>
                  </a:lnTo>
                  <a:cubicBezTo>
                    <a:pt x="11471" y="1290"/>
                    <a:pt x="11227" y="1044"/>
                    <a:pt x="10923" y="1044"/>
                  </a:cubicBezTo>
                  <a:cubicBezTo>
                    <a:pt x="10776" y="1044"/>
                    <a:pt x="10642" y="1112"/>
                    <a:pt x="10537" y="1208"/>
                  </a:cubicBezTo>
                  <a:cubicBezTo>
                    <a:pt x="10441" y="1304"/>
                    <a:pt x="10383" y="1444"/>
                    <a:pt x="10383" y="1592"/>
                  </a:cubicBezTo>
                  <a:lnTo>
                    <a:pt x="10383" y="2734"/>
                  </a:lnTo>
                  <a:cubicBezTo>
                    <a:pt x="10383" y="2890"/>
                    <a:pt x="10324" y="3023"/>
                    <a:pt x="10219" y="3119"/>
                  </a:cubicBezTo>
                  <a:cubicBezTo>
                    <a:pt x="10123" y="3223"/>
                    <a:pt x="9990" y="3281"/>
                    <a:pt x="9835" y="3281"/>
                  </a:cubicBezTo>
                  <a:cubicBezTo>
                    <a:pt x="9538" y="3281"/>
                    <a:pt x="9293" y="3038"/>
                    <a:pt x="9293" y="2734"/>
                  </a:cubicBezTo>
                  <a:lnTo>
                    <a:pt x="9302" y="2734"/>
                  </a:lnTo>
                  <a:lnTo>
                    <a:pt x="9302" y="541"/>
                  </a:lnTo>
                  <a:cubicBezTo>
                    <a:pt x="9302" y="244"/>
                    <a:pt x="9056" y="0"/>
                    <a:pt x="875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5236;p53">
              <a:extLst>
                <a:ext uri="{FF2B5EF4-FFF2-40B4-BE49-F238E27FC236}">
                  <a16:creationId xmlns:a16="http://schemas.microsoft.com/office/drawing/2014/main" id="{240B537C-D656-8BD9-8FEA-76B40E819D07}"/>
                </a:ext>
              </a:extLst>
            </p:cNvPr>
            <p:cNvSpPr/>
            <p:nvPr/>
          </p:nvSpPr>
          <p:spPr>
            <a:xfrm>
              <a:off x="7593425" y="1342600"/>
              <a:ext cx="135975" cy="151375"/>
            </a:xfrm>
            <a:custGeom>
              <a:avLst/>
              <a:gdLst/>
              <a:ahLst/>
              <a:cxnLst/>
              <a:rect l="l" t="t" r="r" b="b"/>
              <a:pathLst>
                <a:path w="5439" h="6055" extrusionOk="0">
                  <a:moveTo>
                    <a:pt x="2815" y="1"/>
                  </a:moveTo>
                  <a:cubicBezTo>
                    <a:pt x="2163" y="1"/>
                    <a:pt x="1547" y="334"/>
                    <a:pt x="1147" y="897"/>
                  </a:cubicBezTo>
                  <a:lnTo>
                    <a:pt x="0" y="2528"/>
                  </a:lnTo>
                  <a:lnTo>
                    <a:pt x="0" y="2542"/>
                  </a:lnTo>
                  <a:lnTo>
                    <a:pt x="0" y="5514"/>
                  </a:lnTo>
                  <a:cubicBezTo>
                    <a:pt x="0" y="5809"/>
                    <a:pt x="244" y="6055"/>
                    <a:pt x="541" y="6055"/>
                  </a:cubicBezTo>
                  <a:cubicBezTo>
                    <a:pt x="695" y="6055"/>
                    <a:pt x="829" y="5996"/>
                    <a:pt x="925" y="5898"/>
                  </a:cubicBezTo>
                  <a:cubicBezTo>
                    <a:pt x="1030" y="5795"/>
                    <a:pt x="1088" y="5662"/>
                    <a:pt x="1088" y="5514"/>
                  </a:cubicBezTo>
                  <a:lnTo>
                    <a:pt x="1088" y="5284"/>
                  </a:lnTo>
                  <a:lnTo>
                    <a:pt x="1088" y="2542"/>
                  </a:lnTo>
                  <a:lnTo>
                    <a:pt x="1088" y="2313"/>
                  </a:lnTo>
                  <a:cubicBezTo>
                    <a:pt x="1088" y="2163"/>
                    <a:pt x="1147" y="2023"/>
                    <a:pt x="1245" y="1927"/>
                  </a:cubicBezTo>
                  <a:cubicBezTo>
                    <a:pt x="1348" y="1831"/>
                    <a:pt x="1481" y="1772"/>
                    <a:pt x="1629" y="1772"/>
                  </a:cubicBezTo>
                  <a:cubicBezTo>
                    <a:pt x="1933" y="1772"/>
                    <a:pt x="2179" y="2016"/>
                    <a:pt x="2179" y="2313"/>
                  </a:cubicBezTo>
                  <a:lnTo>
                    <a:pt x="2179" y="4506"/>
                  </a:lnTo>
                  <a:lnTo>
                    <a:pt x="2170" y="4506"/>
                  </a:lnTo>
                  <a:cubicBezTo>
                    <a:pt x="2170" y="4810"/>
                    <a:pt x="2415" y="5053"/>
                    <a:pt x="2712" y="5053"/>
                  </a:cubicBezTo>
                  <a:cubicBezTo>
                    <a:pt x="2867" y="5053"/>
                    <a:pt x="3000" y="4995"/>
                    <a:pt x="3096" y="4891"/>
                  </a:cubicBezTo>
                  <a:cubicBezTo>
                    <a:pt x="3201" y="4795"/>
                    <a:pt x="3260" y="4662"/>
                    <a:pt x="3260" y="4506"/>
                  </a:cubicBezTo>
                  <a:lnTo>
                    <a:pt x="3260" y="3364"/>
                  </a:lnTo>
                  <a:cubicBezTo>
                    <a:pt x="3260" y="3216"/>
                    <a:pt x="3318" y="3076"/>
                    <a:pt x="3414" y="2980"/>
                  </a:cubicBezTo>
                  <a:cubicBezTo>
                    <a:pt x="3519" y="2884"/>
                    <a:pt x="3653" y="2816"/>
                    <a:pt x="3800" y="2816"/>
                  </a:cubicBezTo>
                  <a:cubicBezTo>
                    <a:pt x="4104" y="2816"/>
                    <a:pt x="4348" y="3062"/>
                    <a:pt x="4348" y="3364"/>
                  </a:cubicBezTo>
                  <a:lnTo>
                    <a:pt x="4348" y="5165"/>
                  </a:lnTo>
                  <a:cubicBezTo>
                    <a:pt x="4348" y="5462"/>
                    <a:pt x="4594" y="5706"/>
                    <a:pt x="4891" y="5706"/>
                  </a:cubicBezTo>
                  <a:cubicBezTo>
                    <a:pt x="5038" y="5706"/>
                    <a:pt x="5179" y="5647"/>
                    <a:pt x="5275" y="5542"/>
                  </a:cubicBezTo>
                  <a:cubicBezTo>
                    <a:pt x="5371" y="5446"/>
                    <a:pt x="5438" y="5313"/>
                    <a:pt x="5438" y="5165"/>
                  </a:cubicBezTo>
                  <a:lnTo>
                    <a:pt x="5438" y="2268"/>
                  </a:lnTo>
                  <a:lnTo>
                    <a:pt x="4437" y="867"/>
                  </a:lnTo>
                  <a:cubicBezTo>
                    <a:pt x="4053" y="326"/>
                    <a:pt x="3452" y="1"/>
                    <a:pt x="281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5237;p53">
              <a:extLst>
                <a:ext uri="{FF2B5EF4-FFF2-40B4-BE49-F238E27FC236}">
                  <a16:creationId xmlns:a16="http://schemas.microsoft.com/office/drawing/2014/main" id="{D11D2F14-7FA8-8D9E-8B66-194983918FD9}"/>
                </a:ext>
              </a:extLst>
            </p:cNvPr>
            <p:cNvSpPr/>
            <p:nvPr/>
          </p:nvSpPr>
          <p:spPr>
            <a:xfrm>
              <a:off x="7437400" y="1679925"/>
              <a:ext cx="3375" cy="425"/>
            </a:xfrm>
            <a:custGeom>
              <a:avLst/>
              <a:gdLst/>
              <a:ahLst/>
              <a:cxnLst/>
              <a:rect l="l" t="t" r="r" b="b"/>
              <a:pathLst>
                <a:path w="135" h="17" extrusionOk="0">
                  <a:moveTo>
                    <a:pt x="1" y="0"/>
                  </a:moveTo>
                  <a:lnTo>
                    <a:pt x="1" y="0"/>
                  </a:lnTo>
                  <a:cubicBezTo>
                    <a:pt x="31" y="8"/>
                    <a:pt x="61" y="16"/>
                    <a:pt x="97" y="16"/>
                  </a:cubicBezTo>
                  <a:lnTo>
                    <a:pt x="134" y="16"/>
                  </a:lnTo>
                  <a:lnTo>
                    <a:pt x="97" y="16"/>
                  </a:lnTo>
                  <a:cubicBezTo>
                    <a:pt x="61" y="16"/>
                    <a:pt x="31" y="8"/>
                    <a:pt x="1" y="0"/>
                  </a:cubicBezTo>
                  <a:close/>
                </a:path>
              </a:pathLst>
            </a:custGeom>
            <a:solidFill>
              <a:srgbClr val="67717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5238;p53">
              <a:extLst>
                <a:ext uri="{FF2B5EF4-FFF2-40B4-BE49-F238E27FC236}">
                  <a16:creationId xmlns:a16="http://schemas.microsoft.com/office/drawing/2014/main" id="{813E0BB8-D447-A981-FCFA-F60E95DAB46F}"/>
                </a:ext>
              </a:extLst>
            </p:cNvPr>
            <p:cNvSpPr/>
            <p:nvPr/>
          </p:nvSpPr>
          <p:spPr>
            <a:xfrm>
              <a:off x="7420900" y="1576550"/>
              <a:ext cx="371275" cy="103800"/>
            </a:xfrm>
            <a:custGeom>
              <a:avLst/>
              <a:gdLst/>
              <a:ahLst/>
              <a:cxnLst/>
              <a:rect l="l" t="t" r="r" b="b"/>
              <a:pathLst>
                <a:path w="14851" h="4152" extrusionOk="0">
                  <a:moveTo>
                    <a:pt x="661" y="4135"/>
                  </a:moveTo>
                  <a:cubicBezTo>
                    <a:pt x="691" y="4143"/>
                    <a:pt x="721" y="4151"/>
                    <a:pt x="757" y="4151"/>
                  </a:cubicBezTo>
                  <a:lnTo>
                    <a:pt x="6101" y="4151"/>
                  </a:lnTo>
                  <a:cubicBezTo>
                    <a:pt x="6101" y="4151"/>
                    <a:pt x="6101" y="4143"/>
                    <a:pt x="6108" y="4135"/>
                  </a:cubicBezTo>
                  <a:close/>
                  <a:moveTo>
                    <a:pt x="2076" y="1"/>
                  </a:moveTo>
                  <a:lnTo>
                    <a:pt x="179" y="2691"/>
                  </a:lnTo>
                  <a:cubicBezTo>
                    <a:pt x="69" y="2846"/>
                    <a:pt x="10" y="3024"/>
                    <a:pt x="1" y="3202"/>
                  </a:cubicBezTo>
                  <a:cubicBezTo>
                    <a:pt x="862" y="2661"/>
                    <a:pt x="2121" y="2313"/>
                    <a:pt x="3522" y="2313"/>
                  </a:cubicBezTo>
                  <a:cubicBezTo>
                    <a:pt x="4811" y="2313"/>
                    <a:pt x="5982" y="2602"/>
                    <a:pt x="6826" y="3068"/>
                  </a:cubicBezTo>
                  <a:cubicBezTo>
                    <a:pt x="7664" y="2231"/>
                    <a:pt x="8982" y="1683"/>
                    <a:pt x="10472" y="1683"/>
                  </a:cubicBezTo>
                  <a:cubicBezTo>
                    <a:pt x="12524" y="1683"/>
                    <a:pt x="14265" y="2720"/>
                    <a:pt x="14843" y="4151"/>
                  </a:cubicBezTo>
                  <a:lnTo>
                    <a:pt x="14850" y="1"/>
                  </a:lnTo>
                  <a:close/>
                </a:path>
              </a:pathLst>
            </a:custGeom>
            <a:solidFill>
              <a:srgbClr val="DFDF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5239;p53">
              <a:extLst>
                <a:ext uri="{FF2B5EF4-FFF2-40B4-BE49-F238E27FC236}">
                  <a16:creationId xmlns:a16="http://schemas.microsoft.com/office/drawing/2014/main" id="{8F56C3F0-7DC7-B26C-79E1-4692F1E257CB}"/>
                </a:ext>
              </a:extLst>
            </p:cNvPr>
            <p:cNvSpPr/>
            <p:nvPr/>
          </p:nvSpPr>
          <p:spPr>
            <a:xfrm>
              <a:off x="7697125" y="1146225"/>
              <a:ext cx="96725" cy="77300"/>
            </a:xfrm>
            <a:custGeom>
              <a:avLst/>
              <a:gdLst/>
              <a:ahLst/>
              <a:cxnLst/>
              <a:rect l="l" t="t" r="r" b="b"/>
              <a:pathLst>
                <a:path w="3869" h="3092" extrusionOk="0">
                  <a:moveTo>
                    <a:pt x="3647" y="1"/>
                  </a:moveTo>
                  <a:cubicBezTo>
                    <a:pt x="2706" y="1"/>
                    <a:pt x="1898" y="579"/>
                    <a:pt x="1557" y="1393"/>
                  </a:cubicBezTo>
                  <a:cubicBezTo>
                    <a:pt x="1505" y="1386"/>
                    <a:pt x="1445" y="1386"/>
                    <a:pt x="1393" y="1386"/>
                  </a:cubicBezTo>
                  <a:cubicBezTo>
                    <a:pt x="623" y="1386"/>
                    <a:pt x="1" y="2009"/>
                    <a:pt x="1" y="2772"/>
                  </a:cubicBezTo>
                  <a:cubicBezTo>
                    <a:pt x="1" y="2884"/>
                    <a:pt x="15" y="2987"/>
                    <a:pt x="38" y="3092"/>
                  </a:cubicBezTo>
                  <a:lnTo>
                    <a:pt x="3869" y="3092"/>
                  </a:lnTo>
                  <a:lnTo>
                    <a:pt x="3869" y="2217"/>
                  </a:lnTo>
                  <a:lnTo>
                    <a:pt x="3869" y="8"/>
                  </a:lnTo>
                  <a:cubicBezTo>
                    <a:pt x="3794" y="1"/>
                    <a:pt x="3721" y="1"/>
                    <a:pt x="3647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5240;p53">
              <a:extLst>
                <a:ext uri="{FF2B5EF4-FFF2-40B4-BE49-F238E27FC236}">
                  <a16:creationId xmlns:a16="http://schemas.microsoft.com/office/drawing/2014/main" id="{18F9C007-480A-A469-1797-E498CCC235D6}"/>
                </a:ext>
              </a:extLst>
            </p:cNvPr>
            <p:cNvSpPr/>
            <p:nvPr/>
          </p:nvSpPr>
          <p:spPr>
            <a:xfrm>
              <a:off x="7397400" y="1634350"/>
              <a:ext cx="223250" cy="45600"/>
            </a:xfrm>
            <a:custGeom>
              <a:avLst/>
              <a:gdLst/>
              <a:ahLst/>
              <a:cxnLst/>
              <a:rect l="l" t="t" r="r" b="b"/>
              <a:pathLst>
                <a:path w="8930" h="1824" extrusionOk="0">
                  <a:moveTo>
                    <a:pt x="4462" y="1"/>
                  </a:moveTo>
                  <a:cubicBezTo>
                    <a:pt x="2364" y="1"/>
                    <a:pt x="585" y="772"/>
                    <a:pt x="0" y="1823"/>
                  </a:cubicBezTo>
                  <a:lnTo>
                    <a:pt x="8929" y="1823"/>
                  </a:lnTo>
                  <a:cubicBezTo>
                    <a:pt x="8344" y="772"/>
                    <a:pt x="6566" y="1"/>
                    <a:pt x="4462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5241;p53">
              <a:extLst>
                <a:ext uri="{FF2B5EF4-FFF2-40B4-BE49-F238E27FC236}">
                  <a16:creationId xmlns:a16="http://schemas.microsoft.com/office/drawing/2014/main" id="{FE72E359-9352-4ED1-FEFB-82F4F9321C8F}"/>
                </a:ext>
              </a:extLst>
            </p:cNvPr>
            <p:cNvSpPr/>
            <p:nvPr/>
          </p:nvSpPr>
          <p:spPr>
            <a:xfrm>
              <a:off x="7573175" y="1618625"/>
              <a:ext cx="218825" cy="62075"/>
            </a:xfrm>
            <a:custGeom>
              <a:avLst/>
              <a:gdLst/>
              <a:ahLst/>
              <a:cxnLst/>
              <a:rect l="l" t="t" r="r" b="b"/>
              <a:pathLst>
                <a:path w="8753" h="2483" extrusionOk="0">
                  <a:moveTo>
                    <a:pt x="4381" y="0"/>
                  </a:moveTo>
                  <a:cubicBezTo>
                    <a:pt x="2322" y="0"/>
                    <a:pt x="572" y="1046"/>
                    <a:pt x="1" y="2483"/>
                  </a:cubicBezTo>
                  <a:lnTo>
                    <a:pt x="8752" y="2483"/>
                  </a:lnTo>
                  <a:cubicBezTo>
                    <a:pt x="8181" y="1046"/>
                    <a:pt x="6440" y="0"/>
                    <a:pt x="438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5242;p53">
              <a:extLst>
                <a:ext uri="{FF2B5EF4-FFF2-40B4-BE49-F238E27FC236}">
                  <a16:creationId xmlns:a16="http://schemas.microsoft.com/office/drawing/2014/main" id="{614E087B-C2C0-23D0-4D78-81F235987B03}"/>
                </a:ext>
              </a:extLst>
            </p:cNvPr>
            <p:cNvSpPr/>
            <p:nvPr/>
          </p:nvSpPr>
          <p:spPr>
            <a:xfrm>
              <a:off x="7615425" y="1633075"/>
              <a:ext cx="37450" cy="20775"/>
            </a:xfrm>
            <a:custGeom>
              <a:avLst/>
              <a:gdLst/>
              <a:ahLst/>
              <a:cxnLst/>
              <a:rect l="l" t="t" r="r" b="b"/>
              <a:pathLst>
                <a:path w="1498" h="831" extrusionOk="0">
                  <a:moveTo>
                    <a:pt x="978" y="0"/>
                  </a:moveTo>
                  <a:cubicBezTo>
                    <a:pt x="882" y="0"/>
                    <a:pt x="772" y="14"/>
                    <a:pt x="660" y="52"/>
                  </a:cubicBezTo>
                  <a:cubicBezTo>
                    <a:pt x="246" y="171"/>
                    <a:pt x="0" y="475"/>
                    <a:pt x="89" y="660"/>
                  </a:cubicBezTo>
                  <a:cubicBezTo>
                    <a:pt x="143" y="779"/>
                    <a:pt x="290" y="831"/>
                    <a:pt x="475" y="831"/>
                  </a:cubicBezTo>
                  <a:cubicBezTo>
                    <a:pt x="594" y="831"/>
                    <a:pt x="735" y="807"/>
                    <a:pt x="868" y="770"/>
                  </a:cubicBezTo>
                  <a:cubicBezTo>
                    <a:pt x="1224" y="667"/>
                    <a:pt x="1498" y="459"/>
                    <a:pt x="1467" y="260"/>
                  </a:cubicBezTo>
                  <a:cubicBezTo>
                    <a:pt x="1446" y="112"/>
                    <a:pt x="1245" y="0"/>
                    <a:pt x="978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5243;p53">
              <a:extLst>
                <a:ext uri="{FF2B5EF4-FFF2-40B4-BE49-F238E27FC236}">
                  <a16:creationId xmlns:a16="http://schemas.microsoft.com/office/drawing/2014/main" id="{27B172BA-ABF3-9642-2AE3-1E71E5702835}"/>
                </a:ext>
              </a:extLst>
            </p:cNvPr>
            <p:cNvSpPr/>
            <p:nvPr/>
          </p:nvSpPr>
          <p:spPr>
            <a:xfrm>
              <a:off x="7658600" y="1636225"/>
              <a:ext cx="19500" cy="10025"/>
            </a:xfrm>
            <a:custGeom>
              <a:avLst/>
              <a:gdLst/>
              <a:ahLst/>
              <a:cxnLst/>
              <a:rect l="l" t="t" r="r" b="b"/>
              <a:pathLst>
                <a:path w="780" h="401" extrusionOk="0">
                  <a:moveTo>
                    <a:pt x="393" y="0"/>
                  </a:moveTo>
                  <a:cubicBezTo>
                    <a:pt x="171" y="0"/>
                    <a:pt x="0" y="103"/>
                    <a:pt x="16" y="215"/>
                  </a:cubicBezTo>
                  <a:cubicBezTo>
                    <a:pt x="23" y="326"/>
                    <a:pt x="185" y="400"/>
                    <a:pt x="386" y="400"/>
                  </a:cubicBezTo>
                  <a:lnTo>
                    <a:pt x="393" y="400"/>
                  </a:lnTo>
                  <a:cubicBezTo>
                    <a:pt x="594" y="400"/>
                    <a:pt x="763" y="319"/>
                    <a:pt x="772" y="215"/>
                  </a:cubicBezTo>
                  <a:cubicBezTo>
                    <a:pt x="779" y="103"/>
                    <a:pt x="608" y="0"/>
                    <a:pt x="393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5244;p53">
              <a:extLst>
                <a:ext uri="{FF2B5EF4-FFF2-40B4-BE49-F238E27FC236}">
                  <a16:creationId xmlns:a16="http://schemas.microsoft.com/office/drawing/2014/main" id="{3F1B2C79-6A9B-DB0F-FDF1-591BBBAD5349}"/>
                </a:ext>
              </a:extLst>
            </p:cNvPr>
            <p:cNvSpPr/>
            <p:nvPr/>
          </p:nvSpPr>
          <p:spPr>
            <a:xfrm>
              <a:off x="7362400" y="1596950"/>
              <a:ext cx="43375" cy="54675"/>
            </a:xfrm>
            <a:custGeom>
              <a:avLst/>
              <a:gdLst/>
              <a:ahLst/>
              <a:cxnLst/>
              <a:rect l="l" t="t" r="r" b="b"/>
              <a:pathLst>
                <a:path w="1735" h="2187" extrusionOk="0">
                  <a:moveTo>
                    <a:pt x="867" y="1"/>
                  </a:moveTo>
                  <a:cubicBezTo>
                    <a:pt x="490" y="1"/>
                    <a:pt x="178" y="303"/>
                    <a:pt x="178" y="682"/>
                  </a:cubicBezTo>
                  <a:cubicBezTo>
                    <a:pt x="178" y="712"/>
                    <a:pt x="186" y="741"/>
                    <a:pt x="193" y="778"/>
                  </a:cubicBezTo>
                  <a:cubicBezTo>
                    <a:pt x="66" y="926"/>
                    <a:pt x="1" y="1112"/>
                    <a:pt x="1" y="1319"/>
                  </a:cubicBezTo>
                  <a:cubicBezTo>
                    <a:pt x="1" y="1801"/>
                    <a:pt x="385" y="2187"/>
                    <a:pt x="867" y="2187"/>
                  </a:cubicBezTo>
                  <a:cubicBezTo>
                    <a:pt x="1342" y="2187"/>
                    <a:pt x="1735" y="1801"/>
                    <a:pt x="1735" y="1319"/>
                  </a:cubicBezTo>
                  <a:cubicBezTo>
                    <a:pt x="1735" y="1112"/>
                    <a:pt x="1660" y="926"/>
                    <a:pt x="1541" y="778"/>
                  </a:cubicBezTo>
                  <a:cubicBezTo>
                    <a:pt x="1541" y="741"/>
                    <a:pt x="1550" y="712"/>
                    <a:pt x="1550" y="682"/>
                  </a:cubicBezTo>
                  <a:cubicBezTo>
                    <a:pt x="1550" y="303"/>
                    <a:pt x="1245" y="1"/>
                    <a:pt x="86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5245;p53">
              <a:extLst>
                <a:ext uri="{FF2B5EF4-FFF2-40B4-BE49-F238E27FC236}">
                  <a16:creationId xmlns:a16="http://schemas.microsoft.com/office/drawing/2014/main" id="{A2ABAAC7-879E-397B-F0A4-043DA87D5597}"/>
                </a:ext>
              </a:extLst>
            </p:cNvPr>
            <p:cNvSpPr/>
            <p:nvPr/>
          </p:nvSpPr>
          <p:spPr>
            <a:xfrm>
              <a:off x="7383875" y="1622125"/>
              <a:ext cx="1900" cy="57100"/>
            </a:xfrm>
            <a:custGeom>
              <a:avLst/>
              <a:gdLst/>
              <a:ahLst/>
              <a:cxnLst/>
              <a:rect l="l" t="t" r="r" b="b"/>
              <a:pathLst>
                <a:path w="76" h="2284" extrusionOk="0">
                  <a:moveTo>
                    <a:pt x="38" y="1"/>
                  </a:moveTo>
                  <a:lnTo>
                    <a:pt x="1" y="2247"/>
                  </a:lnTo>
                  <a:cubicBezTo>
                    <a:pt x="1" y="2268"/>
                    <a:pt x="15" y="2284"/>
                    <a:pt x="38" y="2284"/>
                  </a:cubicBezTo>
                  <a:cubicBezTo>
                    <a:pt x="59" y="2284"/>
                    <a:pt x="75" y="2268"/>
                    <a:pt x="75" y="2247"/>
                  </a:cubicBezTo>
                  <a:cubicBezTo>
                    <a:pt x="75" y="2247"/>
                    <a:pt x="59" y="1"/>
                    <a:pt x="38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5246;p53">
              <a:extLst>
                <a:ext uri="{FF2B5EF4-FFF2-40B4-BE49-F238E27FC236}">
                  <a16:creationId xmlns:a16="http://schemas.microsoft.com/office/drawing/2014/main" id="{14EC0225-333D-77B1-2C89-AFCDEC1A7817}"/>
                </a:ext>
              </a:extLst>
            </p:cNvPr>
            <p:cNvSpPr/>
            <p:nvPr/>
          </p:nvSpPr>
          <p:spPr>
            <a:xfrm>
              <a:off x="7373875" y="1635650"/>
              <a:ext cx="10950" cy="8900"/>
            </a:xfrm>
            <a:custGeom>
              <a:avLst/>
              <a:gdLst/>
              <a:ahLst/>
              <a:cxnLst/>
              <a:rect l="l" t="t" r="r" b="b"/>
              <a:pathLst>
                <a:path w="438" h="356" extrusionOk="0">
                  <a:moveTo>
                    <a:pt x="0" y="0"/>
                  </a:moveTo>
                  <a:cubicBezTo>
                    <a:pt x="205" y="342"/>
                    <a:pt x="404" y="356"/>
                    <a:pt x="434" y="356"/>
                  </a:cubicBezTo>
                  <a:cubicBezTo>
                    <a:pt x="437" y="356"/>
                    <a:pt x="438" y="356"/>
                    <a:pt x="438" y="356"/>
                  </a:cubicBezTo>
                  <a:lnTo>
                    <a:pt x="438" y="311"/>
                  </a:lnTo>
                  <a:cubicBezTo>
                    <a:pt x="438" y="311"/>
                    <a:pt x="434" y="314"/>
                    <a:pt x="422" y="314"/>
                  </a:cubicBezTo>
                  <a:cubicBezTo>
                    <a:pt x="396" y="314"/>
                    <a:pt x="334" y="300"/>
                    <a:pt x="201" y="208"/>
                  </a:cubicBezTo>
                  <a:cubicBezTo>
                    <a:pt x="82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5247;p53">
              <a:extLst>
                <a:ext uri="{FF2B5EF4-FFF2-40B4-BE49-F238E27FC236}">
                  <a16:creationId xmlns:a16="http://schemas.microsoft.com/office/drawing/2014/main" id="{B797B642-3A0A-7BFA-870E-3FCD0D389AEE}"/>
                </a:ext>
              </a:extLst>
            </p:cNvPr>
            <p:cNvSpPr/>
            <p:nvPr/>
          </p:nvSpPr>
          <p:spPr>
            <a:xfrm>
              <a:off x="7384800" y="1633250"/>
              <a:ext cx="9450" cy="7625"/>
            </a:xfrm>
            <a:custGeom>
              <a:avLst/>
              <a:gdLst/>
              <a:ahLst/>
              <a:cxnLst/>
              <a:rect l="l" t="t" r="r" b="b"/>
              <a:pathLst>
                <a:path w="378" h="305" extrusionOk="0">
                  <a:moveTo>
                    <a:pt x="378" y="0"/>
                  </a:moveTo>
                  <a:cubicBezTo>
                    <a:pt x="378" y="0"/>
                    <a:pt x="305" y="105"/>
                    <a:pt x="209" y="171"/>
                  </a:cubicBezTo>
                  <a:cubicBezTo>
                    <a:pt x="96" y="250"/>
                    <a:pt x="41" y="263"/>
                    <a:pt x="17" y="263"/>
                  </a:cubicBezTo>
                  <a:cubicBezTo>
                    <a:pt x="5" y="263"/>
                    <a:pt x="1" y="260"/>
                    <a:pt x="1" y="260"/>
                  </a:cubicBezTo>
                  <a:lnTo>
                    <a:pt x="1" y="260"/>
                  </a:lnTo>
                  <a:lnTo>
                    <a:pt x="8" y="304"/>
                  </a:lnTo>
                  <a:cubicBezTo>
                    <a:pt x="8" y="304"/>
                    <a:pt x="8" y="304"/>
                    <a:pt x="9" y="304"/>
                  </a:cubicBezTo>
                  <a:cubicBezTo>
                    <a:pt x="24" y="304"/>
                    <a:pt x="194" y="298"/>
                    <a:pt x="378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5248;p53">
              <a:extLst>
                <a:ext uri="{FF2B5EF4-FFF2-40B4-BE49-F238E27FC236}">
                  <a16:creationId xmlns:a16="http://schemas.microsoft.com/office/drawing/2014/main" id="{E12EF177-6A7C-3B8B-FF66-4934392E032C}"/>
                </a:ext>
              </a:extLst>
            </p:cNvPr>
            <p:cNvSpPr/>
            <p:nvPr/>
          </p:nvSpPr>
          <p:spPr>
            <a:xfrm>
              <a:off x="7377200" y="1627850"/>
              <a:ext cx="7625" cy="6175"/>
            </a:xfrm>
            <a:custGeom>
              <a:avLst/>
              <a:gdLst/>
              <a:ahLst/>
              <a:cxnLst/>
              <a:rect l="l" t="t" r="r" b="b"/>
              <a:pathLst>
                <a:path w="305" h="247" extrusionOk="0">
                  <a:moveTo>
                    <a:pt x="1" y="1"/>
                  </a:moveTo>
                  <a:cubicBezTo>
                    <a:pt x="149" y="240"/>
                    <a:pt x="289" y="246"/>
                    <a:pt x="304" y="246"/>
                  </a:cubicBezTo>
                  <a:cubicBezTo>
                    <a:pt x="304" y="246"/>
                    <a:pt x="305" y="246"/>
                    <a:pt x="305" y="246"/>
                  </a:cubicBezTo>
                  <a:lnTo>
                    <a:pt x="305" y="209"/>
                  </a:lnTo>
                  <a:cubicBezTo>
                    <a:pt x="305" y="209"/>
                    <a:pt x="302" y="211"/>
                    <a:pt x="293" y="211"/>
                  </a:cubicBezTo>
                  <a:cubicBezTo>
                    <a:pt x="275" y="211"/>
                    <a:pt x="232" y="201"/>
                    <a:pt x="141" y="134"/>
                  </a:cubicBezTo>
                  <a:cubicBezTo>
                    <a:pt x="60" y="8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5249;p53">
              <a:extLst>
                <a:ext uri="{FF2B5EF4-FFF2-40B4-BE49-F238E27FC236}">
                  <a16:creationId xmlns:a16="http://schemas.microsoft.com/office/drawing/2014/main" id="{ACF2531F-B6FA-64D2-CD23-148CCC94968D}"/>
                </a:ext>
              </a:extLst>
            </p:cNvPr>
            <p:cNvSpPr/>
            <p:nvPr/>
          </p:nvSpPr>
          <p:spPr>
            <a:xfrm>
              <a:off x="7673450" y="1502475"/>
              <a:ext cx="158950" cy="154700"/>
            </a:xfrm>
            <a:custGeom>
              <a:avLst/>
              <a:gdLst/>
              <a:ahLst/>
              <a:cxnLst/>
              <a:rect l="l" t="t" r="r" b="b"/>
              <a:pathLst>
                <a:path w="6358" h="6188" extrusionOk="0">
                  <a:moveTo>
                    <a:pt x="3090" y="1"/>
                  </a:moveTo>
                  <a:cubicBezTo>
                    <a:pt x="2978" y="1"/>
                    <a:pt x="2867" y="30"/>
                    <a:pt x="2771" y="90"/>
                  </a:cubicBezTo>
                  <a:cubicBezTo>
                    <a:pt x="2067" y="534"/>
                    <a:pt x="0" y="6188"/>
                    <a:pt x="3089" y="6188"/>
                  </a:cubicBezTo>
                  <a:cubicBezTo>
                    <a:pt x="6358" y="6188"/>
                    <a:pt x="4112" y="534"/>
                    <a:pt x="3415" y="90"/>
                  </a:cubicBezTo>
                  <a:cubicBezTo>
                    <a:pt x="3315" y="30"/>
                    <a:pt x="3202" y="1"/>
                    <a:pt x="3090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5250;p53">
              <a:extLst>
                <a:ext uri="{FF2B5EF4-FFF2-40B4-BE49-F238E27FC236}">
                  <a16:creationId xmlns:a16="http://schemas.microsoft.com/office/drawing/2014/main" id="{EF20CF5A-E85D-24D2-65B9-701660BA9A2C}"/>
                </a:ext>
              </a:extLst>
            </p:cNvPr>
            <p:cNvSpPr/>
            <p:nvPr/>
          </p:nvSpPr>
          <p:spPr>
            <a:xfrm>
              <a:off x="7673450" y="1504650"/>
              <a:ext cx="77250" cy="152525"/>
            </a:xfrm>
            <a:custGeom>
              <a:avLst/>
              <a:gdLst/>
              <a:ahLst/>
              <a:cxnLst/>
              <a:rect l="l" t="t" r="r" b="b"/>
              <a:pathLst>
                <a:path w="3090" h="6101" extrusionOk="0">
                  <a:moveTo>
                    <a:pt x="2776" y="1"/>
                  </a:moveTo>
                  <a:cubicBezTo>
                    <a:pt x="2775" y="1"/>
                    <a:pt x="2773" y="2"/>
                    <a:pt x="2771" y="3"/>
                  </a:cubicBezTo>
                  <a:cubicBezTo>
                    <a:pt x="2067" y="447"/>
                    <a:pt x="0" y="6101"/>
                    <a:pt x="3089" y="6101"/>
                  </a:cubicBezTo>
                  <a:cubicBezTo>
                    <a:pt x="3089" y="6101"/>
                    <a:pt x="2312" y="6033"/>
                    <a:pt x="2268" y="3826"/>
                  </a:cubicBezTo>
                  <a:cubicBezTo>
                    <a:pt x="2215" y="1638"/>
                    <a:pt x="2848" y="1"/>
                    <a:pt x="2776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5251;p53">
              <a:extLst>
                <a:ext uri="{FF2B5EF4-FFF2-40B4-BE49-F238E27FC236}">
                  <a16:creationId xmlns:a16="http://schemas.microsoft.com/office/drawing/2014/main" id="{276488E4-1BB9-2671-45C1-1114A5C2B578}"/>
                </a:ext>
              </a:extLst>
            </p:cNvPr>
            <p:cNvSpPr/>
            <p:nvPr/>
          </p:nvSpPr>
          <p:spPr>
            <a:xfrm>
              <a:off x="7748275" y="1572725"/>
              <a:ext cx="11125" cy="107050"/>
            </a:xfrm>
            <a:custGeom>
              <a:avLst/>
              <a:gdLst/>
              <a:ahLst/>
              <a:cxnLst/>
              <a:rect l="l" t="t" r="r" b="b"/>
              <a:pathLst>
                <a:path w="445" h="4282" extrusionOk="0">
                  <a:moveTo>
                    <a:pt x="224" y="1"/>
                  </a:moveTo>
                  <a:cubicBezTo>
                    <a:pt x="223" y="1"/>
                    <a:pt x="222" y="6"/>
                    <a:pt x="222" y="20"/>
                  </a:cubicBezTo>
                  <a:lnTo>
                    <a:pt x="0" y="4281"/>
                  </a:lnTo>
                  <a:lnTo>
                    <a:pt x="445" y="4281"/>
                  </a:lnTo>
                  <a:cubicBezTo>
                    <a:pt x="430" y="2458"/>
                    <a:pt x="267" y="20"/>
                    <a:pt x="229" y="20"/>
                  </a:cubicBezTo>
                  <a:cubicBezTo>
                    <a:pt x="229" y="20"/>
                    <a:pt x="226" y="1"/>
                    <a:pt x="22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5252;p53">
              <a:extLst>
                <a:ext uri="{FF2B5EF4-FFF2-40B4-BE49-F238E27FC236}">
                  <a16:creationId xmlns:a16="http://schemas.microsoft.com/office/drawing/2014/main" id="{F95F1466-E9B9-F573-D72F-F980A65D3CD1}"/>
                </a:ext>
              </a:extLst>
            </p:cNvPr>
            <p:cNvSpPr/>
            <p:nvPr/>
          </p:nvSpPr>
          <p:spPr>
            <a:xfrm>
              <a:off x="7723625" y="1610650"/>
              <a:ext cx="30400" cy="24475"/>
            </a:xfrm>
            <a:custGeom>
              <a:avLst/>
              <a:gdLst/>
              <a:ahLst/>
              <a:cxnLst/>
              <a:rect l="l" t="t" r="r" b="b"/>
              <a:pathLst>
                <a:path w="1216" h="979" extrusionOk="0">
                  <a:moveTo>
                    <a:pt x="1" y="1"/>
                  </a:moveTo>
                  <a:cubicBezTo>
                    <a:pt x="595" y="952"/>
                    <a:pt x="1136" y="979"/>
                    <a:pt x="1196" y="979"/>
                  </a:cubicBezTo>
                  <a:cubicBezTo>
                    <a:pt x="1199" y="979"/>
                    <a:pt x="1201" y="979"/>
                    <a:pt x="1201" y="979"/>
                  </a:cubicBezTo>
                  <a:lnTo>
                    <a:pt x="1215" y="838"/>
                  </a:lnTo>
                  <a:lnTo>
                    <a:pt x="1215" y="838"/>
                  </a:lnTo>
                  <a:cubicBezTo>
                    <a:pt x="1215" y="838"/>
                    <a:pt x="1203" y="847"/>
                    <a:pt x="1168" y="847"/>
                  </a:cubicBezTo>
                  <a:cubicBezTo>
                    <a:pt x="1093" y="847"/>
                    <a:pt x="919" y="806"/>
                    <a:pt x="556" y="548"/>
                  </a:cubicBezTo>
                  <a:cubicBezTo>
                    <a:pt x="245" y="333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5253;p53">
              <a:extLst>
                <a:ext uri="{FF2B5EF4-FFF2-40B4-BE49-F238E27FC236}">
                  <a16:creationId xmlns:a16="http://schemas.microsoft.com/office/drawing/2014/main" id="{2391DBFF-A723-3C88-8418-D80F91666E75}"/>
                </a:ext>
              </a:extLst>
            </p:cNvPr>
            <p:cNvSpPr/>
            <p:nvPr/>
          </p:nvSpPr>
          <p:spPr>
            <a:xfrm>
              <a:off x="7754000" y="1603800"/>
              <a:ext cx="25600" cy="20750"/>
            </a:xfrm>
            <a:custGeom>
              <a:avLst/>
              <a:gdLst/>
              <a:ahLst/>
              <a:cxnLst/>
              <a:rect l="l" t="t" r="r" b="b"/>
              <a:pathLst>
                <a:path w="1024" h="830" extrusionOk="0">
                  <a:moveTo>
                    <a:pt x="1023" y="1"/>
                  </a:moveTo>
                  <a:lnTo>
                    <a:pt x="1023" y="1"/>
                  </a:lnTo>
                  <a:cubicBezTo>
                    <a:pt x="1023" y="1"/>
                    <a:pt x="824" y="282"/>
                    <a:pt x="557" y="467"/>
                  </a:cubicBezTo>
                  <a:cubicBezTo>
                    <a:pt x="255" y="685"/>
                    <a:pt x="108" y="721"/>
                    <a:pt x="44" y="721"/>
                  </a:cubicBezTo>
                  <a:cubicBezTo>
                    <a:pt x="12" y="721"/>
                    <a:pt x="0" y="712"/>
                    <a:pt x="0" y="712"/>
                  </a:cubicBezTo>
                  <a:lnTo>
                    <a:pt x="0" y="712"/>
                  </a:lnTo>
                  <a:lnTo>
                    <a:pt x="8" y="830"/>
                  </a:lnTo>
                  <a:cubicBezTo>
                    <a:pt x="8" y="830"/>
                    <a:pt x="10" y="830"/>
                    <a:pt x="14" y="830"/>
                  </a:cubicBezTo>
                  <a:cubicBezTo>
                    <a:pt x="72" y="830"/>
                    <a:pt x="531" y="803"/>
                    <a:pt x="1023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5254;p53">
              <a:extLst>
                <a:ext uri="{FF2B5EF4-FFF2-40B4-BE49-F238E27FC236}">
                  <a16:creationId xmlns:a16="http://schemas.microsoft.com/office/drawing/2014/main" id="{EC26C0E9-8E3E-31C9-6E4E-2E3E0FD1F41E}"/>
                </a:ext>
              </a:extLst>
            </p:cNvPr>
            <p:cNvSpPr/>
            <p:nvPr/>
          </p:nvSpPr>
          <p:spPr>
            <a:xfrm>
              <a:off x="7733225" y="1588950"/>
              <a:ext cx="20800" cy="16700"/>
            </a:xfrm>
            <a:custGeom>
              <a:avLst/>
              <a:gdLst/>
              <a:ahLst/>
              <a:cxnLst/>
              <a:rect l="l" t="t" r="r" b="b"/>
              <a:pathLst>
                <a:path w="832" h="668" extrusionOk="0">
                  <a:moveTo>
                    <a:pt x="1" y="1"/>
                  </a:moveTo>
                  <a:lnTo>
                    <a:pt x="1" y="1"/>
                  </a:lnTo>
                  <a:cubicBezTo>
                    <a:pt x="398" y="648"/>
                    <a:pt x="774" y="668"/>
                    <a:pt x="820" y="668"/>
                  </a:cubicBezTo>
                  <a:cubicBezTo>
                    <a:pt x="823" y="668"/>
                    <a:pt x="824" y="668"/>
                    <a:pt x="824" y="668"/>
                  </a:cubicBezTo>
                  <a:lnTo>
                    <a:pt x="831" y="572"/>
                  </a:lnTo>
                  <a:lnTo>
                    <a:pt x="831" y="572"/>
                  </a:lnTo>
                  <a:cubicBezTo>
                    <a:pt x="831" y="572"/>
                    <a:pt x="821" y="580"/>
                    <a:pt x="793" y="580"/>
                  </a:cubicBezTo>
                  <a:cubicBezTo>
                    <a:pt x="739" y="580"/>
                    <a:pt x="618" y="550"/>
                    <a:pt x="380" y="380"/>
                  </a:cubicBezTo>
                  <a:cubicBezTo>
                    <a:pt x="165" y="23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5255;p53">
              <a:extLst>
                <a:ext uri="{FF2B5EF4-FFF2-40B4-BE49-F238E27FC236}">
                  <a16:creationId xmlns:a16="http://schemas.microsoft.com/office/drawing/2014/main" id="{54DFFB9E-1D87-49E1-F455-90C752654CBD}"/>
                </a:ext>
              </a:extLst>
            </p:cNvPr>
            <p:cNvSpPr/>
            <p:nvPr/>
          </p:nvSpPr>
          <p:spPr>
            <a:xfrm>
              <a:off x="7517600" y="1556875"/>
              <a:ext cx="110650" cy="107700"/>
            </a:xfrm>
            <a:custGeom>
              <a:avLst/>
              <a:gdLst/>
              <a:ahLst/>
              <a:cxnLst/>
              <a:rect l="l" t="t" r="r" b="b"/>
              <a:pathLst>
                <a:path w="4426" h="4308" extrusionOk="0">
                  <a:moveTo>
                    <a:pt x="2151" y="1"/>
                  </a:moveTo>
                  <a:cubicBezTo>
                    <a:pt x="2073" y="1"/>
                    <a:pt x="1995" y="21"/>
                    <a:pt x="1929" y="62"/>
                  </a:cubicBezTo>
                  <a:cubicBezTo>
                    <a:pt x="1440" y="366"/>
                    <a:pt x="1" y="4307"/>
                    <a:pt x="2151" y="4307"/>
                  </a:cubicBezTo>
                  <a:cubicBezTo>
                    <a:pt x="4425" y="4307"/>
                    <a:pt x="2862" y="366"/>
                    <a:pt x="2373" y="62"/>
                  </a:cubicBezTo>
                  <a:cubicBezTo>
                    <a:pt x="2307" y="21"/>
                    <a:pt x="2229" y="1"/>
                    <a:pt x="2151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5256;p53">
              <a:extLst>
                <a:ext uri="{FF2B5EF4-FFF2-40B4-BE49-F238E27FC236}">
                  <a16:creationId xmlns:a16="http://schemas.microsoft.com/office/drawing/2014/main" id="{11C5DA31-5DBF-524D-E46A-B4569F4C50E3}"/>
                </a:ext>
              </a:extLst>
            </p:cNvPr>
            <p:cNvSpPr/>
            <p:nvPr/>
          </p:nvSpPr>
          <p:spPr>
            <a:xfrm>
              <a:off x="7517600" y="1558375"/>
              <a:ext cx="53775" cy="106200"/>
            </a:xfrm>
            <a:custGeom>
              <a:avLst/>
              <a:gdLst/>
              <a:ahLst/>
              <a:cxnLst/>
              <a:rect l="l" t="t" r="r" b="b"/>
              <a:pathLst>
                <a:path w="2151" h="4248" extrusionOk="0">
                  <a:moveTo>
                    <a:pt x="1932" y="1"/>
                  </a:moveTo>
                  <a:cubicBezTo>
                    <a:pt x="1931" y="1"/>
                    <a:pt x="1930" y="1"/>
                    <a:pt x="1929" y="2"/>
                  </a:cubicBezTo>
                  <a:cubicBezTo>
                    <a:pt x="1440" y="306"/>
                    <a:pt x="1" y="4247"/>
                    <a:pt x="2151" y="4247"/>
                  </a:cubicBezTo>
                  <a:cubicBezTo>
                    <a:pt x="2151" y="4247"/>
                    <a:pt x="1610" y="4203"/>
                    <a:pt x="1580" y="2663"/>
                  </a:cubicBezTo>
                  <a:cubicBezTo>
                    <a:pt x="1543" y="1142"/>
                    <a:pt x="1985" y="1"/>
                    <a:pt x="1932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5257;p53">
              <a:extLst>
                <a:ext uri="{FF2B5EF4-FFF2-40B4-BE49-F238E27FC236}">
                  <a16:creationId xmlns:a16="http://schemas.microsoft.com/office/drawing/2014/main" id="{2D5978D3-70EF-CCB0-5A69-DA5D7B45C689}"/>
                </a:ext>
              </a:extLst>
            </p:cNvPr>
            <p:cNvSpPr/>
            <p:nvPr/>
          </p:nvSpPr>
          <p:spPr>
            <a:xfrm>
              <a:off x="7569675" y="1605800"/>
              <a:ext cx="7800" cy="74550"/>
            </a:xfrm>
            <a:custGeom>
              <a:avLst/>
              <a:gdLst/>
              <a:ahLst/>
              <a:cxnLst/>
              <a:rect l="l" t="t" r="r" b="b"/>
              <a:pathLst>
                <a:path w="312" h="2982" extrusionOk="0">
                  <a:moveTo>
                    <a:pt x="159" y="0"/>
                  </a:moveTo>
                  <a:cubicBezTo>
                    <a:pt x="158" y="0"/>
                    <a:pt x="157" y="4"/>
                    <a:pt x="157" y="17"/>
                  </a:cubicBezTo>
                  <a:lnTo>
                    <a:pt x="0" y="2981"/>
                  </a:lnTo>
                  <a:lnTo>
                    <a:pt x="312" y="2981"/>
                  </a:lnTo>
                  <a:cubicBezTo>
                    <a:pt x="304" y="1713"/>
                    <a:pt x="185" y="17"/>
                    <a:pt x="164" y="17"/>
                  </a:cubicBezTo>
                  <a:cubicBezTo>
                    <a:pt x="164" y="17"/>
                    <a:pt x="161" y="0"/>
                    <a:pt x="159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5258;p53">
              <a:extLst>
                <a:ext uri="{FF2B5EF4-FFF2-40B4-BE49-F238E27FC236}">
                  <a16:creationId xmlns:a16="http://schemas.microsoft.com/office/drawing/2014/main" id="{16A4A573-80F3-BDB8-B51F-BF414149BFF1}"/>
                </a:ext>
              </a:extLst>
            </p:cNvPr>
            <p:cNvSpPr/>
            <p:nvPr/>
          </p:nvSpPr>
          <p:spPr>
            <a:xfrm>
              <a:off x="7552650" y="1632125"/>
              <a:ext cx="20950" cy="17100"/>
            </a:xfrm>
            <a:custGeom>
              <a:avLst/>
              <a:gdLst/>
              <a:ahLst/>
              <a:cxnLst/>
              <a:rect l="l" t="t" r="r" b="b"/>
              <a:pathLst>
                <a:path w="838" h="684" extrusionOk="0">
                  <a:moveTo>
                    <a:pt x="0" y="1"/>
                  </a:moveTo>
                  <a:lnTo>
                    <a:pt x="0" y="1"/>
                  </a:lnTo>
                  <a:cubicBezTo>
                    <a:pt x="406" y="665"/>
                    <a:pt x="785" y="684"/>
                    <a:pt x="827" y="684"/>
                  </a:cubicBezTo>
                  <a:cubicBezTo>
                    <a:pt x="829" y="684"/>
                    <a:pt x="831" y="684"/>
                    <a:pt x="831" y="684"/>
                  </a:cubicBezTo>
                  <a:lnTo>
                    <a:pt x="838" y="586"/>
                  </a:lnTo>
                  <a:lnTo>
                    <a:pt x="838" y="586"/>
                  </a:lnTo>
                  <a:cubicBezTo>
                    <a:pt x="838" y="586"/>
                    <a:pt x="830" y="592"/>
                    <a:pt x="806" y="592"/>
                  </a:cubicBezTo>
                  <a:cubicBezTo>
                    <a:pt x="757" y="592"/>
                    <a:pt x="639" y="564"/>
                    <a:pt x="386" y="387"/>
                  </a:cubicBezTo>
                  <a:cubicBezTo>
                    <a:pt x="164" y="23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5259;p53">
              <a:extLst>
                <a:ext uri="{FF2B5EF4-FFF2-40B4-BE49-F238E27FC236}">
                  <a16:creationId xmlns:a16="http://schemas.microsoft.com/office/drawing/2014/main" id="{32967C56-03DA-7FCB-3488-F367C87B9A60}"/>
                </a:ext>
              </a:extLst>
            </p:cNvPr>
            <p:cNvSpPr/>
            <p:nvPr/>
          </p:nvSpPr>
          <p:spPr>
            <a:xfrm>
              <a:off x="7573575" y="1627500"/>
              <a:ext cx="18000" cy="14475"/>
            </a:xfrm>
            <a:custGeom>
              <a:avLst/>
              <a:gdLst/>
              <a:ahLst/>
              <a:cxnLst/>
              <a:rect l="l" t="t" r="r" b="b"/>
              <a:pathLst>
                <a:path w="720" h="579" extrusionOk="0">
                  <a:moveTo>
                    <a:pt x="719" y="1"/>
                  </a:moveTo>
                  <a:cubicBezTo>
                    <a:pt x="719" y="1"/>
                    <a:pt x="579" y="193"/>
                    <a:pt x="394" y="326"/>
                  </a:cubicBezTo>
                  <a:cubicBezTo>
                    <a:pt x="184" y="472"/>
                    <a:pt x="81" y="497"/>
                    <a:pt x="34" y="497"/>
                  </a:cubicBezTo>
                  <a:cubicBezTo>
                    <a:pt x="10" y="497"/>
                    <a:pt x="1" y="490"/>
                    <a:pt x="1" y="490"/>
                  </a:cubicBezTo>
                  <a:lnTo>
                    <a:pt x="1" y="490"/>
                  </a:lnTo>
                  <a:lnTo>
                    <a:pt x="8" y="579"/>
                  </a:lnTo>
                  <a:cubicBezTo>
                    <a:pt x="8" y="579"/>
                    <a:pt x="9" y="579"/>
                    <a:pt x="10" y="579"/>
                  </a:cubicBezTo>
                  <a:cubicBezTo>
                    <a:pt x="39" y="579"/>
                    <a:pt x="366" y="566"/>
                    <a:pt x="71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260;p53">
              <a:extLst>
                <a:ext uri="{FF2B5EF4-FFF2-40B4-BE49-F238E27FC236}">
                  <a16:creationId xmlns:a16="http://schemas.microsoft.com/office/drawing/2014/main" id="{BD527277-5F4B-504D-5700-F5772A6D3A2C}"/>
                </a:ext>
              </a:extLst>
            </p:cNvPr>
            <p:cNvSpPr/>
            <p:nvPr/>
          </p:nvSpPr>
          <p:spPr>
            <a:xfrm>
              <a:off x="7559125" y="1617150"/>
              <a:ext cx="14475" cy="11675"/>
            </a:xfrm>
            <a:custGeom>
              <a:avLst/>
              <a:gdLst/>
              <a:ahLst/>
              <a:cxnLst/>
              <a:rect l="l" t="t" r="r" b="b"/>
              <a:pathLst>
                <a:path w="579" h="467" extrusionOk="0">
                  <a:moveTo>
                    <a:pt x="1" y="0"/>
                  </a:moveTo>
                  <a:lnTo>
                    <a:pt x="1" y="0"/>
                  </a:lnTo>
                  <a:cubicBezTo>
                    <a:pt x="296" y="460"/>
                    <a:pt x="563" y="466"/>
                    <a:pt x="578" y="466"/>
                  </a:cubicBezTo>
                  <a:cubicBezTo>
                    <a:pt x="579" y="466"/>
                    <a:pt x="579" y="466"/>
                    <a:pt x="579" y="466"/>
                  </a:cubicBezTo>
                  <a:lnTo>
                    <a:pt x="579" y="393"/>
                  </a:lnTo>
                  <a:cubicBezTo>
                    <a:pt x="579" y="393"/>
                    <a:pt x="571" y="400"/>
                    <a:pt x="550" y="400"/>
                  </a:cubicBezTo>
                  <a:cubicBezTo>
                    <a:pt x="511" y="400"/>
                    <a:pt x="429" y="379"/>
                    <a:pt x="268" y="260"/>
                  </a:cubicBezTo>
                  <a:cubicBezTo>
                    <a:pt x="118" y="15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261;p53">
              <a:extLst>
                <a:ext uri="{FF2B5EF4-FFF2-40B4-BE49-F238E27FC236}">
                  <a16:creationId xmlns:a16="http://schemas.microsoft.com/office/drawing/2014/main" id="{CBC855D4-13A0-8474-6A7E-E0B634E6CCE9}"/>
                </a:ext>
              </a:extLst>
            </p:cNvPr>
            <p:cNvSpPr/>
            <p:nvPr/>
          </p:nvSpPr>
          <p:spPr>
            <a:xfrm>
              <a:off x="7639875" y="1540475"/>
              <a:ext cx="120475" cy="117250"/>
            </a:xfrm>
            <a:custGeom>
              <a:avLst/>
              <a:gdLst/>
              <a:ahLst/>
              <a:cxnLst/>
              <a:rect l="l" t="t" r="r" b="b"/>
              <a:pathLst>
                <a:path w="4819" h="4690" extrusionOk="0">
                  <a:moveTo>
                    <a:pt x="2476" y="1"/>
                  </a:moveTo>
                  <a:cubicBezTo>
                    <a:pt x="2391" y="1"/>
                    <a:pt x="2306" y="25"/>
                    <a:pt x="2232" y="73"/>
                  </a:cubicBezTo>
                  <a:cubicBezTo>
                    <a:pt x="1699" y="407"/>
                    <a:pt x="0" y="4689"/>
                    <a:pt x="2476" y="4689"/>
                  </a:cubicBezTo>
                  <a:cubicBezTo>
                    <a:pt x="4818" y="4689"/>
                    <a:pt x="3255" y="407"/>
                    <a:pt x="2721" y="73"/>
                  </a:cubicBezTo>
                  <a:cubicBezTo>
                    <a:pt x="2647" y="25"/>
                    <a:pt x="2561" y="1"/>
                    <a:pt x="2476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62;p53">
              <a:extLst>
                <a:ext uri="{FF2B5EF4-FFF2-40B4-BE49-F238E27FC236}">
                  <a16:creationId xmlns:a16="http://schemas.microsoft.com/office/drawing/2014/main" id="{D3E3EC7E-2D69-DC9E-CC79-0CD7E5DA4133}"/>
                </a:ext>
              </a:extLst>
            </p:cNvPr>
            <p:cNvSpPr/>
            <p:nvPr/>
          </p:nvSpPr>
          <p:spPr>
            <a:xfrm>
              <a:off x="7641750" y="1545575"/>
              <a:ext cx="56350" cy="111425"/>
            </a:xfrm>
            <a:custGeom>
              <a:avLst/>
              <a:gdLst/>
              <a:ahLst/>
              <a:cxnLst/>
              <a:rect l="l" t="t" r="r" b="b"/>
              <a:pathLst>
                <a:path w="2254" h="4457" extrusionOk="0">
                  <a:moveTo>
                    <a:pt x="2028" y="0"/>
                  </a:moveTo>
                  <a:cubicBezTo>
                    <a:pt x="2027" y="0"/>
                    <a:pt x="2025" y="1"/>
                    <a:pt x="2024" y="2"/>
                  </a:cubicBezTo>
                  <a:cubicBezTo>
                    <a:pt x="1505" y="322"/>
                    <a:pt x="0" y="4457"/>
                    <a:pt x="2253" y="4457"/>
                  </a:cubicBezTo>
                  <a:cubicBezTo>
                    <a:pt x="2253" y="4457"/>
                    <a:pt x="1690" y="4412"/>
                    <a:pt x="1652" y="2796"/>
                  </a:cubicBezTo>
                  <a:cubicBezTo>
                    <a:pt x="1616" y="1200"/>
                    <a:pt x="2077" y="0"/>
                    <a:pt x="202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5263;p53">
              <a:extLst>
                <a:ext uri="{FF2B5EF4-FFF2-40B4-BE49-F238E27FC236}">
                  <a16:creationId xmlns:a16="http://schemas.microsoft.com/office/drawing/2014/main" id="{72000B01-F523-F8CF-A3A2-F545D3007C2D}"/>
                </a:ext>
              </a:extLst>
            </p:cNvPr>
            <p:cNvSpPr/>
            <p:nvPr/>
          </p:nvSpPr>
          <p:spPr>
            <a:xfrm>
              <a:off x="7696200" y="1601350"/>
              <a:ext cx="8175" cy="79525"/>
            </a:xfrm>
            <a:custGeom>
              <a:avLst/>
              <a:gdLst/>
              <a:ahLst/>
              <a:cxnLst/>
              <a:rect l="l" t="t" r="r" b="b"/>
              <a:pathLst>
                <a:path w="327" h="3181" extrusionOk="0">
                  <a:moveTo>
                    <a:pt x="166" y="0"/>
                  </a:moveTo>
                  <a:cubicBezTo>
                    <a:pt x="165" y="0"/>
                    <a:pt x="164" y="5"/>
                    <a:pt x="164" y="17"/>
                  </a:cubicBezTo>
                  <a:lnTo>
                    <a:pt x="1" y="3181"/>
                  </a:lnTo>
                  <a:cubicBezTo>
                    <a:pt x="13" y="3178"/>
                    <a:pt x="49" y="3178"/>
                    <a:pt x="94" y="3178"/>
                  </a:cubicBezTo>
                  <a:cubicBezTo>
                    <a:pt x="182" y="3178"/>
                    <a:pt x="302" y="3181"/>
                    <a:pt x="326" y="3181"/>
                  </a:cubicBezTo>
                  <a:cubicBezTo>
                    <a:pt x="319" y="1826"/>
                    <a:pt x="193" y="17"/>
                    <a:pt x="171" y="17"/>
                  </a:cubicBezTo>
                  <a:cubicBezTo>
                    <a:pt x="171" y="17"/>
                    <a:pt x="168" y="0"/>
                    <a:pt x="166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5264;p53">
              <a:extLst>
                <a:ext uri="{FF2B5EF4-FFF2-40B4-BE49-F238E27FC236}">
                  <a16:creationId xmlns:a16="http://schemas.microsoft.com/office/drawing/2014/main" id="{5B355FEC-6CD6-ECC0-1FDD-1226F6917C35}"/>
                </a:ext>
              </a:extLst>
            </p:cNvPr>
            <p:cNvSpPr/>
            <p:nvPr/>
          </p:nvSpPr>
          <p:spPr>
            <a:xfrm>
              <a:off x="7677875" y="1629375"/>
              <a:ext cx="22450" cy="18175"/>
            </a:xfrm>
            <a:custGeom>
              <a:avLst/>
              <a:gdLst/>
              <a:ahLst/>
              <a:cxnLst/>
              <a:rect l="l" t="t" r="r" b="b"/>
              <a:pathLst>
                <a:path w="898" h="727" extrusionOk="0">
                  <a:moveTo>
                    <a:pt x="1" y="0"/>
                  </a:moveTo>
                  <a:lnTo>
                    <a:pt x="1" y="0"/>
                  </a:lnTo>
                  <a:cubicBezTo>
                    <a:pt x="433" y="706"/>
                    <a:pt x="840" y="726"/>
                    <a:pt x="886" y="726"/>
                  </a:cubicBezTo>
                  <a:cubicBezTo>
                    <a:pt x="889" y="726"/>
                    <a:pt x="890" y="726"/>
                    <a:pt x="890" y="726"/>
                  </a:cubicBezTo>
                  <a:lnTo>
                    <a:pt x="897" y="623"/>
                  </a:lnTo>
                  <a:lnTo>
                    <a:pt x="897" y="623"/>
                  </a:lnTo>
                  <a:cubicBezTo>
                    <a:pt x="897" y="623"/>
                    <a:pt x="888" y="630"/>
                    <a:pt x="862" y="630"/>
                  </a:cubicBezTo>
                  <a:cubicBezTo>
                    <a:pt x="807" y="630"/>
                    <a:pt x="678" y="600"/>
                    <a:pt x="408" y="415"/>
                  </a:cubicBezTo>
                  <a:cubicBezTo>
                    <a:pt x="179" y="25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265;p53">
              <a:extLst>
                <a:ext uri="{FF2B5EF4-FFF2-40B4-BE49-F238E27FC236}">
                  <a16:creationId xmlns:a16="http://schemas.microsoft.com/office/drawing/2014/main" id="{3E60C988-8383-82E9-A307-1083606E7A68}"/>
                </a:ext>
              </a:extLst>
            </p:cNvPr>
            <p:cNvSpPr/>
            <p:nvPr/>
          </p:nvSpPr>
          <p:spPr>
            <a:xfrm>
              <a:off x="7700300" y="162435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1"/>
                    <a:pt x="615" y="209"/>
                    <a:pt x="415" y="349"/>
                  </a:cubicBezTo>
                  <a:cubicBezTo>
                    <a:pt x="192" y="507"/>
                    <a:pt x="82" y="533"/>
                    <a:pt x="33" y="533"/>
                  </a:cubicBezTo>
                  <a:cubicBezTo>
                    <a:pt x="9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9" y="616"/>
                    <a:pt x="12" y="616"/>
                  </a:cubicBezTo>
                  <a:cubicBezTo>
                    <a:pt x="56" y="616"/>
                    <a:pt x="397" y="596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5266;p53">
              <a:extLst>
                <a:ext uri="{FF2B5EF4-FFF2-40B4-BE49-F238E27FC236}">
                  <a16:creationId xmlns:a16="http://schemas.microsoft.com/office/drawing/2014/main" id="{94E7BD13-2617-1F10-1D6D-A8CCAE1E483D}"/>
                </a:ext>
              </a:extLst>
            </p:cNvPr>
            <p:cNvSpPr/>
            <p:nvPr/>
          </p:nvSpPr>
          <p:spPr>
            <a:xfrm>
              <a:off x="7684900" y="1613225"/>
              <a:ext cx="15425" cy="12650"/>
            </a:xfrm>
            <a:custGeom>
              <a:avLst/>
              <a:gdLst/>
              <a:ahLst/>
              <a:cxnLst/>
              <a:rect l="l" t="t" r="r" b="b"/>
              <a:pathLst>
                <a:path w="617" h="506" extrusionOk="0">
                  <a:moveTo>
                    <a:pt x="1" y="1"/>
                  </a:moveTo>
                  <a:lnTo>
                    <a:pt x="1" y="1"/>
                  </a:lnTo>
                  <a:cubicBezTo>
                    <a:pt x="303" y="493"/>
                    <a:pt x="579" y="506"/>
                    <a:pt x="607" y="506"/>
                  </a:cubicBezTo>
                  <a:cubicBezTo>
                    <a:pt x="608" y="506"/>
                    <a:pt x="609" y="506"/>
                    <a:pt x="609" y="506"/>
                  </a:cubicBezTo>
                  <a:lnTo>
                    <a:pt x="616" y="431"/>
                  </a:lnTo>
                  <a:lnTo>
                    <a:pt x="616" y="431"/>
                  </a:lnTo>
                  <a:cubicBezTo>
                    <a:pt x="616" y="431"/>
                    <a:pt x="610" y="436"/>
                    <a:pt x="593" y="436"/>
                  </a:cubicBezTo>
                  <a:cubicBezTo>
                    <a:pt x="557" y="436"/>
                    <a:pt x="469" y="415"/>
                    <a:pt x="282" y="284"/>
                  </a:cubicBezTo>
                  <a:cubicBezTo>
                    <a:pt x="127" y="17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5267;p53">
              <a:extLst>
                <a:ext uri="{FF2B5EF4-FFF2-40B4-BE49-F238E27FC236}">
                  <a16:creationId xmlns:a16="http://schemas.microsoft.com/office/drawing/2014/main" id="{6A8E2006-DE91-D754-EA1F-D077B6855451}"/>
                </a:ext>
              </a:extLst>
            </p:cNvPr>
            <p:cNvSpPr/>
            <p:nvPr/>
          </p:nvSpPr>
          <p:spPr>
            <a:xfrm>
              <a:off x="7421675" y="1540075"/>
              <a:ext cx="120425" cy="117100"/>
            </a:xfrm>
            <a:custGeom>
              <a:avLst/>
              <a:gdLst/>
              <a:ahLst/>
              <a:cxnLst/>
              <a:rect l="l" t="t" r="r" b="b"/>
              <a:pathLst>
                <a:path w="4817" h="4684" extrusionOk="0">
                  <a:moveTo>
                    <a:pt x="2475" y="1"/>
                  </a:moveTo>
                  <a:cubicBezTo>
                    <a:pt x="2390" y="1"/>
                    <a:pt x="2305" y="23"/>
                    <a:pt x="2230" y="67"/>
                  </a:cubicBezTo>
                  <a:cubicBezTo>
                    <a:pt x="1704" y="400"/>
                    <a:pt x="0" y="4684"/>
                    <a:pt x="2476" y="4684"/>
                  </a:cubicBezTo>
                  <a:cubicBezTo>
                    <a:pt x="4816" y="4684"/>
                    <a:pt x="3253" y="400"/>
                    <a:pt x="2719" y="67"/>
                  </a:cubicBezTo>
                  <a:cubicBezTo>
                    <a:pt x="2646" y="23"/>
                    <a:pt x="2561" y="1"/>
                    <a:pt x="2475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5268;p53">
              <a:extLst>
                <a:ext uri="{FF2B5EF4-FFF2-40B4-BE49-F238E27FC236}">
                  <a16:creationId xmlns:a16="http://schemas.microsoft.com/office/drawing/2014/main" id="{994A2134-FB6F-391C-EFC0-84FAE551D95B}"/>
                </a:ext>
              </a:extLst>
            </p:cNvPr>
            <p:cNvSpPr/>
            <p:nvPr/>
          </p:nvSpPr>
          <p:spPr>
            <a:xfrm>
              <a:off x="7423525" y="1545050"/>
              <a:ext cx="56550" cy="111550"/>
            </a:xfrm>
            <a:custGeom>
              <a:avLst/>
              <a:gdLst/>
              <a:ahLst/>
              <a:cxnLst/>
              <a:rect l="l" t="t" r="r" b="b"/>
              <a:pathLst>
                <a:path w="2262" h="4462" extrusionOk="0">
                  <a:moveTo>
                    <a:pt x="2027" y="0"/>
                  </a:moveTo>
                  <a:cubicBezTo>
                    <a:pt x="2026" y="0"/>
                    <a:pt x="2024" y="1"/>
                    <a:pt x="2023" y="2"/>
                  </a:cubicBezTo>
                  <a:cubicBezTo>
                    <a:pt x="1512" y="327"/>
                    <a:pt x="1" y="4462"/>
                    <a:pt x="2261" y="4462"/>
                  </a:cubicBezTo>
                  <a:cubicBezTo>
                    <a:pt x="2261" y="4462"/>
                    <a:pt x="1690" y="4410"/>
                    <a:pt x="1653" y="2795"/>
                  </a:cubicBezTo>
                  <a:cubicBezTo>
                    <a:pt x="1623" y="1194"/>
                    <a:pt x="2088" y="0"/>
                    <a:pt x="2027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5269;p53">
              <a:extLst>
                <a:ext uri="{FF2B5EF4-FFF2-40B4-BE49-F238E27FC236}">
                  <a16:creationId xmlns:a16="http://schemas.microsoft.com/office/drawing/2014/main" id="{76E31EF2-C94C-7A5B-05BE-10FC64FED891}"/>
                </a:ext>
              </a:extLst>
            </p:cNvPr>
            <p:cNvSpPr/>
            <p:nvPr/>
          </p:nvSpPr>
          <p:spPr>
            <a:xfrm>
              <a:off x="7478000" y="1600800"/>
              <a:ext cx="8325" cy="79550"/>
            </a:xfrm>
            <a:custGeom>
              <a:avLst/>
              <a:gdLst/>
              <a:ahLst/>
              <a:cxnLst/>
              <a:rect l="l" t="t" r="r" b="b"/>
              <a:pathLst>
                <a:path w="333" h="3182" extrusionOk="0">
                  <a:moveTo>
                    <a:pt x="165" y="0"/>
                  </a:moveTo>
                  <a:cubicBezTo>
                    <a:pt x="163" y="0"/>
                    <a:pt x="162" y="4"/>
                    <a:pt x="162" y="16"/>
                  </a:cubicBezTo>
                  <a:lnTo>
                    <a:pt x="0" y="3181"/>
                  </a:lnTo>
                  <a:lnTo>
                    <a:pt x="333" y="3181"/>
                  </a:lnTo>
                  <a:cubicBezTo>
                    <a:pt x="319" y="1825"/>
                    <a:pt x="200" y="16"/>
                    <a:pt x="171" y="16"/>
                  </a:cubicBezTo>
                  <a:cubicBezTo>
                    <a:pt x="171" y="16"/>
                    <a:pt x="167" y="0"/>
                    <a:pt x="165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5270;p53">
              <a:extLst>
                <a:ext uri="{FF2B5EF4-FFF2-40B4-BE49-F238E27FC236}">
                  <a16:creationId xmlns:a16="http://schemas.microsoft.com/office/drawing/2014/main" id="{1344E5AA-7495-6448-B98F-27C1C8CABAD3}"/>
                </a:ext>
              </a:extLst>
            </p:cNvPr>
            <p:cNvSpPr/>
            <p:nvPr/>
          </p:nvSpPr>
          <p:spPr>
            <a:xfrm>
              <a:off x="7459625" y="1628975"/>
              <a:ext cx="22675" cy="18200"/>
            </a:xfrm>
            <a:custGeom>
              <a:avLst/>
              <a:gdLst/>
              <a:ahLst/>
              <a:cxnLst/>
              <a:rect l="l" t="t" r="r" b="b"/>
              <a:pathLst>
                <a:path w="907" h="728" extrusionOk="0">
                  <a:moveTo>
                    <a:pt x="1" y="0"/>
                  </a:moveTo>
                  <a:cubicBezTo>
                    <a:pt x="443" y="709"/>
                    <a:pt x="844" y="728"/>
                    <a:pt x="886" y="728"/>
                  </a:cubicBezTo>
                  <a:cubicBezTo>
                    <a:pt x="889" y="728"/>
                    <a:pt x="890" y="728"/>
                    <a:pt x="890" y="728"/>
                  </a:cubicBezTo>
                  <a:lnTo>
                    <a:pt x="906" y="623"/>
                  </a:lnTo>
                  <a:lnTo>
                    <a:pt x="906" y="623"/>
                  </a:lnTo>
                  <a:cubicBezTo>
                    <a:pt x="906" y="623"/>
                    <a:pt x="896" y="630"/>
                    <a:pt x="868" y="630"/>
                  </a:cubicBezTo>
                  <a:cubicBezTo>
                    <a:pt x="812" y="630"/>
                    <a:pt x="681" y="599"/>
                    <a:pt x="417" y="409"/>
                  </a:cubicBezTo>
                  <a:cubicBezTo>
                    <a:pt x="186" y="246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5271;p53">
              <a:extLst>
                <a:ext uri="{FF2B5EF4-FFF2-40B4-BE49-F238E27FC236}">
                  <a16:creationId xmlns:a16="http://schemas.microsoft.com/office/drawing/2014/main" id="{51455875-9D82-6F2C-B4DE-A506E68B7FF4}"/>
                </a:ext>
              </a:extLst>
            </p:cNvPr>
            <p:cNvSpPr/>
            <p:nvPr/>
          </p:nvSpPr>
          <p:spPr>
            <a:xfrm>
              <a:off x="7482275" y="1624000"/>
              <a:ext cx="19100" cy="15400"/>
            </a:xfrm>
            <a:custGeom>
              <a:avLst/>
              <a:gdLst/>
              <a:ahLst/>
              <a:cxnLst/>
              <a:rect l="l" t="t" r="r" b="b"/>
              <a:pathLst>
                <a:path w="764" h="616" extrusionOk="0">
                  <a:moveTo>
                    <a:pt x="763" y="0"/>
                  </a:moveTo>
                  <a:lnTo>
                    <a:pt x="763" y="0"/>
                  </a:lnTo>
                  <a:cubicBezTo>
                    <a:pt x="763" y="0"/>
                    <a:pt x="606" y="208"/>
                    <a:pt x="414" y="342"/>
                  </a:cubicBezTo>
                  <a:cubicBezTo>
                    <a:pt x="184" y="506"/>
                    <a:pt x="76" y="533"/>
                    <a:pt x="30" y="533"/>
                  </a:cubicBezTo>
                  <a:cubicBezTo>
                    <a:pt x="8" y="533"/>
                    <a:pt x="0" y="527"/>
                    <a:pt x="0" y="527"/>
                  </a:cubicBezTo>
                  <a:lnTo>
                    <a:pt x="0" y="527"/>
                  </a:lnTo>
                  <a:lnTo>
                    <a:pt x="7" y="616"/>
                  </a:lnTo>
                  <a:cubicBezTo>
                    <a:pt x="7" y="616"/>
                    <a:pt x="8" y="616"/>
                    <a:pt x="9" y="616"/>
                  </a:cubicBezTo>
                  <a:cubicBezTo>
                    <a:pt x="39" y="616"/>
                    <a:pt x="387" y="603"/>
                    <a:pt x="76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5272;p53">
              <a:extLst>
                <a:ext uri="{FF2B5EF4-FFF2-40B4-BE49-F238E27FC236}">
                  <a16:creationId xmlns:a16="http://schemas.microsoft.com/office/drawing/2014/main" id="{E0EBBD95-0B73-CD90-EF5B-A2A36FCF65D2}"/>
                </a:ext>
              </a:extLst>
            </p:cNvPr>
            <p:cNvSpPr/>
            <p:nvPr/>
          </p:nvSpPr>
          <p:spPr>
            <a:xfrm>
              <a:off x="7466700" y="1612875"/>
              <a:ext cx="15600" cy="12425"/>
            </a:xfrm>
            <a:custGeom>
              <a:avLst/>
              <a:gdLst/>
              <a:ahLst/>
              <a:cxnLst/>
              <a:rect l="l" t="t" r="r" b="b"/>
              <a:pathLst>
                <a:path w="624" h="497" extrusionOk="0">
                  <a:moveTo>
                    <a:pt x="1" y="1"/>
                  </a:moveTo>
                  <a:cubicBezTo>
                    <a:pt x="302" y="484"/>
                    <a:pt x="583" y="497"/>
                    <a:pt x="612" y="497"/>
                  </a:cubicBezTo>
                  <a:cubicBezTo>
                    <a:pt x="613" y="497"/>
                    <a:pt x="614" y="497"/>
                    <a:pt x="614" y="497"/>
                  </a:cubicBezTo>
                  <a:lnTo>
                    <a:pt x="623" y="422"/>
                  </a:lnTo>
                  <a:lnTo>
                    <a:pt x="623" y="422"/>
                  </a:lnTo>
                  <a:cubicBezTo>
                    <a:pt x="623" y="422"/>
                    <a:pt x="615" y="429"/>
                    <a:pt x="591" y="429"/>
                  </a:cubicBezTo>
                  <a:cubicBezTo>
                    <a:pt x="549" y="429"/>
                    <a:pt x="458" y="407"/>
                    <a:pt x="282" y="282"/>
                  </a:cubicBezTo>
                  <a:cubicBezTo>
                    <a:pt x="125" y="17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5273;p53">
              <a:extLst>
                <a:ext uri="{FF2B5EF4-FFF2-40B4-BE49-F238E27FC236}">
                  <a16:creationId xmlns:a16="http://schemas.microsoft.com/office/drawing/2014/main" id="{619BD8E3-5D84-4E6E-5E92-5F0C160FC2C8}"/>
                </a:ext>
              </a:extLst>
            </p:cNvPr>
            <p:cNvSpPr/>
            <p:nvPr/>
          </p:nvSpPr>
          <p:spPr>
            <a:xfrm>
              <a:off x="7454475" y="1518300"/>
              <a:ext cx="141725" cy="137775"/>
            </a:xfrm>
            <a:custGeom>
              <a:avLst/>
              <a:gdLst/>
              <a:ahLst/>
              <a:cxnLst/>
              <a:rect l="l" t="t" r="r" b="b"/>
              <a:pathLst>
                <a:path w="5669" h="5511" extrusionOk="0">
                  <a:moveTo>
                    <a:pt x="2909" y="1"/>
                  </a:moveTo>
                  <a:cubicBezTo>
                    <a:pt x="2808" y="1"/>
                    <a:pt x="2708" y="27"/>
                    <a:pt x="2624" y="79"/>
                  </a:cubicBezTo>
                  <a:cubicBezTo>
                    <a:pt x="2001" y="471"/>
                    <a:pt x="1" y="5510"/>
                    <a:pt x="2912" y="5510"/>
                  </a:cubicBezTo>
                  <a:cubicBezTo>
                    <a:pt x="5668" y="5510"/>
                    <a:pt x="3824" y="471"/>
                    <a:pt x="3202" y="79"/>
                  </a:cubicBezTo>
                  <a:cubicBezTo>
                    <a:pt x="3113" y="27"/>
                    <a:pt x="3011" y="1"/>
                    <a:pt x="2909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0" name="Google Shape;5274;p53">
              <a:extLst>
                <a:ext uri="{FF2B5EF4-FFF2-40B4-BE49-F238E27FC236}">
                  <a16:creationId xmlns:a16="http://schemas.microsoft.com/office/drawing/2014/main" id="{5230662F-39C0-B51D-053D-1C9025218A7A}"/>
                </a:ext>
              </a:extLst>
            </p:cNvPr>
            <p:cNvSpPr/>
            <p:nvPr/>
          </p:nvSpPr>
          <p:spPr>
            <a:xfrm>
              <a:off x="7457225" y="1524100"/>
              <a:ext cx="67075" cy="132500"/>
            </a:xfrm>
            <a:custGeom>
              <a:avLst/>
              <a:gdLst/>
              <a:ahLst/>
              <a:cxnLst/>
              <a:rect l="l" t="t" r="r" b="b"/>
              <a:pathLst>
                <a:path w="2683" h="5300" extrusionOk="0">
                  <a:moveTo>
                    <a:pt x="2413" y="1"/>
                  </a:moveTo>
                  <a:cubicBezTo>
                    <a:pt x="2412" y="1"/>
                    <a:pt x="2410" y="1"/>
                    <a:pt x="2409" y="2"/>
                  </a:cubicBezTo>
                  <a:cubicBezTo>
                    <a:pt x="1793" y="388"/>
                    <a:pt x="1" y="5300"/>
                    <a:pt x="2683" y="5300"/>
                  </a:cubicBezTo>
                  <a:cubicBezTo>
                    <a:pt x="2683" y="5300"/>
                    <a:pt x="2009" y="5241"/>
                    <a:pt x="1971" y="3322"/>
                  </a:cubicBezTo>
                  <a:cubicBezTo>
                    <a:pt x="1928" y="1421"/>
                    <a:pt x="2478" y="1"/>
                    <a:pt x="2413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1" name="Google Shape;5275;p53">
              <a:extLst>
                <a:ext uri="{FF2B5EF4-FFF2-40B4-BE49-F238E27FC236}">
                  <a16:creationId xmlns:a16="http://schemas.microsoft.com/office/drawing/2014/main" id="{76A7893D-C7A2-BA4B-0E87-897D83A5B759}"/>
                </a:ext>
              </a:extLst>
            </p:cNvPr>
            <p:cNvSpPr/>
            <p:nvPr/>
          </p:nvSpPr>
          <p:spPr>
            <a:xfrm>
              <a:off x="7521700" y="1591900"/>
              <a:ext cx="9275" cy="88450"/>
            </a:xfrm>
            <a:custGeom>
              <a:avLst/>
              <a:gdLst/>
              <a:ahLst/>
              <a:cxnLst/>
              <a:rect l="l" t="t" r="r" b="b"/>
              <a:pathLst>
                <a:path w="371" h="3538" extrusionOk="0">
                  <a:moveTo>
                    <a:pt x="187" y="0"/>
                  </a:moveTo>
                  <a:cubicBezTo>
                    <a:pt x="186" y="0"/>
                    <a:pt x="185" y="4"/>
                    <a:pt x="185" y="16"/>
                  </a:cubicBezTo>
                  <a:lnTo>
                    <a:pt x="1" y="3537"/>
                  </a:lnTo>
                  <a:lnTo>
                    <a:pt x="370" y="3537"/>
                  </a:lnTo>
                  <a:cubicBezTo>
                    <a:pt x="356" y="2033"/>
                    <a:pt x="223" y="16"/>
                    <a:pt x="193" y="16"/>
                  </a:cubicBezTo>
                  <a:cubicBezTo>
                    <a:pt x="193" y="16"/>
                    <a:pt x="189" y="0"/>
                    <a:pt x="18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2" name="Google Shape;5276;p53">
              <a:extLst>
                <a:ext uri="{FF2B5EF4-FFF2-40B4-BE49-F238E27FC236}">
                  <a16:creationId xmlns:a16="http://schemas.microsoft.com/office/drawing/2014/main" id="{FA15139F-4E15-CE5C-DCA4-C9B44B6F415B}"/>
                </a:ext>
              </a:extLst>
            </p:cNvPr>
            <p:cNvSpPr/>
            <p:nvPr/>
          </p:nvSpPr>
          <p:spPr>
            <a:xfrm>
              <a:off x="7501525" y="1623250"/>
              <a:ext cx="25000" cy="20200"/>
            </a:xfrm>
            <a:custGeom>
              <a:avLst/>
              <a:gdLst/>
              <a:ahLst/>
              <a:cxnLst/>
              <a:rect l="l" t="t" r="r" b="b"/>
              <a:pathLst>
                <a:path w="1000" h="808" extrusionOk="0">
                  <a:moveTo>
                    <a:pt x="0" y="0"/>
                  </a:moveTo>
                  <a:lnTo>
                    <a:pt x="0" y="0"/>
                  </a:lnTo>
                  <a:cubicBezTo>
                    <a:pt x="484" y="787"/>
                    <a:pt x="935" y="807"/>
                    <a:pt x="981" y="807"/>
                  </a:cubicBezTo>
                  <a:cubicBezTo>
                    <a:pt x="984" y="807"/>
                    <a:pt x="985" y="807"/>
                    <a:pt x="985" y="807"/>
                  </a:cubicBezTo>
                  <a:lnTo>
                    <a:pt x="1000" y="690"/>
                  </a:lnTo>
                  <a:lnTo>
                    <a:pt x="1000" y="690"/>
                  </a:lnTo>
                  <a:cubicBezTo>
                    <a:pt x="1000" y="690"/>
                    <a:pt x="989" y="697"/>
                    <a:pt x="960" y="697"/>
                  </a:cubicBezTo>
                  <a:cubicBezTo>
                    <a:pt x="899" y="697"/>
                    <a:pt x="755" y="664"/>
                    <a:pt x="452" y="452"/>
                  </a:cubicBezTo>
                  <a:cubicBezTo>
                    <a:pt x="199" y="27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3" name="Google Shape;5277;p53">
              <a:extLst>
                <a:ext uri="{FF2B5EF4-FFF2-40B4-BE49-F238E27FC236}">
                  <a16:creationId xmlns:a16="http://schemas.microsoft.com/office/drawing/2014/main" id="{6116D998-ACFF-6B2A-C5A8-EE942D859CE9}"/>
                </a:ext>
              </a:extLst>
            </p:cNvPr>
            <p:cNvSpPr/>
            <p:nvPr/>
          </p:nvSpPr>
          <p:spPr>
            <a:xfrm>
              <a:off x="7526500" y="1617675"/>
              <a:ext cx="21150" cy="17100"/>
            </a:xfrm>
            <a:custGeom>
              <a:avLst/>
              <a:gdLst/>
              <a:ahLst/>
              <a:cxnLst/>
              <a:rect l="l" t="t" r="r" b="b"/>
              <a:pathLst>
                <a:path w="846" h="684" extrusionOk="0">
                  <a:moveTo>
                    <a:pt x="845" y="1"/>
                  </a:moveTo>
                  <a:cubicBezTo>
                    <a:pt x="845" y="1"/>
                    <a:pt x="676" y="230"/>
                    <a:pt x="461" y="387"/>
                  </a:cubicBezTo>
                  <a:cubicBezTo>
                    <a:pt x="210" y="564"/>
                    <a:pt x="89" y="593"/>
                    <a:pt x="37" y="593"/>
                  </a:cubicBezTo>
                  <a:cubicBezTo>
                    <a:pt x="10" y="593"/>
                    <a:pt x="1" y="586"/>
                    <a:pt x="1" y="586"/>
                  </a:cubicBezTo>
                  <a:lnTo>
                    <a:pt x="1" y="586"/>
                  </a:lnTo>
                  <a:lnTo>
                    <a:pt x="9" y="684"/>
                  </a:lnTo>
                  <a:cubicBezTo>
                    <a:pt x="9" y="684"/>
                    <a:pt x="11" y="684"/>
                    <a:pt x="13" y="684"/>
                  </a:cubicBezTo>
                  <a:cubicBezTo>
                    <a:pt x="55" y="684"/>
                    <a:pt x="434" y="665"/>
                    <a:pt x="845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4" name="Google Shape;5278;p53">
              <a:extLst>
                <a:ext uri="{FF2B5EF4-FFF2-40B4-BE49-F238E27FC236}">
                  <a16:creationId xmlns:a16="http://schemas.microsoft.com/office/drawing/2014/main" id="{93A797C3-A1DC-6BF6-C12A-6581CB4DAD57}"/>
                </a:ext>
              </a:extLst>
            </p:cNvPr>
            <p:cNvSpPr/>
            <p:nvPr/>
          </p:nvSpPr>
          <p:spPr>
            <a:xfrm>
              <a:off x="7509300" y="1605275"/>
              <a:ext cx="17225" cy="13950"/>
            </a:xfrm>
            <a:custGeom>
              <a:avLst/>
              <a:gdLst/>
              <a:ahLst/>
              <a:cxnLst/>
              <a:rect l="l" t="t" r="r" b="b"/>
              <a:pathLst>
                <a:path w="689" h="558" extrusionOk="0">
                  <a:moveTo>
                    <a:pt x="0" y="1"/>
                  </a:moveTo>
                  <a:lnTo>
                    <a:pt x="0" y="1"/>
                  </a:lnTo>
                  <a:cubicBezTo>
                    <a:pt x="339" y="544"/>
                    <a:pt x="650" y="557"/>
                    <a:pt x="679" y="557"/>
                  </a:cubicBezTo>
                  <a:cubicBezTo>
                    <a:pt x="681" y="557"/>
                    <a:pt x="681" y="557"/>
                    <a:pt x="681" y="557"/>
                  </a:cubicBezTo>
                  <a:lnTo>
                    <a:pt x="689" y="475"/>
                  </a:lnTo>
                  <a:lnTo>
                    <a:pt x="689" y="475"/>
                  </a:lnTo>
                  <a:cubicBezTo>
                    <a:pt x="689" y="475"/>
                    <a:pt x="681" y="481"/>
                    <a:pt x="660" y="481"/>
                  </a:cubicBezTo>
                  <a:cubicBezTo>
                    <a:pt x="617" y="481"/>
                    <a:pt x="517" y="457"/>
                    <a:pt x="312" y="312"/>
                  </a:cubicBezTo>
                  <a:cubicBezTo>
                    <a:pt x="141" y="193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5" name="Google Shape;5279;p53">
              <a:extLst>
                <a:ext uri="{FF2B5EF4-FFF2-40B4-BE49-F238E27FC236}">
                  <a16:creationId xmlns:a16="http://schemas.microsoft.com/office/drawing/2014/main" id="{EF6E18E5-4DA4-5C50-FED0-0A121BE45343}"/>
                </a:ext>
              </a:extLst>
            </p:cNvPr>
            <p:cNvSpPr/>
            <p:nvPr/>
          </p:nvSpPr>
          <p:spPr>
            <a:xfrm>
              <a:off x="7404450" y="1558600"/>
              <a:ext cx="64675" cy="81525"/>
            </a:xfrm>
            <a:custGeom>
              <a:avLst/>
              <a:gdLst/>
              <a:ahLst/>
              <a:cxnLst/>
              <a:rect l="l" t="t" r="r" b="b"/>
              <a:pathLst>
                <a:path w="2587" h="3261" extrusionOk="0">
                  <a:moveTo>
                    <a:pt x="1290" y="0"/>
                  </a:moveTo>
                  <a:cubicBezTo>
                    <a:pt x="734" y="0"/>
                    <a:pt x="275" y="452"/>
                    <a:pt x="275" y="1016"/>
                  </a:cubicBezTo>
                  <a:cubicBezTo>
                    <a:pt x="275" y="1067"/>
                    <a:pt x="282" y="1112"/>
                    <a:pt x="289" y="1156"/>
                  </a:cubicBezTo>
                  <a:cubicBezTo>
                    <a:pt x="111" y="1379"/>
                    <a:pt x="1" y="1659"/>
                    <a:pt x="1" y="1964"/>
                  </a:cubicBezTo>
                  <a:cubicBezTo>
                    <a:pt x="1" y="2682"/>
                    <a:pt x="579" y="3260"/>
                    <a:pt x="1290" y="3260"/>
                  </a:cubicBezTo>
                  <a:cubicBezTo>
                    <a:pt x="2009" y="3260"/>
                    <a:pt x="2587" y="2682"/>
                    <a:pt x="2587" y="1964"/>
                  </a:cubicBezTo>
                  <a:cubicBezTo>
                    <a:pt x="2587" y="1659"/>
                    <a:pt x="2475" y="1379"/>
                    <a:pt x="2297" y="1156"/>
                  </a:cubicBezTo>
                  <a:cubicBezTo>
                    <a:pt x="2304" y="1112"/>
                    <a:pt x="2313" y="1067"/>
                    <a:pt x="2313" y="1016"/>
                  </a:cubicBezTo>
                  <a:cubicBezTo>
                    <a:pt x="2313" y="452"/>
                    <a:pt x="1852" y="0"/>
                    <a:pt x="1290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6" name="Google Shape;5280;p53">
              <a:extLst>
                <a:ext uri="{FF2B5EF4-FFF2-40B4-BE49-F238E27FC236}">
                  <a16:creationId xmlns:a16="http://schemas.microsoft.com/office/drawing/2014/main" id="{29F93C52-26A7-4FE4-5A05-232A2281841F}"/>
                </a:ext>
              </a:extLst>
            </p:cNvPr>
            <p:cNvSpPr/>
            <p:nvPr/>
          </p:nvSpPr>
          <p:spPr>
            <a:xfrm>
              <a:off x="7436700" y="1583475"/>
              <a:ext cx="2950" cy="96875"/>
            </a:xfrm>
            <a:custGeom>
              <a:avLst/>
              <a:gdLst/>
              <a:ahLst/>
              <a:cxnLst/>
              <a:rect l="l" t="t" r="r" b="b"/>
              <a:pathLst>
                <a:path w="118" h="3875" extrusionOk="0">
                  <a:moveTo>
                    <a:pt x="54" y="0"/>
                  </a:moveTo>
                  <a:cubicBezTo>
                    <a:pt x="53" y="0"/>
                    <a:pt x="52" y="4"/>
                    <a:pt x="52" y="14"/>
                  </a:cubicBezTo>
                  <a:lnTo>
                    <a:pt x="0" y="3821"/>
                  </a:lnTo>
                  <a:cubicBezTo>
                    <a:pt x="0" y="3851"/>
                    <a:pt x="22" y="3874"/>
                    <a:pt x="52" y="3874"/>
                  </a:cubicBezTo>
                  <a:lnTo>
                    <a:pt x="59" y="3874"/>
                  </a:lnTo>
                  <a:cubicBezTo>
                    <a:pt x="96" y="3874"/>
                    <a:pt x="118" y="3851"/>
                    <a:pt x="118" y="3821"/>
                  </a:cubicBezTo>
                  <a:cubicBezTo>
                    <a:pt x="118" y="3821"/>
                    <a:pt x="96" y="14"/>
                    <a:pt x="59" y="14"/>
                  </a:cubicBezTo>
                  <a:cubicBezTo>
                    <a:pt x="59" y="14"/>
                    <a:pt x="56" y="0"/>
                    <a:pt x="54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7" name="Google Shape;5281;p53">
              <a:extLst>
                <a:ext uri="{FF2B5EF4-FFF2-40B4-BE49-F238E27FC236}">
                  <a16:creationId xmlns:a16="http://schemas.microsoft.com/office/drawing/2014/main" id="{77410DB4-4B64-7356-F182-0F8E81AD8D71}"/>
                </a:ext>
              </a:extLst>
            </p:cNvPr>
            <p:cNvSpPr/>
            <p:nvPr/>
          </p:nvSpPr>
          <p:spPr>
            <a:xfrm>
              <a:off x="7419800" y="1606975"/>
              <a:ext cx="18375" cy="15000"/>
            </a:xfrm>
            <a:custGeom>
              <a:avLst/>
              <a:gdLst/>
              <a:ahLst/>
              <a:cxnLst/>
              <a:rect l="l" t="t" r="r" b="b"/>
              <a:pathLst>
                <a:path w="735" h="600" extrusionOk="0">
                  <a:moveTo>
                    <a:pt x="0" y="0"/>
                  </a:moveTo>
                  <a:lnTo>
                    <a:pt x="0" y="0"/>
                  </a:lnTo>
                  <a:cubicBezTo>
                    <a:pt x="353" y="580"/>
                    <a:pt x="679" y="600"/>
                    <a:pt x="723" y="600"/>
                  </a:cubicBezTo>
                  <a:cubicBezTo>
                    <a:pt x="726" y="600"/>
                    <a:pt x="728" y="599"/>
                    <a:pt x="728" y="599"/>
                  </a:cubicBezTo>
                  <a:lnTo>
                    <a:pt x="735" y="511"/>
                  </a:lnTo>
                  <a:lnTo>
                    <a:pt x="735" y="511"/>
                  </a:lnTo>
                  <a:cubicBezTo>
                    <a:pt x="735" y="511"/>
                    <a:pt x="726" y="517"/>
                    <a:pt x="702" y="517"/>
                  </a:cubicBezTo>
                  <a:cubicBezTo>
                    <a:pt x="656" y="517"/>
                    <a:pt x="550" y="492"/>
                    <a:pt x="335" y="340"/>
                  </a:cubicBezTo>
                  <a:cubicBezTo>
                    <a:pt x="150" y="199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8" name="Google Shape;5282;p53">
              <a:extLst>
                <a:ext uri="{FF2B5EF4-FFF2-40B4-BE49-F238E27FC236}">
                  <a16:creationId xmlns:a16="http://schemas.microsoft.com/office/drawing/2014/main" id="{A9EAEC24-B1A4-FDB1-A311-5CACEB0758DA}"/>
                </a:ext>
              </a:extLst>
            </p:cNvPr>
            <p:cNvSpPr/>
            <p:nvPr/>
          </p:nvSpPr>
          <p:spPr>
            <a:xfrm>
              <a:off x="7438150" y="1602700"/>
              <a:ext cx="15600" cy="12775"/>
            </a:xfrm>
            <a:custGeom>
              <a:avLst/>
              <a:gdLst/>
              <a:ahLst/>
              <a:cxnLst/>
              <a:rect l="l" t="t" r="r" b="b"/>
              <a:pathLst>
                <a:path w="624" h="511" extrusionOk="0">
                  <a:moveTo>
                    <a:pt x="623" y="0"/>
                  </a:moveTo>
                  <a:cubicBezTo>
                    <a:pt x="623" y="0"/>
                    <a:pt x="497" y="178"/>
                    <a:pt x="342" y="289"/>
                  </a:cubicBezTo>
                  <a:cubicBezTo>
                    <a:pt x="156" y="421"/>
                    <a:pt x="67" y="444"/>
                    <a:pt x="28" y="444"/>
                  </a:cubicBezTo>
                  <a:cubicBezTo>
                    <a:pt x="8" y="444"/>
                    <a:pt x="1" y="438"/>
                    <a:pt x="1" y="438"/>
                  </a:cubicBezTo>
                  <a:lnTo>
                    <a:pt x="1" y="438"/>
                  </a:lnTo>
                  <a:lnTo>
                    <a:pt x="8" y="511"/>
                  </a:lnTo>
                  <a:cubicBezTo>
                    <a:pt x="8" y="511"/>
                    <a:pt x="9" y="511"/>
                    <a:pt x="11" y="511"/>
                  </a:cubicBezTo>
                  <a:cubicBezTo>
                    <a:pt x="42" y="511"/>
                    <a:pt x="323" y="497"/>
                    <a:pt x="623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9" name="Google Shape;5283;p53">
              <a:extLst>
                <a:ext uri="{FF2B5EF4-FFF2-40B4-BE49-F238E27FC236}">
                  <a16:creationId xmlns:a16="http://schemas.microsoft.com/office/drawing/2014/main" id="{43BE4F7E-0D2F-0218-F4BF-0B521C665AE2}"/>
                </a:ext>
              </a:extLst>
            </p:cNvPr>
            <p:cNvSpPr/>
            <p:nvPr/>
          </p:nvSpPr>
          <p:spPr>
            <a:xfrm>
              <a:off x="7425575" y="1593625"/>
              <a:ext cx="12600" cy="10200"/>
            </a:xfrm>
            <a:custGeom>
              <a:avLst/>
              <a:gdLst/>
              <a:ahLst/>
              <a:cxnLst/>
              <a:rect l="l" t="t" r="r" b="b"/>
              <a:pathLst>
                <a:path w="504" h="408" extrusionOk="0">
                  <a:moveTo>
                    <a:pt x="1" y="1"/>
                  </a:moveTo>
                  <a:lnTo>
                    <a:pt x="1" y="1"/>
                  </a:lnTo>
                  <a:cubicBezTo>
                    <a:pt x="242" y="395"/>
                    <a:pt x="467" y="408"/>
                    <a:pt x="494" y="408"/>
                  </a:cubicBezTo>
                  <a:cubicBezTo>
                    <a:pt x="496" y="408"/>
                    <a:pt x="497" y="408"/>
                    <a:pt x="497" y="408"/>
                  </a:cubicBezTo>
                  <a:lnTo>
                    <a:pt x="504" y="347"/>
                  </a:lnTo>
                  <a:lnTo>
                    <a:pt x="504" y="347"/>
                  </a:lnTo>
                  <a:cubicBezTo>
                    <a:pt x="504" y="347"/>
                    <a:pt x="497" y="353"/>
                    <a:pt x="479" y="353"/>
                  </a:cubicBezTo>
                  <a:cubicBezTo>
                    <a:pt x="446" y="353"/>
                    <a:pt x="374" y="334"/>
                    <a:pt x="230" y="230"/>
                  </a:cubicBezTo>
                  <a:cubicBezTo>
                    <a:pt x="104" y="14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0" name="Google Shape;5284;p53">
              <a:extLst>
                <a:ext uri="{FF2B5EF4-FFF2-40B4-BE49-F238E27FC236}">
                  <a16:creationId xmlns:a16="http://schemas.microsoft.com/office/drawing/2014/main" id="{E7DC93BE-2B00-61B1-6010-D27DF36E4E40}"/>
                </a:ext>
              </a:extLst>
            </p:cNvPr>
            <p:cNvSpPr/>
            <p:nvPr/>
          </p:nvSpPr>
          <p:spPr>
            <a:xfrm>
              <a:off x="7286250" y="1591750"/>
              <a:ext cx="46350" cy="58600"/>
            </a:xfrm>
            <a:custGeom>
              <a:avLst/>
              <a:gdLst/>
              <a:ahLst/>
              <a:cxnLst/>
              <a:rect l="l" t="t" r="r" b="b"/>
              <a:pathLst>
                <a:path w="1854" h="2344" extrusionOk="0">
                  <a:moveTo>
                    <a:pt x="927" y="1"/>
                  </a:moveTo>
                  <a:cubicBezTo>
                    <a:pt x="527" y="1"/>
                    <a:pt x="194" y="326"/>
                    <a:pt x="194" y="734"/>
                  </a:cubicBezTo>
                  <a:cubicBezTo>
                    <a:pt x="194" y="764"/>
                    <a:pt x="201" y="801"/>
                    <a:pt x="208" y="831"/>
                  </a:cubicBezTo>
                  <a:cubicBezTo>
                    <a:pt x="75" y="993"/>
                    <a:pt x="0" y="1194"/>
                    <a:pt x="0" y="1417"/>
                  </a:cubicBezTo>
                  <a:cubicBezTo>
                    <a:pt x="0" y="1927"/>
                    <a:pt x="416" y="2343"/>
                    <a:pt x="927" y="2343"/>
                  </a:cubicBezTo>
                  <a:cubicBezTo>
                    <a:pt x="1439" y="2343"/>
                    <a:pt x="1853" y="1927"/>
                    <a:pt x="1853" y="1417"/>
                  </a:cubicBezTo>
                  <a:cubicBezTo>
                    <a:pt x="1853" y="1194"/>
                    <a:pt x="1772" y="993"/>
                    <a:pt x="1645" y="831"/>
                  </a:cubicBezTo>
                  <a:cubicBezTo>
                    <a:pt x="1652" y="801"/>
                    <a:pt x="1652" y="764"/>
                    <a:pt x="1652" y="734"/>
                  </a:cubicBezTo>
                  <a:cubicBezTo>
                    <a:pt x="1652" y="326"/>
                    <a:pt x="1327" y="1"/>
                    <a:pt x="92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1" name="Google Shape;5285;p53">
              <a:extLst>
                <a:ext uri="{FF2B5EF4-FFF2-40B4-BE49-F238E27FC236}">
                  <a16:creationId xmlns:a16="http://schemas.microsoft.com/office/drawing/2014/main" id="{F36478E4-FB88-B4C8-171D-01393D2F67BD}"/>
                </a:ext>
              </a:extLst>
            </p:cNvPr>
            <p:cNvSpPr/>
            <p:nvPr/>
          </p:nvSpPr>
          <p:spPr>
            <a:xfrm>
              <a:off x="7309225" y="1609675"/>
              <a:ext cx="2250" cy="69550"/>
            </a:xfrm>
            <a:custGeom>
              <a:avLst/>
              <a:gdLst/>
              <a:ahLst/>
              <a:cxnLst/>
              <a:rect l="l" t="t" r="r" b="b"/>
              <a:pathLst>
                <a:path w="90" h="2782" extrusionOk="0">
                  <a:moveTo>
                    <a:pt x="47" y="0"/>
                  </a:moveTo>
                  <a:cubicBezTo>
                    <a:pt x="46" y="0"/>
                    <a:pt x="45" y="2"/>
                    <a:pt x="45" y="10"/>
                  </a:cubicBezTo>
                  <a:lnTo>
                    <a:pt x="1" y="2738"/>
                  </a:lnTo>
                  <a:cubicBezTo>
                    <a:pt x="1" y="2759"/>
                    <a:pt x="22" y="2782"/>
                    <a:pt x="45" y="2782"/>
                  </a:cubicBezTo>
                  <a:lnTo>
                    <a:pt x="52" y="2782"/>
                  </a:lnTo>
                  <a:cubicBezTo>
                    <a:pt x="75" y="2782"/>
                    <a:pt x="90" y="2759"/>
                    <a:pt x="90" y="2738"/>
                  </a:cubicBezTo>
                  <a:cubicBezTo>
                    <a:pt x="90" y="2738"/>
                    <a:pt x="75" y="10"/>
                    <a:pt x="52" y="10"/>
                  </a:cubicBezTo>
                  <a:cubicBezTo>
                    <a:pt x="52" y="10"/>
                    <a:pt x="49" y="0"/>
                    <a:pt x="47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2" name="Google Shape;5286;p53">
              <a:extLst>
                <a:ext uri="{FF2B5EF4-FFF2-40B4-BE49-F238E27FC236}">
                  <a16:creationId xmlns:a16="http://schemas.microsoft.com/office/drawing/2014/main" id="{7C01900F-A030-BC2F-9BB2-1AEC7153B914}"/>
                </a:ext>
              </a:extLst>
            </p:cNvPr>
            <p:cNvSpPr/>
            <p:nvPr/>
          </p:nvSpPr>
          <p:spPr>
            <a:xfrm>
              <a:off x="7297175" y="1626400"/>
              <a:ext cx="13200" cy="10950"/>
            </a:xfrm>
            <a:custGeom>
              <a:avLst/>
              <a:gdLst/>
              <a:ahLst/>
              <a:cxnLst/>
              <a:rect l="l" t="t" r="r" b="b"/>
              <a:pathLst>
                <a:path w="528" h="438" extrusionOk="0">
                  <a:moveTo>
                    <a:pt x="1" y="0"/>
                  </a:moveTo>
                  <a:cubicBezTo>
                    <a:pt x="266" y="431"/>
                    <a:pt x="505" y="438"/>
                    <a:pt x="519" y="438"/>
                  </a:cubicBezTo>
                  <a:cubicBezTo>
                    <a:pt x="520" y="438"/>
                    <a:pt x="520" y="438"/>
                    <a:pt x="520" y="438"/>
                  </a:cubicBezTo>
                  <a:lnTo>
                    <a:pt x="527" y="370"/>
                  </a:lnTo>
                  <a:lnTo>
                    <a:pt x="527" y="370"/>
                  </a:lnTo>
                  <a:cubicBezTo>
                    <a:pt x="527" y="370"/>
                    <a:pt x="521" y="375"/>
                    <a:pt x="504" y="375"/>
                  </a:cubicBezTo>
                  <a:cubicBezTo>
                    <a:pt x="470" y="375"/>
                    <a:pt x="396" y="356"/>
                    <a:pt x="246" y="246"/>
                  </a:cubicBezTo>
                  <a:cubicBezTo>
                    <a:pt x="104" y="148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8" name="Google Shape;5287;p53">
              <a:extLst>
                <a:ext uri="{FF2B5EF4-FFF2-40B4-BE49-F238E27FC236}">
                  <a16:creationId xmlns:a16="http://schemas.microsoft.com/office/drawing/2014/main" id="{A53C2822-C84B-58C6-8432-B905881FA063}"/>
                </a:ext>
              </a:extLst>
            </p:cNvPr>
            <p:cNvSpPr/>
            <p:nvPr/>
          </p:nvSpPr>
          <p:spPr>
            <a:xfrm>
              <a:off x="7310350" y="1623425"/>
              <a:ext cx="11300" cy="9300"/>
            </a:xfrm>
            <a:custGeom>
              <a:avLst/>
              <a:gdLst/>
              <a:ahLst/>
              <a:cxnLst/>
              <a:rect l="l" t="t" r="r" b="b"/>
              <a:pathLst>
                <a:path w="452" h="372" extrusionOk="0">
                  <a:moveTo>
                    <a:pt x="452" y="0"/>
                  </a:moveTo>
                  <a:lnTo>
                    <a:pt x="452" y="0"/>
                  </a:lnTo>
                  <a:cubicBezTo>
                    <a:pt x="452" y="0"/>
                    <a:pt x="356" y="126"/>
                    <a:pt x="244" y="208"/>
                  </a:cubicBezTo>
                  <a:cubicBezTo>
                    <a:pt x="102" y="308"/>
                    <a:pt x="39" y="323"/>
                    <a:pt x="14" y="323"/>
                  </a:cubicBezTo>
                  <a:cubicBezTo>
                    <a:pt x="4" y="323"/>
                    <a:pt x="0" y="320"/>
                    <a:pt x="0" y="320"/>
                  </a:cubicBezTo>
                  <a:lnTo>
                    <a:pt x="0" y="320"/>
                  </a:lnTo>
                  <a:lnTo>
                    <a:pt x="7" y="372"/>
                  </a:lnTo>
                  <a:cubicBezTo>
                    <a:pt x="7" y="372"/>
                    <a:pt x="8" y="372"/>
                    <a:pt x="8" y="372"/>
                  </a:cubicBezTo>
                  <a:cubicBezTo>
                    <a:pt x="22" y="372"/>
                    <a:pt x="224" y="365"/>
                    <a:pt x="452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9" name="Google Shape;5288;p53">
              <a:extLst>
                <a:ext uri="{FF2B5EF4-FFF2-40B4-BE49-F238E27FC236}">
                  <a16:creationId xmlns:a16="http://schemas.microsoft.com/office/drawing/2014/main" id="{2EA03F37-7E28-86B7-9F60-D9884EE864AD}"/>
                </a:ext>
              </a:extLst>
            </p:cNvPr>
            <p:cNvSpPr/>
            <p:nvPr/>
          </p:nvSpPr>
          <p:spPr>
            <a:xfrm>
              <a:off x="7301275" y="1616975"/>
              <a:ext cx="9100" cy="7400"/>
            </a:xfrm>
            <a:custGeom>
              <a:avLst/>
              <a:gdLst/>
              <a:ahLst/>
              <a:cxnLst/>
              <a:rect l="l" t="t" r="r" b="b"/>
              <a:pathLst>
                <a:path w="364" h="296" extrusionOk="0">
                  <a:moveTo>
                    <a:pt x="0" y="0"/>
                  </a:moveTo>
                  <a:cubicBezTo>
                    <a:pt x="184" y="289"/>
                    <a:pt x="348" y="295"/>
                    <a:pt x="362" y="295"/>
                  </a:cubicBezTo>
                  <a:cubicBezTo>
                    <a:pt x="363" y="295"/>
                    <a:pt x="363" y="295"/>
                    <a:pt x="363" y="295"/>
                  </a:cubicBezTo>
                  <a:lnTo>
                    <a:pt x="363" y="251"/>
                  </a:lnTo>
                  <a:cubicBezTo>
                    <a:pt x="363" y="251"/>
                    <a:pt x="359" y="254"/>
                    <a:pt x="347" y="254"/>
                  </a:cubicBezTo>
                  <a:cubicBezTo>
                    <a:pt x="325" y="254"/>
                    <a:pt x="274" y="241"/>
                    <a:pt x="171" y="162"/>
                  </a:cubicBezTo>
                  <a:cubicBezTo>
                    <a:pt x="73" y="9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0" name="Google Shape;5289;p53">
              <a:extLst>
                <a:ext uri="{FF2B5EF4-FFF2-40B4-BE49-F238E27FC236}">
                  <a16:creationId xmlns:a16="http://schemas.microsoft.com/office/drawing/2014/main" id="{4190AF52-5163-E560-2B80-131BAD09C543}"/>
                </a:ext>
              </a:extLst>
            </p:cNvPr>
            <p:cNvSpPr/>
            <p:nvPr/>
          </p:nvSpPr>
          <p:spPr>
            <a:xfrm>
              <a:off x="7200475" y="1642125"/>
              <a:ext cx="91000" cy="37825"/>
            </a:xfrm>
            <a:custGeom>
              <a:avLst/>
              <a:gdLst/>
              <a:ahLst/>
              <a:cxnLst/>
              <a:rect l="l" t="t" r="r" b="b"/>
              <a:pathLst>
                <a:path w="3640" h="1513" extrusionOk="0">
                  <a:moveTo>
                    <a:pt x="1215" y="1"/>
                  </a:moveTo>
                  <a:cubicBezTo>
                    <a:pt x="801" y="1"/>
                    <a:pt x="469" y="335"/>
                    <a:pt x="469" y="750"/>
                  </a:cubicBezTo>
                  <a:lnTo>
                    <a:pt x="469" y="764"/>
                  </a:lnTo>
                  <a:cubicBezTo>
                    <a:pt x="438" y="757"/>
                    <a:pt x="408" y="750"/>
                    <a:pt x="380" y="750"/>
                  </a:cubicBezTo>
                  <a:cubicBezTo>
                    <a:pt x="172" y="750"/>
                    <a:pt x="1" y="920"/>
                    <a:pt x="1" y="1128"/>
                  </a:cubicBezTo>
                  <a:cubicBezTo>
                    <a:pt x="1" y="1335"/>
                    <a:pt x="172" y="1498"/>
                    <a:pt x="380" y="1498"/>
                  </a:cubicBezTo>
                  <a:lnTo>
                    <a:pt x="380" y="1512"/>
                  </a:lnTo>
                  <a:lnTo>
                    <a:pt x="3403" y="1512"/>
                  </a:lnTo>
                  <a:lnTo>
                    <a:pt x="3403" y="1498"/>
                  </a:lnTo>
                  <a:cubicBezTo>
                    <a:pt x="3536" y="1475"/>
                    <a:pt x="3639" y="1365"/>
                    <a:pt x="3639" y="1217"/>
                  </a:cubicBezTo>
                  <a:cubicBezTo>
                    <a:pt x="3639" y="1061"/>
                    <a:pt x="3513" y="934"/>
                    <a:pt x="3358" y="934"/>
                  </a:cubicBezTo>
                  <a:cubicBezTo>
                    <a:pt x="3291" y="934"/>
                    <a:pt x="3232" y="965"/>
                    <a:pt x="3181" y="1002"/>
                  </a:cubicBezTo>
                  <a:lnTo>
                    <a:pt x="3181" y="965"/>
                  </a:lnTo>
                  <a:cubicBezTo>
                    <a:pt x="3181" y="668"/>
                    <a:pt x="2942" y="424"/>
                    <a:pt x="2647" y="424"/>
                  </a:cubicBezTo>
                  <a:cubicBezTo>
                    <a:pt x="2476" y="424"/>
                    <a:pt x="2327" y="497"/>
                    <a:pt x="2224" y="623"/>
                  </a:cubicBezTo>
                  <a:cubicBezTo>
                    <a:pt x="2186" y="609"/>
                    <a:pt x="2149" y="602"/>
                    <a:pt x="2114" y="602"/>
                  </a:cubicBezTo>
                  <a:cubicBezTo>
                    <a:pt x="2053" y="602"/>
                    <a:pt x="2001" y="616"/>
                    <a:pt x="1957" y="639"/>
                  </a:cubicBezTo>
                  <a:cubicBezTo>
                    <a:pt x="1898" y="275"/>
                    <a:pt x="1594" y="1"/>
                    <a:pt x="121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1" name="Google Shape;5290;p53">
              <a:extLst>
                <a:ext uri="{FF2B5EF4-FFF2-40B4-BE49-F238E27FC236}">
                  <a16:creationId xmlns:a16="http://schemas.microsoft.com/office/drawing/2014/main" id="{7F04BAD8-D73A-8D1B-6C71-5E5AEE00C0D0}"/>
                </a:ext>
              </a:extLst>
            </p:cNvPr>
            <p:cNvSpPr/>
            <p:nvPr/>
          </p:nvSpPr>
          <p:spPr>
            <a:xfrm>
              <a:off x="7211775" y="1643250"/>
              <a:ext cx="12425" cy="17975"/>
            </a:xfrm>
            <a:custGeom>
              <a:avLst/>
              <a:gdLst/>
              <a:ahLst/>
              <a:cxnLst/>
              <a:rect l="l" t="t" r="r" b="b"/>
              <a:pathLst>
                <a:path w="497" h="719" extrusionOk="0">
                  <a:moveTo>
                    <a:pt x="497" y="0"/>
                  </a:moveTo>
                  <a:lnTo>
                    <a:pt x="497" y="0"/>
                  </a:lnTo>
                  <a:cubicBezTo>
                    <a:pt x="209" y="82"/>
                    <a:pt x="1" y="349"/>
                    <a:pt x="1" y="667"/>
                  </a:cubicBezTo>
                  <a:lnTo>
                    <a:pt x="1" y="712"/>
                  </a:lnTo>
                  <a:cubicBezTo>
                    <a:pt x="8" y="712"/>
                    <a:pt x="8" y="712"/>
                    <a:pt x="17" y="719"/>
                  </a:cubicBezTo>
                  <a:lnTo>
                    <a:pt x="17" y="705"/>
                  </a:lnTo>
                  <a:cubicBezTo>
                    <a:pt x="17" y="386"/>
                    <a:pt x="216" y="112"/>
                    <a:pt x="497" y="0"/>
                  </a:cubicBezTo>
                  <a:close/>
                </a:path>
              </a:pathLst>
            </a:custGeom>
            <a:solidFill>
              <a:srgbClr val="959DA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2" name="Google Shape;5291;p53">
              <a:extLst>
                <a:ext uri="{FF2B5EF4-FFF2-40B4-BE49-F238E27FC236}">
                  <a16:creationId xmlns:a16="http://schemas.microsoft.com/office/drawing/2014/main" id="{2A4490D4-3007-A2CA-3A8A-FF4B213F789D}"/>
                </a:ext>
              </a:extLst>
            </p:cNvPr>
            <p:cNvSpPr/>
            <p:nvPr/>
          </p:nvSpPr>
          <p:spPr>
            <a:xfrm>
              <a:off x="7211775" y="1642700"/>
              <a:ext cx="17100" cy="34325"/>
            </a:xfrm>
            <a:custGeom>
              <a:avLst/>
              <a:gdLst/>
              <a:ahLst/>
              <a:cxnLst/>
              <a:rect l="l" t="t" r="r" b="b"/>
              <a:pathLst>
                <a:path w="684" h="1373" extrusionOk="0">
                  <a:moveTo>
                    <a:pt x="683" y="1"/>
                  </a:moveTo>
                  <a:cubicBezTo>
                    <a:pt x="623" y="1"/>
                    <a:pt x="557" y="8"/>
                    <a:pt x="497" y="22"/>
                  </a:cubicBezTo>
                  <a:cubicBezTo>
                    <a:pt x="216" y="134"/>
                    <a:pt x="17" y="408"/>
                    <a:pt x="17" y="727"/>
                  </a:cubicBezTo>
                  <a:lnTo>
                    <a:pt x="17" y="741"/>
                  </a:lnTo>
                  <a:cubicBezTo>
                    <a:pt x="8" y="734"/>
                    <a:pt x="8" y="734"/>
                    <a:pt x="1" y="734"/>
                  </a:cubicBezTo>
                  <a:cubicBezTo>
                    <a:pt x="24" y="1089"/>
                    <a:pt x="319" y="1372"/>
                    <a:pt x="683" y="1372"/>
                  </a:cubicBezTo>
                  <a:cubicBezTo>
                    <a:pt x="683" y="1372"/>
                    <a:pt x="290" y="1246"/>
                    <a:pt x="260" y="689"/>
                  </a:cubicBezTo>
                  <a:cubicBezTo>
                    <a:pt x="230" y="179"/>
                    <a:pt x="683" y="1"/>
                    <a:pt x="683" y="1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3" name="Google Shape;5292;p53">
              <a:extLst>
                <a:ext uri="{FF2B5EF4-FFF2-40B4-BE49-F238E27FC236}">
                  <a16:creationId xmlns:a16="http://schemas.microsoft.com/office/drawing/2014/main" id="{50D954BF-DB0A-DC8B-868F-9A220A85948A}"/>
                </a:ext>
              </a:extLst>
            </p:cNvPr>
            <p:cNvSpPr/>
            <p:nvPr/>
          </p:nvSpPr>
          <p:spPr>
            <a:xfrm>
              <a:off x="7244575" y="1657350"/>
              <a:ext cx="18000" cy="9075"/>
            </a:xfrm>
            <a:custGeom>
              <a:avLst/>
              <a:gdLst/>
              <a:ahLst/>
              <a:cxnLst/>
              <a:rect l="l" t="t" r="r" b="b"/>
              <a:pathLst>
                <a:path w="720" h="363" extrusionOk="0">
                  <a:moveTo>
                    <a:pt x="357" y="0"/>
                  </a:moveTo>
                  <a:cubicBezTo>
                    <a:pt x="163" y="7"/>
                    <a:pt x="1" y="171"/>
                    <a:pt x="8" y="363"/>
                  </a:cubicBezTo>
                  <a:cubicBezTo>
                    <a:pt x="8" y="363"/>
                    <a:pt x="67" y="164"/>
                    <a:pt x="357" y="141"/>
                  </a:cubicBezTo>
                  <a:lnTo>
                    <a:pt x="385" y="141"/>
                  </a:lnTo>
                  <a:cubicBezTo>
                    <a:pt x="630" y="141"/>
                    <a:pt x="719" y="356"/>
                    <a:pt x="719" y="356"/>
                  </a:cubicBezTo>
                  <a:cubicBezTo>
                    <a:pt x="719" y="164"/>
                    <a:pt x="556" y="0"/>
                    <a:pt x="364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4" name="Google Shape;5293;p53">
              <a:extLst>
                <a:ext uri="{FF2B5EF4-FFF2-40B4-BE49-F238E27FC236}">
                  <a16:creationId xmlns:a16="http://schemas.microsoft.com/office/drawing/2014/main" id="{079E9D7E-EEB0-DC0D-AE20-0265EA457A56}"/>
                </a:ext>
              </a:extLst>
            </p:cNvPr>
            <p:cNvSpPr/>
            <p:nvPr/>
          </p:nvSpPr>
          <p:spPr>
            <a:xfrm>
              <a:off x="7488350" y="1497900"/>
              <a:ext cx="29500" cy="12925"/>
            </a:xfrm>
            <a:custGeom>
              <a:avLst/>
              <a:gdLst/>
              <a:ahLst/>
              <a:cxnLst/>
              <a:rect l="l" t="t" r="r" b="b"/>
              <a:pathLst>
                <a:path w="1180" h="517" extrusionOk="0">
                  <a:moveTo>
                    <a:pt x="1026" y="0"/>
                  </a:moveTo>
                  <a:cubicBezTo>
                    <a:pt x="950" y="0"/>
                    <a:pt x="859" y="34"/>
                    <a:pt x="771" y="102"/>
                  </a:cubicBezTo>
                  <a:cubicBezTo>
                    <a:pt x="698" y="154"/>
                    <a:pt x="637" y="228"/>
                    <a:pt x="609" y="294"/>
                  </a:cubicBezTo>
                  <a:cubicBezTo>
                    <a:pt x="548" y="250"/>
                    <a:pt x="468" y="220"/>
                    <a:pt x="380" y="205"/>
                  </a:cubicBezTo>
                  <a:cubicBezTo>
                    <a:pt x="346" y="200"/>
                    <a:pt x="315" y="198"/>
                    <a:pt x="285" y="198"/>
                  </a:cubicBezTo>
                  <a:cubicBezTo>
                    <a:pt x="128" y="198"/>
                    <a:pt x="20" y="263"/>
                    <a:pt x="1" y="369"/>
                  </a:cubicBezTo>
                  <a:cubicBezTo>
                    <a:pt x="1" y="369"/>
                    <a:pt x="44" y="287"/>
                    <a:pt x="248" y="287"/>
                  </a:cubicBezTo>
                  <a:cubicBezTo>
                    <a:pt x="282" y="287"/>
                    <a:pt x="320" y="289"/>
                    <a:pt x="364" y="294"/>
                  </a:cubicBezTo>
                  <a:cubicBezTo>
                    <a:pt x="460" y="301"/>
                    <a:pt x="534" y="332"/>
                    <a:pt x="586" y="362"/>
                  </a:cubicBezTo>
                  <a:lnTo>
                    <a:pt x="579" y="517"/>
                  </a:lnTo>
                  <a:lnTo>
                    <a:pt x="653" y="502"/>
                  </a:lnTo>
                  <a:lnTo>
                    <a:pt x="742" y="479"/>
                  </a:lnTo>
                  <a:lnTo>
                    <a:pt x="661" y="346"/>
                  </a:lnTo>
                  <a:cubicBezTo>
                    <a:pt x="698" y="294"/>
                    <a:pt x="742" y="236"/>
                    <a:pt x="824" y="168"/>
                  </a:cubicBezTo>
                  <a:cubicBezTo>
                    <a:pt x="938" y="77"/>
                    <a:pt x="1032" y="56"/>
                    <a:pt x="1094" y="56"/>
                  </a:cubicBezTo>
                  <a:cubicBezTo>
                    <a:pt x="1149" y="56"/>
                    <a:pt x="1180" y="72"/>
                    <a:pt x="1180" y="72"/>
                  </a:cubicBezTo>
                  <a:cubicBezTo>
                    <a:pt x="1145" y="25"/>
                    <a:pt x="1091" y="0"/>
                    <a:pt x="1026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5" name="Google Shape;5294;p53">
              <a:extLst>
                <a:ext uri="{FF2B5EF4-FFF2-40B4-BE49-F238E27FC236}">
                  <a16:creationId xmlns:a16="http://schemas.microsoft.com/office/drawing/2014/main" id="{32EC24DD-133A-8F3F-467F-136B2D6B7E67}"/>
                </a:ext>
              </a:extLst>
            </p:cNvPr>
            <p:cNvSpPr/>
            <p:nvPr/>
          </p:nvSpPr>
          <p:spPr>
            <a:xfrm>
              <a:off x="7313675" y="1413575"/>
              <a:ext cx="24825" cy="12025"/>
            </a:xfrm>
            <a:custGeom>
              <a:avLst/>
              <a:gdLst/>
              <a:ahLst/>
              <a:cxnLst/>
              <a:rect l="l" t="t" r="r" b="b"/>
              <a:pathLst>
                <a:path w="993" h="481" extrusionOk="0">
                  <a:moveTo>
                    <a:pt x="851" y="0"/>
                  </a:moveTo>
                  <a:cubicBezTo>
                    <a:pt x="787" y="0"/>
                    <a:pt x="715" y="30"/>
                    <a:pt x="644" y="89"/>
                  </a:cubicBezTo>
                  <a:cubicBezTo>
                    <a:pt x="578" y="141"/>
                    <a:pt x="534" y="207"/>
                    <a:pt x="511" y="267"/>
                  </a:cubicBezTo>
                  <a:cubicBezTo>
                    <a:pt x="459" y="230"/>
                    <a:pt x="394" y="192"/>
                    <a:pt x="312" y="178"/>
                  </a:cubicBezTo>
                  <a:cubicBezTo>
                    <a:pt x="281" y="173"/>
                    <a:pt x="251" y="170"/>
                    <a:pt x="224" y="170"/>
                  </a:cubicBezTo>
                  <a:cubicBezTo>
                    <a:pt x="93" y="170"/>
                    <a:pt x="6" y="227"/>
                    <a:pt x="1" y="326"/>
                  </a:cubicBezTo>
                  <a:cubicBezTo>
                    <a:pt x="1" y="326"/>
                    <a:pt x="33" y="251"/>
                    <a:pt x="203" y="251"/>
                  </a:cubicBezTo>
                  <a:cubicBezTo>
                    <a:pt x="233" y="251"/>
                    <a:pt x="266" y="253"/>
                    <a:pt x="305" y="258"/>
                  </a:cubicBezTo>
                  <a:cubicBezTo>
                    <a:pt x="386" y="274"/>
                    <a:pt x="445" y="303"/>
                    <a:pt x="490" y="333"/>
                  </a:cubicBezTo>
                  <a:lnTo>
                    <a:pt x="490" y="480"/>
                  </a:lnTo>
                  <a:lnTo>
                    <a:pt x="555" y="466"/>
                  </a:lnTo>
                  <a:lnTo>
                    <a:pt x="630" y="452"/>
                  </a:lnTo>
                  <a:lnTo>
                    <a:pt x="555" y="319"/>
                  </a:lnTo>
                  <a:cubicBezTo>
                    <a:pt x="586" y="274"/>
                    <a:pt x="623" y="214"/>
                    <a:pt x="689" y="162"/>
                  </a:cubicBezTo>
                  <a:cubicBezTo>
                    <a:pt x="782" y="77"/>
                    <a:pt x="862" y="57"/>
                    <a:pt x="916" y="57"/>
                  </a:cubicBezTo>
                  <a:cubicBezTo>
                    <a:pt x="964" y="57"/>
                    <a:pt x="993" y="73"/>
                    <a:pt x="993" y="73"/>
                  </a:cubicBezTo>
                  <a:cubicBezTo>
                    <a:pt x="958" y="24"/>
                    <a:pt x="908" y="0"/>
                    <a:pt x="851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6" name="Google Shape;5295;p53">
              <a:extLst>
                <a:ext uri="{FF2B5EF4-FFF2-40B4-BE49-F238E27FC236}">
                  <a16:creationId xmlns:a16="http://schemas.microsoft.com/office/drawing/2014/main" id="{7A4AB5EA-127F-BD1C-60FA-F0C16B5AD7DD}"/>
                </a:ext>
              </a:extLst>
            </p:cNvPr>
            <p:cNvSpPr/>
            <p:nvPr/>
          </p:nvSpPr>
          <p:spPr>
            <a:xfrm>
              <a:off x="7314425" y="1458625"/>
              <a:ext cx="15025" cy="6450"/>
            </a:xfrm>
            <a:custGeom>
              <a:avLst/>
              <a:gdLst/>
              <a:ahLst/>
              <a:cxnLst/>
              <a:rect l="l" t="t" r="r" b="b"/>
              <a:pathLst>
                <a:path w="601" h="258" extrusionOk="0">
                  <a:moveTo>
                    <a:pt x="520" y="1"/>
                  </a:moveTo>
                  <a:cubicBezTo>
                    <a:pt x="482" y="1"/>
                    <a:pt x="437" y="17"/>
                    <a:pt x="392" y="50"/>
                  </a:cubicBezTo>
                  <a:cubicBezTo>
                    <a:pt x="348" y="80"/>
                    <a:pt x="326" y="110"/>
                    <a:pt x="303" y="146"/>
                  </a:cubicBezTo>
                  <a:cubicBezTo>
                    <a:pt x="275" y="124"/>
                    <a:pt x="237" y="110"/>
                    <a:pt x="193" y="101"/>
                  </a:cubicBezTo>
                  <a:cubicBezTo>
                    <a:pt x="178" y="99"/>
                    <a:pt x="164" y="98"/>
                    <a:pt x="150" y="98"/>
                  </a:cubicBezTo>
                  <a:cubicBezTo>
                    <a:pt x="68" y="98"/>
                    <a:pt x="7" y="133"/>
                    <a:pt x="1" y="183"/>
                  </a:cubicBezTo>
                  <a:cubicBezTo>
                    <a:pt x="1" y="183"/>
                    <a:pt x="23" y="143"/>
                    <a:pt x="134" y="143"/>
                  </a:cubicBezTo>
                  <a:cubicBezTo>
                    <a:pt x="150" y="143"/>
                    <a:pt x="167" y="144"/>
                    <a:pt x="186" y="146"/>
                  </a:cubicBezTo>
                  <a:cubicBezTo>
                    <a:pt x="230" y="146"/>
                    <a:pt x="268" y="162"/>
                    <a:pt x="296" y="176"/>
                  </a:cubicBezTo>
                  <a:lnTo>
                    <a:pt x="289" y="258"/>
                  </a:lnTo>
                  <a:lnTo>
                    <a:pt x="333" y="243"/>
                  </a:lnTo>
                  <a:lnTo>
                    <a:pt x="378" y="234"/>
                  </a:lnTo>
                  <a:lnTo>
                    <a:pt x="333" y="169"/>
                  </a:lnTo>
                  <a:cubicBezTo>
                    <a:pt x="348" y="146"/>
                    <a:pt x="378" y="117"/>
                    <a:pt x="415" y="87"/>
                  </a:cubicBezTo>
                  <a:cubicBezTo>
                    <a:pt x="475" y="39"/>
                    <a:pt x="524" y="28"/>
                    <a:pt x="557" y="28"/>
                  </a:cubicBezTo>
                  <a:cubicBezTo>
                    <a:pt x="585" y="28"/>
                    <a:pt x="600" y="35"/>
                    <a:pt x="600" y="35"/>
                  </a:cubicBezTo>
                  <a:cubicBezTo>
                    <a:pt x="580" y="12"/>
                    <a:pt x="552" y="1"/>
                    <a:pt x="520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7" name="Google Shape;5296;p53">
              <a:extLst>
                <a:ext uri="{FF2B5EF4-FFF2-40B4-BE49-F238E27FC236}">
                  <a16:creationId xmlns:a16="http://schemas.microsoft.com/office/drawing/2014/main" id="{A08D4FB8-FA80-6879-C193-6DC7C051A8C6}"/>
                </a:ext>
              </a:extLst>
            </p:cNvPr>
            <p:cNvSpPr/>
            <p:nvPr/>
          </p:nvSpPr>
          <p:spPr>
            <a:xfrm>
              <a:off x="7228275" y="1437800"/>
              <a:ext cx="20375" cy="8725"/>
            </a:xfrm>
            <a:custGeom>
              <a:avLst/>
              <a:gdLst/>
              <a:ahLst/>
              <a:cxnLst/>
              <a:rect l="l" t="t" r="r" b="b"/>
              <a:pathLst>
                <a:path w="815" h="349" extrusionOk="0">
                  <a:moveTo>
                    <a:pt x="712" y="1"/>
                  </a:moveTo>
                  <a:cubicBezTo>
                    <a:pt x="659" y="1"/>
                    <a:pt x="596" y="23"/>
                    <a:pt x="534" y="68"/>
                  </a:cubicBezTo>
                  <a:cubicBezTo>
                    <a:pt x="482" y="105"/>
                    <a:pt x="445" y="157"/>
                    <a:pt x="424" y="201"/>
                  </a:cubicBezTo>
                  <a:cubicBezTo>
                    <a:pt x="379" y="171"/>
                    <a:pt x="326" y="150"/>
                    <a:pt x="260" y="143"/>
                  </a:cubicBezTo>
                  <a:cubicBezTo>
                    <a:pt x="237" y="139"/>
                    <a:pt x="215" y="137"/>
                    <a:pt x="194" y="137"/>
                  </a:cubicBezTo>
                  <a:cubicBezTo>
                    <a:pt x="88" y="137"/>
                    <a:pt x="12" y="184"/>
                    <a:pt x="0" y="253"/>
                  </a:cubicBezTo>
                  <a:cubicBezTo>
                    <a:pt x="0" y="253"/>
                    <a:pt x="28" y="197"/>
                    <a:pt x="176" y="197"/>
                  </a:cubicBezTo>
                  <a:cubicBezTo>
                    <a:pt x="198" y="197"/>
                    <a:pt x="224" y="198"/>
                    <a:pt x="253" y="201"/>
                  </a:cubicBezTo>
                  <a:cubicBezTo>
                    <a:pt x="319" y="209"/>
                    <a:pt x="370" y="223"/>
                    <a:pt x="400" y="246"/>
                  </a:cubicBezTo>
                  <a:lnTo>
                    <a:pt x="400" y="349"/>
                  </a:lnTo>
                  <a:lnTo>
                    <a:pt x="452" y="342"/>
                  </a:lnTo>
                  <a:lnTo>
                    <a:pt x="512" y="328"/>
                  </a:lnTo>
                  <a:lnTo>
                    <a:pt x="459" y="232"/>
                  </a:lnTo>
                  <a:cubicBezTo>
                    <a:pt x="482" y="201"/>
                    <a:pt x="512" y="157"/>
                    <a:pt x="571" y="120"/>
                  </a:cubicBezTo>
                  <a:cubicBezTo>
                    <a:pt x="656" y="51"/>
                    <a:pt x="723" y="37"/>
                    <a:pt x="766" y="37"/>
                  </a:cubicBezTo>
                  <a:cubicBezTo>
                    <a:pt x="797" y="37"/>
                    <a:pt x="815" y="45"/>
                    <a:pt x="815" y="45"/>
                  </a:cubicBezTo>
                  <a:cubicBezTo>
                    <a:pt x="792" y="15"/>
                    <a:pt x="755" y="1"/>
                    <a:pt x="712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8" name="Google Shape;5297;p53">
              <a:extLst>
                <a:ext uri="{FF2B5EF4-FFF2-40B4-BE49-F238E27FC236}">
                  <a16:creationId xmlns:a16="http://schemas.microsoft.com/office/drawing/2014/main" id="{CE01DD0E-C838-973E-4CE4-165FAD146DE2}"/>
                </a:ext>
              </a:extLst>
            </p:cNvPr>
            <p:cNvSpPr/>
            <p:nvPr/>
          </p:nvSpPr>
          <p:spPr>
            <a:xfrm>
              <a:off x="7503925" y="1476125"/>
              <a:ext cx="10950" cy="4700"/>
            </a:xfrm>
            <a:custGeom>
              <a:avLst/>
              <a:gdLst/>
              <a:ahLst/>
              <a:cxnLst/>
              <a:rect l="l" t="t" r="r" b="b"/>
              <a:pathLst>
                <a:path w="438" h="188" extrusionOk="0">
                  <a:moveTo>
                    <a:pt x="385" y="1"/>
                  </a:moveTo>
                  <a:cubicBezTo>
                    <a:pt x="357" y="1"/>
                    <a:pt x="324" y="14"/>
                    <a:pt x="290" y="40"/>
                  </a:cubicBezTo>
                  <a:cubicBezTo>
                    <a:pt x="260" y="54"/>
                    <a:pt x="237" y="84"/>
                    <a:pt x="230" y="105"/>
                  </a:cubicBezTo>
                  <a:cubicBezTo>
                    <a:pt x="208" y="91"/>
                    <a:pt x="178" y="77"/>
                    <a:pt x="141" y="77"/>
                  </a:cubicBezTo>
                  <a:cubicBezTo>
                    <a:pt x="127" y="74"/>
                    <a:pt x="114" y="73"/>
                    <a:pt x="102" y="73"/>
                  </a:cubicBezTo>
                  <a:cubicBezTo>
                    <a:pt x="47" y="73"/>
                    <a:pt x="6" y="99"/>
                    <a:pt x="0" y="136"/>
                  </a:cubicBezTo>
                  <a:cubicBezTo>
                    <a:pt x="0" y="136"/>
                    <a:pt x="17" y="103"/>
                    <a:pt x="93" y="103"/>
                  </a:cubicBezTo>
                  <a:cubicBezTo>
                    <a:pt x="105" y="103"/>
                    <a:pt x="118" y="103"/>
                    <a:pt x="134" y="105"/>
                  </a:cubicBezTo>
                  <a:cubicBezTo>
                    <a:pt x="171" y="105"/>
                    <a:pt x="201" y="121"/>
                    <a:pt x="215" y="128"/>
                  </a:cubicBezTo>
                  <a:lnTo>
                    <a:pt x="215" y="187"/>
                  </a:lnTo>
                  <a:lnTo>
                    <a:pt x="246" y="180"/>
                  </a:lnTo>
                  <a:lnTo>
                    <a:pt x="274" y="173"/>
                  </a:lnTo>
                  <a:lnTo>
                    <a:pt x="246" y="121"/>
                  </a:lnTo>
                  <a:cubicBezTo>
                    <a:pt x="260" y="105"/>
                    <a:pt x="274" y="84"/>
                    <a:pt x="304" y="61"/>
                  </a:cubicBezTo>
                  <a:cubicBezTo>
                    <a:pt x="348" y="26"/>
                    <a:pt x="383" y="17"/>
                    <a:pt x="406" y="17"/>
                  </a:cubicBezTo>
                  <a:cubicBezTo>
                    <a:pt x="427" y="17"/>
                    <a:pt x="438" y="24"/>
                    <a:pt x="438" y="24"/>
                  </a:cubicBezTo>
                  <a:cubicBezTo>
                    <a:pt x="425" y="8"/>
                    <a:pt x="407" y="1"/>
                    <a:pt x="38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9" name="Google Shape;5298;p53">
              <a:extLst>
                <a:ext uri="{FF2B5EF4-FFF2-40B4-BE49-F238E27FC236}">
                  <a16:creationId xmlns:a16="http://schemas.microsoft.com/office/drawing/2014/main" id="{9B6C0C8B-3CC7-597F-43BD-8B5DEF706E06}"/>
                </a:ext>
              </a:extLst>
            </p:cNvPr>
            <p:cNvSpPr/>
            <p:nvPr/>
          </p:nvSpPr>
          <p:spPr>
            <a:xfrm>
              <a:off x="7717150" y="1657150"/>
              <a:ext cx="58350" cy="24300"/>
            </a:xfrm>
            <a:custGeom>
              <a:avLst/>
              <a:gdLst/>
              <a:ahLst/>
              <a:cxnLst/>
              <a:rect l="l" t="t" r="r" b="b"/>
              <a:pathLst>
                <a:path w="2334" h="972" extrusionOk="0">
                  <a:moveTo>
                    <a:pt x="777" y="1"/>
                  </a:moveTo>
                  <a:cubicBezTo>
                    <a:pt x="511" y="1"/>
                    <a:pt x="297" y="216"/>
                    <a:pt x="297" y="474"/>
                  </a:cubicBezTo>
                  <a:lnTo>
                    <a:pt x="297" y="483"/>
                  </a:lnTo>
                  <a:cubicBezTo>
                    <a:pt x="281" y="483"/>
                    <a:pt x="260" y="474"/>
                    <a:pt x="244" y="474"/>
                  </a:cubicBezTo>
                  <a:cubicBezTo>
                    <a:pt x="110" y="474"/>
                    <a:pt x="0" y="586"/>
                    <a:pt x="0" y="719"/>
                  </a:cubicBezTo>
                  <a:cubicBezTo>
                    <a:pt x="0" y="853"/>
                    <a:pt x="110" y="956"/>
                    <a:pt x="244" y="956"/>
                  </a:cubicBezTo>
                  <a:lnTo>
                    <a:pt x="244" y="972"/>
                  </a:lnTo>
                  <a:lnTo>
                    <a:pt x="2179" y="972"/>
                  </a:lnTo>
                  <a:lnTo>
                    <a:pt x="2179" y="956"/>
                  </a:lnTo>
                  <a:cubicBezTo>
                    <a:pt x="2268" y="949"/>
                    <a:pt x="2333" y="867"/>
                    <a:pt x="2333" y="778"/>
                  </a:cubicBezTo>
                  <a:cubicBezTo>
                    <a:pt x="2333" y="682"/>
                    <a:pt x="2253" y="600"/>
                    <a:pt x="2156" y="600"/>
                  </a:cubicBezTo>
                  <a:cubicBezTo>
                    <a:pt x="2111" y="600"/>
                    <a:pt x="2076" y="616"/>
                    <a:pt x="2038" y="638"/>
                  </a:cubicBezTo>
                  <a:lnTo>
                    <a:pt x="2038" y="616"/>
                  </a:lnTo>
                  <a:cubicBezTo>
                    <a:pt x="2038" y="422"/>
                    <a:pt x="1889" y="268"/>
                    <a:pt x="1697" y="268"/>
                  </a:cubicBezTo>
                  <a:cubicBezTo>
                    <a:pt x="1587" y="268"/>
                    <a:pt x="1489" y="319"/>
                    <a:pt x="1430" y="394"/>
                  </a:cubicBezTo>
                  <a:cubicBezTo>
                    <a:pt x="1409" y="385"/>
                    <a:pt x="1378" y="385"/>
                    <a:pt x="1355" y="385"/>
                  </a:cubicBezTo>
                  <a:cubicBezTo>
                    <a:pt x="1320" y="385"/>
                    <a:pt x="1282" y="394"/>
                    <a:pt x="1252" y="408"/>
                  </a:cubicBezTo>
                  <a:cubicBezTo>
                    <a:pt x="1222" y="172"/>
                    <a:pt x="1023" y="1"/>
                    <a:pt x="777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0" name="Google Shape;5299;p53">
              <a:extLst>
                <a:ext uri="{FF2B5EF4-FFF2-40B4-BE49-F238E27FC236}">
                  <a16:creationId xmlns:a16="http://schemas.microsoft.com/office/drawing/2014/main" id="{8F747D54-66B4-4693-5D63-2BCB6DAE549A}"/>
                </a:ext>
              </a:extLst>
            </p:cNvPr>
            <p:cNvSpPr/>
            <p:nvPr/>
          </p:nvSpPr>
          <p:spPr>
            <a:xfrm>
              <a:off x="7724350" y="1657350"/>
              <a:ext cx="10950" cy="22075"/>
            </a:xfrm>
            <a:custGeom>
              <a:avLst/>
              <a:gdLst/>
              <a:ahLst/>
              <a:cxnLst/>
              <a:rect l="l" t="t" r="r" b="b"/>
              <a:pathLst>
                <a:path w="438" h="883" extrusionOk="0">
                  <a:moveTo>
                    <a:pt x="438" y="0"/>
                  </a:moveTo>
                  <a:cubicBezTo>
                    <a:pt x="201" y="0"/>
                    <a:pt x="0" y="199"/>
                    <a:pt x="0" y="445"/>
                  </a:cubicBezTo>
                  <a:cubicBezTo>
                    <a:pt x="0" y="688"/>
                    <a:pt x="201" y="882"/>
                    <a:pt x="438" y="882"/>
                  </a:cubicBezTo>
                  <a:cubicBezTo>
                    <a:pt x="438" y="882"/>
                    <a:pt x="187" y="800"/>
                    <a:pt x="171" y="445"/>
                  </a:cubicBezTo>
                  <a:cubicBezTo>
                    <a:pt x="150" y="119"/>
                    <a:pt x="438" y="0"/>
                    <a:pt x="438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1" name="Google Shape;5300;p53">
              <a:extLst>
                <a:ext uri="{FF2B5EF4-FFF2-40B4-BE49-F238E27FC236}">
                  <a16:creationId xmlns:a16="http://schemas.microsoft.com/office/drawing/2014/main" id="{62A9E4F4-158C-EAB9-DAAF-1C113916CB74}"/>
                </a:ext>
              </a:extLst>
            </p:cNvPr>
            <p:cNvSpPr/>
            <p:nvPr/>
          </p:nvSpPr>
          <p:spPr>
            <a:xfrm>
              <a:off x="7745475" y="1666775"/>
              <a:ext cx="11525" cy="5975"/>
            </a:xfrm>
            <a:custGeom>
              <a:avLst/>
              <a:gdLst/>
              <a:ahLst/>
              <a:cxnLst/>
              <a:rect l="l" t="t" r="r" b="b"/>
              <a:pathLst>
                <a:path w="461" h="239" extrusionOk="0">
                  <a:moveTo>
                    <a:pt x="231" y="0"/>
                  </a:moveTo>
                  <a:cubicBezTo>
                    <a:pt x="105" y="9"/>
                    <a:pt x="0" y="112"/>
                    <a:pt x="0" y="238"/>
                  </a:cubicBezTo>
                  <a:cubicBezTo>
                    <a:pt x="0" y="238"/>
                    <a:pt x="37" y="105"/>
                    <a:pt x="231" y="89"/>
                  </a:cubicBezTo>
                  <a:cubicBezTo>
                    <a:pt x="235" y="89"/>
                    <a:pt x="239" y="89"/>
                    <a:pt x="243" y="89"/>
                  </a:cubicBezTo>
                  <a:cubicBezTo>
                    <a:pt x="403" y="89"/>
                    <a:pt x="461" y="231"/>
                    <a:pt x="461" y="231"/>
                  </a:cubicBezTo>
                  <a:cubicBezTo>
                    <a:pt x="461" y="105"/>
                    <a:pt x="356" y="0"/>
                    <a:pt x="23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2" name="Google Shape;5301;p53">
              <a:extLst>
                <a:ext uri="{FF2B5EF4-FFF2-40B4-BE49-F238E27FC236}">
                  <a16:creationId xmlns:a16="http://schemas.microsoft.com/office/drawing/2014/main" id="{182433D6-F50F-911D-76F5-5B5EB70CF1A1}"/>
                </a:ext>
              </a:extLst>
            </p:cNvPr>
            <p:cNvSpPr/>
            <p:nvPr/>
          </p:nvSpPr>
          <p:spPr>
            <a:xfrm>
              <a:off x="7352750" y="1654925"/>
              <a:ext cx="60225" cy="25025"/>
            </a:xfrm>
            <a:custGeom>
              <a:avLst/>
              <a:gdLst/>
              <a:ahLst/>
              <a:cxnLst/>
              <a:rect l="l" t="t" r="r" b="b"/>
              <a:pathLst>
                <a:path w="2409" h="1001" extrusionOk="0">
                  <a:moveTo>
                    <a:pt x="1608" y="1"/>
                  </a:moveTo>
                  <a:cubicBezTo>
                    <a:pt x="1358" y="1"/>
                    <a:pt x="1150" y="186"/>
                    <a:pt x="1119" y="422"/>
                  </a:cubicBezTo>
                  <a:cubicBezTo>
                    <a:pt x="1082" y="408"/>
                    <a:pt x="1054" y="401"/>
                    <a:pt x="1016" y="401"/>
                  </a:cubicBezTo>
                  <a:cubicBezTo>
                    <a:pt x="986" y="401"/>
                    <a:pt x="965" y="401"/>
                    <a:pt x="934" y="408"/>
                  </a:cubicBezTo>
                  <a:cubicBezTo>
                    <a:pt x="876" y="334"/>
                    <a:pt x="771" y="282"/>
                    <a:pt x="660" y="282"/>
                  </a:cubicBezTo>
                  <a:cubicBezTo>
                    <a:pt x="468" y="282"/>
                    <a:pt x="305" y="438"/>
                    <a:pt x="305" y="638"/>
                  </a:cubicBezTo>
                  <a:lnTo>
                    <a:pt x="305" y="661"/>
                  </a:lnTo>
                  <a:cubicBezTo>
                    <a:pt x="275" y="638"/>
                    <a:pt x="230" y="623"/>
                    <a:pt x="186" y="623"/>
                  </a:cubicBezTo>
                  <a:cubicBezTo>
                    <a:pt x="83" y="623"/>
                    <a:pt x="1" y="705"/>
                    <a:pt x="1" y="808"/>
                  </a:cubicBezTo>
                  <a:cubicBezTo>
                    <a:pt x="1" y="904"/>
                    <a:pt x="68" y="979"/>
                    <a:pt x="164" y="993"/>
                  </a:cubicBezTo>
                  <a:lnTo>
                    <a:pt x="164" y="1000"/>
                  </a:lnTo>
                  <a:lnTo>
                    <a:pt x="2165" y="1000"/>
                  </a:lnTo>
                  <a:lnTo>
                    <a:pt x="2165" y="993"/>
                  </a:lnTo>
                  <a:cubicBezTo>
                    <a:pt x="2298" y="993"/>
                    <a:pt x="2409" y="883"/>
                    <a:pt x="2409" y="750"/>
                  </a:cubicBezTo>
                  <a:cubicBezTo>
                    <a:pt x="2409" y="607"/>
                    <a:pt x="2298" y="497"/>
                    <a:pt x="2165" y="497"/>
                  </a:cubicBezTo>
                  <a:cubicBezTo>
                    <a:pt x="2142" y="497"/>
                    <a:pt x="2121" y="497"/>
                    <a:pt x="2105" y="504"/>
                  </a:cubicBezTo>
                  <a:lnTo>
                    <a:pt x="2105" y="497"/>
                  </a:lnTo>
                  <a:cubicBezTo>
                    <a:pt x="2105" y="223"/>
                    <a:pt x="1882" y="1"/>
                    <a:pt x="1608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3" name="Google Shape;5302;p53">
              <a:extLst>
                <a:ext uri="{FF2B5EF4-FFF2-40B4-BE49-F238E27FC236}">
                  <a16:creationId xmlns:a16="http://schemas.microsoft.com/office/drawing/2014/main" id="{5EAA113F-BF37-80AE-A0DA-97AF39DB4D1E}"/>
                </a:ext>
              </a:extLst>
            </p:cNvPr>
            <p:cNvSpPr/>
            <p:nvPr/>
          </p:nvSpPr>
          <p:spPr>
            <a:xfrm>
              <a:off x="7397225" y="1655650"/>
              <a:ext cx="8375" cy="11900"/>
            </a:xfrm>
            <a:custGeom>
              <a:avLst/>
              <a:gdLst/>
              <a:ahLst/>
              <a:cxnLst/>
              <a:rect l="l" t="t" r="r" b="b"/>
              <a:pathLst>
                <a:path w="335" h="476" extrusionOk="0">
                  <a:moveTo>
                    <a:pt x="0" y="0"/>
                  </a:moveTo>
                  <a:lnTo>
                    <a:pt x="0" y="0"/>
                  </a:lnTo>
                  <a:cubicBezTo>
                    <a:pt x="192" y="75"/>
                    <a:pt x="326" y="253"/>
                    <a:pt x="326" y="468"/>
                  </a:cubicBezTo>
                  <a:lnTo>
                    <a:pt x="326" y="475"/>
                  </a:lnTo>
                  <a:lnTo>
                    <a:pt x="334" y="475"/>
                  </a:lnTo>
                  <a:lnTo>
                    <a:pt x="334" y="438"/>
                  </a:lnTo>
                  <a:cubicBezTo>
                    <a:pt x="334" y="232"/>
                    <a:pt x="192" y="61"/>
                    <a:pt x="0" y="0"/>
                  </a:cubicBezTo>
                  <a:close/>
                </a:path>
              </a:pathLst>
            </a:custGeom>
            <a:solidFill>
              <a:srgbClr val="EDED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4" name="Google Shape;5303;p53">
              <a:extLst>
                <a:ext uri="{FF2B5EF4-FFF2-40B4-BE49-F238E27FC236}">
                  <a16:creationId xmlns:a16="http://schemas.microsoft.com/office/drawing/2014/main" id="{FE3B0248-7B39-B612-F473-5415A0C8531A}"/>
                </a:ext>
              </a:extLst>
            </p:cNvPr>
            <p:cNvSpPr/>
            <p:nvPr/>
          </p:nvSpPr>
          <p:spPr>
            <a:xfrm>
              <a:off x="7394225" y="1655300"/>
              <a:ext cx="11375" cy="22825"/>
            </a:xfrm>
            <a:custGeom>
              <a:avLst/>
              <a:gdLst/>
              <a:ahLst/>
              <a:cxnLst/>
              <a:rect l="l" t="t" r="r" b="b"/>
              <a:pathLst>
                <a:path w="455" h="913" extrusionOk="0">
                  <a:moveTo>
                    <a:pt x="1" y="0"/>
                  </a:moveTo>
                  <a:cubicBezTo>
                    <a:pt x="1" y="0"/>
                    <a:pt x="298" y="119"/>
                    <a:pt x="284" y="452"/>
                  </a:cubicBezTo>
                  <a:cubicBezTo>
                    <a:pt x="261" y="824"/>
                    <a:pt x="1" y="913"/>
                    <a:pt x="1" y="913"/>
                  </a:cubicBezTo>
                  <a:cubicBezTo>
                    <a:pt x="239" y="913"/>
                    <a:pt x="438" y="719"/>
                    <a:pt x="454" y="489"/>
                  </a:cubicBezTo>
                  <a:lnTo>
                    <a:pt x="446" y="489"/>
                  </a:lnTo>
                  <a:lnTo>
                    <a:pt x="446" y="482"/>
                  </a:lnTo>
                  <a:cubicBezTo>
                    <a:pt x="446" y="267"/>
                    <a:pt x="312" y="89"/>
                    <a:pt x="120" y="14"/>
                  </a:cubicBezTo>
                  <a:cubicBezTo>
                    <a:pt x="83" y="7"/>
                    <a:pt x="45" y="0"/>
                    <a:pt x="1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5" name="Google Shape;5304;p53">
              <a:extLst>
                <a:ext uri="{FF2B5EF4-FFF2-40B4-BE49-F238E27FC236}">
                  <a16:creationId xmlns:a16="http://schemas.microsoft.com/office/drawing/2014/main" id="{35BE534D-D181-F31A-4D9D-12FA15B8DA41}"/>
                </a:ext>
              </a:extLst>
            </p:cNvPr>
            <p:cNvSpPr/>
            <p:nvPr/>
          </p:nvSpPr>
          <p:spPr>
            <a:xfrm>
              <a:off x="7371825" y="1665125"/>
              <a:ext cx="11900" cy="5925"/>
            </a:xfrm>
            <a:custGeom>
              <a:avLst/>
              <a:gdLst/>
              <a:ahLst/>
              <a:cxnLst/>
              <a:rect l="l" t="t" r="r" b="b"/>
              <a:pathLst>
                <a:path w="476" h="237" extrusionOk="0">
                  <a:moveTo>
                    <a:pt x="239" y="0"/>
                  </a:moveTo>
                  <a:cubicBezTo>
                    <a:pt x="113" y="0"/>
                    <a:pt x="8" y="103"/>
                    <a:pt x="1" y="230"/>
                  </a:cubicBezTo>
                  <a:cubicBezTo>
                    <a:pt x="1" y="230"/>
                    <a:pt x="61" y="89"/>
                    <a:pt x="223" y="89"/>
                  </a:cubicBezTo>
                  <a:lnTo>
                    <a:pt x="246" y="89"/>
                  </a:lnTo>
                  <a:cubicBezTo>
                    <a:pt x="438" y="103"/>
                    <a:pt x="475" y="237"/>
                    <a:pt x="475" y="237"/>
                  </a:cubicBezTo>
                  <a:cubicBezTo>
                    <a:pt x="475" y="103"/>
                    <a:pt x="372" y="0"/>
                    <a:pt x="246" y="0"/>
                  </a:cubicBezTo>
                  <a:close/>
                </a:path>
              </a:pathLst>
            </a:custGeom>
            <a:solidFill>
              <a:srgbClr val="BFE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6" name="Google Shape;5305;p53">
              <a:extLst>
                <a:ext uri="{FF2B5EF4-FFF2-40B4-BE49-F238E27FC236}">
                  <a16:creationId xmlns:a16="http://schemas.microsoft.com/office/drawing/2014/main" id="{DF24D9D8-3782-E14B-1BB7-37B090F39678}"/>
                </a:ext>
              </a:extLst>
            </p:cNvPr>
            <p:cNvSpPr/>
            <p:nvPr/>
          </p:nvSpPr>
          <p:spPr>
            <a:xfrm>
              <a:off x="7309975" y="1567125"/>
              <a:ext cx="59475" cy="74850"/>
            </a:xfrm>
            <a:custGeom>
              <a:avLst/>
              <a:gdLst/>
              <a:ahLst/>
              <a:cxnLst/>
              <a:rect l="l" t="t" r="r" b="b"/>
              <a:pathLst>
                <a:path w="2379" h="2994" extrusionOk="0">
                  <a:moveTo>
                    <a:pt x="1185" y="1"/>
                  </a:moveTo>
                  <a:cubicBezTo>
                    <a:pt x="675" y="1"/>
                    <a:pt x="252" y="415"/>
                    <a:pt x="252" y="934"/>
                  </a:cubicBezTo>
                  <a:cubicBezTo>
                    <a:pt x="252" y="979"/>
                    <a:pt x="259" y="1023"/>
                    <a:pt x="268" y="1068"/>
                  </a:cubicBezTo>
                  <a:cubicBezTo>
                    <a:pt x="104" y="1267"/>
                    <a:pt x="1" y="1527"/>
                    <a:pt x="1" y="1808"/>
                  </a:cubicBezTo>
                  <a:cubicBezTo>
                    <a:pt x="1" y="2467"/>
                    <a:pt x="534" y="2994"/>
                    <a:pt x="1185" y="2994"/>
                  </a:cubicBezTo>
                  <a:cubicBezTo>
                    <a:pt x="1845" y="2994"/>
                    <a:pt x="2379" y="2467"/>
                    <a:pt x="2379" y="1808"/>
                  </a:cubicBezTo>
                  <a:cubicBezTo>
                    <a:pt x="2379" y="1527"/>
                    <a:pt x="2275" y="1267"/>
                    <a:pt x="2112" y="1068"/>
                  </a:cubicBezTo>
                  <a:cubicBezTo>
                    <a:pt x="2119" y="1023"/>
                    <a:pt x="2126" y="979"/>
                    <a:pt x="2126" y="934"/>
                  </a:cubicBezTo>
                  <a:cubicBezTo>
                    <a:pt x="2126" y="415"/>
                    <a:pt x="1705" y="1"/>
                    <a:pt x="118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7" name="Google Shape;5306;p53">
              <a:extLst>
                <a:ext uri="{FF2B5EF4-FFF2-40B4-BE49-F238E27FC236}">
                  <a16:creationId xmlns:a16="http://schemas.microsoft.com/office/drawing/2014/main" id="{84358034-9BD0-40C0-EF2E-DD2759776A8F}"/>
                </a:ext>
              </a:extLst>
            </p:cNvPr>
            <p:cNvSpPr/>
            <p:nvPr/>
          </p:nvSpPr>
          <p:spPr>
            <a:xfrm>
              <a:off x="7339600" y="1590125"/>
              <a:ext cx="2825" cy="89100"/>
            </a:xfrm>
            <a:custGeom>
              <a:avLst/>
              <a:gdLst/>
              <a:ahLst/>
              <a:cxnLst/>
              <a:rect l="l" t="t" r="r" b="b"/>
              <a:pathLst>
                <a:path w="113" h="3564" extrusionOk="0">
                  <a:moveTo>
                    <a:pt x="54" y="1"/>
                  </a:moveTo>
                  <a:cubicBezTo>
                    <a:pt x="53" y="1"/>
                    <a:pt x="52" y="4"/>
                    <a:pt x="52" y="14"/>
                  </a:cubicBezTo>
                  <a:lnTo>
                    <a:pt x="0" y="3511"/>
                  </a:lnTo>
                  <a:cubicBezTo>
                    <a:pt x="0" y="3534"/>
                    <a:pt x="23" y="3564"/>
                    <a:pt x="52" y="3564"/>
                  </a:cubicBezTo>
                  <a:lnTo>
                    <a:pt x="61" y="3564"/>
                  </a:lnTo>
                  <a:cubicBezTo>
                    <a:pt x="89" y="3564"/>
                    <a:pt x="112" y="3534"/>
                    <a:pt x="112" y="3511"/>
                  </a:cubicBezTo>
                  <a:cubicBezTo>
                    <a:pt x="112" y="3511"/>
                    <a:pt x="89" y="14"/>
                    <a:pt x="61" y="14"/>
                  </a:cubicBezTo>
                  <a:cubicBezTo>
                    <a:pt x="61" y="14"/>
                    <a:pt x="57" y="1"/>
                    <a:pt x="5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8" name="Google Shape;5307;p53">
              <a:extLst>
                <a:ext uri="{FF2B5EF4-FFF2-40B4-BE49-F238E27FC236}">
                  <a16:creationId xmlns:a16="http://schemas.microsoft.com/office/drawing/2014/main" id="{BDB82863-0B8A-CBF2-AE9E-6D7A71AE030B}"/>
                </a:ext>
              </a:extLst>
            </p:cNvPr>
            <p:cNvSpPr/>
            <p:nvPr/>
          </p:nvSpPr>
          <p:spPr>
            <a:xfrm>
              <a:off x="7324025" y="1611600"/>
              <a:ext cx="16875" cy="13875"/>
            </a:xfrm>
            <a:custGeom>
              <a:avLst/>
              <a:gdLst/>
              <a:ahLst/>
              <a:cxnLst/>
              <a:rect l="l" t="t" r="r" b="b"/>
              <a:pathLst>
                <a:path w="675" h="555" extrusionOk="0">
                  <a:moveTo>
                    <a:pt x="1" y="0"/>
                  </a:moveTo>
                  <a:lnTo>
                    <a:pt x="1" y="0"/>
                  </a:lnTo>
                  <a:cubicBezTo>
                    <a:pt x="331" y="541"/>
                    <a:pt x="634" y="555"/>
                    <a:pt x="665" y="555"/>
                  </a:cubicBezTo>
                  <a:cubicBezTo>
                    <a:pt x="667" y="555"/>
                    <a:pt x="668" y="555"/>
                    <a:pt x="668" y="555"/>
                  </a:cubicBezTo>
                  <a:lnTo>
                    <a:pt x="675" y="473"/>
                  </a:lnTo>
                  <a:lnTo>
                    <a:pt x="675" y="473"/>
                  </a:lnTo>
                  <a:cubicBezTo>
                    <a:pt x="675" y="473"/>
                    <a:pt x="668" y="479"/>
                    <a:pt x="647" y="479"/>
                  </a:cubicBezTo>
                  <a:cubicBezTo>
                    <a:pt x="606" y="479"/>
                    <a:pt x="511" y="455"/>
                    <a:pt x="312" y="311"/>
                  </a:cubicBezTo>
                  <a:cubicBezTo>
                    <a:pt x="134" y="185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9" name="Google Shape;5308;p53">
              <a:extLst>
                <a:ext uri="{FF2B5EF4-FFF2-40B4-BE49-F238E27FC236}">
                  <a16:creationId xmlns:a16="http://schemas.microsoft.com/office/drawing/2014/main" id="{31F02A48-AA12-AC5C-30E5-08D7C3BFCAA0}"/>
                </a:ext>
              </a:extLst>
            </p:cNvPr>
            <p:cNvSpPr/>
            <p:nvPr/>
          </p:nvSpPr>
          <p:spPr>
            <a:xfrm>
              <a:off x="7340875" y="1607675"/>
              <a:ext cx="14475" cy="11900"/>
            </a:xfrm>
            <a:custGeom>
              <a:avLst/>
              <a:gdLst/>
              <a:ahLst/>
              <a:cxnLst/>
              <a:rect l="l" t="t" r="r" b="b"/>
              <a:pathLst>
                <a:path w="579" h="476" extrusionOk="0">
                  <a:moveTo>
                    <a:pt x="579" y="1"/>
                  </a:moveTo>
                  <a:cubicBezTo>
                    <a:pt x="579" y="1"/>
                    <a:pt x="461" y="164"/>
                    <a:pt x="312" y="267"/>
                  </a:cubicBezTo>
                  <a:cubicBezTo>
                    <a:pt x="143" y="392"/>
                    <a:pt x="60" y="413"/>
                    <a:pt x="24" y="413"/>
                  </a:cubicBezTo>
                  <a:cubicBezTo>
                    <a:pt x="7" y="413"/>
                    <a:pt x="1" y="408"/>
                    <a:pt x="1" y="408"/>
                  </a:cubicBezTo>
                  <a:lnTo>
                    <a:pt x="1" y="408"/>
                  </a:lnTo>
                  <a:lnTo>
                    <a:pt x="10" y="475"/>
                  </a:lnTo>
                  <a:cubicBezTo>
                    <a:pt x="10" y="475"/>
                    <a:pt x="11" y="475"/>
                    <a:pt x="12" y="475"/>
                  </a:cubicBezTo>
                  <a:cubicBezTo>
                    <a:pt x="40" y="475"/>
                    <a:pt x="300" y="463"/>
                    <a:pt x="57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0" name="Google Shape;5309;p53">
              <a:extLst>
                <a:ext uri="{FF2B5EF4-FFF2-40B4-BE49-F238E27FC236}">
                  <a16:creationId xmlns:a16="http://schemas.microsoft.com/office/drawing/2014/main" id="{68B1B44D-1829-A1ED-8E6F-59F22FF07590}"/>
                </a:ext>
              </a:extLst>
            </p:cNvPr>
            <p:cNvSpPr/>
            <p:nvPr/>
          </p:nvSpPr>
          <p:spPr>
            <a:xfrm>
              <a:off x="7329425" y="1599375"/>
              <a:ext cx="11475" cy="9450"/>
            </a:xfrm>
            <a:custGeom>
              <a:avLst/>
              <a:gdLst/>
              <a:ahLst/>
              <a:cxnLst/>
              <a:rect l="l" t="t" r="r" b="b"/>
              <a:pathLst>
                <a:path w="459" h="378" extrusionOk="0">
                  <a:moveTo>
                    <a:pt x="0" y="0"/>
                  </a:moveTo>
                  <a:cubicBezTo>
                    <a:pt x="228" y="370"/>
                    <a:pt x="443" y="377"/>
                    <a:pt x="458" y="377"/>
                  </a:cubicBezTo>
                  <a:cubicBezTo>
                    <a:pt x="459" y="377"/>
                    <a:pt x="459" y="377"/>
                    <a:pt x="459" y="377"/>
                  </a:cubicBezTo>
                  <a:lnTo>
                    <a:pt x="459" y="325"/>
                  </a:lnTo>
                  <a:cubicBezTo>
                    <a:pt x="459" y="325"/>
                    <a:pt x="455" y="328"/>
                    <a:pt x="444" y="328"/>
                  </a:cubicBezTo>
                  <a:cubicBezTo>
                    <a:pt x="417" y="328"/>
                    <a:pt x="352" y="313"/>
                    <a:pt x="208" y="215"/>
                  </a:cubicBezTo>
                  <a:cubicBezTo>
                    <a:pt x="89" y="1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1" name="Google Shape;5310;p53">
              <a:extLst>
                <a:ext uri="{FF2B5EF4-FFF2-40B4-BE49-F238E27FC236}">
                  <a16:creationId xmlns:a16="http://schemas.microsoft.com/office/drawing/2014/main" id="{307CE840-CC80-C995-4E67-0FFF048753BD}"/>
                </a:ext>
              </a:extLst>
            </p:cNvPr>
            <p:cNvSpPr/>
            <p:nvPr/>
          </p:nvSpPr>
          <p:spPr>
            <a:xfrm>
              <a:off x="7378150" y="1188300"/>
              <a:ext cx="26700" cy="26700"/>
            </a:xfrm>
            <a:custGeom>
              <a:avLst/>
              <a:gdLst/>
              <a:ahLst/>
              <a:cxnLst/>
              <a:rect l="l" t="t" r="r" b="b"/>
              <a:pathLst>
                <a:path w="1068" h="1068" extrusionOk="0">
                  <a:moveTo>
                    <a:pt x="534" y="0"/>
                  </a:moveTo>
                  <a:cubicBezTo>
                    <a:pt x="237" y="0"/>
                    <a:pt x="0" y="237"/>
                    <a:pt x="0" y="534"/>
                  </a:cubicBezTo>
                  <a:cubicBezTo>
                    <a:pt x="0" y="831"/>
                    <a:pt x="237" y="1067"/>
                    <a:pt x="534" y="1067"/>
                  </a:cubicBezTo>
                  <a:cubicBezTo>
                    <a:pt x="831" y="1067"/>
                    <a:pt x="1067" y="831"/>
                    <a:pt x="1067" y="534"/>
                  </a:cubicBezTo>
                  <a:cubicBezTo>
                    <a:pt x="1067" y="237"/>
                    <a:pt x="831" y="0"/>
                    <a:pt x="534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2" name="Google Shape;5311;p53">
              <a:extLst>
                <a:ext uri="{FF2B5EF4-FFF2-40B4-BE49-F238E27FC236}">
                  <a16:creationId xmlns:a16="http://schemas.microsoft.com/office/drawing/2014/main" id="{7730CC6A-FB63-16E8-9282-80A9FC3E63D7}"/>
                </a:ext>
              </a:extLst>
            </p:cNvPr>
            <p:cNvSpPr/>
            <p:nvPr/>
          </p:nvSpPr>
          <p:spPr>
            <a:xfrm>
              <a:off x="7314200" y="1224800"/>
              <a:ext cx="9850" cy="9850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2" y="0"/>
                  </a:moveTo>
                  <a:cubicBezTo>
                    <a:pt x="90" y="0"/>
                    <a:pt x="1" y="89"/>
                    <a:pt x="1" y="192"/>
                  </a:cubicBezTo>
                  <a:cubicBezTo>
                    <a:pt x="1" y="304"/>
                    <a:pt x="90" y="393"/>
                    <a:pt x="202" y="393"/>
                  </a:cubicBezTo>
                  <a:cubicBezTo>
                    <a:pt x="312" y="393"/>
                    <a:pt x="394" y="304"/>
                    <a:pt x="394" y="192"/>
                  </a:cubicBezTo>
                  <a:cubicBezTo>
                    <a:pt x="394" y="89"/>
                    <a:pt x="312" y="0"/>
                    <a:pt x="202" y="0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3" name="Google Shape;5312;p53">
              <a:extLst>
                <a:ext uri="{FF2B5EF4-FFF2-40B4-BE49-F238E27FC236}">
                  <a16:creationId xmlns:a16="http://schemas.microsoft.com/office/drawing/2014/main" id="{F23C764C-D581-319A-B646-904A816D52F8}"/>
                </a:ext>
              </a:extLst>
            </p:cNvPr>
            <p:cNvSpPr/>
            <p:nvPr/>
          </p:nvSpPr>
          <p:spPr>
            <a:xfrm>
              <a:off x="7569850" y="1372975"/>
              <a:ext cx="12650" cy="12600"/>
            </a:xfrm>
            <a:custGeom>
              <a:avLst/>
              <a:gdLst/>
              <a:ahLst/>
              <a:cxnLst/>
              <a:rect l="l" t="t" r="r" b="b"/>
              <a:pathLst>
                <a:path w="506" h="504" extrusionOk="0">
                  <a:moveTo>
                    <a:pt x="253" y="1"/>
                  </a:moveTo>
                  <a:cubicBezTo>
                    <a:pt x="113" y="1"/>
                    <a:pt x="0" y="113"/>
                    <a:pt x="0" y="253"/>
                  </a:cubicBezTo>
                  <a:cubicBezTo>
                    <a:pt x="0" y="394"/>
                    <a:pt x="113" y="504"/>
                    <a:pt x="253" y="504"/>
                  </a:cubicBezTo>
                  <a:cubicBezTo>
                    <a:pt x="394" y="504"/>
                    <a:pt x="506" y="394"/>
                    <a:pt x="506" y="253"/>
                  </a:cubicBezTo>
                  <a:cubicBezTo>
                    <a:pt x="506" y="113"/>
                    <a:pt x="394" y="1"/>
                    <a:pt x="253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4" name="Google Shape;5313;p53">
              <a:extLst>
                <a:ext uri="{FF2B5EF4-FFF2-40B4-BE49-F238E27FC236}">
                  <a16:creationId xmlns:a16="http://schemas.microsoft.com/office/drawing/2014/main" id="{68817E2D-2407-FE08-73C3-065BBEC97C0B}"/>
                </a:ext>
              </a:extLst>
            </p:cNvPr>
            <p:cNvSpPr/>
            <p:nvPr/>
          </p:nvSpPr>
          <p:spPr>
            <a:xfrm>
              <a:off x="7452975" y="1412050"/>
              <a:ext cx="63550" cy="63775"/>
            </a:xfrm>
            <a:custGeom>
              <a:avLst/>
              <a:gdLst/>
              <a:ahLst/>
              <a:cxnLst/>
              <a:rect l="l" t="t" r="r" b="b"/>
              <a:pathLst>
                <a:path w="2542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1972" y="2551"/>
                    <a:pt x="2541" y="1980"/>
                    <a:pt x="2541" y="1276"/>
                  </a:cubicBezTo>
                  <a:cubicBezTo>
                    <a:pt x="2541" y="572"/>
                    <a:pt x="1972" y="1"/>
                    <a:pt x="1275" y="1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5" name="Google Shape;5314;p53">
              <a:extLst>
                <a:ext uri="{FF2B5EF4-FFF2-40B4-BE49-F238E27FC236}">
                  <a16:creationId xmlns:a16="http://schemas.microsoft.com/office/drawing/2014/main" id="{318D49D5-3FCB-29D0-9ABA-79D831612282}"/>
                </a:ext>
              </a:extLst>
            </p:cNvPr>
            <p:cNvSpPr/>
            <p:nvPr/>
          </p:nvSpPr>
          <p:spPr>
            <a:xfrm>
              <a:off x="7452800" y="1412050"/>
              <a:ext cx="31900" cy="63775"/>
            </a:xfrm>
            <a:custGeom>
              <a:avLst/>
              <a:gdLst/>
              <a:ahLst/>
              <a:cxnLst/>
              <a:rect l="l" t="t" r="r" b="b"/>
              <a:pathLst>
                <a:path w="1276" h="2551" extrusionOk="0">
                  <a:moveTo>
                    <a:pt x="1275" y="1"/>
                  </a:moveTo>
                  <a:cubicBezTo>
                    <a:pt x="571" y="1"/>
                    <a:pt x="0" y="572"/>
                    <a:pt x="0" y="1276"/>
                  </a:cubicBezTo>
                  <a:cubicBezTo>
                    <a:pt x="0" y="1980"/>
                    <a:pt x="571" y="2551"/>
                    <a:pt x="1275" y="2551"/>
                  </a:cubicBezTo>
                  <a:cubicBezTo>
                    <a:pt x="571" y="2542"/>
                    <a:pt x="7" y="1980"/>
                    <a:pt x="7" y="1276"/>
                  </a:cubicBezTo>
                  <a:cubicBezTo>
                    <a:pt x="7" y="572"/>
                    <a:pt x="571" y="8"/>
                    <a:pt x="1275" y="1"/>
                  </a:cubicBezTo>
                  <a:close/>
                </a:path>
              </a:pathLst>
            </a:custGeom>
            <a:solidFill>
              <a:srgbClr val="99A0A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6" name="Google Shape;5315;p53">
              <a:extLst>
                <a:ext uri="{FF2B5EF4-FFF2-40B4-BE49-F238E27FC236}">
                  <a16:creationId xmlns:a16="http://schemas.microsoft.com/office/drawing/2014/main" id="{FB2A05E0-AF5D-9909-3C16-A0E07E636F46}"/>
                </a:ext>
              </a:extLst>
            </p:cNvPr>
            <p:cNvSpPr/>
            <p:nvPr/>
          </p:nvSpPr>
          <p:spPr>
            <a:xfrm>
              <a:off x="7452975" y="1412050"/>
              <a:ext cx="31725" cy="63775"/>
            </a:xfrm>
            <a:custGeom>
              <a:avLst/>
              <a:gdLst/>
              <a:ahLst/>
              <a:cxnLst/>
              <a:rect l="l" t="t" r="r" b="b"/>
              <a:pathLst>
                <a:path w="1269" h="2551" extrusionOk="0">
                  <a:moveTo>
                    <a:pt x="1268" y="1"/>
                  </a:moveTo>
                  <a:cubicBezTo>
                    <a:pt x="564" y="8"/>
                    <a:pt x="0" y="572"/>
                    <a:pt x="0" y="1276"/>
                  </a:cubicBezTo>
                  <a:cubicBezTo>
                    <a:pt x="0" y="1980"/>
                    <a:pt x="564" y="2542"/>
                    <a:pt x="1268" y="2551"/>
                  </a:cubicBezTo>
                  <a:cubicBezTo>
                    <a:pt x="1268" y="2542"/>
                    <a:pt x="578" y="1913"/>
                    <a:pt x="578" y="1276"/>
                  </a:cubicBezTo>
                  <a:cubicBezTo>
                    <a:pt x="578" y="639"/>
                    <a:pt x="1268" y="8"/>
                    <a:pt x="1268" y="1"/>
                  </a:cubicBezTo>
                  <a:close/>
                </a:path>
              </a:pathLst>
            </a:custGeom>
            <a:solidFill>
              <a:srgbClr val="FFE9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7" name="Google Shape;5316;p53">
              <a:extLst>
                <a:ext uri="{FF2B5EF4-FFF2-40B4-BE49-F238E27FC236}">
                  <a16:creationId xmlns:a16="http://schemas.microsoft.com/office/drawing/2014/main" id="{9D45B03B-AC2B-0688-B411-144BE81589D8}"/>
                </a:ext>
              </a:extLst>
            </p:cNvPr>
            <p:cNvSpPr/>
            <p:nvPr/>
          </p:nvSpPr>
          <p:spPr>
            <a:xfrm>
              <a:off x="7148250" y="1678625"/>
              <a:ext cx="644150" cy="39875"/>
            </a:xfrm>
            <a:custGeom>
              <a:avLst/>
              <a:gdLst/>
              <a:ahLst/>
              <a:cxnLst/>
              <a:rect l="l" t="t" r="r" b="b"/>
              <a:pathLst>
                <a:path w="25766" h="1595" extrusionOk="0">
                  <a:moveTo>
                    <a:pt x="1615" y="1"/>
                  </a:moveTo>
                  <a:cubicBezTo>
                    <a:pt x="0" y="1"/>
                    <a:pt x="141" y="1594"/>
                    <a:pt x="1615" y="1594"/>
                  </a:cubicBezTo>
                  <a:lnTo>
                    <a:pt x="25765" y="1594"/>
                  </a:lnTo>
                  <a:lnTo>
                    <a:pt x="25765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8" name="Google Shape;5317;p53">
              <a:extLst>
                <a:ext uri="{FF2B5EF4-FFF2-40B4-BE49-F238E27FC236}">
                  <a16:creationId xmlns:a16="http://schemas.microsoft.com/office/drawing/2014/main" id="{8AF1E054-A4B0-3913-3774-3DD7A023DED0}"/>
                </a:ext>
              </a:extLst>
            </p:cNvPr>
            <p:cNvSpPr/>
            <p:nvPr/>
          </p:nvSpPr>
          <p:spPr>
            <a:xfrm>
              <a:off x="7095475" y="1718475"/>
              <a:ext cx="696925" cy="39850"/>
            </a:xfrm>
            <a:custGeom>
              <a:avLst/>
              <a:gdLst/>
              <a:ahLst/>
              <a:cxnLst/>
              <a:rect l="l" t="t" r="r" b="b"/>
              <a:pathLst>
                <a:path w="27877" h="1594" extrusionOk="0">
                  <a:moveTo>
                    <a:pt x="1615" y="0"/>
                  </a:moveTo>
                  <a:cubicBezTo>
                    <a:pt x="45" y="0"/>
                    <a:pt x="0" y="1594"/>
                    <a:pt x="1615" y="1594"/>
                  </a:cubicBezTo>
                  <a:lnTo>
                    <a:pt x="27876" y="1594"/>
                  </a:lnTo>
                  <a:lnTo>
                    <a:pt x="2787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351" name="Google Shape;5134;p53">
            <a:extLst>
              <a:ext uri="{FF2B5EF4-FFF2-40B4-BE49-F238E27FC236}">
                <a16:creationId xmlns:a16="http://schemas.microsoft.com/office/drawing/2014/main" id="{5B95AB12-2A8D-A775-B3C6-8EBA1DA6488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4340" y="274320"/>
            <a:ext cx="8583930" cy="899219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en-IN" sz="4000" dirty="0">
                <a:solidFill>
                  <a:srgbClr val="A1E1FD"/>
                </a:solidFill>
              </a:rPr>
              <a:t>2025–Present: The Trump Administration</a:t>
            </a:r>
            <a:endParaRPr sz="4000" dirty="0">
              <a:solidFill>
                <a:srgbClr val="A1E1FD"/>
              </a:solidFill>
            </a:endParaRPr>
          </a:p>
        </p:txBody>
      </p:sp>
      <p:sp>
        <p:nvSpPr>
          <p:cNvPr id="5356" name="TextBox 5355">
            <a:extLst>
              <a:ext uri="{FF2B5EF4-FFF2-40B4-BE49-F238E27FC236}">
                <a16:creationId xmlns:a16="http://schemas.microsoft.com/office/drawing/2014/main" id="{0509BA35-A9EC-07BF-35A8-D6AADEF5C141}"/>
              </a:ext>
            </a:extLst>
          </p:cNvPr>
          <p:cNvSpPr txBox="1"/>
          <p:nvPr/>
        </p:nvSpPr>
        <p:spPr>
          <a:xfrm>
            <a:off x="211456" y="1586865"/>
            <a:ext cx="8721088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b="1" dirty="0">
                <a:solidFill>
                  <a:srgbClr val="FFD65D"/>
                </a:solidFill>
                <a:latin typeface="Arial" panose="020B0604020202020204" pitchFamily="34" charset="0"/>
              </a:rPr>
              <a:t>SCC Discontinued:</a:t>
            </a:r>
            <a:r>
              <a:rPr lang="en-US" altLang="en-US" sz="2400" dirty="0">
                <a:solidFill>
                  <a:srgbClr val="FFD65D"/>
                </a:solidFill>
                <a:latin typeface="Arial" panose="020B0604020202020204" pitchFamily="34" charset="0"/>
              </a:rPr>
              <a:t> </a:t>
            </a:r>
            <a:r>
              <a:rPr lang="en-US" altLang="en-US" sz="2400" dirty="0">
                <a:solidFill>
                  <a:srgbClr val="FFFFFF"/>
                </a:solidFill>
                <a:latin typeface="Arial" panose="020B0604020202020204" pitchFamily="34" charset="0"/>
              </a:rPr>
              <a:t>Unless legally required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endParaRPr lang="en-US" altLang="en-US" sz="2400" dirty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2400" b="1" dirty="0">
                <a:solidFill>
                  <a:srgbClr val="FFC000"/>
                </a:solidFill>
              </a:rPr>
              <a:t>Deregulation Focus: </a:t>
            </a:r>
            <a:r>
              <a:rPr lang="en-US" sz="2400" dirty="0">
                <a:solidFill>
                  <a:srgbClr val="FFFFFF"/>
                </a:solidFill>
              </a:rPr>
              <a:t>Seen as  limiting economic growth and energy production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endParaRPr lang="en-US" sz="2400" b="1" dirty="0">
              <a:solidFill>
                <a:srgbClr val="FFFFFF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2400" b="1" dirty="0">
                <a:solidFill>
                  <a:srgbClr val="FFFF00"/>
                </a:solidFill>
              </a:rPr>
              <a:t>Impact on Policy: </a:t>
            </a:r>
            <a:r>
              <a:rPr lang="en-US" sz="2400" dirty="0">
                <a:solidFill>
                  <a:srgbClr val="FFFFFF"/>
                </a:solidFill>
                <a:latin typeface="Kumbh Sans" panose="020B0604020202020204" charset="0"/>
                <a:cs typeface="Kumbh Sans" panose="020B0604020202020204" charset="0"/>
              </a:rPr>
              <a:t>Weakened EPA ability to justify emission rules.</a:t>
            </a:r>
            <a:endParaRPr lang="en-US" altLang="en-US" sz="2400" dirty="0">
              <a:solidFill>
                <a:srgbClr val="FFFFFF"/>
              </a:solidFill>
              <a:latin typeface="Kumbh Sans" panose="020B0604020202020204" charset="0"/>
              <a:cs typeface="Kumbh Sans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47831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249FD0A-7D54-A4EB-B885-985D6CD74B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2868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49FD0A-7D54-A4EB-B885-985D6CD74B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Google Shape;7;p1">
            <a:extLst>
              <a:ext uri="{FF2B5EF4-FFF2-40B4-BE49-F238E27FC236}">
                <a16:creationId xmlns:a16="http://schemas.microsoft.com/office/drawing/2014/main" id="{F20DC2A4-766A-8F03-00BB-9C623ABB73E6}"/>
              </a:ext>
            </a:extLst>
          </p:cNvPr>
          <p:cNvSpPr txBox="1"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638675" y="1108075"/>
            <a:ext cx="4219575" cy="2698750"/>
          </a:xfrm>
          <a:prstGeom prst="roundRect">
            <a:avLst>
              <a:gd name="adj" fmla="val 6647"/>
            </a:avLst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●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○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■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●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○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■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●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○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400"/>
              <a:buFont typeface="Roboto"/>
              <a:buChar char="■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IN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387" name="Google Shape;5387;p55"/>
          <p:cNvSpPr txBox="1">
            <a:spLocks noGrp="1"/>
          </p:cNvSpPr>
          <p:nvPr>
            <p:ph type="title"/>
          </p:nvPr>
        </p:nvSpPr>
        <p:spPr>
          <a:xfrm>
            <a:off x="87445" y="679548"/>
            <a:ext cx="4976541" cy="335587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4800" dirty="0">
                <a:solidFill>
                  <a:srgbClr val="A1E1FD"/>
                </a:solidFill>
              </a:rPr>
              <a:t>SCC</a:t>
            </a:r>
            <a:r>
              <a:rPr lang="en-US" sz="4800" dirty="0"/>
              <a:t> as a Guide for </a:t>
            </a:r>
            <a:r>
              <a:rPr lang="en-US" sz="4800" dirty="0">
                <a:solidFill>
                  <a:srgbClr val="8AC93D"/>
                </a:solidFill>
              </a:rPr>
              <a:t>Indian Policy &amp; Investment</a:t>
            </a:r>
            <a:endParaRPr sz="4800" dirty="0">
              <a:solidFill>
                <a:srgbClr val="8AC93D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64850F5-DEC1-FF69-E99E-CE8AD8559C41}"/>
              </a:ext>
            </a:extLst>
          </p:cNvPr>
          <p:cNvGrpSpPr/>
          <p:nvPr/>
        </p:nvGrpSpPr>
        <p:grpSpPr>
          <a:xfrm>
            <a:off x="4491990" y="938917"/>
            <a:ext cx="4503420" cy="3265665"/>
            <a:chOff x="212013" y="284523"/>
            <a:chExt cx="5720999" cy="4177307"/>
          </a:xfrm>
        </p:grpSpPr>
        <p:sp>
          <p:nvSpPr>
            <p:cNvPr id="5383" name="Google Shape;5383;p55"/>
            <p:cNvSpPr/>
            <p:nvPr/>
          </p:nvSpPr>
          <p:spPr>
            <a:xfrm>
              <a:off x="212013" y="284523"/>
              <a:ext cx="5720999" cy="3731285"/>
            </a:xfrm>
            <a:custGeom>
              <a:avLst/>
              <a:gdLst/>
              <a:ahLst/>
              <a:cxnLst/>
              <a:rect l="l" t="t" r="r" b="b"/>
              <a:pathLst>
                <a:path w="163895" h="100702" extrusionOk="0">
                  <a:moveTo>
                    <a:pt x="8116" y="0"/>
                  </a:moveTo>
                  <a:cubicBezTo>
                    <a:pt x="3557" y="0"/>
                    <a:pt x="0" y="3678"/>
                    <a:pt x="0" y="8238"/>
                  </a:cubicBezTo>
                  <a:lnTo>
                    <a:pt x="0" y="100701"/>
                  </a:lnTo>
                  <a:lnTo>
                    <a:pt x="163894" y="100701"/>
                  </a:lnTo>
                  <a:lnTo>
                    <a:pt x="163894" y="8238"/>
                  </a:lnTo>
                  <a:cubicBezTo>
                    <a:pt x="163894" y="3678"/>
                    <a:pt x="160338" y="0"/>
                    <a:pt x="155778" y="0"/>
                  </a:cubicBezTo>
                  <a:close/>
                </a:path>
              </a:pathLst>
            </a:cu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4" name="Google Shape;5384;p55"/>
            <p:cNvSpPr/>
            <p:nvPr/>
          </p:nvSpPr>
          <p:spPr>
            <a:xfrm>
              <a:off x="212013" y="4015808"/>
              <a:ext cx="5720999" cy="197121"/>
            </a:xfrm>
            <a:custGeom>
              <a:avLst/>
              <a:gdLst/>
              <a:ahLst/>
              <a:cxnLst/>
              <a:rect l="l" t="t" r="r" b="b"/>
              <a:pathLst>
                <a:path w="174533" h="5320" extrusionOk="0">
                  <a:moveTo>
                    <a:pt x="0" y="0"/>
                  </a:moveTo>
                  <a:lnTo>
                    <a:pt x="0" y="5320"/>
                  </a:lnTo>
                  <a:lnTo>
                    <a:pt x="174532" y="5320"/>
                  </a:lnTo>
                  <a:lnTo>
                    <a:pt x="174532" y="0"/>
                  </a:lnTo>
                  <a:close/>
                </a:path>
              </a:pathLst>
            </a:cu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5" name="Google Shape;5385;p55"/>
            <p:cNvSpPr/>
            <p:nvPr/>
          </p:nvSpPr>
          <p:spPr>
            <a:xfrm>
              <a:off x="212013" y="4015803"/>
              <a:ext cx="5720999" cy="197120"/>
            </a:xfrm>
            <a:custGeom>
              <a:avLst/>
              <a:gdLst/>
              <a:ahLst/>
              <a:cxnLst/>
              <a:rect l="l" t="t" r="r" b="b"/>
              <a:pathLst>
                <a:path w="174533" h="5320" extrusionOk="0">
                  <a:moveTo>
                    <a:pt x="0" y="0"/>
                  </a:moveTo>
                  <a:lnTo>
                    <a:pt x="0" y="5320"/>
                  </a:lnTo>
                  <a:lnTo>
                    <a:pt x="174532" y="5320"/>
                  </a:lnTo>
                  <a:lnTo>
                    <a:pt x="174532" y="0"/>
                  </a:lnTo>
                  <a:close/>
                </a:path>
              </a:pathLst>
            </a:custGeom>
            <a:noFill/>
            <a:ln w="6075" cap="flat" cmpd="sng">
              <a:solidFill>
                <a:schemeClr val="dk1"/>
              </a:solidFill>
              <a:prstDash val="solid"/>
              <a:miter lim="3039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6" name="Google Shape;5386;p55"/>
            <p:cNvSpPr/>
            <p:nvPr/>
          </p:nvSpPr>
          <p:spPr>
            <a:xfrm>
              <a:off x="212013" y="4212874"/>
              <a:ext cx="5720999" cy="248956"/>
            </a:xfrm>
            <a:custGeom>
              <a:avLst/>
              <a:gdLst/>
              <a:ahLst/>
              <a:cxnLst/>
              <a:rect l="l" t="t" r="r" b="b"/>
              <a:pathLst>
                <a:path w="174533" h="6719" extrusionOk="0">
                  <a:moveTo>
                    <a:pt x="0" y="1"/>
                  </a:moveTo>
                  <a:cubicBezTo>
                    <a:pt x="3040" y="4165"/>
                    <a:pt x="8876" y="6718"/>
                    <a:pt x="15350" y="6718"/>
                  </a:cubicBezTo>
                  <a:lnTo>
                    <a:pt x="159213" y="6718"/>
                  </a:lnTo>
                  <a:cubicBezTo>
                    <a:pt x="165657" y="6718"/>
                    <a:pt x="171493" y="4165"/>
                    <a:pt x="174532" y="1"/>
                  </a:cubicBezTo>
                  <a:close/>
                </a:path>
              </a:pathLst>
            </a:cu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5" name="Google Shape;8443;p73">
            <a:extLst>
              <a:ext uri="{FF2B5EF4-FFF2-40B4-BE49-F238E27FC236}">
                <a16:creationId xmlns:a16="http://schemas.microsoft.com/office/drawing/2014/main" id="{BCF70CF5-4C0B-0A53-690C-FD0EDEF08CBE}"/>
              </a:ext>
            </a:extLst>
          </p:cNvPr>
          <p:cNvGrpSpPr/>
          <p:nvPr/>
        </p:nvGrpSpPr>
        <p:grpSpPr>
          <a:xfrm>
            <a:off x="5184813" y="1497835"/>
            <a:ext cx="3294043" cy="1919229"/>
            <a:chOff x="236650" y="864775"/>
            <a:chExt cx="7130925" cy="3979625"/>
          </a:xfrm>
        </p:grpSpPr>
        <p:sp>
          <p:nvSpPr>
            <p:cNvPr id="26" name="Google Shape;8444;p73">
              <a:extLst>
                <a:ext uri="{FF2B5EF4-FFF2-40B4-BE49-F238E27FC236}">
                  <a16:creationId xmlns:a16="http://schemas.microsoft.com/office/drawing/2014/main" id="{902AFED1-0C7C-58ED-A340-CE36039DC164}"/>
                </a:ext>
              </a:extLst>
            </p:cNvPr>
            <p:cNvSpPr/>
            <p:nvPr/>
          </p:nvSpPr>
          <p:spPr>
            <a:xfrm>
              <a:off x="1759800" y="1106975"/>
              <a:ext cx="3733025" cy="3737425"/>
            </a:xfrm>
            <a:custGeom>
              <a:avLst/>
              <a:gdLst/>
              <a:ahLst/>
              <a:cxnLst/>
              <a:rect l="l" t="t" r="r" b="b"/>
              <a:pathLst>
                <a:path w="149321" h="149497" extrusionOk="0">
                  <a:moveTo>
                    <a:pt x="74682" y="0"/>
                  </a:moveTo>
                  <a:cubicBezTo>
                    <a:pt x="56639" y="0"/>
                    <a:pt x="40065" y="6416"/>
                    <a:pt x="27160" y="17060"/>
                  </a:cubicBezTo>
                  <a:cubicBezTo>
                    <a:pt x="10585" y="30757"/>
                    <a:pt x="0" y="51560"/>
                    <a:pt x="0" y="74741"/>
                  </a:cubicBezTo>
                  <a:cubicBezTo>
                    <a:pt x="0" y="116038"/>
                    <a:pt x="33458" y="149496"/>
                    <a:pt x="74682" y="149496"/>
                  </a:cubicBezTo>
                  <a:cubicBezTo>
                    <a:pt x="114761" y="149496"/>
                    <a:pt x="147426" y="117991"/>
                    <a:pt x="149320" y="78411"/>
                  </a:cubicBezTo>
                  <a:lnTo>
                    <a:pt x="74682" y="78411"/>
                  </a:lnTo>
                  <a:lnTo>
                    <a:pt x="74682" y="0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8445;p73">
              <a:extLst>
                <a:ext uri="{FF2B5EF4-FFF2-40B4-BE49-F238E27FC236}">
                  <a16:creationId xmlns:a16="http://schemas.microsoft.com/office/drawing/2014/main" id="{86D5EA48-8470-AFE8-41C4-4CFE1AF524B0}"/>
                </a:ext>
              </a:extLst>
            </p:cNvPr>
            <p:cNvSpPr/>
            <p:nvPr/>
          </p:nvSpPr>
          <p:spPr>
            <a:xfrm>
              <a:off x="1876150" y="1403525"/>
              <a:ext cx="1293775" cy="2500175"/>
            </a:xfrm>
            <a:custGeom>
              <a:avLst/>
              <a:gdLst/>
              <a:ahLst/>
              <a:cxnLst/>
              <a:rect l="l" t="t" r="r" b="b"/>
              <a:pathLst>
                <a:path w="51751" h="100007" extrusionOk="0">
                  <a:moveTo>
                    <a:pt x="37128" y="1"/>
                  </a:moveTo>
                  <a:cubicBezTo>
                    <a:pt x="35469" y="368"/>
                    <a:pt x="34427" y="1718"/>
                    <a:pt x="33091" y="2511"/>
                  </a:cubicBezTo>
                  <a:cubicBezTo>
                    <a:pt x="32900" y="2452"/>
                    <a:pt x="32724" y="2379"/>
                    <a:pt x="32592" y="2320"/>
                  </a:cubicBezTo>
                  <a:cubicBezTo>
                    <a:pt x="32783" y="2012"/>
                    <a:pt x="33032" y="1645"/>
                    <a:pt x="33150" y="1351"/>
                  </a:cubicBezTo>
                  <a:lnTo>
                    <a:pt x="33150" y="1351"/>
                  </a:lnTo>
                  <a:cubicBezTo>
                    <a:pt x="32533" y="1586"/>
                    <a:pt x="32533" y="1586"/>
                    <a:pt x="30463" y="3304"/>
                  </a:cubicBezTo>
                  <a:cubicBezTo>
                    <a:pt x="30337" y="3251"/>
                    <a:pt x="30193" y="3226"/>
                    <a:pt x="30035" y="3226"/>
                  </a:cubicBezTo>
                  <a:cubicBezTo>
                    <a:pt x="27647" y="3226"/>
                    <a:pt x="21886" y="8872"/>
                    <a:pt x="21831" y="8927"/>
                  </a:cubicBezTo>
                  <a:cubicBezTo>
                    <a:pt x="21948" y="9059"/>
                    <a:pt x="22080" y="9176"/>
                    <a:pt x="22139" y="9294"/>
                  </a:cubicBezTo>
                  <a:cubicBezTo>
                    <a:pt x="24837" y="8516"/>
                    <a:pt x="25370" y="8362"/>
                    <a:pt x="25665" y="8362"/>
                  </a:cubicBezTo>
                  <a:cubicBezTo>
                    <a:pt x="25737" y="8362"/>
                    <a:pt x="25795" y="8372"/>
                    <a:pt x="25868" y="8383"/>
                  </a:cubicBezTo>
                  <a:cubicBezTo>
                    <a:pt x="23857" y="9352"/>
                    <a:pt x="23857" y="9352"/>
                    <a:pt x="23548" y="9851"/>
                  </a:cubicBezTo>
                  <a:cubicBezTo>
                    <a:pt x="23783" y="9969"/>
                    <a:pt x="24092" y="10219"/>
                    <a:pt x="24341" y="10395"/>
                  </a:cubicBezTo>
                  <a:cubicBezTo>
                    <a:pt x="23181" y="11922"/>
                    <a:pt x="22990" y="12421"/>
                    <a:pt x="22756" y="13155"/>
                  </a:cubicBezTo>
                  <a:cubicBezTo>
                    <a:pt x="22682" y="13522"/>
                    <a:pt x="22565" y="13889"/>
                    <a:pt x="22447" y="14740"/>
                  </a:cubicBezTo>
                  <a:cubicBezTo>
                    <a:pt x="21038" y="17309"/>
                    <a:pt x="18953" y="19394"/>
                    <a:pt x="17617" y="21963"/>
                  </a:cubicBezTo>
                  <a:cubicBezTo>
                    <a:pt x="17852" y="21714"/>
                    <a:pt x="18160" y="21537"/>
                    <a:pt x="18410" y="21347"/>
                  </a:cubicBezTo>
                  <a:lnTo>
                    <a:pt x="18410" y="21347"/>
                  </a:lnTo>
                  <a:cubicBezTo>
                    <a:pt x="6607" y="34750"/>
                    <a:pt x="0" y="56331"/>
                    <a:pt x="3964" y="68516"/>
                  </a:cubicBezTo>
                  <a:cubicBezTo>
                    <a:pt x="4404" y="52852"/>
                    <a:pt x="4404" y="52852"/>
                    <a:pt x="5256" y="52177"/>
                  </a:cubicBezTo>
                  <a:lnTo>
                    <a:pt x="5256" y="52177"/>
                  </a:lnTo>
                  <a:cubicBezTo>
                    <a:pt x="5505" y="53645"/>
                    <a:pt x="4948" y="62145"/>
                    <a:pt x="4948" y="62453"/>
                  </a:cubicBezTo>
                  <a:cubicBezTo>
                    <a:pt x="3597" y="74022"/>
                    <a:pt x="8251" y="81788"/>
                    <a:pt x="9778" y="82581"/>
                  </a:cubicBezTo>
                  <a:cubicBezTo>
                    <a:pt x="10086" y="82463"/>
                    <a:pt x="10453" y="82096"/>
                    <a:pt x="10644" y="81847"/>
                  </a:cubicBezTo>
                  <a:lnTo>
                    <a:pt x="10761" y="82155"/>
                  </a:lnTo>
                  <a:cubicBezTo>
                    <a:pt x="10873" y="82378"/>
                    <a:pt x="17802" y="99174"/>
                    <a:pt x="21800" y="99174"/>
                  </a:cubicBezTo>
                  <a:cubicBezTo>
                    <a:pt x="22005" y="99174"/>
                    <a:pt x="22201" y="99130"/>
                    <a:pt x="22389" y="99038"/>
                  </a:cubicBezTo>
                  <a:cubicBezTo>
                    <a:pt x="22506" y="99155"/>
                    <a:pt x="22623" y="99346"/>
                    <a:pt x="22682" y="99522"/>
                  </a:cubicBezTo>
                  <a:cubicBezTo>
                    <a:pt x="23049" y="99640"/>
                    <a:pt x="23490" y="99831"/>
                    <a:pt x="23783" y="100007"/>
                  </a:cubicBezTo>
                  <a:cubicBezTo>
                    <a:pt x="23548" y="97203"/>
                    <a:pt x="20421" y="97438"/>
                    <a:pt x="19203" y="95676"/>
                  </a:cubicBezTo>
                  <a:cubicBezTo>
                    <a:pt x="17544" y="93401"/>
                    <a:pt x="19144" y="90464"/>
                    <a:pt x="17617" y="88145"/>
                  </a:cubicBezTo>
                  <a:cubicBezTo>
                    <a:pt x="16575" y="86559"/>
                    <a:pt x="14798" y="85693"/>
                    <a:pt x="13580" y="84298"/>
                  </a:cubicBezTo>
                  <a:cubicBezTo>
                    <a:pt x="14314" y="82757"/>
                    <a:pt x="15709" y="81480"/>
                    <a:pt x="15900" y="79645"/>
                  </a:cubicBezTo>
                  <a:cubicBezTo>
                    <a:pt x="15782" y="79087"/>
                    <a:pt x="15709" y="78602"/>
                    <a:pt x="13756" y="78118"/>
                  </a:cubicBezTo>
                  <a:cubicBezTo>
                    <a:pt x="12136" y="79738"/>
                    <a:pt x="11821" y="80053"/>
                    <a:pt x="11599" y="80053"/>
                  </a:cubicBezTo>
                  <a:cubicBezTo>
                    <a:pt x="11545" y="80053"/>
                    <a:pt x="11497" y="80034"/>
                    <a:pt x="11437" y="80012"/>
                  </a:cubicBezTo>
                  <a:cubicBezTo>
                    <a:pt x="9968" y="79395"/>
                    <a:pt x="5990" y="69118"/>
                    <a:pt x="12714" y="66490"/>
                  </a:cubicBezTo>
                  <a:cubicBezTo>
                    <a:pt x="15009" y="67942"/>
                    <a:pt x="15545" y="68281"/>
                    <a:pt x="15730" y="68281"/>
                  </a:cubicBezTo>
                  <a:cubicBezTo>
                    <a:pt x="15786" y="68281"/>
                    <a:pt x="15810" y="68249"/>
                    <a:pt x="15841" y="68208"/>
                  </a:cubicBezTo>
                  <a:lnTo>
                    <a:pt x="16443" y="68208"/>
                  </a:lnTo>
                  <a:cubicBezTo>
                    <a:pt x="17544" y="69485"/>
                    <a:pt x="19511" y="69735"/>
                    <a:pt x="20304" y="71320"/>
                  </a:cubicBezTo>
                  <a:cubicBezTo>
                    <a:pt x="21464" y="73464"/>
                    <a:pt x="20730" y="75974"/>
                    <a:pt x="21654" y="78176"/>
                  </a:cubicBezTo>
                  <a:cubicBezTo>
                    <a:pt x="21772" y="78235"/>
                    <a:pt x="21948" y="78294"/>
                    <a:pt x="22139" y="78353"/>
                  </a:cubicBezTo>
                  <a:cubicBezTo>
                    <a:pt x="24649" y="76650"/>
                    <a:pt x="23181" y="73890"/>
                    <a:pt x="23857" y="71746"/>
                  </a:cubicBezTo>
                  <a:cubicBezTo>
                    <a:pt x="24517" y="69676"/>
                    <a:pt x="26969" y="69177"/>
                    <a:pt x="27894" y="67283"/>
                  </a:cubicBezTo>
                  <a:cubicBezTo>
                    <a:pt x="28129" y="66799"/>
                    <a:pt x="28129" y="66314"/>
                    <a:pt x="28261" y="65756"/>
                  </a:cubicBezTo>
                  <a:cubicBezTo>
                    <a:pt x="28378" y="65331"/>
                    <a:pt x="28496" y="64905"/>
                    <a:pt x="28687" y="64171"/>
                  </a:cubicBezTo>
                  <a:cubicBezTo>
                    <a:pt x="28804" y="64039"/>
                    <a:pt x="28922" y="63921"/>
                    <a:pt x="28995" y="63804"/>
                  </a:cubicBezTo>
                  <a:cubicBezTo>
                    <a:pt x="29597" y="64288"/>
                    <a:pt x="29846" y="64479"/>
                    <a:pt x="30830" y="64714"/>
                  </a:cubicBezTo>
                  <a:cubicBezTo>
                    <a:pt x="31623" y="63980"/>
                    <a:pt x="31623" y="62761"/>
                    <a:pt x="32592" y="62145"/>
                  </a:cubicBezTo>
                  <a:cubicBezTo>
                    <a:pt x="33755" y="62604"/>
                    <a:pt x="34429" y="62872"/>
                    <a:pt x="34860" y="62872"/>
                  </a:cubicBezTo>
                  <a:cubicBezTo>
                    <a:pt x="35409" y="62872"/>
                    <a:pt x="35565" y="62438"/>
                    <a:pt x="35836" y="61411"/>
                  </a:cubicBezTo>
                  <a:cubicBezTo>
                    <a:pt x="36449" y="59066"/>
                    <a:pt x="37326" y="58437"/>
                    <a:pt x="38096" y="58437"/>
                  </a:cubicBezTo>
                  <a:cubicBezTo>
                    <a:pt x="38488" y="58437"/>
                    <a:pt x="38852" y="58600"/>
                    <a:pt x="39139" y="58783"/>
                  </a:cubicBezTo>
                  <a:cubicBezTo>
                    <a:pt x="38464" y="60075"/>
                    <a:pt x="38288" y="60501"/>
                    <a:pt x="38655" y="60926"/>
                  </a:cubicBezTo>
                  <a:cubicBezTo>
                    <a:pt x="38746" y="61035"/>
                    <a:pt x="39246" y="61116"/>
                    <a:pt x="39914" y="61116"/>
                  </a:cubicBezTo>
                  <a:cubicBezTo>
                    <a:pt x="41513" y="61116"/>
                    <a:pt x="44078" y="60651"/>
                    <a:pt x="44337" y="58974"/>
                  </a:cubicBezTo>
                  <a:cubicBezTo>
                    <a:pt x="43735" y="58475"/>
                    <a:pt x="42751" y="58974"/>
                    <a:pt x="42384" y="58049"/>
                  </a:cubicBezTo>
                  <a:cubicBezTo>
                    <a:pt x="41900" y="56889"/>
                    <a:pt x="43485" y="55788"/>
                    <a:pt x="42501" y="54570"/>
                  </a:cubicBezTo>
                  <a:cubicBezTo>
                    <a:pt x="42153" y="54137"/>
                    <a:pt x="41751" y="53903"/>
                    <a:pt x="41298" y="53903"/>
                  </a:cubicBezTo>
                  <a:cubicBezTo>
                    <a:pt x="41044" y="53903"/>
                    <a:pt x="40775" y="53976"/>
                    <a:pt x="40490" y="54129"/>
                  </a:cubicBezTo>
                  <a:cubicBezTo>
                    <a:pt x="40182" y="54320"/>
                    <a:pt x="39756" y="54437"/>
                    <a:pt x="39389" y="54570"/>
                  </a:cubicBezTo>
                  <a:cubicBezTo>
                    <a:pt x="39272" y="54437"/>
                    <a:pt x="39081" y="54320"/>
                    <a:pt x="38963" y="54203"/>
                  </a:cubicBezTo>
                  <a:cubicBezTo>
                    <a:pt x="40235" y="53300"/>
                    <a:pt x="41576" y="53074"/>
                    <a:pt x="42940" y="53074"/>
                  </a:cubicBezTo>
                  <a:cubicBezTo>
                    <a:pt x="44300" y="53074"/>
                    <a:pt x="45684" y="53298"/>
                    <a:pt x="47046" y="53298"/>
                  </a:cubicBezTo>
                  <a:cubicBezTo>
                    <a:pt x="47471" y="53298"/>
                    <a:pt x="47895" y="53276"/>
                    <a:pt x="48315" y="53219"/>
                  </a:cubicBezTo>
                  <a:lnTo>
                    <a:pt x="48315" y="53219"/>
                  </a:lnTo>
                  <a:cubicBezTo>
                    <a:pt x="47522" y="54937"/>
                    <a:pt x="45379" y="55788"/>
                    <a:pt x="45511" y="58049"/>
                  </a:cubicBezTo>
                  <a:cubicBezTo>
                    <a:pt x="49034" y="58914"/>
                    <a:pt x="50395" y="59248"/>
                    <a:pt x="50992" y="59248"/>
                  </a:cubicBezTo>
                  <a:cubicBezTo>
                    <a:pt x="51367" y="59248"/>
                    <a:pt x="51441" y="59116"/>
                    <a:pt x="51560" y="58900"/>
                  </a:cubicBezTo>
                  <a:cubicBezTo>
                    <a:pt x="51677" y="58607"/>
                    <a:pt x="51750" y="58240"/>
                    <a:pt x="51677" y="57931"/>
                  </a:cubicBezTo>
                  <a:cubicBezTo>
                    <a:pt x="51310" y="56581"/>
                    <a:pt x="49915" y="56096"/>
                    <a:pt x="49357" y="54937"/>
                  </a:cubicBezTo>
                  <a:cubicBezTo>
                    <a:pt x="48623" y="53278"/>
                    <a:pt x="51310" y="51927"/>
                    <a:pt x="49915" y="50283"/>
                  </a:cubicBezTo>
                  <a:cubicBezTo>
                    <a:pt x="47640" y="47714"/>
                    <a:pt x="48873" y="44043"/>
                    <a:pt x="47097" y="41283"/>
                  </a:cubicBezTo>
                  <a:cubicBezTo>
                    <a:pt x="46304" y="41959"/>
                    <a:pt x="46113" y="43309"/>
                    <a:pt x="44777" y="43368"/>
                  </a:cubicBezTo>
                  <a:cubicBezTo>
                    <a:pt x="43177" y="41592"/>
                    <a:pt x="44586" y="38905"/>
                    <a:pt x="42751" y="37246"/>
                  </a:cubicBezTo>
                  <a:lnTo>
                    <a:pt x="42575" y="37011"/>
                  </a:lnTo>
                  <a:cubicBezTo>
                    <a:pt x="41591" y="36028"/>
                    <a:pt x="41400" y="35910"/>
                    <a:pt x="40916" y="35543"/>
                  </a:cubicBezTo>
                  <a:cubicBezTo>
                    <a:pt x="40798" y="35543"/>
                    <a:pt x="40549" y="35661"/>
                    <a:pt x="40431" y="35719"/>
                  </a:cubicBezTo>
                  <a:cubicBezTo>
                    <a:pt x="39448" y="38347"/>
                    <a:pt x="39448" y="38347"/>
                    <a:pt x="38963" y="38714"/>
                  </a:cubicBezTo>
                  <a:cubicBezTo>
                    <a:pt x="38789" y="38679"/>
                    <a:pt x="38630" y="38663"/>
                    <a:pt x="38487" y="38663"/>
                  </a:cubicBezTo>
                  <a:cubicBezTo>
                    <a:pt x="37426" y="38663"/>
                    <a:pt x="37187" y="39551"/>
                    <a:pt x="37187" y="40314"/>
                  </a:cubicBezTo>
                  <a:cubicBezTo>
                    <a:pt x="37187" y="41592"/>
                    <a:pt x="37128" y="43309"/>
                    <a:pt x="32474" y="47097"/>
                  </a:cubicBezTo>
                  <a:cubicBezTo>
                    <a:pt x="30948" y="45820"/>
                    <a:pt x="31740" y="44219"/>
                    <a:pt x="32357" y="43001"/>
                  </a:cubicBezTo>
                  <a:cubicBezTo>
                    <a:pt x="32665" y="42458"/>
                    <a:pt x="32665" y="42458"/>
                    <a:pt x="30522" y="39756"/>
                  </a:cubicBezTo>
                  <a:cubicBezTo>
                    <a:pt x="28913" y="37749"/>
                    <a:pt x="27083" y="29514"/>
                    <a:pt x="36187" y="29514"/>
                  </a:cubicBezTo>
                  <a:cubicBezTo>
                    <a:pt x="36470" y="29514"/>
                    <a:pt x="36764" y="29522"/>
                    <a:pt x="37069" y="29539"/>
                  </a:cubicBezTo>
                  <a:cubicBezTo>
                    <a:pt x="36453" y="31007"/>
                    <a:pt x="35968" y="32416"/>
                    <a:pt x="37980" y="32416"/>
                  </a:cubicBezTo>
                  <a:cubicBezTo>
                    <a:pt x="38464" y="33517"/>
                    <a:pt x="38464" y="33517"/>
                    <a:pt x="38772" y="33767"/>
                  </a:cubicBezTo>
                  <a:cubicBezTo>
                    <a:pt x="39198" y="33517"/>
                    <a:pt x="39198" y="33517"/>
                    <a:pt x="39272" y="30346"/>
                  </a:cubicBezTo>
                  <a:cubicBezTo>
                    <a:pt x="42476" y="27336"/>
                    <a:pt x="43852" y="26543"/>
                    <a:pt x="44737" y="26543"/>
                  </a:cubicBezTo>
                  <a:cubicBezTo>
                    <a:pt x="45185" y="26543"/>
                    <a:pt x="45508" y="26747"/>
                    <a:pt x="45878" y="26969"/>
                  </a:cubicBezTo>
                  <a:cubicBezTo>
                    <a:pt x="47772" y="28261"/>
                    <a:pt x="46172" y="31080"/>
                    <a:pt x="45071" y="32666"/>
                  </a:cubicBezTo>
                  <a:cubicBezTo>
                    <a:pt x="44662" y="33260"/>
                    <a:pt x="44165" y="33408"/>
                    <a:pt x="43635" y="33408"/>
                  </a:cubicBezTo>
                  <a:cubicBezTo>
                    <a:pt x="43107" y="33408"/>
                    <a:pt x="42546" y="33261"/>
                    <a:pt x="42005" y="33261"/>
                  </a:cubicBezTo>
                  <a:cubicBezTo>
                    <a:pt x="41800" y="33261"/>
                    <a:pt x="41597" y="33282"/>
                    <a:pt x="41400" y="33341"/>
                  </a:cubicBezTo>
                  <a:cubicBezTo>
                    <a:pt x="41342" y="34868"/>
                    <a:pt x="46245" y="40124"/>
                    <a:pt x="46304" y="40182"/>
                  </a:cubicBezTo>
                  <a:cubicBezTo>
                    <a:pt x="47713" y="39756"/>
                    <a:pt x="47713" y="39756"/>
                    <a:pt x="46245" y="36644"/>
                  </a:cubicBezTo>
                  <a:cubicBezTo>
                    <a:pt x="46304" y="36512"/>
                    <a:pt x="46421" y="36336"/>
                    <a:pt x="46480" y="36218"/>
                  </a:cubicBezTo>
                  <a:cubicBezTo>
                    <a:pt x="46906" y="36879"/>
                    <a:pt x="47464" y="37437"/>
                    <a:pt x="47889" y="38112"/>
                  </a:cubicBezTo>
                  <a:lnTo>
                    <a:pt x="48447" y="38112"/>
                  </a:lnTo>
                  <a:cubicBezTo>
                    <a:pt x="48315" y="36952"/>
                    <a:pt x="48080" y="34134"/>
                    <a:pt x="48932" y="33400"/>
                  </a:cubicBezTo>
                  <a:cubicBezTo>
                    <a:pt x="49666" y="33884"/>
                    <a:pt x="49783" y="34926"/>
                    <a:pt x="50708" y="35235"/>
                  </a:cubicBezTo>
                  <a:cubicBezTo>
                    <a:pt x="50767" y="35117"/>
                    <a:pt x="51677" y="34134"/>
                    <a:pt x="51560" y="32724"/>
                  </a:cubicBezTo>
                  <a:cubicBezTo>
                    <a:pt x="48814" y="30713"/>
                    <a:pt x="49974" y="27410"/>
                    <a:pt x="48932" y="24841"/>
                  </a:cubicBezTo>
                  <a:cubicBezTo>
                    <a:pt x="48565" y="24767"/>
                    <a:pt x="48198" y="24591"/>
                    <a:pt x="47948" y="24342"/>
                  </a:cubicBezTo>
                  <a:cubicBezTo>
                    <a:pt x="48139" y="22756"/>
                    <a:pt x="48139" y="22756"/>
                    <a:pt x="47831" y="22330"/>
                  </a:cubicBezTo>
                  <a:cubicBezTo>
                    <a:pt x="46421" y="22506"/>
                    <a:pt x="45687" y="23916"/>
                    <a:pt x="44410" y="24342"/>
                  </a:cubicBezTo>
                  <a:cubicBezTo>
                    <a:pt x="44527" y="23608"/>
                    <a:pt x="45203" y="23064"/>
                    <a:pt x="45144" y="22272"/>
                  </a:cubicBezTo>
                  <a:lnTo>
                    <a:pt x="45144" y="22272"/>
                  </a:lnTo>
                  <a:cubicBezTo>
                    <a:pt x="43368" y="23431"/>
                    <a:pt x="43368" y="23431"/>
                    <a:pt x="43309" y="23431"/>
                  </a:cubicBezTo>
                  <a:cubicBezTo>
                    <a:pt x="44043" y="22565"/>
                    <a:pt x="45012" y="21963"/>
                    <a:pt x="45570" y="20921"/>
                  </a:cubicBezTo>
                  <a:lnTo>
                    <a:pt x="45144" y="20862"/>
                  </a:lnTo>
                  <a:cubicBezTo>
                    <a:pt x="41958" y="21714"/>
                    <a:pt x="42443" y="25810"/>
                    <a:pt x="39639" y="26911"/>
                  </a:cubicBezTo>
                  <a:cubicBezTo>
                    <a:pt x="39697" y="26426"/>
                    <a:pt x="39697" y="26426"/>
                    <a:pt x="40182" y="24841"/>
                  </a:cubicBezTo>
                  <a:cubicBezTo>
                    <a:pt x="39874" y="24709"/>
                    <a:pt x="39507" y="24532"/>
                    <a:pt x="39198" y="24400"/>
                  </a:cubicBezTo>
                  <a:cubicBezTo>
                    <a:pt x="42267" y="20069"/>
                    <a:pt x="42267" y="20069"/>
                    <a:pt x="43676" y="20069"/>
                  </a:cubicBezTo>
                  <a:cubicBezTo>
                    <a:pt x="43793" y="19937"/>
                    <a:pt x="43911" y="19702"/>
                    <a:pt x="43970" y="19570"/>
                  </a:cubicBezTo>
                  <a:cubicBezTo>
                    <a:pt x="43911" y="19394"/>
                    <a:pt x="43793" y="19203"/>
                    <a:pt x="43735" y="19086"/>
                  </a:cubicBezTo>
                  <a:cubicBezTo>
                    <a:pt x="43496" y="19026"/>
                    <a:pt x="43303" y="18978"/>
                    <a:pt x="43107" y="18978"/>
                  </a:cubicBezTo>
                  <a:cubicBezTo>
                    <a:pt x="42292" y="18978"/>
                    <a:pt x="41423" y="19811"/>
                    <a:pt x="36937" y="24107"/>
                  </a:cubicBezTo>
                  <a:cubicBezTo>
                    <a:pt x="35778" y="23666"/>
                    <a:pt x="35234" y="22448"/>
                    <a:pt x="34133" y="21963"/>
                  </a:cubicBezTo>
                  <a:cubicBezTo>
                    <a:pt x="34060" y="21772"/>
                    <a:pt x="34001" y="21596"/>
                    <a:pt x="34001" y="21405"/>
                  </a:cubicBezTo>
                  <a:cubicBezTo>
                    <a:pt x="34453" y="20825"/>
                    <a:pt x="34637" y="20575"/>
                    <a:pt x="35135" y="20575"/>
                  </a:cubicBezTo>
                  <a:cubicBezTo>
                    <a:pt x="35317" y="20575"/>
                    <a:pt x="35541" y="20608"/>
                    <a:pt x="35836" y="20671"/>
                  </a:cubicBezTo>
                  <a:cubicBezTo>
                    <a:pt x="36061" y="20729"/>
                    <a:pt x="36266" y="20756"/>
                    <a:pt x="36455" y="20756"/>
                  </a:cubicBezTo>
                  <a:cubicBezTo>
                    <a:pt x="38475" y="20756"/>
                    <a:pt x="38590" y="17685"/>
                    <a:pt x="39932" y="16517"/>
                  </a:cubicBezTo>
                  <a:cubicBezTo>
                    <a:pt x="39874" y="16326"/>
                    <a:pt x="39815" y="16150"/>
                    <a:pt x="39815" y="15959"/>
                  </a:cubicBezTo>
                  <a:cubicBezTo>
                    <a:pt x="39448" y="16150"/>
                    <a:pt x="38963" y="16326"/>
                    <a:pt x="38596" y="16517"/>
                  </a:cubicBezTo>
                  <a:cubicBezTo>
                    <a:pt x="38464" y="16458"/>
                    <a:pt x="38288" y="16326"/>
                    <a:pt x="38097" y="16267"/>
                  </a:cubicBezTo>
                  <a:cubicBezTo>
                    <a:pt x="38288" y="15959"/>
                    <a:pt x="38347" y="15533"/>
                    <a:pt x="38405" y="15225"/>
                  </a:cubicBezTo>
                  <a:cubicBezTo>
                    <a:pt x="38288" y="15107"/>
                    <a:pt x="38097" y="14990"/>
                    <a:pt x="37980" y="14858"/>
                  </a:cubicBezTo>
                  <a:cubicBezTo>
                    <a:pt x="38038" y="14740"/>
                    <a:pt x="38097" y="14491"/>
                    <a:pt x="38097" y="14373"/>
                  </a:cubicBezTo>
                  <a:cubicBezTo>
                    <a:pt x="38135" y="13649"/>
                    <a:pt x="37746" y="13235"/>
                    <a:pt x="37169" y="13235"/>
                  </a:cubicBezTo>
                  <a:cubicBezTo>
                    <a:pt x="36624" y="13235"/>
                    <a:pt x="35912" y="13604"/>
                    <a:pt x="35234" y="14432"/>
                  </a:cubicBezTo>
                  <a:cubicBezTo>
                    <a:pt x="36203" y="15357"/>
                    <a:pt x="36203" y="15357"/>
                    <a:pt x="35968" y="16091"/>
                  </a:cubicBezTo>
                  <a:cubicBezTo>
                    <a:pt x="34001" y="16825"/>
                    <a:pt x="34001" y="16825"/>
                    <a:pt x="33208" y="20304"/>
                  </a:cubicBezTo>
                  <a:cubicBezTo>
                    <a:pt x="30155" y="19879"/>
                    <a:pt x="33825" y="15959"/>
                    <a:pt x="33825" y="13757"/>
                  </a:cubicBezTo>
                  <a:cubicBezTo>
                    <a:pt x="32783" y="13639"/>
                    <a:pt x="32783" y="13639"/>
                    <a:pt x="32416" y="13155"/>
                  </a:cubicBezTo>
                  <a:cubicBezTo>
                    <a:pt x="33458" y="11863"/>
                    <a:pt x="33458" y="11863"/>
                    <a:pt x="33575" y="11320"/>
                  </a:cubicBezTo>
                  <a:cubicBezTo>
                    <a:pt x="32533" y="11261"/>
                    <a:pt x="32533" y="11261"/>
                    <a:pt x="32166" y="10820"/>
                  </a:cubicBezTo>
                  <a:cubicBezTo>
                    <a:pt x="32298" y="10586"/>
                    <a:pt x="32474" y="10219"/>
                    <a:pt x="32665" y="9969"/>
                  </a:cubicBezTo>
                  <a:lnTo>
                    <a:pt x="32474" y="9484"/>
                  </a:lnTo>
                  <a:cubicBezTo>
                    <a:pt x="32416" y="9352"/>
                    <a:pt x="32225" y="9235"/>
                    <a:pt x="32166" y="9117"/>
                  </a:cubicBezTo>
                  <a:cubicBezTo>
                    <a:pt x="32357" y="7826"/>
                    <a:pt x="32357" y="7826"/>
                    <a:pt x="37246" y="544"/>
                  </a:cubicBezTo>
                  <a:cubicBezTo>
                    <a:pt x="37187" y="368"/>
                    <a:pt x="37128" y="177"/>
                    <a:pt x="37128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8446;p73">
              <a:extLst>
                <a:ext uri="{FF2B5EF4-FFF2-40B4-BE49-F238E27FC236}">
                  <a16:creationId xmlns:a16="http://schemas.microsoft.com/office/drawing/2014/main" id="{E51F97B0-C7E7-4081-BFBB-BE591BC28A7D}"/>
                </a:ext>
              </a:extLst>
            </p:cNvPr>
            <p:cNvSpPr/>
            <p:nvPr/>
          </p:nvSpPr>
          <p:spPr>
            <a:xfrm>
              <a:off x="2475500" y="3958750"/>
              <a:ext cx="4425" cy="4775"/>
            </a:xfrm>
            <a:custGeom>
              <a:avLst/>
              <a:gdLst/>
              <a:ahLst/>
              <a:cxnLst/>
              <a:rect l="l" t="t" r="r" b="b"/>
              <a:pathLst>
                <a:path w="177" h="191" extrusionOk="0">
                  <a:moveTo>
                    <a:pt x="0" y="0"/>
                  </a:moveTo>
                  <a:lnTo>
                    <a:pt x="163" y="176"/>
                  </a:lnTo>
                  <a:lnTo>
                    <a:pt x="163" y="176"/>
                  </a:lnTo>
                  <a:cubicBezTo>
                    <a:pt x="117" y="122"/>
                    <a:pt x="108" y="67"/>
                    <a:pt x="0" y="0"/>
                  </a:cubicBezTo>
                  <a:close/>
                  <a:moveTo>
                    <a:pt x="163" y="176"/>
                  </a:moveTo>
                  <a:lnTo>
                    <a:pt x="163" y="176"/>
                  </a:lnTo>
                  <a:cubicBezTo>
                    <a:pt x="167" y="181"/>
                    <a:pt x="171" y="186"/>
                    <a:pt x="176" y="191"/>
                  </a:cubicBezTo>
                  <a:lnTo>
                    <a:pt x="163" y="176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8447;p73">
              <a:extLst>
                <a:ext uri="{FF2B5EF4-FFF2-40B4-BE49-F238E27FC236}">
                  <a16:creationId xmlns:a16="http://schemas.microsoft.com/office/drawing/2014/main" id="{88B38752-5524-9236-0C74-520B26507089}"/>
                </a:ext>
              </a:extLst>
            </p:cNvPr>
            <p:cNvSpPr/>
            <p:nvPr/>
          </p:nvSpPr>
          <p:spPr>
            <a:xfrm>
              <a:off x="3212475" y="1822425"/>
              <a:ext cx="414400" cy="733050"/>
            </a:xfrm>
            <a:custGeom>
              <a:avLst/>
              <a:gdLst/>
              <a:ahLst/>
              <a:cxnLst/>
              <a:rect l="l" t="t" r="r" b="b"/>
              <a:pathLst>
                <a:path w="16576" h="29322" extrusionOk="0">
                  <a:moveTo>
                    <a:pt x="7649" y="28565"/>
                  </a:moveTo>
                  <a:lnTo>
                    <a:pt x="7649" y="28565"/>
                  </a:lnTo>
                  <a:cubicBezTo>
                    <a:pt x="7473" y="28697"/>
                    <a:pt x="7341" y="28755"/>
                    <a:pt x="7282" y="28755"/>
                  </a:cubicBezTo>
                  <a:cubicBezTo>
                    <a:pt x="7400" y="28697"/>
                    <a:pt x="7532" y="28638"/>
                    <a:pt x="7649" y="28565"/>
                  </a:cubicBezTo>
                  <a:close/>
                  <a:moveTo>
                    <a:pt x="11598" y="0"/>
                  </a:moveTo>
                  <a:cubicBezTo>
                    <a:pt x="11484" y="0"/>
                    <a:pt x="11369" y="28"/>
                    <a:pt x="11202" y="69"/>
                  </a:cubicBezTo>
                  <a:cubicBezTo>
                    <a:pt x="10336" y="304"/>
                    <a:pt x="8134" y="436"/>
                    <a:pt x="7899" y="495"/>
                  </a:cubicBezTo>
                  <a:lnTo>
                    <a:pt x="7840" y="436"/>
                  </a:lnTo>
                  <a:cubicBezTo>
                    <a:pt x="7473" y="304"/>
                    <a:pt x="7165" y="245"/>
                    <a:pt x="6974" y="245"/>
                  </a:cubicBezTo>
                  <a:cubicBezTo>
                    <a:pt x="6548" y="245"/>
                    <a:pt x="6181" y="495"/>
                    <a:pt x="5080" y="1287"/>
                  </a:cubicBezTo>
                  <a:cubicBezTo>
                    <a:pt x="4963" y="1170"/>
                    <a:pt x="4772" y="1170"/>
                    <a:pt x="4654" y="1170"/>
                  </a:cubicBezTo>
                  <a:cubicBezTo>
                    <a:pt x="4405" y="1170"/>
                    <a:pt x="4287" y="1229"/>
                    <a:pt x="4287" y="1229"/>
                  </a:cubicBezTo>
                  <a:cubicBezTo>
                    <a:pt x="3671" y="1537"/>
                    <a:pt x="4229" y="2579"/>
                    <a:pt x="3436" y="2697"/>
                  </a:cubicBezTo>
                  <a:cubicBezTo>
                    <a:pt x="1894" y="2873"/>
                    <a:pt x="1894" y="2873"/>
                    <a:pt x="1659" y="3064"/>
                  </a:cubicBezTo>
                  <a:cubicBezTo>
                    <a:pt x="1527" y="3123"/>
                    <a:pt x="1351" y="3240"/>
                    <a:pt x="1292" y="3372"/>
                  </a:cubicBezTo>
                  <a:cubicBezTo>
                    <a:pt x="0" y="4649"/>
                    <a:pt x="426" y="5941"/>
                    <a:pt x="426" y="5941"/>
                  </a:cubicBezTo>
                  <a:cubicBezTo>
                    <a:pt x="558" y="6308"/>
                    <a:pt x="1043" y="6308"/>
                    <a:pt x="1469" y="6308"/>
                  </a:cubicBezTo>
                  <a:cubicBezTo>
                    <a:pt x="2144" y="6308"/>
                    <a:pt x="3069" y="6675"/>
                    <a:pt x="3186" y="6852"/>
                  </a:cubicBezTo>
                  <a:cubicBezTo>
                    <a:pt x="4537" y="8143"/>
                    <a:pt x="4537" y="8143"/>
                    <a:pt x="5330" y="8687"/>
                  </a:cubicBezTo>
                  <a:cubicBezTo>
                    <a:pt x="5873" y="9054"/>
                    <a:pt x="6064" y="9979"/>
                    <a:pt x="5447" y="10287"/>
                  </a:cubicBezTo>
                  <a:cubicBezTo>
                    <a:pt x="4713" y="10654"/>
                    <a:pt x="3671" y="11814"/>
                    <a:pt x="3494" y="12606"/>
                  </a:cubicBezTo>
                  <a:cubicBezTo>
                    <a:pt x="3247" y="13396"/>
                    <a:pt x="3832" y="13627"/>
                    <a:pt x="4451" y="13627"/>
                  </a:cubicBezTo>
                  <a:cubicBezTo>
                    <a:pt x="4604" y="13627"/>
                    <a:pt x="4759" y="13613"/>
                    <a:pt x="4904" y="13590"/>
                  </a:cubicBezTo>
                  <a:cubicBezTo>
                    <a:pt x="4940" y="13585"/>
                    <a:pt x="4974" y="13582"/>
                    <a:pt x="5006" y="13582"/>
                  </a:cubicBezTo>
                  <a:cubicBezTo>
                    <a:pt x="5781" y="13582"/>
                    <a:pt x="5381" y="15067"/>
                    <a:pt x="5197" y="15293"/>
                  </a:cubicBezTo>
                  <a:cubicBezTo>
                    <a:pt x="4654" y="16335"/>
                    <a:pt x="3127" y="16644"/>
                    <a:pt x="2995" y="18053"/>
                  </a:cubicBezTo>
                  <a:cubicBezTo>
                    <a:pt x="2995" y="18229"/>
                    <a:pt x="2995" y="18420"/>
                    <a:pt x="3127" y="18537"/>
                  </a:cubicBezTo>
                  <a:cubicBezTo>
                    <a:pt x="3245" y="18905"/>
                    <a:pt x="3729" y="18963"/>
                    <a:pt x="3862" y="19389"/>
                  </a:cubicBezTo>
                  <a:cubicBezTo>
                    <a:pt x="3979" y="19697"/>
                    <a:pt x="3979" y="19888"/>
                    <a:pt x="3612" y="20431"/>
                  </a:cubicBezTo>
                  <a:cubicBezTo>
                    <a:pt x="2995" y="21415"/>
                    <a:pt x="2937" y="21532"/>
                    <a:pt x="2937" y="22325"/>
                  </a:cubicBezTo>
                  <a:cubicBezTo>
                    <a:pt x="2937" y="22399"/>
                    <a:pt x="4096" y="25393"/>
                    <a:pt x="5271" y="25570"/>
                  </a:cubicBezTo>
                  <a:cubicBezTo>
                    <a:pt x="6299" y="25761"/>
                    <a:pt x="6240" y="27229"/>
                    <a:pt x="6181" y="28271"/>
                  </a:cubicBezTo>
                  <a:cubicBezTo>
                    <a:pt x="6153" y="29050"/>
                    <a:pt x="6303" y="29321"/>
                    <a:pt x="6547" y="29321"/>
                  </a:cubicBezTo>
                  <a:cubicBezTo>
                    <a:pt x="6818" y="29321"/>
                    <a:pt x="7204" y="28986"/>
                    <a:pt x="7590" y="28638"/>
                  </a:cubicBezTo>
                  <a:cubicBezTo>
                    <a:pt x="7649" y="28638"/>
                    <a:pt x="7649" y="28565"/>
                    <a:pt x="7708" y="28565"/>
                  </a:cubicBezTo>
                  <a:lnTo>
                    <a:pt x="7767" y="28506"/>
                  </a:lnTo>
                  <a:lnTo>
                    <a:pt x="7899" y="28447"/>
                  </a:lnTo>
                  <a:cubicBezTo>
                    <a:pt x="8134" y="28198"/>
                    <a:pt x="8383" y="28021"/>
                    <a:pt x="8633" y="27537"/>
                  </a:cubicBezTo>
                  <a:cubicBezTo>
                    <a:pt x="8692" y="27463"/>
                    <a:pt x="8750" y="27346"/>
                    <a:pt x="8809" y="27287"/>
                  </a:cubicBezTo>
                  <a:cubicBezTo>
                    <a:pt x="9235" y="26495"/>
                    <a:pt x="9235" y="26495"/>
                    <a:pt x="9793" y="23191"/>
                  </a:cubicBezTo>
                  <a:cubicBezTo>
                    <a:pt x="10042" y="21474"/>
                    <a:pt x="12171" y="21841"/>
                    <a:pt x="12788" y="20563"/>
                  </a:cubicBezTo>
                  <a:lnTo>
                    <a:pt x="13272" y="19389"/>
                  </a:lnTo>
                  <a:cubicBezTo>
                    <a:pt x="13318" y="19374"/>
                    <a:pt x="13362" y="19368"/>
                    <a:pt x="13404" y="19368"/>
                  </a:cubicBezTo>
                  <a:cubicBezTo>
                    <a:pt x="13793" y="19368"/>
                    <a:pt x="13989" y="19948"/>
                    <a:pt x="14354" y="19948"/>
                  </a:cubicBezTo>
                  <a:cubicBezTo>
                    <a:pt x="14418" y="19948"/>
                    <a:pt x="14487" y="19930"/>
                    <a:pt x="14564" y="19888"/>
                  </a:cubicBezTo>
                  <a:cubicBezTo>
                    <a:pt x="15181" y="19462"/>
                    <a:pt x="15181" y="18537"/>
                    <a:pt x="15782" y="18112"/>
                  </a:cubicBezTo>
                  <a:cubicBezTo>
                    <a:pt x="15802" y="18092"/>
                    <a:pt x="15830" y="18086"/>
                    <a:pt x="15862" y="18086"/>
                  </a:cubicBezTo>
                  <a:cubicBezTo>
                    <a:pt x="15928" y="18086"/>
                    <a:pt x="16012" y="18112"/>
                    <a:pt x="16091" y="18112"/>
                  </a:cubicBezTo>
                  <a:cubicBezTo>
                    <a:pt x="16282" y="18112"/>
                    <a:pt x="16399" y="18170"/>
                    <a:pt x="16575" y="18170"/>
                  </a:cubicBezTo>
                  <a:lnTo>
                    <a:pt x="16575" y="436"/>
                  </a:lnTo>
                  <a:cubicBezTo>
                    <a:pt x="16399" y="612"/>
                    <a:pt x="16208" y="979"/>
                    <a:pt x="15915" y="979"/>
                  </a:cubicBezTo>
                  <a:cubicBezTo>
                    <a:pt x="15474" y="979"/>
                    <a:pt x="15239" y="671"/>
                    <a:pt x="14814" y="612"/>
                  </a:cubicBezTo>
                  <a:cubicBezTo>
                    <a:pt x="14751" y="600"/>
                    <a:pt x="14688" y="595"/>
                    <a:pt x="14624" y="595"/>
                  </a:cubicBezTo>
                  <a:cubicBezTo>
                    <a:pt x="14243" y="595"/>
                    <a:pt x="13844" y="778"/>
                    <a:pt x="13455" y="778"/>
                  </a:cubicBezTo>
                  <a:cubicBezTo>
                    <a:pt x="13269" y="778"/>
                    <a:pt x="13084" y="736"/>
                    <a:pt x="12905" y="612"/>
                  </a:cubicBezTo>
                  <a:cubicBezTo>
                    <a:pt x="12101" y="144"/>
                    <a:pt x="11854" y="0"/>
                    <a:pt x="11598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8448;p73">
              <a:extLst>
                <a:ext uri="{FF2B5EF4-FFF2-40B4-BE49-F238E27FC236}">
                  <a16:creationId xmlns:a16="http://schemas.microsoft.com/office/drawing/2014/main" id="{49AF0C51-A704-E0DC-4284-2D8DA8056598}"/>
                </a:ext>
              </a:extLst>
            </p:cNvPr>
            <p:cNvSpPr/>
            <p:nvPr/>
          </p:nvSpPr>
          <p:spPr>
            <a:xfrm>
              <a:off x="3405150" y="2530650"/>
              <a:ext cx="9200" cy="5900"/>
            </a:xfrm>
            <a:custGeom>
              <a:avLst/>
              <a:gdLst/>
              <a:ahLst/>
              <a:cxnLst/>
              <a:rect l="l" t="t" r="r" b="b"/>
              <a:pathLst>
                <a:path w="368" h="236" extrusionOk="0">
                  <a:moveTo>
                    <a:pt x="368" y="1"/>
                  </a:moveTo>
                  <a:lnTo>
                    <a:pt x="192" y="59"/>
                  </a:lnTo>
                  <a:lnTo>
                    <a:pt x="60" y="177"/>
                  </a:lnTo>
                  <a:cubicBezTo>
                    <a:pt x="60" y="193"/>
                    <a:pt x="55" y="204"/>
                    <a:pt x="49" y="213"/>
                  </a:cubicBezTo>
                  <a:lnTo>
                    <a:pt x="49" y="213"/>
                  </a:lnTo>
                  <a:cubicBezTo>
                    <a:pt x="149" y="163"/>
                    <a:pt x="207" y="118"/>
                    <a:pt x="309" y="118"/>
                  </a:cubicBezTo>
                  <a:lnTo>
                    <a:pt x="368" y="1"/>
                  </a:lnTo>
                  <a:close/>
                  <a:moveTo>
                    <a:pt x="49" y="213"/>
                  </a:moveTo>
                  <a:cubicBezTo>
                    <a:pt x="34" y="220"/>
                    <a:pt x="18" y="228"/>
                    <a:pt x="1" y="236"/>
                  </a:cubicBezTo>
                  <a:cubicBezTo>
                    <a:pt x="1" y="236"/>
                    <a:pt x="32" y="236"/>
                    <a:pt x="49" y="213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8449;p73">
              <a:extLst>
                <a:ext uri="{FF2B5EF4-FFF2-40B4-BE49-F238E27FC236}">
                  <a16:creationId xmlns:a16="http://schemas.microsoft.com/office/drawing/2014/main" id="{4A7EF2AB-F44C-22F2-48F3-987EB1001CD9}"/>
                </a:ext>
              </a:extLst>
            </p:cNvPr>
            <p:cNvSpPr/>
            <p:nvPr/>
          </p:nvSpPr>
          <p:spPr>
            <a:xfrm>
              <a:off x="3393050" y="2536525"/>
              <a:ext cx="12125" cy="4800"/>
            </a:xfrm>
            <a:custGeom>
              <a:avLst/>
              <a:gdLst/>
              <a:ahLst/>
              <a:cxnLst/>
              <a:rect l="l" t="t" r="r" b="b"/>
              <a:pathLst>
                <a:path w="485" h="192" extrusionOk="0">
                  <a:moveTo>
                    <a:pt x="426" y="1"/>
                  </a:moveTo>
                  <a:cubicBezTo>
                    <a:pt x="400" y="20"/>
                    <a:pt x="373" y="38"/>
                    <a:pt x="347" y="55"/>
                  </a:cubicBezTo>
                  <a:lnTo>
                    <a:pt x="347" y="55"/>
                  </a:lnTo>
                  <a:cubicBezTo>
                    <a:pt x="393" y="37"/>
                    <a:pt x="439" y="20"/>
                    <a:pt x="485" y="1"/>
                  </a:cubicBezTo>
                  <a:close/>
                  <a:moveTo>
                    <a:pt x="347" y="55"/>
                  </a:moveTo>
                  <a:cubicBezTo>
                    <a:pt x="215" y="104"/>
                    <a:pt x="88" y="148"/>
                    <a:pt x="0" y="191"/>
                  </a:cubicBezTo>
                  <a:cubicBezTo>
                    <a:pt x="50" y="191"/>
                    <a:pt x="196" y="149"/>
                    <a:pt x="347" y="55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8450;p73">
              <a:extLst>
                <a:ext uri="{FF2B5EF4-FFF2-40B4-BE49-F238E27FC236}">
                  <a16:creationId xmlns:a16="http://schemas.microsoft.com/office/drawing/2014/main" id="{62F9042F-B593-CB93-4A20-B4335A61A3F1}"/>
                </a:ext>
              </a:extLst>
            </p:cNvPr>
            <p:cNvSpPr/>
            <p:nvPr/>
          </p:nvSpPr>
          <p:spPr>
            <a:xfrm>
              <a:off x="3015375" y="1926525"/>
              <a:ext cx="79300" cy="22800"/>
            </a:xfrm>
            <a:custGeom>
              <a:avLst/>
              <a:gdLst/>
              <a:ahLst/>
              <a:cxnLst/>
              <a:rect l="l" t="t" r="r" b="b"/>
              <a:pathLst>
                <a:path w="3172" h="912" extrusionOk="0">
                  <a:moveTo>
                    <a:pt x="1" y="1"/>
                  </a:moveTo>
                  <a:cubicBezTo>
                    <a:pt x="59" y="60"/>
                    <a:pt x="59" y="60"/>
                    <a:pt x="118" y="60"/>
                  </a:cubicBezTo>
                  <a:cubicBezTo>
                    <a:pt x="177" y="118"/>
                    <a:pt x="269" y="118"/>
                    <a:pt x="360" y="118"/>
                  </a:cubicBezTo>
                  <a:cubicBezTo>
                    <a:pt x="452" y="118"/>
                    <a:pt x="544" y="118"/>
                    <a:pt x="603" y="177"/>
                  </a:cubicBezTo>
                  <a:cubicBezTo>
                    <a:pt x="735" y="309"/>
                    <a:pt x="735" y="485"/>
                    <a:pt x="852" y="544"/>
                  </a:cubicBezTo>
                  <a:cubicBezTo>
                    <a:pt x="852" y="544"/>
                    <a:pt x="1161" y="794"/>
                    <a:pt x="1469" y="852"/>
                  </a:cubicBezTo>
                  <a:cubicBezTo>
                    <a:pt x="1586" y="911"/>
                    <a:pt x="1704" y="911"/>
                    <a:pt x="1777" y="911"/>
                  </a:cubicBezTo>
                  <a:cubicBezTo>
                    <a:pt x="2012" y="911"/>
                    <a:pt x="2203" y="794"/>
                    <a:pt x="2379" y="794"/>
                  </a:cubicBezTo>
                  <a:cubicBezTo>
                    <a:pt x="2570" y="794"/>
                    <a:pt x="2687" y="852"/>
                    <a:pt x="2878" y="852"/>
                  </a:cubicBezTo>
                  <a:cubicBezTo>
                    <a:pt x="2937" y="852"/>
                    <a:pt x="2996" y="794"/>
                    <a:pt x="3054" y="794"/>
                  </a:cubicBezTo>
                  <a:cubicBezTo>
                    <a:pt x="3054" y="735"/>
                    <a:pt x="3113" y="735"/>
                    <a:pt x="3172" y="676"/>
                  </a:cubicBezTo>
                  <a:cubicBezTo>
                    <a:pt x="3054" y="676"/>
                    <a:pt x="2963" y="650"/>
                    <a:pt x="2859" y="650"/>
                  </a:cubicBezTo>
                  <a:cubicBezTo>
                    <a:pt x="2806" y="650"/>
                    <a:pt x="2751" y="657"/>
                    <a:pt x="2687" y="676"/>
                  </a:cubicBezTo>
                  <a:lnTo>
                    <a:pt x="485" y="118"/>
                  </a:lnTo>
                  <a:cubicBezTo>
                    <a:pt x="368" y="60"/>
                    <a:pt x="177" y="60"/>
                    <a:pt x="1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8451;p73">
              <a:extLst>
                <a:ext uri="{FF2B5EF4-FFF2-40B4-BE49-F238E27FC236}">
                  <a16:creationId xmlns:a16="http://schemas.microsoft.com/office/drawing/2014/main" id="{493D63FF-E650-B3AE-6F7F-52DAD3BE2BC4}"/>
                </a:ext>
              </a:extLst>
            </p:cNvPr>
            <p:cNvSpPr/>
            <p:nvPr/>
          </p:nvSpPr>
          <p:spPr>
            <a:xfrm>
              <a:off x="2992250" y="1803900"/>
              <a:ext cx="116375" cy="139550"/>
            </a:xfrm>
            <a:custGeom>
              <a:avLst/>
              <a:gdLst/>
              <a:ahLst/>
              <a:cxnLst/>
              <a:rect l="l" t="t" r="r" b="b"/>
              <a:pathLst>
                <a:path w="4655" h="5582" extrusionOk="0">
                  <a:moveTo>
                    <a:pt x="1601" y="0"/>
                  </a:moveTo>
                  <a:cubicBezTo>
                    <a:pt x="1554" y="0"/>
                    <a:pt x="1509" y="5"/>
                    <a:pt x="1469" y="17"/>
                  </a:cubicBezTo>
                  <a:cubicBezTo>
                    <a:pt x="1293" y="76"/>
                    <a:pt x="1161" y="135"/>
                    <a:pt x="984" y="135"/>
                  </a:cubicBezTo>
                  <a:cubicBezTo>
                    <a:pt x="867" y="135"/>
                    <a:pt x="867" y="76"/>
                    <a:pt x="794" y="17"/>
                  </a:cubicBezTo>
                  <a:cubicBezTo>
                    <a:pt x="427" y="384"/>
                    <a:pt x="250" y="619"/>
                    <a:pt x="192" y="927"/>
                  </a:cubicBezTo>
                  <a:cubicBezTo>
                    <a:pt x="192" y="986"/>
                    <a:pt x="192" y="1118"/>
                    <a:pt x="500" y="1661"/>
                  </a:cubicBezTo>
                  <a:cubicBezTo>
                    <a:pt x="559" y="1720"/>
                    <a:pt x="676" y="1779"/>
                    <a:pt x="794" y="1911"/>
                  </a:cubicBezTo>
                  <a:cubicBezTo>
                    <a:pt x="926" y="2087"/>
                    <a:pt x="676" y="2395"/>
                    <a:pt x="427" y="2762"/>
                  </a:cubicBezTo>
                  <a:cubicBezTo>
                    <a:pt x="133" y="3247"/>
                    <a:pt x="1" y="3379"/>
                    <a:pt x="60" y="3981"/>
                  </a:cubicBezTo>
                  <a:cubicBezTo>
                    <a:pt x="60" y="4231"/>
                    <a:pt x="60" y="4289"/>
                    <a:pt x="192" y="4348"/>
                  </a:cubicBezTo>
                  <a:cubicBezTo>
                    <a:pt x="309" y="4480"/>
                    <a:pt x="500" y="4421"/>
                    <a:pt x="617" y="4480"/>
                  </a:cubicBezTo>
                  <a:cubicBezTo>
                    <a:pt x="794" y="4539"/>
                    <a:pt x="794" y="4715"/>
                    <a:pt x="926" y="4906"/>
                  </a:cubicBezTo>
                  <a:lnTo>
                    <a:pt x="1410" y="5023"/>
                  </a:lnTo>
                  <a:cubicBezTo>
                    <a:pt x="3612" y="5581"/>
                    <a:pt x="3612" y="5581"/>
                    <a:pt x="4097" y="5581"/>
                  </a:cubicBezTo>
                  <a:cubicBezTo>
                    <a:pt x="4170" y="5581"/>
                    <a:pt x="4229" y="5581"/>
                    <a:pt x="4288" y="5522"/>
                  </a:cubicBezTo>
                  <a:cubicBezTo>
                    <a:pt x="4464" y="5390"/>
                    <a:pt x="4655" y="4965"/>
                    <a:pt x="4537" y="4847"/>
                  </a:cubicBezTo>
                  <a:cubicBezTo>
                    <a:pt x="4457" y="4767"/>
                    <a:pt x="4380" y="4744"/>
                    <a:pt x="4303" y="4744"/>
                  </a:cubicBezTo>
                  <a:cubicBezTo>
                    <a:pt x="4196" y="4744"/>
                    <a:pt x="4090" y="4788"/>
                    <a:pt x="3979" y="4788"/>
                  </a:cubicBezTo>
                  <a:cubicBezTo>
                    <a:pt x="3862" y="4715"/>
                    <a:pt x="3803" y="4656"/>
                    <a:pt x="3671" y="4598"/>
                  </a:cubicBezTo>
                  <a:cubicBezTo>
                    <a:pt x="3671" y="4568"/>
                    <a:pt x="3671" y="4554"/>
                    <a:pt x="3596" y="4554"/>
                  </a:cubicBezTo>
                  <a:cubicBezTo>
                    <a:pt x="3521" y="4554"/>
                    <a:pt x="3370" y="4568"/>
                    <a:pt x="3069" y="4598"/>
                  </a:cubicBezTo>
                  <a:cubicBezTo>
                    <a:pt x="2878" y="4598"/>
                    <a:pt x="2878" y="4598"/>
                    <a:pt x="2629" y="4172"/>
                  </a:cubicBezTo>
                  <a:cubicBezTo>
                    <a:pt x="2570" y="4054"/>
                    <a:pt x="2453" y="4054"/>
                    <a:pt x="2335" y="3922"/>
                  </a:cubicBezTo>
                  <a:cubicBezTo>
                    <a:pt x="2203" y="3805"/>
                    <a:pt x="2262" y="3614"/>
                    <a:pt x="2144" y="3497"/>
                  </a:cubicBezTo>
                  <a:cubicBezTo>
                    <a:pt x="2144" y="3438"/>
                    <a:pt x="2027" y="3379"/>
                    <a:pt x="2027" y="3379"/>
                  </a:cubicBezTo>
                  <a:cubicBezTo>
                    <a:pt x="1719" y="3320"/>
                    <a:pt x="1528" y="3320"/>
                    <a:pt x="1528" y="3012"/>
                  </a:cubicBezTo>
                  <a:cubicBezTo>
                    <a:pt x="1469" y="2821"/>
                    <a:pt x="1660" y="2645"/>
                    <a:pt x="1719" y="2395"/>
                  </a:cubicBezTo>
                  <a:cubicBezTo>
                    <a:pt x="1777" y="2219"/>
                    <a:pt x="1777" y="1970"/>
                    <a:pt x="1777" y="1720"/>
                  </a:cubicBezTo>
                  <a:cubicBezTo>
                    <a:pt x="1836" y="1485"/>
                    <a:pt x="1895" y="1294"/>
                    <a:pt x="1895" y="986"/>
                  </a:cubicBezTo>
                  <a:cubicBezTo>
                    <a:pt x="1895" y="927"/>
                    <a:pt x="1836" y="927"/>
                    <a:pt x="1836" y="869"/>
                  </a:cubicBezTo>
                  <a:cubicBezTo>
                    <a:pt x="1836" y="751"/>
                    <a:pt x="1895" y="678"/>
                    <a:pt x="1968" y="560"/>
                  </a:cubicBezTo>
                  <a:cubicBezTo>
                    <a:pt x="2027" y="502"/>
                    <a:pt x="2144" y="252"/>
                    <a:pt x="2144" y="135"/>
                  </a:cubicBezTo>
                  <a:cubicBezTo>
                    <a:pt x="2144" y="135"/>
                    <a:pt x="1845" y="0"/>
                    <a:pt x="1601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8452;p73">
              <a:extLst>
                <a:ext uri="{FF2B5EF4-FFF2-40B4-BE49-F238E27FC236}">
                  <a16:creationId xmlns:a16="http://schemas.microsoft.com/office/drawing/2014/main" id="{443D4098-6017-979A-6D2B-EAAAF166444A}"/>
                </a:ext>
              </a:extLst>
            </p:cNvPr>
            <p:cNvSpPr/>
            <p:nvPr/>
          </p:nvSpPr>
          <p:spPr>
            <a:xfrm>
              <a:off x="3061250" y="1727100"/>
              <a:ext cx="324125" cy="184875"/>
            </a:xfrm>
            <a:custGeom>
              <a:avLst/>
              <a:gdLst/>
              <a:ahLst/>
              <a:cxnLst/>
              <a:rect l="l" t="t" r="r" b="b"/>
              <a:pathLst>
                <a:path w="12965" h="7395" extrusionOk="0">
                  <a:moveTo>
                    <a:pt x="12715" y="2781"/>
                  </a:moveTo>
                  <a:cubicBezTo>
                    <a:pt x="12788" y="2840"/>
                    <a:pt x="12788" y="2898"/>
                    <a:pt x="12788" y="2957"/>
                  </a:cubicBezTo>
                  <a:lnTo>
                    <a:pt x="12847" y="2957"/>
                  </a:lnTo>
                  <a:cubicBezTo>
                    <a:pt x="12905" y="2840"/>
                    <a:pt x="12964" y="2781"/>
                    <a:pt x="12905" y="2781"/>
                  </a:cubicBezTo>
                  <a:close/>
                  <a:moveTo>
                    <a:pt x="5826" y="0"/>
                  </a:moveTo>
                  <a:cubicBezTo>
                    <a:pt x="5781" y="0"/>
                    <a:pt x="5734" y="7"/>
                    <a:pt x="5682" y="21"/>
                  </a:cubicBezTo>
                  <a:cubicBezTo>
                    <a:pt x="5139" y="153"/>
                    <a:pt x="4772" y="946"/>
                    <a:pt x="4948" y="1371"/>
                  </a:cubicBezTo>
                  <a:cubicBezTo>
                    <a:pt x="4948" y="1430"/>
                    <a:pt x="5007" y="1489"/>
                    <a:pt x="5007" y="1548"/>
                  </a:cubicBezTo>
                  <a:lnTo>
                    <a:pt x="5080" y="1548"/>
                  </a:lnTo>
                  <a:cubicBezTo>
                    <a:pt x="5198" y="1680"/>
                    <a:pt x="5257" y="1739"/>
                    <a:pt x="5257" y="2047"/>
                  </a:cubicBezTo>
                  <a:cubicBezTo>
                    <a:pt x="5139" y="2590"/>
                    <a:pt x="4214" y="3089"/>
                    <a:pt x="4831" y="3632"/>
                  </a:cubicBezTo>
                  <a:cubicBezTo>
                    <a:pt x="5374" y="4117"/>
                    <a:pt x="4640" y="4366"/>
                    <a:pt x="4640" y="4366"/>
                  </a:cubicBezTo>
                  <a:cubicBezTo>
                    <a:pt x="4617" y="4374"/>
                    <a:pt x="4590" y="4378"/>
                    <a:pt x="4561" y="4378"/>
                  </a:cubicBezTo>
                  <a:cubicBezTo>
                    <a:pt x="4371" y="4378"/>
                    <a:pt x="4089" y="4224"/>
                    <a:pt x="4038" y="4058"/>
                  </a:cubicBezTo>
                  <a:cubicBezTo>
                    <a:pt x="3955" y="3911"/>
                    <a:pt x="3901" y="3780"/>
                    <a:pt x="3752" y="3780"/>
                  </a:cubicBezTo>
                  <a:cubicBezTo>
                    <a:pt x="3664" y="3780"/>
                    <a:pt x="3543" y="3826"/>
                    <a:pt x="3363" y="3941"/>
                  </a:cubicBezTo>
                  <a:cubicBezTo>
                    <a:pt x="2746" y="4366"/>
                    <a:pt x="2570" y="5291"/>
                    <a:pt x="1836" y="5585"/>
                  </a:cubicBezTo>
                  <a:lnTo>
                    <a:pt x="1777" y="5526"/>
                  </a:lnTo>
                  <a:cubicBezTo>
                    <a:pt x="1704" y="5409"/>
                    <a:pt x="1704" y="5291"/>
                    <a:pt x="1645" y="5100"/>
                  </a:cubicBezTo>
                  <a:cubicBezTo>
                    <a:pt x="1586" y="4983"/>
                    <a:pt x="1337" y="4983"/>
                    <a:pt x="1410" y="4792"/>
                  </a:cubicBezTo>
                  <a:cubicBezTo>
                    <a:pt x="1469" y="4733"/>
                    <a:pt x="1469" y="4733"/>
                    <a:pt x="2687" y="3882"/>
                  </a:cubicBezTo>
                  <a:cubicBezTo>
                    <a:pt x="2878" y="3691"/>
                    <a:pt x="3245" y="3456"/>
                    <a:pt x="3304" y="3207"/>
                  </a:cubicBezTo>
                  <a:lnTo>
                    <a:pt x="3304" y="3148"/>
                  </a:lnTo>
                  <a:cubicBezTo>
                    <a:pt x="3363" y="2781"/>
                    <a:pt x="2937" y="2590"/>
                    <a:pt x="2996" y="2282"/>
                  </a:cubicBezTo>
                  <a:cubicBezTo>
                    <a:pt x="3172" y="1489"/>
                    <a:pt x="3789" y="946"/>
                    <a:pt x="3789" y="153"/>
                  </a:cubicBezTo>
                  <a:cubicBezTo>
                    <a:pt x="3718" y="102"/>
                    <a:pt x="3626" y="79"/>
                    <a:pt x="3522" y="79"/>
                  </a:cubicBezTo>
                  <a:cubicBezTo>
                    <a:pt x="3000" y="79"/>
                    <a:pt x="2152" y="640"/>
                    <a:pt x="1895" y="946"/>
                  </a:cubicBezTo>
                  <a:cubicBezTo>
                    <a:pt x="1469" y="1371"/>
                    <a:pt x="1586" y="2047"/>
                    <a:pt x="1219" y="2473"/>
                  </a:cubicBezTo>
                  <a:cubicBezTo>
                    <a:pt x="911" y="2840"/>
                    <a:pt x="368" y="3574"/>
                    <a:pt x="236" y="3691"/>
                  </a:cubicBezTo>
                  <a:lnTo>
                    <a:pt x="236" y="3750"/>
                  </a:lnTo>
                  <a:cubicBezTo>
                    <a:pt x="177" y="3882"/>
                    <a:pt x="177" y="3941"/>
                    <a:pt x="177" y="4058"/>
                  </a:cubicBezTo>
                  <a:lnTo>
                    <a:pt x="177" y="4117"/>
                  </a:lnTo>
                  <a:cubicBezTo>
                    <a:pt x="236" y="4425"/>
                    <a:pt x="236" y="4792"/>
                    <a:pt x="368" y="5100"/>
                  </a:cubicBezTo>
                  <a:cubicBezTo>
                    <a:pt x="485" y="5409"/>
                    <a:pt x="1" y="5776"/>
                    <a:pt x="309" y="6084"/>
                  </a:cubicBezTo>
                  <a:cubicBezTo>
                    <a:pt x="379" y="6079"/>
                    <a:pt x="445" y="6076"/>
                    <a:pt x="507" y="6076"/>
                  </a:cubicBezTo>
                  <a:cubicBezTo>
                    <a:pt x="1143" y="6076"/>
                    <a:pt x="1349" y="6336"/>
                    <a:pt x="1469" y="6510"/>
                  </a:cubicBezTo>
                  <a:cubicBezTo>
                    <a:pt x="1469" y="6510"/>
                    <a:pt x="1926" y="7086"/>
                    <a:pt x="2325" y="7086"/>
                  </a:cubicBezTo>
                  <a:cubicBezTo>
                    <a:pt x="2411" y="7086"/>
                    <a:pt x="2495" y="7059"/>
                    <a:pt x="2570" y="6994"/>
                  </a:cubicBezTo>
                  <a:cubicBezTo>
                    <a:pt x="2841" y="7179"/>
                    <a:pt x="3176" y="7395"/>
                    <a:pt x="3581" y="7395"/>
                  </a:cubicBezTo>
                  <a:cubicBezTo>
                    <a:pt x="3725" y="7395"/>
                    <a:pt x="3877" y="7368"/>
                    <a:pt x="4038" y="7303"/>
                  </a:cubicBezTo>
                  <a:cubicBezTo>
                    <a:pt x="5139" y="6936"/>
                    <a:pt x="5447" y="5585"/>
                    <a:pt x="6549" y="5350"/>
                  </a:cubicBezTo>
                  <a:cubicBezTo>
                    <a:pt x="7283" y="5159"/>
                    <a:pt x="8075" y="5350"/>
                    <a:pt x="8751" y="4983"/>
                  </a:cubicBezTo>
                  <a:cubicBezTo>
                    <a:pt x="8809" y="4983"/>
                    <a:pt x="8986" y="4851"/>
                    <a:pt x="9294" y="4557"/>
                  </a:cubicBezTo>
                  <a:cubicBezTo>
                    <a:pt x="9911" y="3941"/>
                    <a:pt x="9911" y="3941"/>
                    <a:pt x="12597" y="2840"/>
                  </a:cubicBezTo>
                  <a:cubicBezTo>
                    <a:pt x="12656" y="2840"/>
                    <a:pt x="12715" y="2840"/>
                    <a:pt x="12715" y="2781"/>
                  </a:cubicBezTo>
                  <a:cubicBezTo>
                    <a:pt x="12469" y="2614"/>
                    <a:pt x="12196" y="2506"/>
                    <a:pt x="11898" y="2506"/>
                  </a:cubicBezTo>
                  <a:cubicBezTo>
                    <a:pt x="11751" y="2506"/>
                    <a:pt x="11597" y="2532"/>
                    <a:pt x="11437" y="2590"/>
                  </a:cubicBezTo>
                  <a:cubicBezTo>
                    <a:pt x="10914" y="2756"/>
                    <a:pt x="10627" y="2846"/>
                    <a:pt x="10441" y="2846"/>
                  </a:cubicBezTo>
                  <a:cubicBezTo>
                    <a:pt x="10215" y="2846"/>
                    <a:pt x="10138" y="2712"/>
                    <a:pt x="9969" y="2414"/>
                  </a:cubicBezTo>
                  <a:cubicBezTo>
                    <a:pt x="9911" y="2414"/>
                    <a:pt x="9911" y="2355"/>
                    <a:pt x="9911" y="2355"/>
                  </a:cubicBezTo>
                  <a:cubicBezTo>
                    <a:pt x="9602" y="1988"/>
                    <a:pt x="9602" y="1988"/>
                    <a:pt x="8868" y="1680"/>
                  </a:cubicBezTo>
                  <a:cubicBezTo>
                    <a:pt x="8384" y="1430"/>
                    <a:pt x="8809" y="814"/>
                    <a:pt x="8384" y="579"/>
                  </a:cubicBezTo>
                  <a:lnTo>
                    <a:pt x="8252" y="579"/>
                  </a:lnTo>
                  <a:lnTo>
                    <a:pt x="6666" y="388"/>
                  </a:lnTo>
                  <a:cubicBezTo>
                    <a:pt x="6343" y="336"/>
                    <a:pt x="6157" y="0"/>
                    <a:pt x="5826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8453;p73">
              <a:extLst>
                <a:ext uri="{FF2B5EF4-FFF2-40B4-BE49-F238E27FC236}">
                  <a16:creationId xmlns:a16="http://schemas.microsoft.com/office/drawing/2014/main" id="{47BD57C5-0FEA-FE7A-DA5F-1EA28C59F984}"/>
                </a:ext>
              </a:extLst>
            </p:cNvPr>
            <p:cNvSpPr/>
            <p:nvPr/>
          </p:nvSpPr>
          <p:spPr>
            <a:xfrm>
              <a:off x="2937200" y="1715525"/>
              <a:ext cx="117850" cy="106175"/>
            </a:xfrm>
            <a:custGeom>
              <a:avLst/>
              <a:gdLst/>
              <a:ahLst/>
              <a:cxnLst/>
              <a:rect l="l" t="t" r="r" b="b"/>
              <a:pathLst>
                <a:path w="4714" h="4247" extrusionOk="0">
                  <a:moveTo>
                    <a:pt x="735" y="4095"/>
                  </a:moveTo>
                  <a:cubicBezTo>
                    <a:pt x="676" y="4154"/>
                    <a:pt x="617" y="4154"/>
                    <a:pt x="617" y="4154"/>
                  </a:cubicBezTo>
                  <a:lnTo>
                    <a:pt x="867" y="4154"/>
                  </a:lnTo>
                  <a:cubicBezTo>
                    <a:pt x="793" y="4154"/>
                    <a:pt x="793" y="4095"/>
                    <a:pt x="735" y="4095"/>
                  </a:cubicBezTo>
                  <a:close/>
                  <a:moveTo>
                    <a:pt x="4113" y="1"/>
                  </a:moveTo>
                  <a:cubicBezTo>
                    <a:pt x="3998" y="1"/>
                    <a:pt x="3795" y="150"/>
                    <a:pt x="3186" y="675"/>
                  </a:cubicBezTo>
                  <a:cubicBezTo>
                    <a:pt x="2394" y="1409"/>
                    <a:pt x="2262" y="1409"/>
                    <a:pt x="2262" y="1409"/>
                  </a:cubicBezTo>
                  <a:cubicBezTo>
                    <a:pt x="2203" y="1409"/>
                    <a:pt x="2085" y="1409"/>
                    <a:pt x="2085" y="1159"/>
                  </a:cubicBezTo>
                  <a:cubicBezTo>
                    <a:pt x="2085" y="947"/>
                    <a:pt x="2085" y="853"/>
                    <a:pt x="1966" y="853"/>
                  </a:cubicBezTo>
                  <a:cubicBezTo>
                    <a:pt x="1912" y="853"/>
                    <a:pt x="1833" y="873"/>
                    <a:pt x="1718" y="910"/>
                  </a:cubicBezTo>
                  <a:cubicBezTo>
                    <a:pt x="1660" y="910"/>
                    <a:pt x="1601" y="983"/>
                    <a:pt x="1528" y="1042"/>
                  </a:cubicBezTo>
                  <a:cubicBezTo>
                    <a:pt x="1410" y="1100"/>
                    <a:pt x="1351" y="1159"/>
                    <a:pt x="1293" y="1277"/>
                  </a:cubicBezTo>
                  <a:cubicBezTo>
                    <a:pt x="1102" y="1526"/>
                    <a:pt x="1161" y="1834"/>
                    <a:pt x="984" y="2084"/>
                  </a:cubicBezTo>
                  <a:cubicBezTo>
                    <a:pt x="867" y="2260"/>
                    <a:pt x="735" y="2378"/>
                    <a:pt x="559" y="2510"/>
                  </a:cubicBezTo>
                  <a:cubicBezTo>
                    <a:pt x="426" y="2627"/>
                    <a:pt x="1" y="2877"/>
                    <a:pt x="59" y="3053"/>
                  </a:cubicBezTo>
                  <a:lnTo>
                    <a:pt x="133" y="3112"/>
                  </a:lnTo>
                  <a:cubicBezTo>
                    <a:pt x="250" y="3244"/>
                    <a:pt x="192" y="3479"/>
                    <a:pt x="368" y="3670"/>
                  </a:cubicBezTo>
                  <a:cubicBezTo>
                    <a:pt x="559" y="3846"/>
                    <a:pt x="867" y="3919"/>
                    <a:pt x="1043" y="4154"/>
                  </a:cubicBezTo>
                  <a:lnTo>
                    <a:pt x="867" y="4154"/>
                  </a:lnTo>
                  <a:cubicBezTo>
                    <a:pt x="1060" y="4214"/>
                    <a:pt x="1190" y="4247"/>
                    <a:pt x="1303" y="4247"/>
                  </a:cubicBezTo>
                  <a:cubicBezTo>
                    <a:pt x="1439" y="4247"/>
                    <a:pt x="1550" y="4200"/>
                    <a:pt x="1718" y="4095"/>
                  </a:cubicBezTo>
                  <a:cubicBezTo>
                    <a:pt x="1968" y="3978"/>
                    <a:pt x="2335" y="3420"/>
                    <a:pt x="2027" y="3361"/>
                  </a:cubicBezTo>
                  <a:cubicBezTo>
                    <a:pt x="1718" y="3303"/>
                    <a:pt x="1718" y="3303"/>
                    <a:pt x="1718" y="3244"/>
                  </a:cubicBezTo>
                  <a:cubicBezTo>
                    <a:pt x="1718" y="3244"/>
                    <a:pt x="1528" y="2378"/>
                    <a:pt x="1777" y="2143"/>
                  </a:cubicBezTo>
                  <a:cubicBezTo>
                    <a:pt x="1932" y="1940"/>
                    <a:pt x="2972" y="1581"/>
                    <a:pt x="3584" y="1581"/>
                  </a:cubicBezTo>
                  <a:cubicBezTo>
                    <a:pt x="3724" y="1581"/>
                    <a:pt x="3841" y="1600"/>
                    <a:pt x="3921" y="1644"/>
                  </a:cubicBezTo>
                  <a:cubicBezTo>
                    <a:pt x="3971" y="1675"/>
                    <a:pt x="4010" y="1693"/>
                    <a:pt x="4054" y="1693"/>
                  </a:cubicBezTo>
                  <a:cubicBezTo>
                    <a:pt x="4112" y="1693"/>
                    <a:pt x="4178" y="1661"/>
                    <a:pt x="4288" y="1585"/>
                  </a:cubicBezTo>
                  <a:lnTo>
                    <a:pt x="4288" y="1350"/>
                  </a:lnTo>
                  <a:cubicBezTo>
                    <a:pt x="4346" y="1159"/>
                    <a:pt x="4537" y="983"/>
                    <a:pt x="4655" y="792"/>
                  </a:cubicBezTo>
                  <a:cubicBezTo>
                    <a:pt x="4655" y="733"/>
                    <a:pt x="4713" y="616"/>
                    <a:pt x="4596" y="543"/>
                  </a:cubicBezTo>
                  <a:cubicBezTo>
                    <a:pt x="4537" y="484"/>
                    <a:pt x="4464" y="366"/>
                    <a:pt x="4346" y="249"/>
                  </a:cubicBezTo>
                  <a:cubicBezTo>
                    <a:pt x="4288" y="176"/>
                    <a:pt x="4288" y="117"/>
                    <a:pt x="4229" y="58"/>
                  </a:cubicBezTo>
                  <a:cubicBezTo>
                    <a:pt x="4191" y="25"/>
                    <a:pt x="4159" y="1"/>
                    <a:pt x="4113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8454;p73">
              <a:extLst>
                <a:ext uri="{FF2B5EF4-FFF2-40B4-BE49-F238E27FC236}">
                  <a16:creationId xmlns:a16="http://schemas.microsoft.com/office/drawing/2014/main" id="{456720E3-FF23-5EED-9770-74B2B5735EF0}"/>
                </a:ext>
              </a:extLst>
            </p:cNvPr>
            <p:cNvSpPr/>
            <p:nvPr/>
          </p:nvSpPr>
          <p:spPr>
            <a:xfrm>
              <a:off x="2851700" y="1833250"/>
              <a:ext cx="79650" cy="75000"/>
            </a:xfrm>
            <a:custGeom>
              <a:avLst/>
              <a:gdLst/>
              <a:ahLst/>
              <a:cxnLst/>
              <a:rect l="l" t="t" r="r" b="b"/>
              <a:pathLst>
                <a:path w="3186" h="3000" extrusionOk="0">
                  <a:moveTo>
                    <a:pt x="1932" y="0"/>
                  </a:moveTo>
                  <a:cubicBezTo>
                    <a:pt x="1705" y="0"/>
                    <a:pt x="661" y="816"/>
                    <a:pt x="250" y="1412"/>
                  </a:cubicBezTo>
                  <a:cubicBezTo>
                    <a:pt x="59" y="1706"/>
                    <a:pt x="0" y="2572"/>
                    <a:pt x="117" y="2748"/>
                  </a:cubicBezTo>
                  <a:cubicBezTo>
                    <a:pt x="210" y="2933"/>
                    <a:pt x="361" y="2999"/>
                    <a:pt x="527" y="2999"/>
                  </a:cubicBezTo>
                  <a:cubicBezTo>
                    <a:pt x="807" y="2999"/>
                    <a:pt x="1130" y="2810"/>
                    <a:pt x="1277" y="2690"/>
                  </a:cubicBezTo>
                  <a:cubicBezTo>
                    <a:pt x="1219" y="2381"/>
                    <a:pt x="1409" y="2146"/>
                    <a:pt x="1351" y="1897"/>
                  </a:cubicBezTo>
                  <a:cubicBezTo>
                    <a:pt x="1478" y="1812"/>
                    <a:pt x="1544" y="1750"/>
                    <a:pt x="1643" y="1750"/>
                  </a:cubicBezTo>
                  <a:cubicBezTo>
                    <a:pt x="1681" y="1750"/>
                    <a:pt x="1724" y="1759"/>
                    <a:pt x="1776" y="1779"/>
                  </a:cubicBezTo>
                  <a:cubicBezTo>
                    <a:pt x="2202" y="1779"/>
                    <a:pt x="2819" y="1471"/>
                    <a:pt x="2819" y="1471"/>
                  </a:cubicBezTo>
                  <a:cubicBezTo>
                    <a:pt x="3112" y="1280"/>
                    <a:pt x="3186" y="913"/>
                    <a:pt x="3112" y="854"/>
                  </a:cubicBezTo>
                  <a:lnTo>
                    <a:pt x="2878" y="854"/>
                  </a:lnTo>
                  <a:cubicBezTo>
                    <a:pt x="2878" y="867"/>
                    <a:pt x="2880" y="879"/>
                    <a:pt x="2885" y="891"/>
                  </a:cubicBezTo>
                  <a:lnTo>
                    <a:pt x="2885" y="891"/>
                  </a:lnTo>
                  <a:cubicBezTo>
                    <a:pt x="2867" y="879"/>
                    <a:pt x="2850" y="867"/>
                    <a:pt x="2832" y="854"/>
                  </a:cubicBezTo>
                  <a:lnTo>
                    <a:pt x="2878" y="854"/>
                  </a:lnTo>
                  <a:cubicBezTo>
                    <a:pt x="2819" y="796"/>
                    <a:pt x="2745" y="737"/>
                    <a:pt x="2687" y="678"/>
                  </a:cubicBezTo>
                  <a:lnTo>
                    <a:pt x="2687" y="678"/>
                  </a:lnTo>
                  <a:cubicBezTo>
                    <a:pt x="2687" y="736"/>
                    <a:pt x="2743" y="793"/>
                    <a:pt x="2745" y="796"/>
                  </a:cubicBezTo>
                  <a:lnTo>
                    <a:pt x="2745" y="796"/>
                  </a:lnTo>
                  <a:cubicBezTo>
                    <a:pt x="2504" y="635"/>
                    <a:pt x="2258" y="485"/>
                    <a:pt x="2085" y="311"/>
                  </a:cubicBezTo>
                  <a:cubicBezTo>
                    <a:pt x="1953" y="179"/>
                    <a:pt x="1953" y="120"/>
                    <a:pt x="1953" y="120"/>
                  </a:cubicBezTo>
                  <a:lnTo>
                    <a:pt x="1953" y="3"/>
                  </a:lnTo>
                  <a:cubicBezTo>
                    <a:pt x="1947" y="1"/>
                    <a:pt x="1940" y="0"/>
                    <a:pt x="1932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8455;p73">
              <a:extLst>
                <a:ext uri="{FF2B5EF4-FFF2-40B4-BE49-F238E27FC236}">
                  <a16:creationId xmlns:a16="http://schemas.microsoft.com/office/drawing/2014/main" id="{635C59E7-5A08-C28E-0BB3-BCAEC524CCF8}"/>
                </a:ext>
              </a:extLst>
            </p:cNvPr>
            <p:cNvSpPr/>
            <p:nvPr/>
          </p:nvSpPr>
          <p:spPr>
            <a:xfrm>
              <a:off x="2762875" y="1674025"/>
              <a:ext cx="99475" cy="58375"/>
            </a:xfrm>
            <a:custGeom>
              <a:avLst/>
              <a:gdLst/>
              <a:ahLst/>
              <a:cxnLst/>
              <a:rect l="l" t="t" r="r" b="b"/>
              <a:pathLst>
                <a:path w="3979" h="2335" extrusionOk="0">
                  <a:moveTo>
                    <a:pt x="2202" y="0"/>
                  </a:moveTo>
                  <a:cubicBezTo>
                    <a:pt x="2144" y="0"/>
                    <a:pt x="1718" y="0"/>
                    <a:pt x="1410" y="133"/>
                  </a:cubicBezTo>
                  <a:cubicBezTo>
                    <a:pt x="367" y="617"/>
                    <a:pt x="367" y="617"/>
                    <a:pt x="309" y="734"/>
                  </a:cubicBezTo>
                  <a:cubicBezTo>
                    <a:pt x="0" y="1102"/>
                    <a:pt x="250" y="1292"/>
                    <a:pt x="426" y="1351"/>
                  </a:cubicBezTo>
                  <a:cubicBezTo>
                    <a:pt x="617" y="1469"/>
                    <a:pt x="558" y="1601"/>
                    <a:pt x="426" y="1836"/>
                  </a:cubicBezTo>
                  <a:cubicBezTo>
                    <a:pt x="1468" y="1601"/>
                    <a:pt x="1659" y="1542"/>
                    <a:pt x="1777" y="1542"/>
                  </a:cubicBezTo>
                  <a:cubicBezTo>
                    <a:pt x="1894" y="1542"/>
                    <a:pt x="1968" y="1601"/>
                    <a:pt x="2026" y="1777"/>
                  </a:cubicBezTo>
                  <a:cubicBezTo>
                    <a:pt x="2026" y="1836"/>
                    <a:pt x="2085" y="1968"/>
                    <a:pt x="2393" y="1968"/>
                  </a:cubicBezTo>
                  <a:lnTo>
                    <a:pt x="3436" y="2335"/>
                  </a:lnTo>
                  <a:lnTo>
                    <a:pt x="3494" y="2335"/>
                  </a:lnTo>
                  <a:cubicBezTo>
                    <a:pt x="3729" y="2085"/>
                    <a:pt x="3729" y="2085"/>
                    <a:pt x="3861" y="2026"/>
                  </a:cubicBezTo>
                  <a:cubicBezTo>
                    <a:pt x="3920" y="2085"/>
                    <a:pt x="3920" y="2144"/>
                    <a:pt x="3979" y="2203"/>
                  </a:cubicBezTo>
                  <a:cubicBezTo>
                    <a:pt x="3803" y="1909"/>
                    <a:pt x="3803" y="1836"/>
                    <a:pt x="3553" y="1718"/>
                  </a:cubicBezTo>
                  <a:lnTo>
                    <a:pt x="3069" y="1410"/>
                  </a:lnTo>
                  <a:lnTo>
                    <a:pt x="2995" y="1351"/>
                  </a:lnTo>
                  <a:cubicBezTo>
                    <a:pt x="2995" y="1234"/>
                    <a:pt x="3127" y="1043"/>
                    <a:pt x="3186" y="867"/>
                  </a:cubicBezTo>
                  <a:cubicBezTo>
                    <a:pt x="3303" y="676"/>
                    <a:pt x="3362" y="558"/>
                    <a:pt x="3362" y="500"/>
                  </a:cubicBezTo>
                  <a:cubicBezTo>
                    <a:pt x="3303" y="441"/>
                    <a:pt x="3245" y="441"/>
                    <a:pt x="3127" y="441"/>
                  </a:cubicBezTo>
                  <a:cubicBezTo>
                    <a:pt x="2936" y="441"/>
                    <a:pt x="2878" y="367"/>
                    <a:pt x="2760" y="309"/>
                  </a:cubicBezTo>
                  <a:cubicBezTo>
                    <a:pt x="2569" y="191"/>
                    <a:pt x="2202" y="74"/>
                    <a:pt x="2202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8456;p73">
              <a:extLst>
                <a:ext uri="{FF2B5EF4-FFF2-40B4-BE49-F238E27FC236}">
                  <a16:creationId xmlns:a16="http://schemas.microsoft.com/office/drawing/2014/main" id="{9CA7C70B-A191-11E3-ADA3-F54FB225E959}"/>
                </a:ext>
              </a:extLst>
            </p:cNvPr>
            <p:cNvSpPr/>
            <p:nvPr/>
          </p:nvSpPr>
          <p:spPr>
            <a:xfrm>
              <a:off x="2865275" y="1669000"/>
              <a:ext cx="108650" cy="108100"/>
            </a:xfrm>
            <a:custGeom>
              <a:avLst/>
              <a:gdLst/>
              <a:ahLst/>
              <a:cxnLst/>
              <a:rect l="l" t="t" r="r" b="b"/>
              <a:pathLst>
                <a:path w="4346" h="4324" extrusionOk="0">
                  <a:moveTo>
                    <a:pt x="3744" y="2345"/>
                  </a:moveTo>
                  <a:lnTo>
                    <a:pt x="3127" y="3020"/>
                  </a:lnTo>
                  <a:cubicBezTo>
                    <a:pt x="3186" y="3020"/>
                    <a:pt x="3245" y="2961"/>
                    <a:pt x="3303" y="2903"/>
                  </a:cubicBezTo>
                  <a:cubicBezTo>
                    <a:pt x="3494" y="2771"/>
                    <a:pt x="3553" y="2712"/>
                    <a:pt x="3553" y="2712"/>
                  </a:cubicBezTo>
                  <a:lnTo>
                    <a:pt x="3744" y="2345"/>
                  </a:lnTo>
                  <a:close/>
                  <a:moveTo>
                    <a:pt x="1610" y="1"/>
                  </a:moveTo>
                  <a:cubicBezTo>
                    <a:pt x="1519" y="1"/>
                    <a:pt x="1417" y="42"/>
                    <a:pt x="1292" y="84"/>
                  </a:cubicBezTo>
                  <a:cubicBezTo>
                    <a:pt x="1233" y="510"/>
                    <a:pt x="866" y="759"/>
                    <a:pt x="617" y="1068"/>
                  </a:cubicBezTo>
                  <a:cubicBezTo>
                    <a:pt x="676" y="1097"/>
                    <a:pt x="723" y="1097"/>
                    <a:pt x="771" y="1097"/>
                  </a:cubicBezTo>
                  <a:cubicBezTo>
                    <a:pt x="819" y="1097"/>
                    <a:pt x="866" y="1097"/>
                    <a:pt x="925" y="1126"/>
                  </a:cubicBezTo>
                  <a:cubicBezTo>
                    <a:pt x="925" y="1244"/>
                    <a:pt x="734" y="1376"/>
                    <a:pt x="808" y="1493"/>
                  </a:cubicBezTo>
                  <a:cubicBezTo>
                    <a:pt x="866" y="1611"/>
                    <a:pt x="1043" y="1743"/>
                    <a:pt x="984" y="1919"/>
                  </a:cubicBezTo>
                  <a:cubicBezTo>
                    <a:pt x="925" y="2037"/>
                    <a:pt x="866" y="2110"/>
                    <a:pt x="499" y="2536"/>
                  </a:cubicBezTo>
                  <a:cubicBezTo>
                    <a:pt x="132" y="2961"/>
                    <a:pt x="0" y="3138"/>
                    <a:pt x="191" y="3505"/>
                  </a:cubicBezTo>
                  <a:lnTo>
                    <a:pt x="866" y="3387"/>
                  </a:lnTo>
                  <a:cubicBezTo>
                    <a:pt x="1101" y="3328"/>
                    <a:pt x="1175" y="3328"/>
                    <a:pt x="1175" y="3328"/>
                  </a:cubicBezTo>
                  <a:lnTo>
                    <a:pt x="1175" y="3328"/>
                  </a:lnTo>
                  <a:cubicBezTo>
                    <a:pt x="1292" y="3387"/>
                    <a:pt x="1101" y="3505"/>
                    <a:pt x="1101" y="3578"/>
                  </a:cubicBezTo>
                  <a:cubicBezTo>
                    <a:pt x="1101" y="3637"/>
                    <a:pt x="1175" y="3637"/>
                    <a:pt x="1233" y="3637"/>
                  </a:cubicBezTo>
                  <a:cubicBezTo>
                    <a:pt x="1351" y="3637"/>
                    <a:pt x="1410" y="3695"/>
                    <a:pt x="1468" y="3754"/>
                  </a:cubicBezTo>
                  <a:cubicBezTo>
                    <a:pt x="1659" y="4121"/>
                    <a:pt x="1659" y="4121"/>
                    <a:pt x="1718" y="4180"/>
                  </a:cubicBezTo>
                  <a:cubicBezTo>
                    <a:pt x="1777" y="4180"/>
                    <a:pt x="1777" y="4239"/>
                    <a:pt x="1777" y="4239"/>
                  </a:cubicBezTo>
                  <a:cubicBezTo>
                    <a:pt x="1835" y="4239"/>
                    <a:pt x="1835" y="4239"/>
                    <a:pt x="1909" y="4312"/>
                  </a:cubicBezTo>
                  <a:cubicBezTo>
                    <a:pt x="1948" y="4320"/>
                    <a:pt x="1988" y="4323"/>
                    <a:pt x="2029" y="4323"/>
                  </a:cubicBezTo>
                  <a:cubicBezTo>
                    <a:pt x="2294" y="4323"/>
                    <a:pt x="2569" y="4180"/>
                    <a:pt x="2569" y="4180"/>
                  </a:cubicBezTo>
                  <a:cubicBezTo>
                    <a:pt x="2936" y="3945"/>
                    <a:pt x="3303" y="3387"/>
                    <a:pt x="3069" y="3211"/>
                  </a:cubicBezTo>
                  <a:cubicBezTo>
                    <a:pt x="2878" y="3079"/>
                    <a:pt x="2819" y="3020"/>
                    <a:pt x="3010" y="2844"/>
                  </a:cubicBezTo>
                  <a:cubicBezTo>
                    <a:pt x="3010" y="2844"/>
                    <a:pt x="3127" y="2712"/>
                    <a:pt x="3612" y="2404"/>
                  </a:cubicBezTo>
                  <a:cubicBezTo>
                    <a:pt x="3612" y="2404"/>
                    <a:pt x="3744" y="2345"/>
                    <a:pt x="3744" y="2286"/>
                  </a:cubicBezTo>
                  <a:cubicBezTo>
                    <a:pt x="3803" y="2227"/>
                    <a:pt x="3803" y="2037"/>
                    <a:pt x="3861" y="1919"/>
                  </a:cubicBezTo>
                  <a:cubicBezTo>
                    <a:pt x="3979" y="1802"/>
                    <a:pt x="4170" y="1670"/>
                    <a:pt x="4287" y="1493"/>
                  </a:cubicBezTo>
                  <a:cubicBezTo>
                    <a:pt x="4346" y="1435"/>
                    <a:pt x="4346" y="1376"/>
                    <a:pt x="4287" y="1376"/>
                  </a:cubicBezTo>
                  <a:cubicBezTo>
                    <a:pt x="4228" y="1339"/>
                    <a:pt x="4166" y="1339"/>
                    <a:pt x="4111" y="1339"/>
                  </a:cubicBezTo>
                  <a:cubicBezTo>
                    <a:pt x="4056" y="1339"/>
                    <a:pt x="4008" y="1339"/>
                    <a:pt x="3979" y="1303"/>
                  </a:cubicBezTo>
                  <a:cubicBezTo>
                    <a:pt x="3612" y="1493"/>
                    <a:pt x="3494" y="1552"/>
                    <a:pt x="3186" y="1802"/>
                  </a:cubicBezTo>
                  <a:cubicBezTo>
                    <a:pt x="2774" y="2213"/>
                    <a:pt x="2592" y="2312"/>
                    <a:pt x="2512" y="2312"/>
                  </a:cubicBezTo>
                  <a:cubicBezTo>
                    <a:pt x="2438" y="2312"/>
                    <a:pt x="2452" y="2227"/>
                    <a:pt x="2452" y="2227"/>
                  </a:cubicBezTo>
                  <a:cubicBezTo>
                    <a:pt x="2511" y="2110"/>
                    <a:pt x="2643" y="2037"/>
                    <a:pt x="2643" y="1860"/>
                  </a:cubicBezTo>
                  <a:cubicBezTo>
                    <a:pt x="2643" y="1493"/>
                    <a:pt x="2085" y="1802"/>
                    <a:pt x="2026" y="1435"/>
                  </a:cubicBezTo>
                  <a:cubicBezTo>
                    <a:pt x="1967" y="1068"/>
                    <a:pt x="2511" y="935"/>
                    <a:pt x="2452" y="510"/>
                  </a:cubicBezTo>
                  <a:lnTo>
                    <a:pt x="2393" y="451"/>
                  </a:lnTo>
                  <a:lnTo>
                    <a:pt x="2335" y="392"/>
                  </a:lnTo>
                  <a:cubicBezTo>
                    <a:pt x="2202" y="334"/>
                    <a:pt x="2085" y="334"/>
                    <a:pt x="1967" y="275"/>
                  </a:cubicBezTo>
                  <a:cubicBezTo>
                    <a:pt x="1835" y="201"/>
                    <a:pt x="1835" y="84"/>
                    <a:pt x="1718" y="25"/>
                  </a:cubicBezTo>
                  <a:cubicBezTo>
                    <a:pt x="1684" y="8"/>
                    <a:pt x="1648" y="1"/>
                    <a:pt x="1610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8457;p73">
              <a:extLst>
                <a:ext uri="{FF2B5EF4-FFF2-40B4-BE49-F238E27FC236}">
                  <a16:creationId xmlns:a16="http://schemas.microsoft.com/office/drawing/2014/main" id="{3433D2DC-C279-D982-DB22-B0668E1A7D6C}"/>
                </a:ext>
              </a:extLst>
            </p:cNvPr>
            <p:cNvSpPr/>
            <p:nvPr/>
          </p:nvSpPr>
          <p:spPr>
            <a:xfrm>
              <a:off x="2420425" y="3811325"/>
              <a:ext cx="1102575" cy="877450"/>
            </a:xfrm>
            <a:custGeom>
              <a:avLst/>
              <a:gdLst/>
              <a:ahLst/>
              <a:cxnLst/>
              <a:rect l="l" t="t" r="r" b="b"/>
              <a:pathLst>
                <a:path w="44103" h="35098" extrusionOk="0">
                  <a:moveTo>
                    <a:pt x="5745" y="1"/>
                  </a:moveTo>
                  <a:cubicBezTo>
                    <a:pt x="5703" y="1"/>
                    <a:pt x="5661" y="8"/>
                    <a:pt x="5624" y="25"/>
                  </a:cubicBezTo>
                  <a:cubicBezTo>
                    <a:pt x="4831" y="465"/>
                    <a:pt x="5081" y="1625"/>
                    <a:pt x="4214" y="1933"/>
                  </a:cubicBezTo>
                  <a:cubicBezTo>
                    <a:pt x="4142" y="1954"/>
                    <a:pt x="4070" y="1963"/>
                    <a:pt x="4000" y="1963"/>
                  </a:cubicBezTo>
                  <a:cubicBezTo>
                    <a:pt x="3654" y="1963"/>
                    <a:pt x="3337" y="1746"/>
                    <a:pt x="3020" y="1746"/>
                  </a:cubicBezTo>
                  <a:cubicBezTo>
                    <a:pt x="2871" y="1746"/>
                    <a:pt x="2722" y="1793"/>
                    <a:pt x="2570" y="1933"/>
                  </a:cubicBezTo>
                  <a:cubicBezTo>
                    <a:pt x="2086" y="2359"/>
                    <a:pt x="2321" y="2961"/>
                    <a:pt x="2086" y="3460"/>
                  </a:cubicBezTo>
                  <a:lnTo>
                    <a:pt x="2086" y="3768"/>
                  </a:lnTo>
                  <a:lnTo>
                    <a:pt x="911" y="3210"/>
                  </a:lnTo>
                  <a:lnTo>
                    <a:pt x="911" y="3210"/>
                  </a:lnTo>
                  <a:cubicBezTo>
                    <a:pt x="1410" y="3944"/>
                    <a:pt x="2203" y="5354"/>
                    <a:pt x="2379" y="6088"/>
                  </a:cubicBezTo>
                  <a:cubicBezTo>
                    <a:pt x="2203" y="7365"/>
                    <a:pt x="2144" y="8657"/>
                    <a:pt x="1836" y="9934"/>
                  </a:cubicBezTo>
                  <a:cubicBezTo>
                    <a:pt x="1777" y="9934"/>
                    <a:pt x="1777" y="9934"/>
                    <a:pt x="794" y="10125"/>
                  </a:cubicBezTo>
                  <a:cubicBezTo>
                    <a:pt x="1" y="10243"/>
                    <a:pt x="177" y="11402"/>
                    <a:pt x="1161" y="13120"/>
                  </a:cubicBezTo>
                  <a:cubicBezTo>
                    <a:pt x="2570" y="15572"/>
                    <a:pt x="5756" y="19183"/>
                    <a:pt x="9793" y="22178"/>
                  </a:cubicBezTo>
                  <a:cubicBezTo>
                    <a:pt x="9852" y="22296"/>
                    <a:pt x="16576" y="28785"/>
                    <a:pt x="20437" y="30737"/>
                  </a:cubicBezTo>
                  <a:cubicBezTo>
                    <a:pt x="20554" y="30796"/>
                    <a:pt x="20730" y="30855"/>
                    <a:pt x="20804" y="30928"/>
                  </a:cubicBezTo>
                  <a:lnTo>
                    <a:pt x="20863" y="30928"/>
                  </a:lnTo>
                  <a:cubicBezTo>
                    <a:pt x="21230" y="31104"/>
                    <a:pt x="21538" y="31222"/>
                    <a:pt x="21773" y="31354"/>
                  </a:cubicBezTo>
                  <a:cubicBezTo>
                    <a:pt x="22081" y="31471"/>
                    <a:pt x="22331" y="31530"/>
                    <a:pt x="22566" y="31662"/>
                  </a:cubicBezTo>
                  <a:cubicBezTo>
                    <a:pt x="22815" y="31779"/>
                    <a:pt x="23065" y="31838"/>
                    <a:pt x="23241" y="31956"/>
                  </a:cubicBezTo>
                  <a:cubicBezTo>
                    <a:pt x="23300" y="31956"/>
                    <a:pt x="23373" y="31956"/>
                    <a:pt x="23432" y="32029"/>
                  </a:cubicBezTo>
                  <a:cubicBezTo>
                    <a:pt x="24533" y="32396"/>
                    <a:pt x="25751" y="32822"/>
                    <a:pt x="28570" y="33732"/>
                  </a:cubicBezTo>
                  <a:cubicBezTo>
                    <a:pt x="28937" y="33864"/>
                    <a:pt x="29304" y="33982"/>
                    <a:pt x="29671" y="34040"/>
                  </a:cubicBezTo>
                  <a:cubicBezTo>
                    <a:pt x="30581" y="34349"/>
                    <a:pt x="31624" y="34598"/>
                    <a:pt x="32549" y="34833"/>
                  </a:cubicBezTo>
                  <a:cubicBezTo>
                    <a:pt x="32725" y="34833"/>
                    <a:pt x="32916" y="34892"/>
                    <a:pt x="33033" y="34965"/>
                  </a:cubicBezTo>
                  <a:cubicBezTo>
                    <a:pt x="33209" y="35024"/>
                    <a:pt x="33400" y="35024"/>
                    <a:pt x="33518" y="35083"/>
                  </a:cubicBezTo>
                  <a:cubicBezTo>
                    <a:pt x="33588" y="35092"/>
                    <a:pt x="33655" y="35097"/>
                    <a:pt x="33724" y="35097"/>
                  </a:cubicBezTo>
                  <a:cubicBezTo>
                    <a:pt x="34072" y="35097"/>
                    <a:pt x="34465" y="34973"/>
                    <a:pt x="35544" y="34716"/>
                  </a:cubicBezTo>
                  <a:cubicBezTo>
                    <a:pt x="34017" y="33982"/>
                    <a:pt x="34017" y="33982"/>
                    <a:pt x="33943" y="33982"/>
                  </a:cubicBezTo>
                  <a:lnTo>
                    <a:pt x="33943" y="33732"/>
                  </a:lnTo>
                  <a:lnTo>
                    <a:pt x="34677" y="33732"/>
                  </a:lnTo>
                  <a:cubicBezTo>
                    <a:pt x="37055" y="33850"/>
                    <a:pt x="38307" y="33912"/>
                    <a:pt x="39011" y="33912"/>
                  </a:cubicBezTo>
                  <a:cubicBezTo>
                    <a:pt x="39794" y="33912"/>
                    <a:pt x="39900" y="33836"/>
                    <a:pt x="40124" y="33673"/>
                  </a:cubicBezTo>
                  <a:cubicBezTo>
                    <a:pt x="40315" y="33615"/>
                    <a:pt x="40432" y="33424"/>
                    <a:pt x="40550" y="33306"/>
                  </a:cubicBezTo>
                  <a:cubicBezTo>
                    <a:pt x="41049" y="32264"/>
                    <a:pt x="39522" y="31589"/>
                    <a:pt x="40007" y="30561"/>
                  </a:cubicBezTo>
                  <a:cubicBezTo>
                    <a:pt x="40491" y="29460"/>
                    <a:pt x="42150" y="29695"/>
                    <a:pt x="42634" y="28535"/>
                  </a:cubicBezTo>
                  <a:cubicBezTo>
                    <a:pt x="42693" y="28476"/>
                    <a:pt x="42576" y="28359"/>
                    <a:pt x="42576" y="28285"/>
                  </a:cubicBezTo>
                  <a:cubicBezTo>
                    <a:pt x="43618" y="27258"/>
                    <a:pt x="43926" y="26641"/>
                    <a:pt x="43985" y="26392"/>
                  </a:cubicBezTo>
                  <a:cubicBezTo>
                    <a:pt x="44044" y="26274"/>
                    <a:pt x="44103" y="26083"/>
                    <a:pt x="44103" y="25966"/>
                  </a:cubicBezTo>
                  <a:cubicBezTo>
                    <a:pt x="44103" y="24322"/>
                    <a:pt x="41900" y="25232"/>
                    <a:pt x="40917" y="24689"/>
                  </a:cubicBezTo>
                  <a:cubicBezTo>
                    <a:pt x="39948" y="24189"/>
                    <a:pt x="39155" y="23588"/>
                    <a:pt x="38171" y="23147"/>
                  </a:cubicBezTo>
                  <a:cubicBezTo>
                    <a:pt x="37247" y="22721"/>
                    <a:pt x="36821" y="22604"/>
                    <a:pt x="36336" y="22486"/>
                  </a:cubicBezTo>
                  <a:cubicBezTo>
                    <a:pt x="35676" y="22303"/>
                    <a:pt x="35278" y="22196"/>
                    <a:pt x="34959" y="22196"/>
                  </a:cubicBezTo>
                  <a:cubicBezTo>
                    <a:pt x="34512" y="22196"/>
                    <a:pt x="34219" y="22407"/>
                    <a:pt x="33576" y="22912"/>
                  </a:cubicBezTo>
                  <a:cubicBezTo>
                    <a:pt x="33283" y="22237"/>
                    <a:pt x="33092" y="21752"/>
                    <a:pt x="32607" y="21385"/>
                  </a:cubicBezTo>
                  <a:cubicBezTo>
                    <a:pt x="31506" y="20651"/>
                    <a:pt x="30156" y="20402"/>
                    <a:pt x="29055" y="19726"/>
                  </a:cubicBezTo>
                  <a:cubicBezTo>
                    <a:pt x="27895" y="18992"/>
                    <a:pt x="28071" y="18684"/>
                    <a:pt x="28379" y="18258"/>
                  </a:cubicBezTo>
                  <a:cubicBezTo>
                    <a:pt x="28688" y="17774"/>
                    <a:pt x="26427" y="15322"/>
                    <a:pt x="26309" y="15205"/>
                  </a:cubicBezTo>
                  <a:lnTo>
                    <a:pt x="24034" y="12812"/>
                  </a:lnTo>
                  <a:cubicBezTo>
                    <a:pt x="22698" y="11711"/>
                    <a:pt x="20804" y="12386"/>
                    <a:pt x="19394" y="11344"/>
                  </a:cubicBezTo>
                  <a:cubicBezTo>
                    <a:pt x="19204" y="11226"/>
                    <a:pt x="19204" y="11226"/>
                    <a:pt x="15357" y="6396"/>
                  </a:cubicBezTo>
                  <a:cubicBezTo>
                    <a:pt x="15225" y="6205"/>
                    <a:pt x="14990" y="6029"/>
                    <a:pt x="14799" y="5838"/>
                  </a:cubicBezTo>
                  <a:cubicBezTo>
                    <a:pt x="14616" y="5750"/>
                    <a:pt x="14465" y="5706"/>
                    <a:pt x="14315" y="5706"/>
                  </a:cubicBezTo>
                  <a:cubicBezTo>
                    <a:pt x="14164" y="5706"/>
                    <a:pt x="14014" y="5750"/>
                    <a:pt x="13830" y="5838"/>
                  </a:cubicBezTo>
                  <a:cubicBezTo>
                    <a:pt x="13776" y="5866"/>
                    <a:pt x="13699" y="5878"/>
                    <a:pt x="13605" y="5878"/>
                  </a:cubicBezTo>
                  <a:cubicBezTo>
                    <a:pt x="12634" y="5878"/>
                    <a:pt x="9787" y="4561"/>
                    <a:pt x="9720" y="4561"/>
                  </a:cubicBezTo>
                  <a:cubicBezTo>
                    <a:pt x="8560" y="3768"/>
                    <a:pt x="8809" y="2109"/>
                    <a:pt x="7650" y="1375"/>
                  </a:cubicBezTo>
                  <a:cubicBezTo>
                    <a:pt x="7591" y="1375"/>
                    <a:pt x="7459" y="1434"/>
                    <a:pt x="7341" y="1493"/>
                  </a:cubicBezTo>
                  <a:cubicBezTo>
                    <a:pt x="6974" y="2594"/>
                    <a:pt x="7767" y="3768"/>
                    <a:pt x="7151" y="4928"/>
                  </a:cubicBezTo>
                  <a:cubicBezTo>
                    <a:pt x="6725" y="4737"/>
                    <a:pt x="5022" y="3328"/>
                    <a:pt x="5756" y="2902"/>
                  </a:cubicBezTo>
                  <a:cubicBezTo>
                    <a:pt x="6666" y="2300"/>
                    <a:pt x="6549" y="465"/>
                    <a:pt x="6049" y="98"/>
                  </a:cubicBezTo>
                  <a:cubicBezTo>
                    <a:pt x="5966" y="46"/>
                    <a:pt x="5852" y="1"/>
                    <a:pt x="5745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8458;p73">
              <a:extLst>
                <a:ext uri="{FF2B5EF4-FFF2-40B4-BE49-F238E27FC236}">
                  <a16:creationId xmlns:a16="http://schemas.microsoft.com/office/drawing/2014/main" id="{C3926BE5-0440-ECD8-7541-2FF8E0D48E61}"/>
                </a:ext>
              </a:extLst>
            </p:cNvPr>
            <p:cNvSpPr/>
            <p:nvPr/>
          </p:nvSpPr>
          <p:spPr>
            <a:xfrm>
              <a:off x="3948000" y="3067250"/>
              <a:ext cx="1405725" cy="1489750"/>
            </a:xfrm>
            <a:custGeom>
              <a:avLst/>
              <a:gdLst/>
              <a:ahLst/>
              <a:cxnLst/>
              <a:rect l="l" t="t" r="r" b="b"/>
              <a:pathLst>
                <a:path w="56229" h="59590" extrusionOk="0">
                  <a:moveTo>
                    <a:pt x="44777" y="0"/>
                  </a:moveTo>
                  <a:cubicBezTo>
                    <a:pt x="41973" y="191"/>
                    <a:pt x="44351" y="4654"/>
                    <a:pt x="41606" y="5080"/>
                  </a:cubicBezTo>
                  <a:cubicBezTo>
                    <a:pt x="40813" y="4228"/>
                    <a:pt x="41239" y="3186"/>
                    <a:pt x="41474" y="2511"/>
                  </a:cubicBezTo>
                  <a:cubicBezTo>
                    <a:pt x="41356" y="2511"/>
                    <a:pt x="41239" y="2452"/>
                    <a:pt x="41180" y="2452"/>
                  </a:cubicBezTo>
                  <a:cubicBezTo>
                    <a:pt x="40006" y="2628"/>
                    <a:pt x="39154" y="3553"/>
                    <a:pt x="38053" y="3670"/>
                  </a:cubicBezTo>
                  <a:cubicBezTo>
                    <a:pt x="37992" y="3682"/>
                    <a:pt x="37934" y="3688"/>
                    <a:pt x="37877" y="3688"/>
                  </a:cubicBezTo>
                  <a:cubicBezTo>
                    <a:pt x="37350" y="3688"/>
                    <a:pt x="36965" y="3231"/>
                    <a:pt x="36435" y="3231"/>
                  </a:cubicBezTo>
                  <a:cubicBezTo>
                    <a:pt x="36384" y="3231"/>
                    <a:pt x="36331" y="3235"/>
                    <a:pt x="36277" y="3245"/>
                  </a:cubicBezTo>
                  <a:cubicBezTo>
                    <a:pt x="36218" y="3245"/>
                    <a:pt x="36100" y="3303"/>
                    <a:pt x="35968" y="3303"/>
                  </a:cubicBezTo>
                  <a:cubicBezTo>
                    <a:pt x="35308" y="3729"/>
                    <a:pt x="35308" y="3920"/>
                    <a:pt x="35366" y="6063"/>
                  </a:cubicBezTo>
                  <a:cubicBezTo>
                    <a:pt x="35425" y="6739"/>
                    <a:pt x="34574" y="7399"/>
                    <a:pt x="34075" y="7473"/>
                  </a:cubicBezTo>
                  <a:cubicBezTo>
                    <a:pt x="34009" y="7487"/>
                    <a:pt x="33945" y="7494"/>
                    <a:pt x="33883" y="7494"/>
                  </a:cubicBezTo>
                  <a:cubicBezTo>
                    <a:pt x="33284" y="7494"/>
                    <a:pt x="32851" y="6874"/>
                    <a:pt x="32264" y="6874"/>
                  </a:cubicBezTo>
                  <a:cubicBezTo>
                    <a:pt x="32181" y="6874"/>
                    <a:pt x="32095" y="6886"/>
                    <a:pt x="32005" y="6915"/>
                  </a:cubicBezTo>
                  <a:cubicBezTo>
                    <a:pt x="30033" y="7439"/>
                    <a:pt x="29470" y="7589"/>
                    <a:pt x="29218" y="7589"/>
                  </a:cubicBezTo>
                  <a:cubicBezTo>
                    <a:pt x="29117" y="7589"/>
                    <a:pt x="29066" y="7565"/>
                    <a:pt x="28995" y="7531"/>
                  </a:cubicBezTo>
                  <a:cubicBezTo>
                    <a:pt x="26558" y="6607"/>
                    <a:pt x="26675" y="3861"/>
                    <a:pt x="25207" y="2202"/>
                  </a:cubicBezTo>
                  <a:cubicBezTo>
                    <a:pt x="24414" y="2261"/>
                    <a:pt x="23680" y="2452"/>
                    <a:pt x="22888" y="2569"/>
                  </a:cubicBezTo>
                  <a:cubicBezTo>
                    <a:pt x="22829" y="2569"/>
                    <a:pt x="17133" y="5021"/>
                    <a:pt x="15782" y="6856"/>
                  </a:cubicBezTo>
                  <a:cubicBezTo>
                    <a:pt x="15782" y="6915"/>
                    <a:pt x="14754" y="8383"/>
                    <a:pt x="13888" y="8691"/>
                  </a:cubicBezTo>
                  <a:cubicBezTo>
                    <a:pt x="13845" y="8703"/>
                    <a:pt x="13802" y="8709"/>
                    <a:pt x="13761" y="8709"/>
                  </a:cubicBezTo>
                  <a:cubicBezTo>
                    <a:pt x="13399" y="8709"/>
                    <a:pt x="13117" y="8267"/>
                    <a:pt x="12787" y="7766"/>
                  </a:cubicBezTo>
                  <a:cubicBezTo>
                    <a:pt x="12496" y="7309"/>
                    <a:pt x="12270" y="6851"/>
                    <a:pt x="11517" y="6851"/>
                  </a:cubicBezTo>
                  <a:cubicBezTo>
                    <a:pt x="11472" y="6851"/>
                    <a:pt x="11426" y="6853"/>
                    <a:pt x="11378" y="6856"/>
                  </a:cubicBezTo>
                  <a:cubicBezTo>
                    <a:pt x="11084" y="6856"/>
                    <a:pt x="10644" y="6915"/>
                    <a:pt x="10101" y="7106"/>
                  </a:cubicBezTo>
                  <a:lnTo>
                    <a:pt x="10101" y="7399"/>
                  </a:lnTo>
                  <a:cubicBezTo>
                    <a:pt x="10893" y="7766"/>
                    <a:pt x="10893" y="7766"/>
                    <a:pt x="11011" y="7840"/>
                  </a:cubicBezTo>
                  <a:lnTo>
                    <a:pt x="8750" y="14446"/>
                  </a:lnTo>
                  <a:lnTo>
                    <a:pt x="8442" y="15298"/>
                  </a:lnTo>
                  <a:cubicBezTo>
                    <a:pt x="7957" y="16457"/>
                    <a:pt x="7223" y="17984"/>
                    <a:pt x="6430" y="18601"/>
                  </a:cubicBezTo>
                  <a:cubicBezTo>
                    <a:pt x="5329" y="19452"/>
                    <a:pt x="4845" y="19951"/>
                    <a:pt x="4404" y="20686"/>
                  </a:cubicBezTo>
                  <a:cubicBezTo>
                    <a:pt x="4346" y="20744"/>
                    <a:pt x="4287" y="20920"/>
                    <a:pt x="4169" y="21053"/>
                  </a:cubicBezTo>
                  <a:cubicBezTo>
                    <a:pt x="3553" y="22271"/>
                    <a:pt x="3861" y="23739"/>
                    <a:pt x="3186" y="24958"/>
                  </a:cubicBezTo>
                  <a:cubicBezTo>
                    <a:pt x="2510" y="26308"/>
                    <a:pt x="925" y="26852"/>
                    <a:pt x="440" y="28393"/>
                  </a:cubicBezTo>
                  <a:cubicBezTo>
                    <a:pt x="0" y="29979"/>
                    <a:pt x="1542" y="31080"/>
                    <a:pt x="1351" y="32606"/>
                  </a:cubicBezTo>
                  <a:cubicBezTo>
                    <a:pt x="1233" y="34075"/>
                    <a:pt x="558" y="35425"/>
                    <a:pt x="558" y="36952"/>
                  </a:cubicBezTo>
                  <a:cubicBezTo>
                    <a:pt x="558" y="37128"/>
                    <a:pt x="617" y="37436"/>
                    <a:pt x="734" y="37686"/>
                  </a:cubicBezTo>
                  <a:cubicBezTo>
                    <a:pt x="734" y="37793"/>
                    <a:pt x="6677" y="45400"/>
                    <a:pt x="10751" y="45400"/>
                  </a:cubicBezTo>
                  <a:cubicBezTo>
                    <a:pt x="11168" y="45400"/>
                    <a:pt x="11566" y="45320"/>
                    <a:pt x="11936" y="45144"/>
                  </a:cubicBezTo>
                  <a:cubicBezTo>
                    <a:pt x="15356" y="43558"/>
                    <a:pt x="15356" y="43558"/>
                    <a:pt x="16707" y="43441"/>
                  </a:cubicBezTo>
                  <a:cubicBezTo>
                    <a:pt x="19027" y="43309"/>
                    <a:pt x="19819" y="40798"/>
                    <a:pt x="21904" y="40196"/>
                  </a:cubicBezTo>
                  <a:cubicBezTo>
                    <a:pt x="22024" y="40168"/>
                    <a:pt x="22117" y="40146"/>
                    <a:pt x="22201" y="40146"/>
                  </a:cubicBezTo>
                  <a:cubicBezTo>
                    <a:pt x="22506" y="40146"/>
                    <a:pt x="22670" y="40445"/>
                    <a:pt x="23431" y="41841"/>
                  </a:cubicBezTo>
                  <a:cubicBezTo>
                    <a:pt x="23494" y="41854"/>
                    <a:pt x="23559" y="41861"/>
                    <a:pt x="23625" y="41861"/>
                  </a:cubicBezTo>
                  <a:cubicBezTo>
                    <a:pt x="24457" y="41861"/>
                    <a:pt x="25461" y="40848"/>
                    <a:pt x="26141" y="40848"/>
                  </a:cubicBezTo>
                  <a:cubicBezTo>
                    <a:pt x="26390" y="40848"/>
                    <a:pt x="26596" y="40984"/>
                    <a:pt x="26734" y="41356"/>
                  </a:cubicBezTo>
                  <a:cubicBezTo>
                    <a:pt x="27527" y="43368"/>
                    <a:pt x="24781" y="43867"/>
                    <a:pt x="24899" y="45643"/>
                  </a:cubicBezTo>
                  <a:cubicBezTo>
                    <a:pt x="25266" y="45819"/>
                    <a:pt x="25824" y="45643"/>
                    <a:pt x="26132" y="46010"/>
                  </a:cubicBezTo>
                  <a:lnTo>
                    <a:pt x="27776" y="48755"/>
                  </a:lnTo>
                  <a:cubicBezTo>
                    <a:pt x="27776" y="48873"/>
                    <a:pt x="27776" y="48873"/>
                    <a:pt x="26426" y="51016"/>
                  </a:cubicBezTo>
                  <a:cubicBezTo>
                    <a:pt x="26617" y="51207"/>
                    <a:pt x="26984" y="51325"/>
                    <a:pt x="27101" y="51633"/>
                  </a:cubicBezTo>
                  <a:cubicBezTo>
                    <a:pt x="26984" y="52000"/>
                    <a:pt x="26675" y="52616"/>
                    <a:pt x="23680" y="54819"/>
                  </a:cubicBezTo>
                  <a:cubicBezTo>
                    <a:pt x="21654" y="56345"/>
                    <a:pt x="21596" y="57388"/>
                    <a:pt x="21787" y="57872"/>
                  </a:cubicBezTo>
                  <a:cubicBezTo>
                    <a:pt x="21157" y="58612"/>
                    <a:pt x="20527" y="58981"/>
                    <a:pt x="19754" y="59480"/>
                  </a:cubicBezTo>
                  <a:lnTo>
                    <a:pt x="19754" y="59480"/>
                  </a:lnTo>
                  <a:cubicBezTo>
                    <a:pt x="19797" y="59466"/>
                    <a:pt x="19844" y="59458"/>
                    <a:pt x="19893" y="59458"/>
                  </a:cubicBezTo>
                  <a:cubicBezTo>
                    <a:pt x="21111" y="58856"/>
                    <a:pt x="22697" y="57990"/>
                    <a:pt x="23930" y="57314"/>
                  </a:cubicBezTo>
                  <a:cubicBezTo>
                    <a:pt x="24664" y="56889"/>
                    <a:pt x="25266" y="56580"/>
                    <a:pt x="25824" y="56213"/>
                  </a:cubicBezTo>
                  <a:cubicBezTo>
                    <a:pt x="25941" y="56155"/>
                    <a:pt x="26132" y="56037"/>
                    <a:pt x="26250" y="55978"/>
                  </a:cubicBezTo>
                  <a:cubicBezTo>
                    <a:pt x="27101" y="55479"/>
                    <a:pt x="27776" y="55054"/>
                    <a:pt x="28510" y="54510"/>
                  </a:cubicBezTo>
                  <a:cubicBezTo>
                    <a:pt x="28628" y="54452"/>
                    <a:pt x="28701" y="54378"/>
                    <a:pt x="28819" y="54319"/>
                  </a:cubicBezTo>
                  <a:cubicBezTo>
                    <a:pt x="28877" y="54261"/>
                    <a:pt x="28936" y="54202"/>
                    <a:pt x="29068" y="54143"/>
                  </a:cubicBezTo>
                  <a:cubicBezTo>
                    <a:pt x="29979" y="53468"/>
                    <a:pt x="31138" y="52616"/>
                    <a:pt x="32856" y="51383"/>
                  </a:cubicBezTo>
                  <a:cubicBezTo>
                    <a:pt x="32915" y="51325"/>
                    <a:pt x="32973" y="51325"/>
                    <a:pt x="33032" y="51266"/>
                  </a:cubicBezTo>
                  <a:lnTo>
                    <a:pt x="33223" y="51148"/>
                  </a:lnTo>
                  <a:lnTo>
                    <a:pt x="36218" y="48638"/>
                  </a:lnTo>
                  <a:cubicBezTo>
                    <a:pt x="37436" y="47596"/>
                    <a:pt x="38611" y="46436"/>
                    <a:pt x="39639" y="45335"/>
                  </a:cubicBezTo>
                  <a:cubicBezTo>
                    <a:pt x="52367" y="31872"/>
                    <a:pt x="56155" y="14138"/>
                    <a:pt x="56228" y="13947"/>
                  </a:cubicBezTo>
                  <a:lnTo>
                    <a:pt x="56228" y="12420"/>
                  </a:lnTo>
                  <a:cubicBezTo>
                    <a:pt x="53409" y="18175"/>
                    <a:pt x="53409" y="18175"/>
                    <a:pt x="52558" y="18351"/>
                  </a:cubicBezTo>
                  <a:cubicBezTo>
                    <a:pt x="52191" y="17500"/>
                    <a:pt x="52734" y="16707"/>
                    <a:pt x="52484" y="15841"/>
                  </a:cubicBezTo>
                  <a:lnTo>
                    <a:pt x="49680" y="11745"/>
                  </a:lnTo>
                  <a:cubicBezTo>
                    <a:pt x="48814" y="10042"/>
                    <a:pt x="48888" y="8016"/>
                    <a:pt x="47904" y="6430"/>
                  </a:cubicBezTo>
                  <a:cubicBezTo>
                    <a:pt x="47111" y="5080"/>
                    <a:pt x="45511" y="4170"/>
                    <a:pt x="45452" y="2393"/>
                  </a:cubicBezTo>
                  <a:cubicBezTo>
                    <a:pt x="45276" y="1659"/>
                    <a:pt x="44968" y="734"/>
                    <a:pt x="44777" y="0"/>
                  </a:cubicBezTo>
                  <a:close/>
                  <a:moveTo>
                    <a:pt x="19754" y="59480"/>
                  </a:moveTo>
                  <a:cubicBezTo>
                    <a:pt x="19681" y="59503"/>
                    <a:pt x="19621" y="59544"/>
                    <a:pt x="19584" y="59590"/>
                  </a:cubicBezTo>
                  <a:cubicBezTo>
                    <a:pt x="19642" y="59552"/>
                    <a:pt x="19698" y="59516"/>
                    <a:pt x="19754" y="5948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8459;p73">
              <a:extLst>
                <a:ext uri="{FF2B5EF4-FFF2-40B4-BE49-F238E27FC236}">
                  <a16:creationId xmlns:a16="http://schemas.microsoft.com/office/drawing/2014/main" id="{619F8F54-2D79-59A4-1E27-A516005C1D92}"/>
                </a:ext>
              </a:extLst>
            </p:cNvPr>
            <p:cNvSpPr/>
            <p:nvPr/>
          </p:nvSpPr>
          <p:spPr>
            <a:xfrm>
              <a:off x="5351850" y="3373350"/>
              <a:ext cx="1875" cy="5875"/>
            </a:xfrm>
            <a:custGeom>
              <a:avLst/>
              <a:gdLst/>
              <a:ahLst/>
              <a:cxnLst/>
              <a:rect l="l" t="t" r="r" b="b"/>
              <a:pathLst>
                <a:path w="75" h="235" extrusionOk="0">
                  <a:moveTo>
                    <a:pt x="74" y="0"/>
                  </a:moveTo>
                  <a:lnTo>
                    <a:pt x="1" y="235"/>
                  </a:lnTo>
                  <a:lnTo>
                    <a:pt x="74" y="176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8460;p73">
              <a:extLst>
                <a:ext uri="{FF2B5EF4-FFF2-40B4-BE49-F238E27FC236}">
                  <a16:creationId xmlns:a16="http://schemas.microsoft.com/office/drawing/2014/main" id="{3B9CB538-A629-2FE8-ECF5-78538147F248}"/>
                </a:ext>
              </a:extLst>
            </p:cNvPr>
            <p:cNvSpPr/>
            <p:nvPr/>
          </p:nvSpPr>
          <p:spPr>
            <a:xfrm>
              <a:off x="3938825" y="1137425"/>
              <a:ext cx="3325" cy="25"/>
            </a:xfrm>
            <a:custGeom>
              <a:avLst/>
              <a:gdLst/>
              <a:ahLst/>
              <a:cxnLst/>
              <a:rect l="l" t="t" r="r" b="b"/>
              <a:pathLst>
                <a:path w="133" h="1" extrusionOk="0">
                  <a:moveTo>
                    <a:pt x="0" y="1"/>
                  </a:moveTo>
                  <a:lnTo>
                    <a:pt x="132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8461;p73">
              <a:extLst>
                <a:ext uri="{FF2B5EF4-FFF2-40B4-BE49-F238E27FC236}">
                  <a16:creationId xmlns:a16="http://schemas.microsoft.com/office/drawing/2014/main" id="{7C7859FF-095C-1FB6-BECC-5FB7CF0B7048}"/>
                </a:ext>
              </a:extLst>
            </p:cNvPr>
            <p:cNvSpPr/>
            <p:nvPr/>
          </p:nvSpPr>
          <p:spPr>
            <a:xfrm>
              <a:off x="3576550" y="1108450"/>
              <a:ext cx="1832225" cy="2344200"/>
            </a:xfrm>
            <a:custGeom>
              <a:avLst/>
              <a:gdLst/>
              <a:ahLst/>
              <a:cxnLst/>
              <a:rect l="l" t="t" r="r" b="b"/>
              <a:pathLst>
                <a:path w="73289" h="93768" extrusionOk="0">
                  <a:moveTo>
                    <a:pt x="544" y="0"/>
                  </a:moveTo>
                  <a:lnTo>
                    <a:pt x="493" y="51"/>
                  </a:lnTo>
                  <a:lnTo>
                    <a:pt x="493" y="51"/>
                  </a:lnTo>
                  <a:cubicBezTo>
                    <a:pt x="1039" y="35"/>
                    <a:pt x="1547" y="0"/>
                    <a:pt x="2012" y="0"/>
                  </a:cubicBezTo>
                  <a:close/>
                  <a:moveTo>
                    <a:pt x="493" y="51"/>
                  </a:moveTo>
                  <a:cubicBezTo>
                    <a:pt x="332" y="56"/>
                    <a:pt x="168" y="59"/>
                    <a:pt x="1" y="59"/>
                  </a:cubicBezTo>
                  <a:lnTo>
                    <a:pt x="485" y="59"/>
                  </a:lnTo>
                  <a:lnTo>
                    <a:pt x="493" y="51"/>
                  </a:lnTo>
                  <a:close/>
                  <a:moveTo>
                    <a:pt x="44102" y="78352"/>
                  </a:moveTo>
                  <a:cubicBezTo>
                    <a:pt x="44161" y="78484"/>
                    <a:pt x="44161" y="78602"/>
                    <a:pt x="44161" y="78778"/>
                  </a:cubicBezTo>
                  <a:cubicBezTo>
                    <a:pt x="44352" y="78778"/>
                    <a:pt x="44528" y="78719"/>
                    <a:pt x="44719" y="78719"/>
                  </a:cubicBezTo>
                  <a:cubicBezTo>
                    <a:pt x="44778" y="78602"/>
                    <a:pt x="44837" y="78484"/>
                    <a:pt x="44895" y="78352"/>
                  </a:cubicBezTo>
                  <a:close/>
                  <a:moveTo>
                    <a:pt x="22140" y="78352"/>
                  </a:moveTo>
                  <a:cubicBezTo>
                    <a:pt x="22022" y="79277"/>
                    <a:pt x="22140" y="80613"/>
                    <a:pt x="22331" y="82698"/>
                  </a:cubicBezTo>
                  <a:cubicBezTo>
                    <a:pt x="22331" y="83098"/>
                    <a:pt x="22541" y="84718"/>
                    <a:pt x="23712" y="84718"/>
                  </a:cubicBezTo>
                  <a:cubicBezTo>
                    <a:pt x="23960" y="84718"/>
                    <a:pt x="24251" y="84646"/>
                    <a:pt x="24592" y="84474"/>
                  </a:cubicBezTo>
                  <a:cubicBezTo>
                    <a:pt x="25267" y="84107"/>
                    <a:pt x="25267" y="84107"/>
                    <a:pt x="26060" y="84107"/>
                  </a:cubicBezTo>
                  <a:lnTo>
                    <a:pt x="26236" y="84107"/>
                  </a:lnTo>
                  <a:cubicBezTo>
                    <a:pt x="26309" y="84094"/>
                    <a:pt x="26382" y="84088"/>
                    <a:pt x="26455" y="84088"/>
                  </a:cubicBezTo>
                  <a:cubicBezTo>
                    <a:pt x="27156" y="84088"/>
                    <a:pt x="27835" y="84650"/>
                    <a:pt x="28548" y="84650"/>
                  </a:cubicBezTo>
                  <a:cubicBezTo>
                    <a:pt x="28814" y="84650"/>
                    <a:pt x="29085" y="84572"/>
                    <a:pt x="29363" y="84357"/>
                  </a:cubicBezTo>
                  <a:cubicBezTo>
                    <a:pt x="30581" y="83373"/>
                    <a:pt x="29906" y="81787"/>
                    <a:pt x="30640" y="80613"/>
                  </a:cubicBezTo>
                  <a:cubicBezTo>
                    <a:pt x="31007" y="80070"/>
                    <a:pt x="31139" y="79218"/>
                    <a:pt x="31257" y="78352"/>
                  </a:cubicBezTo>
                  <a:close/>
                  <a:moveTo>
                    <a:pt x="60075" y="78352"/>
                  </a:moveTo>
                  <a:cubicBezTo>
                    <a:pt x="60134" y="79086"/>
                    <a:pt x="60252" y="79879"/>
                    <a:pt x="60310" y="80745"/>
                  </a:cubicBezTo>
                  <a:lnTo>
                    <a:pt x="60310" y="80686"/>
                  </a:lnTo>
                  <a:cubicBezTo>
                    <a:pt x="60442" y="80554"/>
                    <a:pt x="60560" y="80437"/>
                    <a:pt x="60677" y="80319"/>
                  </a:cubicBezTo>
                  <a:cubicBezTo>
                    <a:pt x="64773" y="81905"/>
                    <a:pt x="66432" y="84959"/>
                    <a:pt x="68076" y="93767"/>
                  </a:cubicBezTo>
                  <a:cubicBezTo>
                    <a:pt x="70279" y="92182"/>
                    <a:pt x="73215" y="79762"/>
                    <a:pt x="73215" y="79644"/>
                  </a:cubicBezTo>
                  <a:cubicBezTo>
                    <a:pt x="73288" y="79336"/>
                    <a:pt x="73288" y="79218"/>
                    <a:pt x="73156" y="78352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8462;p73">
              <a:extLst>
                <a:ext uri="{FF2B5EF4-FFF2-40B4-BE49-F238E27FC236}">
                  <a16:creationId xmlns:a16="http://schemas.microsoft.com/office/drawing/2014/main" id="{A9F3539F-A289-08BF-2A96-24AD3F118120}"/>
                </a:ext>
              </a:extLst>
            </p:cNvPr>
            <p:cNvSpPr/>
            <p:nvPr/>
          </p:nvSpPr>
          <p:spPr>
            <a:xfrm>
              <a:off x="3504625" y="1112850"/>
              <a:ext cx="15450" cy="1500"/>
            </a:xfrm>
            <a:custGeom>
              <a:avLst/>
              <a:gdLst/>
              <a:ahLst/>
              <a:cxnLst/>
              <a:rect l="l" t="t" r="r" b="b"/>
              <a:pathLst>
                <a:path w="618" h="60" extrusionOk="0">
                  <a:moveTo>
                    <a:pt x="426" y="0"/>
                  </a:moveTo>
                  <a:lnTo>
                    <a:pt x="383" y="6"/>
                  </a:lnTo>
                  <a:lnTo>
                    <a:pt x="383" y="6"/>
                  </a:lnTo>
                  <a:cubicBezTo>
                    <a:pt x="455" y="0"/>
                    <a:pt x="528" y="0"/>
                    <a:pt x="617" y="0"/>
                  </a:cubicBezTo>
                  <a:close/>
                  <a:moveTo>
                    <a:pt x="383" y="6"/>
                  </a:moveTo>
                  <a:cubicBezTo>
                    <a:pt x="341" y="10"/>
                    <a:pt x="300" y="15"/>
                    <a:pt x="256" y="24"/>
                  </a:cubicBezTo>
                  <a:lnTo>
                    <a:pt x="256" y="24"/>
                  </a:lnTo>
                  <a:lnTo>
                    <a:pt x="383" y="6"/>
                  </a:lnTo>
                  <a:close/>
                  <a:moveTo>
                    <a:pt x="256" y="24"/>
                  </a:moveTo>
                  <a:lnTo>
                    <a:pt x="0" y="59"/>
                  </a:lnTo>
                  <a:lnTo>
                    <a:pt x="118" y="59"/>
                  </a:lnTo>
                  <a:cubicBezTo>
                    <a:pt x="168" y="44"/>
                    <a:pt x="213" y="32"/>
                    <a:pt x="256" y="24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8463;p73">
              <a:extLst>
                <a:ext uri="{FF2B5EF4-FFF2-40B4-BE49-F238E27FC236}">
                  <a16:creationId xmlns:a16="http://schemas.microsoft.com/office/drawing/2014/main" id="{91D54E54-456A-08E4-1677-1155BFC07090}"/>
                </a:ext>
              </a:extLst>
            </p:cNvPr>
            <p:cNvSpPr/>
            <p:nvPr/>
          </p:nvSpPr>
          <p:spPr>
            <a:xfrm>
              <a:off x="2414375" y="3584275"/>
              <a:ext cx="64075" cy="60525"/>
            </a:xfrm>
            <a:custGeom>
              <a:avLst/>
              <a:gdLst/>
              <a:ahLst/>
              <a:cxnLst/>
              <a:rect l="l" t="t" r="r" b="b"/>
              <a:pathLst>
                <a:path w="2563" h="2421" extrusionOk="0">
                  <a:moveTo>
                    <a:pt x="563" y="0"/>
                  </a:moveTo>
                  <a:cubicBezTo>
                    <a:pt x="170" y="0"/>
                    <a:pt x="1" y="868"/>
                    <a:pt x="184" y="1164"/>
                  </a:cubicBezTo>
                  <a:cubicBezTo>
                    <a:pt x="184" y="1164"/>
                    <a:pt x="243" y="1340"/>
                    <a:pt x="493" y="1531"/>
                  </a:cubicBezTo>
                  <a:lnTo>
                    <a:pt x="1227" y="2075"/>
                  </a:lnTo>
                  <a:cubicBezTo>
                    <a:pt x="1285" y="2075"/>
                    <a:pt x="1344" y="2133"/>
                    <a:pt x="1520" y="2207"/>
                  </a:cubicBezTo>
                  <a:cubicBezTo>
                    <a:pt x="1851" y="2364"/>
                    <a:pt x="2110" y="2420"/>
                    <a:pt x="2288" y="2420"/>
                  </a:cubicBezTo>
                  <a:cubicBezTo>
                    <a:pt x="2442" y="2420"/>
                    <a:pt x="2535" y="2379"/>
                    <a:pt x="2563" y="2324"/>
                  </a:cubicBezTo>
                  <a:cubicBezTo>
                    <a:pt x="2563" y="2133"/>
                    <a:pt x="2445" y="1898"/>
                    <a:pt x="2328" y="1708"/>
                  </a:cubicBezTo>
                  <a:cubicBezTo>
                    <a:pt x="2195" y="1531"/>
                    <a:pt x="2019" y="1399"/>
                    <a:pt x="1887" y="1223"/>
                  </a:cubicBezTo>
                  <a:lnTo>
                    <a:pt x="2195" y="1223"/>
                  </a:lnTo>
                  <a:cubicBezTo>
                    <a:pt x="1652" y="915"/>
                    <a:pt x="1285" y="372"/>
                    <a:pt x="786" y="63"/>
                  </a:cubicBezTo>
                  <a:cubicBezTo>
                    <a:pt x="669" y="5"/>
                    <a:pt x="610" y="5"/>
                    <a:pt x="610" y="5"/>
                  </a:cubicBezTo>
                  <a:cubicBezTo>
                    <a:pt x="594" y="2"/>
                    <a:pt x="578" y="0"/>
                    <a:pt x="563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8464;p73">
              <a:extLst>
                <a:ext uri="{FF2B5EF4-FFF2-40B4-BE49-F238E27FC236}">
                  <a16:creationId xmlns:a16="http://schemas.microsoft.com/office/drawing/2014/main" id="{A5B18A20-8FD5-0A92-9DC4-D2CCA9DFD2D4}"/>
                </a:ext>
              </a:extLst>
            </p:cNvPr>
            <p:cNvSpPr/>
            <p:nvPr/>
          </p:nvSpPr>
          <p:spPr>
            <a:xfrm>
              <a:off x="2490900" y="3593375"/>
              <a:ext cx="174375" cy="105525"/>
            </a:xfrm>
            <a:custGeom>
              <a:avLst/>
              <a:gdLst/>
              <a:ahLst/>
              <a:cxnLst/>
              <a:rect l="l" t="t" r="r" b="b"/>
              <a:pathLst>
                <a:path w="6975" h="4221" extrusionOk="0">
                  <a:moveTo>
                    <a:pt x="735" y="976"/>
                  </a:moveTo>
                  <a:lnTo>
                    <a:pt x="735" y="1109"/>
                  </a:lnTo>
                  <a:cubicBezTo>
                    <a:pt x="852" y="1109"/>
                    <a:pt x="911" y="1109"/>
                    <a:pt x="970" y="1167"/>
                  </a:cubicBezTo>
                  <a:lnTo>
                    <a:pt x="1219" y="1167"/>
                  </a:lnTo>
                  <a:cubicBezTo>
                    <a:pt x="1102" y="1109"/>
                    <a:pt x="911" y="1035"/>
                    <a:pt x="735" y="976"/>
                  </a:cubicBezTo>
                  <a:close/>
                  <a:moveTo>
                    <a:pt x="1219" y="1167"/>
                  </a:moveTo>
                  <a:lnTo>
                    <a:pt x="1372" y="1203"/>
                  </a:lnTo>
                  <a:lnTo>
                    <a:pt x="1372" y="1203"/>
                  </a:lnTo>
                  <a:cubicBezTo>
                    <a:pt x="1334" y="1167"/>
                    <a:pt x="1319" y="1167"/>
                    <a:pt x="1219" y="1167"/>
                  </a:cubicBezTo>
                  <a:close/>
                  <a:moveTo>
                    <a:pt x="1372" y="1203"/>
                  </a:moveTo>
                  <a:lnTo>
                    <a:pt x="1372" y="1203"/>
                  </a:lnTo>
                  <a:cubicBezTo>
                    <a:pt x="1379" y="1210"/>
                    <a:pt x="1387" y="1217"/>
                    <a:pt x="1395" y="1226"/>
                  </a:cubicBezTo>
                  <a:lnTo>
                    <a:pt x="1469" y="1226"/>
                  </a:lnTo>
                  <a:lnTo>
                    <a:pt x="1372" y="1203"/>
                  </a:lnTo>
                  <a:close/>
                  <a:moveTo>
                    <a:pt x="2577" y="0"/>
                  </a:moveTo>
                  <a:cubicBezTo>
                    <a:pt x="2339" y="0"/>
                    <a:pt x="2071" y="441"/>
                    <a:pt x="2071" y="551"/>
                  </a:cubicBezTo>
                  <a:cubicBezTo>
                    <a:pt x="2012" y="1109"/>
                    <a:pt x="2379" y="1476"/>
                    <a:pt x="2496" y="1901"/>
                  </a:cubicBezTo>
                  <a:cubicBezTo>
                    <a:pt x="2129" y="1901"/>
                    <a:pt x="1895" y="1534"/>
                    <a:pt x="1527" y="1344"/>
                  </a:cubicBezTo>
                  <a:cubicBezTo>
                    <a:pt x="1337" y="1285"/>
                    <a:pt x="1102" y="1285"/>
                    <a:pt x="911" y="1226"/>
                  </a:cubicBezTo>
                  <a:cubicBezTo>
                    <a:pt x="852" y="1167"/>
                    <a:pt x="793" y="1167"/>
                    <a:pt x="735" y="1109"/>
                  </a:cubicBezTo>
                  <a:cubicBezTo>
                    <a:pt x="735" y="1109"/>
                    <a:pt x="661" y="1035"/>
                    <a:pt x="603" y="1035"/>
                  </a:cubicBezTo>
                  <a:lnTo>
                    <a:pt x="368" y="1035"/>
                  </a:lnTo>
                  <a:cubicBezTo>
                    <a:pt x="236" y="1035"/>
                    <a:pt x="177" y="918"/>
                    <a:pt x="118" y="918"/>
                  </a:cubicBezTo>
                  <a:cubicBezTo>
                    <a:pt x="1" y="976"/>
                    <a:pt x="59" y="1167"/>
                    <a:pt x="118" y="1285"/>
                  </a:cubicBezTo>
                  <a:cubicBezTo>
                    <a:pt x="118" y="1285"/>
                    <a:pt x="852" y="2503"/>
                    <a:pt x="1836" y="2944"/>
                  </a:cubicBezTo>
                  <a:cubicBezTo>
                    <a:pt x="1895" y="2944"/>
                    <a:pt x="2071" y="3002"/>
                    <a:pt x="2262" y="3061"/>
                  </a:cubicBezTo>
                  <a:lnTo>
                    <a:pt x="3598" y="3428"/>
                  </a:lnTo>
                  <a:cubicBezTo>
                    <a:pt x="3671" y="3428"/>
                    <a:pt x="5315" y="3678"/>
                    <a:pt x="5315" y="3678"/>
                  </a:cubicBezTo>
                  <a:lnTo>
                    <a:pt x="5682" y="3678"/>
                  </a:lnTo>
                  <a:cubicBezTo>
                    <a:pt x="6167" y="3678"/>
                    <a:pt x="6167" y="3678"/>
                    <a:pt x="6475" y="3971"/>
                  </a:cubicBezTo>
                  <a:cubicBezTo>
                    <a:pt x="6666" y="4104"/>
                    <a:pt x="6783" y="4221"/>
                    <a:pt x="6974" y="4221"/>
                  </a:cubicBezTo>
                  <a:cubicBezTo>
                    <a:pt x="6901" y="3913"/>
                    <a:pt x="6901" y="3913"/>
                    <a:pt x="5139" y="2577"/>
                  </a:cubicBezTo>
                  <a:cubicBezTo>
                    <a:pt x="4405" y="1960"/>
                    <a:pt x="3906" y="1109"/>
                    <a:pt x="3230" y="433"/>
                  </a:cubicBezTo>
                  <a:cubicBezTo>
                    <a:pt x="3230" y="433"/>
                    <a:pt x="2863" y="125"/>
                    <a:pt x="2629" y="8"/>
                  </a:cubicBezTo>
                  <a:cubicBezTo>
                    <a:pt x="2612" y="3"/>
                    <a:pt x="2594" y="0"/>
                    <a:pt x="2577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8465;p73">
              <a:extLst>
                <a:ext uri="{FF2B5EF4-FFF2-40B4-BE49-F238E27FC236}">
                  <a16:creationId xmlns:a16="http://schemas.microsoft.com/office/drawing/2014/main" id="{A7FF7EF3-82E8-4FA5-4CF7-E8E78250C6F6}"/>
                </a:ext>
              </a:extLst>
            </p:cNvPr>
            <p:cNvSpPr/>
            <p:nvPr/>
          </p:nvSpPr>
          <p:spPr>
            <a:xfrm>
              <a:off x="2320975" y="3412225"/>
              <a:ext cx="203350" cy="173600"/>
            </a:xfrm>
            <a:custGeom>
              <a:avLst/>
              <a:gdLst/>
              <a:ahLst/>
              <a:cxnLst/>
              <a:rect l="l" t="t" r="r" b="b"/>
              <a:pathLst>
                <a:path w="8134" h="6944" extrusionOk="0">
                  <a:moveTo>
                    <a:pt x="1041" y="0"/>
                  </a:moveTo>
                  <a:cubicBezTo>
                    <a:pt x="897" y="0"/>
                    <a:pt x="741" y="13"/>
                    <a:pt x="558" y="31"/>
                  </a:cubicBezTo>
                  <a:lnTo>
                    <a:pt x="0" y="398"/>
                  </a:lnTo>
                  <a:cubicBezTo>
                    <a:pt x="426" y="647"/>
                    <a:pt x="852" y="706"/>
                    <a:pt x="1292" y="1014"/>
                  </a:cubicBezTo>
                  <a:cubicBezTo>
                    <a:pt x="1292" y="1014"/>
                    <a:pt x="2819" y="2233"/>
                    <a:pt x="2937" y="2409"/>
                  </a:cubicBezTo>
                  <a:cubicBezTo>
                    <a:pt x="3788" y="3392"/>
                    <a:pt x="3861" y="4919"/>
                    <a:pt x="5021" y="5712"/>
                  </a:cubicBezTo>
                  <a:cubicBezTo>
                    <a:pt x="5256" y="5844"/>
                    <a:pt x="5388" y="6152"/>
                    <a:pt x="5697" y="6211"/>
                  </a:cubicBezTo>
                  <a:cubicBezTo>
                    <a:pt x="5824" y="6211"/>
                    <a:pt x="5921" y="6081"/>
                    <a:pt x="6037" y="6081"/>
                  </a:cubicBezTo>
                  <a:cubicBezTo>
                    <a:pt x="6081" y="6081"/>
                    <a:pt x="6128" y="6100"/>
                    <a:pt x="6181" y="6152"/>
                  </a:cubicBezTo>
                  <a:lnTo>
                    <a:pt x="6181" y="6020"/>
                  </a:lnTo>
                  <a:cubicBezTo>
                    <a:pt x="6357" y="6270"/>
                    <a:pt x="6489" y="6387"/>
                    <a:pt x="6856" y="6578"/>
                  </a:cubicBezTo>
                  <a:lnTo>
                    <a:pt x="6915" y="6578"/>
                  </a:lnTo>
                  <a:lnTo>
                    <a:pt x="6915" y="6637"/>
                  </a:lnTo>
                  <a:cubicBezTo>
                    <a:pt x="7311" y="6835"/>
                    <a:pt x="7545" y="6943"/>
                    <a:pt x="7715" y="6943"/>
                  </a:cubicBezTo>
                  <a:cubicBezTo>
                    <a:pt x="7861" y="6943"/>
                    <a:pt x="7960" y="6865"/>
                    <a:pt x="8075" y="6696"/>
                  </a:cubicBezTo>
                  <a:cubicBezTo>
                    <a:pt x="8075" y="6578"/>
                    <a:pt x="8134" y="6446"/>
                    <a:pt x="7957" y="6211"/>
                  </a:cubicBezTo>
                  <a:cubicBezTo>
                    <a:pt x="7341" y="5536"/>
                    <a:pt x="6431" y="5228"/>
                    <a:pt x="5814" y="4552"/>
                  </a:cubicBezTo>
                  <a:cubicBezTo>
                    <a:pt x="5623" y="4376"/>
                    <a:pt x="5447" y="4127"/>
                    <a:pt x="5330" y="3877"/>
                  </a:cubicBezTo>
                  <a:cubicBezTo>
                    <a:pt x="4963" y="3143"/>
                    <a:pt x="3421" y="1440"/>
                    <a:pt x="3421" y="1440"/>
                  </a:cubicBezTo>
                  <a:cubicBezTo>
                    <a:pt x="2878" y="882"/>
                    <a:pt x="2085" y="280"/>
                    <a:pt x="2026" y="280"/>
                  </a:cubicBezTo>
                  <a:cubicBezTo>
                    <a:pt x="1638" y="66"/>
                    <a:pt x="1371" y="0"/>
                    <a:pt x="1041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8466;p73">
              <a:extLst>
                <a:ext uri="{FF2B5EF4-FFF2-40B4-BE49-F238E27FC236}">
                  <a16:creationId xmlns:a16="http://schemas.microsoft.com/office/drawing/2014/main" id="{22873D99-2E96-5C07-33B3-C86089E2B028}"/>
                </a:ext>
              </a:extLst>
            </p:cNvPr>
            <p:cNvSpPr/>
            <p:nvPr/>
          </p:nvSpPr>
          <p:spPr>
            <a:xfrm>
              <a:off x="2606875" y="2747575"/>
              <a:ext cx="59850" cy="45900"/>
            </a:xfrm>
            <a:custGeom>
              <a:avLst/>
              <a:gdLst/>
              <a:ahLst/>
              <a:cxnLst/>
              <a:rect l="l" t="t" r="r" b="b"/>
              <a:pathLst>
                <a:path w="2394" h="1836" extrusionOk="0">
                  <a:moveTo>
                    <a:pt x="1161" y="0"/>
                  </a:moveTo>
                  <a:cubicBezTo>
                    <a:pt x="1" y="0"/>
                    <a:pt x="1" y="1835"/>
                    <a:pt x="1234" y="1835"/>
                  </a:cubicBezTo>
                  <a:cubicBezTo>
                    <a:pt x="2394" y="1835"/>
                    <a:pt x="2394" y="0"/>
                    <a:pt x="1161" y="0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8467;p73">
              <a:extLst>
                <a:ext uri="{FF2B5EF4-FFF2-40B4-BE49-F238E27FC236}">
                  <a16:creationId xmlns:a16="http://schemas.microsoft.com/office/drawing/2014/main" id="{39995E92-F882-9652-C542-407906A55E29}"/>
                </a:ext>
              </a:extLst>
            </p:cNvPr>
            <p:cNvSpPr/>
            <p:nvPr/>
          </p:nvSpPr>
          <p:spPr>
            <a:xfrm>
              <a:off x="2606875" y="2649925"/>
              <a:ext cx="59850" cy="45925"/>
            </a:xfrm>
            <a:custGeom>
              <a:avLst/>
              <a:gdLst/>
              <a:ahLst/>
              <a:cxnLst/>
              <a:rect l="l" t="t" r="r" b="b"/>
              <a:pathLst>
                <a:path w="2394" h="1837" extrusionOk="0">
                  <a:moveTo>
                    <a:pt x="1161" y="1"/>
                  </a:moveTo>
                  <a:cubicBezTo>
                    <a:pt x="1" y="1"/>
                    <a:pt x="1" y="1836"/>
                    <a:pt x="1234" y="1836"/>
                  </a:cubicBezTo>
                  <a:cubicBezTo>
                    <a:pt x="2394" y="1836"/>
                    <a:pt x="2394" y="1"/>
                    <a:pt x="1161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8468;p73">
              <a:extLst>
                <a:ext uri="{FF2B5EF4-FFF2-40B4-BE49-F238E27FC236}">
                  <a16:creationId xmlns:a16="http://schemas.microsoft.com/office/drawing/2014/main" id="{08C5FA7B-3E5F-6DF4-99F3-5C437D281B4F}"/>
                </a:ext>
              </a:extLst>
            </p:cNvPr>
            <p:cNvSpPr/>
            <p:nvPr/>
          </p:nvSpPr>
          <p:spPr>
            <a:xfrm>
              <a:off x="2529075" y="2720050"/>
              <a:ext cx="59475" cy="45900"/>
            </a:xfrm>
            <a:custGeom>
              <a:avLst/>
              <a:gdLst/>
              <a:ahLst/>
              <a:cxnLst/>
              <a:rect l="l" t="t" r="r" b="b"/>
              <a:pathLst>
                <a:path w="2379" h="1836" extrusionOk="0">
                  <a:moveTo>
                    <a:pt x="1160" y="0"/>
                  </a:moveTo>
                  <a:cubicBezTo>
                    <a:pt x="0" y="0"/>
                    <a:pt x="0" y="1835"/>
                    <a:pt x="1160" y="1835"/>
                  </a:cubicBezTo>
                  <a:cubicBezTo>
                    <a:pt x="2379" y="1835"/>
                    <a:pt x="2320" y="0"/>
                    <a:pt x="1160" y="0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8469;p73">
              <a:extLst>
                <a:ext uri="{FF2B5EF4-FFF2-40B4-BE49-F238E27FC236}">
                  <a16:creationId xmlns:a16="http://schemas.microsoft.com/office/drawing/2014/main" id="{1737E2D0-4256-93BE-B95B-0E551C800283}"/>
                </a:ext>
              </a:extLst>
            </p:cNvPr>
            <p:cNvSpPr/>
            <p:nvPr/>
          </p:nvSpPr>
          <p:spPr>
            <a:xfrm>
              <a:off x="2472550" y="2918975"/>
              <a:ext cx="59475" cy="45900"/>
            </a:xfrm>
            <a:custGeom>
              <a:avLst/>
              <a:gdLst/>
              <a:ahLst/>
              <a:cxnLst/>
              <a:rect l="l" t="t" r="r" b="b"/>
              <a:pathLst>
                <a:path w="2379" h="1836" extrusionOk="0">
                  <a:moveTo>
                    <a:pt x="1219" y="0"/>
                  </a:moveTo>
                  <a:cubicBezTo>
                    <a:pt x="1" y="0"/>
                    <a:pt x="1" y="1835"/>
                    <a:pt x="1219" y="1835"/>
                  </a:cubicBezTo>
                  <a:cubicBezTo>
                    <a:pt x="2379" y="1835"/>
                    <a:pt x="2379" y="0"/>
                    <a:pt x="1219" y="0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8470;p73">
              <a:extLst>
                <a:ext uri="{FF2B5EF4-FFF2-40B4-BE49-F238E27FC236}">
                  <a16:creationId xmlns:a16="http://schemas.microsoft.com/office/drawing/2014/main" id="{5D69E6AD-42DD-0EDB-C41D-D36F703EB100}"/>
                </a:ext>
              </a:extLst>
            </p:cNvPr>
            <p:cNvSpPr/>
            <p:nvPr/>
          </p:nvSpPr>
          <p:spPr>
            <a:xfrm>
              <a:off x="2605425" y="2868675"/>
              <a:ext cx="59850" cy="45900"/>
            </a:xfrm>
            <a:custGeom>
              <a:avLst/>
              <a:gdLst/>
              <a:ahLst/>
              <a:cxnLst/>
              <a:rect l="l" t="t" r="r" b="b"/>
              <a:pathLst>
                <a:path w="2394" h="1836" extrusionOk="0">
                  <a:moveTo>
                    <a:pt x="1160" y="1"/>
                  </a:moveTo>
                  <a:cubicBezTo>
                    <a:pt x="0" y="1"/>
                    <a:pt x="0" y="1836"/>
                    <a:pt x="1160" y="1836"/>
                  </a:cubicBezTo>
                  <a:cubicBezTo>
                    <a:pt x="2393" y="1836"/>
                    <a:pt x="2393" y="1"/>
                    <a:pt x="1160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8471;p73">
              <a:extLst>
                <a:ext uri="{FF2B5EF4-FFF2-40B4-BE49-F238E27FC236}">
                  <a16:creationId xmlns:a16="http://schemas.microsoft.com/office/drawing/2014/main" id="{4AF362C4-BB02-19C9-75C5-F974ECC63CE6}"/>
                </a:ext>
              </a:extLst>
            </p:cNvPr>
            <p:cNvSpPr/>
            <p:nvPr/>
          </p:nvSpPr>
          <p:spPr>
            <a:xfrm>
              <a:off x="2446500" y="2831975"/>
              <a:ext cx="58000" cy="45900"/>
            </a:xfrm>
            <a:custGeom>
              <a:avLst/>
              <a:gdLst/>
              <a:ahLst/>
              <a:cxnLst/>
              <a:rect l="l" t="t" r="r" b="b"/>
              <a:pathLst>
                <a:path w="2320" h="1836" extrusionOk="0">
                  <a:moveTo>
                    <a:pt x="1160" y="1"/>
                  </a:moveTo>
                  <a:cubicBezTo>
                    <a:pt x="0" y="1"/>
                    <a:pt x="0" y="1836"/>
                    <a:pt x="1160" y="1836"/>
                  </a:cubicBezTo>
                  <a:cubicBezTo>
                    <a:pt x="2320" y="1836"/>
                    <a:pt x="2320" y="1"/>
                    <a:pt x="1160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8472;p73">
              <a:extLst>
                <a:ext uri="{FF2B5EF4-FFF2-40B4-BE49-F238E27FC236}">
                  <a16:creationId xmlns:a16="http://schemas.microsoft.com/office/drawing/2014/main" id="{4CAB04F4-43FB-6786-BDA6-53298233CE64}"/>
                </a:ext>
              </a:extLst>
            </p:cNvPr>
            <p:cNvSpPr/>
            <p:nvPr/>
          </p:nvSpPr>
          <p:spPr>
            <a:xfrm>
              <a:off x="2305550" y="2954200"/>
              <a:ext cx="58400" cy="45900"/>
            </a:xfrm>
            <a:custGeom>
              <a:avLst/>
              <a:gdLst/>
              <a:ahLst/>
              <a:cxnLst/>
              <a:rect l="l" t="t" r="r" b="b"/>
              <a:pathLst>
                <a:path w="2336" h="1836" extrusionOk="0">
                  <a:moveTo>
                    <a:pt x="1175" y="0"/>
                  </a:moveTo>
                  <a:cubicBezTo>
                    <a:pt x="1" y="0"/>
                    <a:pt x="1" y="1836"/>
                    <a:pt x="1175" y="1836"/>
                  </a:cubicBezTo>
                  <a:cubicBezTo>
                    <a:pt x="2335" y="1836"/>
                    <a:pt x="2335" y="0"/>
                    <a:pt x="1175" y="0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8473;p73">
              <a:extLst>
                <a:ext uri="{FF2B5EF4-FFF2-40B4-BE49-F238E27FC236}">
                  <a16:creationId xmlns:a16="http://schemas.microsoft.com/office/drawing/2014/main" id="{32E57998-638B-7D79-1AEB-901CF4C9F001}"/>
                </a:ext>
              </a:extLst>
            </p:cNvPr>
            <p:cNvSpPr/>
            <p:nvPr/>
          </p:nvSpPr>
          <p:spPr>
            <a:xfrm>
              <a:off x="2385200" y="2695825"/>
              <a:ext cx="59850" cy="45900"/>
            </a:xfrm>
            <a:custGeom>
              <a:avLst/>
              <a:gdLst/>
              <a:ahLst/>
              <a:cxnLst/>
              <a:rect l="l" t="t" r="r" b="b"/>
              <a:pathLst>
                <a:path w="2394" h="1836" extrusionOk="0">
                  <a:moveTo>
                    <a:pt x="1219" y="0"/>
                  </a:moveTo>
                  <a:cubicBezTo>
                    <a:pt x="1" y="0"/>
                    <a:pt x="1" y="1835"/>
                    <a:pt x="1219" y="1835"/>
                  </a:cubicBezTo>
                  <a:cubicBezTo>
                    <a:pt x="2394" y="1835"/>
                    <a:pt x="2394" y="0"/>
                    <a:pt x="1219" y="0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8474;p73">
              <a:extLst>
                <a:ext uri="{FF2B5EF4-FFF2-40B4-BE49-F238E27FC236}">
                  <a16:creationId xmlns:a16="http://schemas.microsoft.com/office/drawing/2014/main" id="{0BC5FDCD-81A2-E877-4360-8A4A29263C20}"/>
                </a:ext>
              </a:extLst>
            </p:cNvPr>
            <p:cNvSpPr/>
            <p:nvPr/>
          </p:nvSpPr>
          <p:spPr>
            <a:xfrm>
              <a:off x="2500075" y="2567350"/>
              <a:ext cx="59500" cy="45900"/>
            </a:xfrm>
            <a:custGeom>
              <a:avLst/>
              <a:gdLst/>
              <a:ahLst/>
              <a:cxnLst/>
              <a:rect l="l" t="t" r="r" b="b"/>
              <a:pathLst>
                <a:path w="2380" h="1836" extrusionOk="0">
                  <a:moveTo>
                    <a:pt x="1160" y="1"/>
                  </a:moveTo>
                  <a:cubicBezTo>
                    <a:pt x="1" y="1"/>
                    <a:pt x="1" y="1836"/>
                    <a:pt x="1160" y="1836"/>
                  </a:cubicBezTo>
                  <a:cubicBezTo>
                    <a:pt x="2379" y="1836"/>
                    <a:pt x="2379" y="1"/>
                    <a:pt x="1160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8475;p73">
              <a:extLst>
                <a:ext uri="{FF2B5EF4-FFF2-40B4-BE49-F238E27FC236}">
                  <a16:creationId xmlns:a16="http://schemas.microsoft.com/office/drawing/2014/main" id="{20389C15-A193-8987-8324-4BB95CCA4EBA}"/>
                </a:ext>
              </a:extLst>
            </p:cNvPr>
            <p:cNvSpPr/>
            <p:nvPr/>
          </p:nvSpPr>
          <p:spPr>
            <a:xfrm>
              <a:off x="2460075" y="2663525"/>
              <a:ext cx="59850" cy="47350"/>
            </a:xfrm>
            <a:custGeom>
              <a:avLst/>
              <a:gdLst/>
              <a:ahLst/>
              <a:cxnLst/>
              <a:rect l="l" t="t" r="r" b="b"/>
              <a:pathLst>
                <a:path w="2394" h="1894" extrusionOk="0">
                  <a:moveTo>
                    <a:pt x="1160" y="0"/>
                  </a:moveTo>
                  <a:cubicBezTo>
                    <a:pt x="0" y="0"/>
                    <a:pt x="0" y="1894"/>
                    <a:pt x="1234" y="1894"/>
                  </a:cubicBezTo>
                  <a:cubicBezTo>
                    <a:pt x="2393" y="1894"/>
                    <a:pt x="2393" y="0"/>
                    <a:pt x="1160" y="0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8476;p73">
              <a:extLst>
                <a:ext uri="{FF2B5EF4-FFF2-40B4-BE49-F238E27FC236}">
                  <a16:creationId xmlns:a16="http://schemas.microsoft.com/office/drawing/2014/main" id="{F30C4E76-DD04-AC4B-3129-4CDB62995717}"/>
                </a:ext>
              </a:extLst>
            </p:cNvPr>
            <p:cNvSpPr/>
            <p:nvPr/>
          </p:nvSpPr>
          <p:spPr>
            <a:xfrm>
              <a:off x="2736800" y="2663525"/>
              <a:ext cx="59850" cy="47350"/>
            </a:xfrm>
            <a:custGeom>
              <a:avLst/>
              <a:gdLst/>
              <a:ahLst/>
              <a:cxnLst/>
              <a:rect l="l" t="t" r="r" b="b"/>
              <a:pathLst>
                <a:path w="2394" h="1894" extrusionOk="0">
                  <a:moveTo>
                    <a:pt x="1234" y="0"/>
                  </a:moveTo>
                  <a:cubicBezTo>
                    <a:pt x="1" y="0"/>
                    <a:pt x="1" y="1894"/>
                    <a:pt x="1234" y="1894"/>
                  </a:cubicBezTo>
                  <a:cubicBezTo>
                    <a:pt x="2394" y="1894"/>
                    <a:pt x="2394" y="0"/>
                    <a:pt x="1234" y="0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8477;p73">
              <a:extLst>
                <a:ext uri="{FF2B5EF4-FFF2-40B4-BE49-F238E27FC236}">
                  <a16:creationId xmlns:a16="http://schemas.microsoft.com/office/drawing/2014/main" id="{68B1FA65-0C60-D17A-7336-36E607D77BFB}"/>
                </a:ext>
              </a:extLst>
            </p:cNvPr>
            <p:cNvSpPr/>
            <p:nvPr/>
          </p:nvSpPr>
          <p:spPr>
            <a:xfrm>
              <a:off x="2804350" y="2539825"/>
              <a:ext cx="58000" cy="45900"/>
            </a:xfrm>
            <a:custGeom>
              <a:avLst/>
              <a:gdLst/>
              <a:ahLst/>
              <a:cxnLst/>
              <a:rect l="l" t="t" r="r" b="b"/>
              <a:pathLst>
                <a:path w="2320" h="1836" extrusionOk="0">
                  <a:moveTo>
                    <a:pt x="1160" y="1"/>
                  </a:moveTo>
                  <a:cubicBezTo>
                    <a:pt x="0" y="1"/>
                    <a:pt x="0" y="1836"/>
                    <a:pt x="1160" y="1836"/>
                  </a:cubicBezTo>
                  <a:cubicBezTo>
                    <a:pt x="2320" y="1836"/>
                    <a:pt x="2320" y="1"/>
                    <a:pt x="1160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8478;p73">
              <a:extLst>
                <a:ext uri="{FF2B5EF4-FFF2-40B4-BE49-F238E27FC236}">
                  <a16:creationId xmlns:a16="http://schemas.microsoft.com/office/drawing/2014/main" id="{22286857-73BB-6866-F1BC-4996FF76DDF6}"/>
                </a:ext>
              </a:extLst>
            </p:cNvPr>
            <p:cNvSpPr/>
            <p:nvPr/>
          </p:nvSpPr>
          <p:spPr>
            <a:xfrm>
              <a:off x="2700100" y="2807400"/>
              <a:ext cx="59850" cy="45900"/>
            </a:xfrm>
            <a:custGeom>
              <a:avLst/>
              <a:gdLst/>
              <a:ahLst/>
              <a:cxnLst/>
              <a:rect l="l" t="t" r="r" b="b"/>
              <a:pathLst>
                <a:path w="2394" h="1836" extrusionOk="0">
                  <a:moveTo>
                    <a:pt x="1175" y="0"/>
                  </a:moveTo>
                  <a:cubicBezTo>
                    <a:pt x="1" y="0"/>
                    <a:pt x="1" y="1835"/>
                    <a:pt x="1175" y="1835"/>
                  </a:cubicBezTo>
                  <a:cubicBezTo>
                    <a:pt x="2394" y="1835"/>
                    <a:pt x="2394" y="0"/>
                    <a:pt x="1175" y="0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8479;p73">
              <a:extLst>
                <a:ext uri="{FF2B5EF4-FFF2-40B4-BE49-F238E27FC236}">
                  <a16:creationId xmlns:a16="http://schemas.microsoft.com/office/drawing/2014/main" id="{76405E1A-FF88-901C-B53F-04DAF2AE7935}"/>
                </a:ext>
              </a:extLst>
            </p:cNvPr>
            <p:cNvSpPr/>
            <p:nvPr/>
          </p:nvSpPr>
          <p:spPr>
            <a:xfrm>
              <a:off x="2371625" y="2877850"/>
              <a:ext cx="59475" cy="45900"/>
            </a:xfrm>
            <a:custGeom>
              <a:avLst/>
              <a:gdLst/>
              <a:ahLst/>
              <a:cxnLst/>
              <a:rect l="l" t="t" r="r" b="b"/>
              <a:pathLst>
                <a:path w="2379" h="1836" extrusionOk="0">
                  <a:moveTo>
                    <a:pt x="1160" y="1"/>
                  </a:moveTo>
                  <a:cubicBezTo>
                    <a:pt x="0" y="1"/>
                    <a:pt x="0" y="1836"/>
                    <a:pt x="1160" y="1836"/>
                  </a:cubicBezTo>
                  <a:cubicBezTo>
                    <a:pt x="2379" y="1836"/>
                    <a:pt x="2379" y="1"/>
                    <a:pt x="1160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8480;p73">
              <a:extLst>
                <a:ext uri="{FF2B5EF4-FFF2-40B4-BE49-F238E27FC236}">
                  <a16:creationId xmlns:a16="http://schemas.microsoft.com/office/drawing/2014/main" id="{03877407-92FB-D0AF-E023-4ED49030A818}"/>
                </a:ext>
              </a:extLst>
            </p:cNvPr>
            <p:cNvSpPr/>
            <p:nvPr/>
          </p:nvSpPr>
          <p:spPr>
            <a:xfrm>
              <a:off x="2397325" y="3001550"/>
              <a:ext cx="59850" cy="45900"/>
            </a:xfrm>
            <a:custGeom>
              <a:avLst/>
              <a:gdLst/>
              <a:ahLst/>
              <a:cxnLst/>
              <a:rect l="l" t="t" r="r" b="b"/>
              <a:pathLst>
                <a:path w="2394" h="1836" extrusionOk="0">
                  <a:moveTo>
                    <a:pt x="1233" y="0"/>
                  </a:moveTo>
                  <a:cubicBezTo>
                    <a:pt x="0" y="0"/>
                    <a:pt x="73" y="1835"/>
                    <a:pt x="1233" y="1835"/>
                  </a:cubicBezTo>
                  <a:cubicBezTo>
                    <a:pt x="2393" y="1835"/>
                    <a:pt x="2393" y="0"/>
                    <a:pt x="1233" y="0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8481;p73">
              <a:extLst>
                <a:ext uri="{FF2B5EF4-FFF2-40B4-BE49-F238E27FC236}">
                  <a16:creationId xmlns:a16="http://schemas.microsoft.com/office/drawing/2014/main" id="{F291DD1A-18E9-8D23-997C-FE92AD795142}"/>
                </a:ext>
              </a:extLst>
            </p:cNvPr>
            <p:cNvSpPr/>
            <p:nvPr/>
          </p:nvSpPr>
          <p:spPr>
            <a:xfrm>
              <a:off x="4482000" y="964575"/>
              <a:ext cx="1007525" cy="368500"/>
            </a:xfrm>
            <a:custGeom>
              <a:avLst/>
              <a:gdLst/>
              <a:ahLst/>
              <a:cxnLst/>
              <a:rect l="l" t="t" r="r" b="b"/>
              <a:pathLst>
                <a:path w="40301" h="14740" extrusionOk="0">
                  <a:moveTo>
                    <a:pt x="23241" y="0"/>
                  </a:moveTo>
                  <a:cubicBezTo>
                    <a:pt x="15651" y="0"/>
                    <a:pt x="15959" y="5329"/>
                    <a:pt x="15959" y="5329"/>
                  </a:cubicBezTo>
                  <a:cubicBezTo>
                    <a:pt x="15959" y="5329"/>
                    <a:pt x="15250" y="5183"/>
                    <a:pt x="14298" y="5183"/>
                  </a:cubicBezTo>
                  <a:cubicBezTo>
                    <a:pt x="12358" y="5183"/>
                    <a:pt x="9411" y="5791"/>
                    <a:pt x="9411" y="9484"/>
                  </a:cubicBezTo>
                  <a:cubicBezTo>
                    <a:pt x="9411" y="9484"/>
                    <a:pt x="8772" y="9332"/>
                    <a:pt x="7968" y="9332"/>
                  </a:cubicBezTo>
                  <a:cubicBezTo>
                    <a:pt x="6606" y="9332"/>
                    <a:pt x="4772" y="9768"/>
                    <a:pt x="4772" y="12112"/>
                  </a:cubicBezTo>
                  <a:lnTo>
                    <a:pt x="1" y="14740"/>
                  </a:lnTo>
                  <a:lnTo>
                    <a:pt x="40300" y="14740"/>
                  </a:lnTo>
                  <a:cubicBezTo>
                    <a:pt x="40300" y="14740"/>
                    <a:pt x="38951" y="10890"/>
                    <a:pt x="35525" y="10890"/>
                  </a:cubicBezTo>
                  <a:cubicBezTo>
                    <a:pt x="35468" y="10890"/>
                    <a:pt x="35411" y="10891"/>
                    <a:pt x="35353" y="10893"/>
                  </a:cubicBezTo>
                  <a:cubicBezTo>
                    <a:pt x="35353" y="10893"/>
                    <a:pt x="35969" y="6724"/>
                    <a:pt x="30581" y="6724"/>
                  </a:cubicBezTo>
                  <a:cubicBezTo>
                    <a:pt x="30581" y="6724"/>
                    <a:pt x="30831" y="0"/>
                    <a:pt x="23241" y="0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6" name="Google Shape;8482;p73">
              <a:extLst>
                <a:ext uri="{FF2B5EF4-FFF2-40B4-BE49-F238E27FC236}">
                  <a16:creationId xmlns:a16="http://schemas.microsoft.com/office/drawing/2014/main" id="{1F206338-E18B-4201-1817-FC8C36D2635D}"/>
                </a:ext>
              </a:extLst>
            </p:cNvPr>
            <p:cNvSpPr/>
            <p:nvPr/>
          </p:nvSpPr>
          <p:spPr>
            <a:xfrm>
              <a:off x="5115125" y="1217075"/>
              <a:ext cx="594600" cy="206300"/>
            </a:xfrm>
            <a:custGeom>
              <a:avLst/>
              <a:gdLst/>
              <a:ahLst/>
              <a:cxnLst/>
              <a:rect l="l" t="t" r="r" b="b"/>
              <a:pathLst>
                <a:path w="23784" h="8252" extrusionOk="0">
                  <a:moveTo>
                    <a:pt x="14241" y="1"/>
                  </a:moveTo>
                  <a:cubicBezTo>
                    <a:pt x="8075" y="1"/>
                    <a:pt x="8075" y="4332"/>
                    <a:pt x="8075" y="4332"/>
                  </a:cubicBezTo>
                  <a:cubicBezTo>
                    <a:pt x="8075" y="4332"/>
                    <a:pt x="7688" y="4276"/>
                    <a:pt x="7147" y="4276"/>
                  </a:cubicBezTo>
                  <a:cubicBezTo>
                    <a:pt x="5915" y="4276"/>
                    <a:pt x="3888" y="4567"/>
                    <a:pt x="3847" y="6475"/>
                  </a:cubicBezTo>
                  <a:lnTo>
                    <a:pt x="0" y="8251"/>
                  </a:lnTo>
                  <a:lnTo>
                    <a:pt x="23549" y="8251"/>
                  </a:lnTo>
                  <a:cubicBezTo>
                    <a:pt x="23549" y="8251"/>
                    <a:pt x="23784" y="4097"/>
                    <a:pt x="20304" y="4097"/>
                  </a:cubicBezTo>
                  <a:cubicBezTo>
                    <a:pt x="20304" y="4097"/>
                    <a:pt x="20422" y="1"/>
                    <a:pt x="14241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7" name="Google Shape;8483;p73">
              <a:extLst>
                <a:ext uri="{FF2B5EF4-FFF2-40B4-BE49-F238E27FC236}">
                  <a16:creationId xmlns:a16="http://schemas.microsoft.com/office/drawing/2014/main" id="{51E3501D-719C-444C-3247-D7531313A8E0}"/>
                </a:ext>
              </a:extLst>
            </p:cNvPr>
            <p:cNvSpPr/>
            <p:nvPr/>
          </p:nvSpPr>
          <p:spPr>
            <a:xfrm>
              <a:off x="5110350" y="864775"/>
              <a:ext cx="424725" cy="162575"/>
            </a:xfrm>
            <a:custGeom>
              <a:avLst/>
              <a:gdLst/>
              <a:ahLst/>
              <a:cxnLst/>
              <a:rect l="l" t="t" r="r" b="b"/>
              <a:pathLst>
                <a:path w="16989" h="6503" extrusionOk="0">
                  <a:moveTo>
                    <a:pt x="9636" y="0"/>
                  </a:moveTo>
                  <a:cubicBezTo>
                    <a:pt x="9488" y="0"/>
                    <a:pt x="9335" y="4"/>
                    <a:pt x="9176" y="14"/>
                  </a:cubicBezTo>
                  <a:cubicBezTo>
                    <a:pt x="4831" y="263"/>
                    <a:pt x="4889" y="4183"/>
                    <a:pt x="4889" y="4183"/>
                  </a:cubicBezTo>
                  <a:lnTo>
                    <a:pt x="1" y="6503"/>
                  </a:lnTo>
                  <a:lnTo>
                    <a:pt x="16825" y="6503"/>
                  </a:lnTo>
                  <a:cubicBezTo>
                    <a:pt x="16825" y="6503"/>
                    <a:pt x="16988" y="2992"/>
                    <a:pt x="14119" y="2992"/>
                  </a:cubicBezTo>
                  <a:cubicBezTo>
                    <a:pt x="14008" y="2992"/>
                    <a:pt x="13892" y="2998"/>
                    <a:pt x="13771" y="3009"/>
                  </a:cubicBezTo>
                  <a:cubicBezTo>
                    <a:pt x="13771" y="3009"/>
                    <a:pt x="13485" y="0"/>
                    <a:pt x="9636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8" name="Google Shape;8484;p73">
              <a:extLst>
                <a:ext uri="{FF2B5EF4-FFF2-40B4-BE49-F238E27FC236}">
                  <a16:creationId xmlns:a16="http://schemas.microsoft.com/office/drawing/2014/main" id="{0D656E4D-507A-4F2A-5B15-63C3E0331CDC}"/>
                </a:ext>
              </a:extLst>
            </p:cNvPr>
            <p:cNvSpPr/>
            <p:nvPr/>
          </p:nvSpPr>
          <p:spPr>
            <a:xfrm>
              <a:off x="4098100" y="2261250"/>
              <a:ext cx="960150" cy="806025"/>
            </a:xfrm>
            <a:custGeom>
              <a:avLst/>
              <a:gdLst/>
              <a:ahLst/>
              <a:cxnLst/>
              <a:rect l="l" t="t" r="r" b="b"/>
              <a:pathLst>
                <a:path w="38406" h="32241" extrusionOk="0">
                  <a:moveTo>
                    <a:pt x="1" y="1"/>
                  </a:moveTo>
                  <a:lnTo>
                    <a:pt x="1" y="32240"/>
                  </a:lnTo>
                  <a:lnTo>
                    <a:pt x="38406" y="32240"/>
                  </a:lnTo>
                  <a:lnTo>
                    <a:pt x="38406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9" name="Google Shape;8485;p73">
              <a:extLst>
                <a:ext uri="{FF2B5EF4-FFF2-40B4-BE49-F238E27FC236}">
                  <a16:creationId xmlns:a16="http://schemas.microsoft.com/office/drawing/2014/main" id="{C510E56C-1F19-06AE-A3DE-97ADD0C8B4E5}"/>
                </a:ext>
              </a:extLst>
            </p:cNvPr>
            <p:cNvSpPr/>
            <p:nvPr/>
          </p:nvSpPr>
          <p:spPr>
            <a:xfrm>
              <a:off x="4142500" y="2198875"/>
              <a:ext cx="874650" cy="62400"/>
            </a:xfrm>
            <a:custGeom>
              <a:avLst/>
              <a:gdLst/>
              <a:ahLst/>
              <a:cxnLst/>
              <a:rect l="l" t="t" r="r" b="b"/>
              <a:pathLst>
                <a:path w="34986" h="2496" extrusionOk="0">
                  <a:moveTo>
                    <a:pt x="1" y="0"/>
                  </a:moveTo>
                  <a:lnTo>
                    <a:pt x="1" y="2496"/>
                  </a:lnTo>
                  <a:lnTo>
                    <a:pt x="34986" y="2496"/>
                  </a:lnTo>
                  <a:lnTo>
                    <a:pt x="34986" y="0"/>
                  </a:ln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0" name="Google Shape;8486;p73">
              <a:extLst>
                <a:ext uri="{FF2B5EF4-FFF2-40B4-BE49-F238E27FC236}">
                  <a16:creationId xmlns:a16="http://schemas.microsoft.com/office/drawing/2014/main" id="{E28E1F52-C31F-4D56-DDE0-2243C21882D4}"/>
                </a:ext>
              </a:extLst>
            </p:cNvPr>
            <p:cNvSpPr/>
            <p:nvPr/>
          </p:nvSpPr>
          <p:spPr>
            <a:xfrm>
              <a:off x="4223250" y="2085450"/>
              <a:ext cx="33800" cy="113450"/>
            </a:xfrm>
            <a:custGeom>
              <a:avLst/>
              <a:gdLst/>
              <a:ahLst/>
              <a:cxnLst/>
              <a:rect l="l" t="t" r="r" b="b"/>
              <a:pathLst>
                <a:path w="1352" h="4538" extrusionOk="0">
                  <a:moveTo>
                    <a:pt x="1" y="1"/>
                  </a:moveTo>
                  <a:lnTo>
                    <a:pt x="1" y="4537"/>
                  </a:lnTo>
                  <a:lnTo>
                    <a:pt x="1351" y="4537"/>
                  </a:lnTo>
                  <a:lnTo>
                    <a:pt x="1351" y="1"/>
                  </a:ln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1" name="Google Shape;8487;p73">
              <a:extLst>
                <a:ext uri="{FF2B5EF4-FFF2-40B4-BE49-F238E27FC236}">
                  <a16:creationId xmlns:a16="http://schemas.microsoft.com/office/drawing/2014/main" id="{C5B21796-A2C1-DBAF-5C54-253A08268456}"/>
                </a:ext>
              </a:extLst>
            </p:cNvPr>
            <p:cNvSpPr/>
            <p:nvPr/>
          </p:nvSpPr>
          <p:spPr>
            <a:xfrm>
              <a:off x="4307675" y="2122150"/>
              <a:ext cx="29025" cy="76750"/>
            </a:xfrm>
            <a:custGeom>
              <a:avLst/>
              <a:gdLst/>
              <a:ahLst/>
              <a:cxnLst/>
              <a:rect l="l" t="t" r="r" b="b"/>
              <a:pathLst>
                <a:path w="1161" h="3070" extrusionOk="0">
                  <a:moveTo>
                    <a:pt x="0" y="1"/>
                  </a:moveTo>
                  <a:lnTo>
                    <a:pt x="0" y="3069"/>
                  </a:lnTo>
                  <a:lnTo>
                    <a:pt x="1160" y="3069"/>
                  </a:lnTo>
                  <a:lnTo>
                    <a:pt x="1160" y="1"/>
                  </a:ln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0" name="Google Shape;8488;p73">
              <a:extLst>
                <a:ext uri="{FF2B5EF4-FFF2-40B4-BE49-F238E27FC236}">
                  <a16:creationId xmlns:a16="http://schemas.microsoft.com/office/drawing/2014/main" id="{6FC53D4D-8647-5F31-7DD0-1586E361CDEE}"/>
                </a:ext>
              </a:extLst>
            </p:cNvPr>
            <p:cNvSpPr/>
            <p:nvPr/>
          </p:nvSpPr>
          <p:spPr>
            <a:xfrm>
              <a:off x="4381075" y="2065625"/>
              <a:ext cx="41125" cy="133275"/>
            </a:xfrm>
            <a:custGeom>
              <a:avLst/>
              <a:gdLst/>
              <a:ahLst/>
              <a:cxnLst/>
              <a:rect l="l" t="t" r="r" b="b"/>
              <a:pathLst>
                <a:path w="1645" h="5331" extrusionOk="0">
                  <a:moveTo>
                    <a:pt x="1" y="1"/>
                  </a:moveTo>
                  <a:lnTo>
                    <a:pt x="1" y="5330"/>
                  </a:lnTo>
                  <a:lnTo>
                    <a:pt x="1645" y="5330"/>
                  </a:lnTo>
                  <a:lnTo>
                    <a:pt x="1645" y="1"/>
                  </a:ln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1" name="Google Shape;8489;p73">
              <a:extLst>
                <a:ext uri="{FF2B5EF4-FFF2-40B4-BE49-F238E27FC236}">
                  <a16:creationId xmlns:a16="http://schemas.microsoft.com/office/drawing/2014/main" id="{D57D2C8C-E9D1-36AD-9ABE-792084096D7F}"/>
                </a:ext>
              </a:extLst>
            </p:cNvPr>
            <p:cNvSpPr/>
            <p:nvPr/>
          </p:nvSpPr>
          <p:spPr>
            <a:xfrm>
              <a:off x="4501825" y="1462975"/>
              <a:ext cx="123725" cy="50675"/>
            </a:xfrm>
            <a:custGeom>
              <a:avLst/>
              <a:gdLst/>
              <a:ahLst/>
              <a:cxnLst/>
              <a:rect l="l" t="t" r="r" b="b"/>
              <a:pathLst>
                <a:path w="4949" h="2027" extrusionOk="0">
                  <a:moveTo>
                    <a:pt x="59" y="1"/>
                  </a:moveTo>
                  <a:lnTo>
                    <a:pt x="1" y="2027"/>
                  </a:lnTo>
                  <a:lnTo>
                    <a:pt x="4948" y="2027"/>
                  </a:lnTo>
                  <a:lnTo>
                    <a:pt x="4889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2" name="Google Shape;8490;p73">
              <a:extLst>
                <a:ext uri="{FF2B5EF4-FFF2-40B4-BE49-F238E27FC236}">
                  <a16:creationId xmlns:a16="http://schemas.microsoft.com/office/drawing/2014/main" id="{7150F2D7-A2E9-76CE-5991-0E3E12D0D17C}"/>
                </a:ext>
              </a:extLst>
            </p:cNvPr>
            <p:cNvSpPr/>
            <p:nvPr/>
          </p:nvSpPr>
          <p:spPr>
            <a:xfrm>
              <a:off x="4503300" y="1409775"/>
              <a:ext cx="120775" cy="53225"/>
            </a:xfrm>
            <a:custGeom>
              <a:avLst/>
              <a:gdLst/>
              <a:ahLst/>
              <a:cxnLst/>
              <a:rect l="l" t="t" r="r" b="b"/>
              <a:pathLst>
                <a:path w="4831" h="2129" extrusionOk="0">
                  <a:moveTo>
                    <a:pt x="59" y="0"/>
                  </a:moveTo>
                  <a:lnTo>
                    <a:pt x="0" y="2129"/>
                  </a:lnTo>
                  <a:lnTo>
                    <a:pt x="4830" y="2129"/>
                  </a:lnTo>
                  <a:lnTo>
                    <a:pt x="4772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3" name="Google Shape;8491;p73">
              <a:extLst>
                <a:ext uri="{FF2B5EF4-FFF2-40B4-BE49-F238E27FC236}">
                  <a16:creationId xmlns:a16="http://schemas.microsoft.com/office/drawing/2014/main" id="{216E4126-AFB5-15C9-ED6A-005B4BA37C9A}"/>
                </a:ext>
              </a:extLst>
            </p:cNvPr>
            <p:cNvSpPr/>
            <p:nvPr/>
          </p:nvSpPr>
          <p:spPr>
            <a:xfrm>
              <a:off x="4500350" y="1513625"/>
              <a:ext cx="125200" cy="36725"/>
            </a:xfrm>
            <a:custGeom>
              <a:avLst/>
              <a:gdLst/>
              <a:ahLst/>
              <a:cxnLst/>
              <a:rect l="l" t="t" r="r" b="b"/>
              <a:pathLst>
                <a:path w="5008" h="1469" extrusionOk="0">
                  <a:moveTo>
                    <a:pt x="60" y="1"/>
                  </a:moveTo>
                  <a:lnTo>
                    <a:pt x="1" y="1469"/>
                  </a:lnTo>
                  <a:lnTo>
                    <a:pt x="5007" y="1469"/>
                  </a:lnTo>
                  <a:lnTo>
                    <a:pt x="500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4" name="Google Shape;8492;p73">
              <a:extLst>
                <a:ext uri="{FF2B5EF4-FFF2-40B4-BE49-F238E27FC236}">
                  <a16:creationId xmlns:a16="http://schemas.microsoft.com/office/drawing/2014/main" id="{583ADFC1-5E91-7285-E3B1-A7EEB9DA3A4C}"/>
                </a:ext>
              </a:extLst>
            </p:cNvPr>
            <p:cNvSpPr/>
            <p:nvPr/>
          </p:nvSpPr>
          <p:spPr>
            <a:xfrm>
              <a:off x="4483475" y="1550325"/>
              <a:ext cx="160425" cy="648575"/>
            </a:xfrm>
            <a:custGeom>
              <a:avLst/>
              <a:gdLst/>
              <a:ahLst/>
              <a:cxnLst/>
              <a:rect l="l" t="t" r="r" b="b"/>
              <a:pathLst>
                <a:path w="6417" h="25943" extrusionOk="0">
                  <a:moveTo>
                    <a:pt x="676" y="1"/>
                  </a:moveTo>
                  <a:lnTo>
                    <a:pt x="1" y="25942"/>
                  </a:lnTo>
                  <a:lnTo>
                    <a:pt x="6416" y="25942"/>
                  </a:lnTo>
                  <a:lnTo>
                    <a:pt x="568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5" name="Google Shape;8493;p73">
              <a:extLst>
                <a:ext uri="{FF2B5EF4-FFF2-40B4-BE49-F238E27FC236}">
                  <a16:creationId xmlns:a16="http://schemas.microsoft.com/office/drawing/2014/main" id="{3FAD8299-C511-6D21-E952-8BDCB0E2E8D1}"/>
                </a:ext>
              </a:extLst>
            </p:cNvPr>
            <p:cNvSpPr/>
            <p:nvPr/>
          </p:nvSpPr>
          <p:spPr>
            <a:xfrm>
              <a:off x="4723500" y="1462975"/>
              <a:ext cx="123725" cy="50675"/>
            </a:xfrm>
            <a:custGeom>
              <a:avLst/>
              <a:gdLst/>
              <a:ahLst/>
              <a:cxnLst/>
              <a:rect l="l" t="t" r="r" b="b"/>
              <a:pathLst>
                <a:path w="4949" h="2027" extrusionOk="0">
                  <a:moveTo>
                    <a:pt x="60" y="1"/>
                  </a:moveTo>
                  <a:lnTo>
                    <a:pt x="1" y="2027"/>
                  </a:lnTo>
                  <a:lnTo>
                    <a:pt x="4948" y="2027"/>
                  </a:lnTo>
                  <a:lnTo>
                    <a:pt x="4890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6" name="Google Shape;8494;p73">
              <a:extLst>
                <a:ext uri="{FF2B5EF4-FFF2-40B4-BE49-F238E27FC236}">
                  <a16:creationId xmlns:a16="http://schemas.microsoft.com/office/drawing/2014/main" id="{63F11111-2B1D-3C2A-925C-E6D17E883950}"/>
                </a:ext>
              </a:extLst>
            </p:cNvPr>
            <p:cNvSpPr/>
            <p:nvPr/>
          </p:nvSpPr>
          <p:spPr>
            <a:xfrm>
              <a:off x="4724975" y="1409775"/>
              <a:ext cx="120775" cy="53225"/>
            </a:xfrm>
            <a:custGeom>
              <a:avLst/>
              <a:gdLst/>
              <a:ahLst/>
              <a:cxnLst/>
              <a:rect l="l" t="t" r="r" b="b"/>
              <a:pathLst>
                <a:path w="4831" h="2129" extrusionOk="0">
                  <a:moveTo>
                    <a:pt x="59" y="0"/>
                  </a:moveTo>
                  <a:lnTo>
                    <a:pt x="1" y="2129"/>
                  </a:lnTo>
                  <a:lnTo>
                    <a:pt x="4831" y="2129"/>
                  </a:lnTo>
                  <a:lnTo>
                    <a:pt x="4772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7" name="Google Shape;8495;p73">
              <a:extLst>
                <a:ext uri="{FF2B5EF4-FFF2-40B4-BE49-F238E27FC236}">
                  <a16:creationId xmlns:a16="http://schemas.microsoft.com/office/drawing/2014/main" id="{431D616B-4041-F195-D477-791EE09B5A0E}"/>
                </a:ext>
              </a:extLst>
            </p:cNvPr>
            <p:cNvSpPr/>
            <p:nvPr/>
          </p:nvSpPr>
          <p:spPr>
            <a:xfrm>
              <a:off x="4722050" y="1513625"/>
              <a:ext cx="125175" cy="36725"/>
            </a:xfrm>
            <a:custGeom>
              <a:avLst/>
              <a:gdLst/>
              <a:ahLst/>
              <a:cxnLst/>
              <a:rect l="l" t="t" r="r" b="b"/>
              <a:pathLst>
                <a:path w="5007" h="1469" extrusionOk="0">
                  <a:moveTo>
                    <a:pt x="59" y="1"/>
                  </a:moveTo>
                  <a:lnTo>
                    <a:pt x="0" y="1469"/>
                  </a:lnTo>
                  <a:lnTo>
                    <a:pt x="5006" y="1469"/>
                  </a:lnTo>
                  <a:lnTo>
                    <a:pt x="5006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8" name="Google Shape;8496;p73">
              <a:extLst>
                <a:ext uri="{FF2B5EF4-FFF2-40B4-BE49-F238E27FC236}">
                  <a16:creationId xmlns:a16="http://schemas.microsoft.com/office/drawing/2014/main" id="{E1AC90B4-30AD-572C-7EC1-84FDD31A8ED5}"/>
                </a:ext>
              </a:extLst>
            </p:cNvPr>
            <p:cNvSpPr/>
            <p:nvPr/>
          </p:nvSpPr>
          <p:spPr>
            <a:xfrm>
              <a:off x="4705150" y="1550325"/>
              <a:ext cx="160425" cy="648575"/>
            </a:xfrm>
            <a:custGeom>
              <a:avLst/>
              <a:gdLst/>
              <a:ahLst/>
              <a:cxnLst/>
              <a:rect l="l" t="t" r="r" b="b"/>
              <a:pathLst>
                <a:path w="6417" h="25943" extrusionOk="0">
                  <a:moveTo>
                    <a:pt x="676" y="1"/>
                  </a:moveTo>
                  <a:lnTo>
                    <a:pt x="1" y="25942"/>
                  </a:lnTo>
                  <a:lnTo>
                    <a:pt x="6416" y="25942"/>
                  </a:lnTo>
                  <a:lnTo>
                    <a:pt x="568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9" name="Google Shape;8497;p73">
              <a:extLst>
                <a:ext uri="{FF2B5EF4-FFF2-40B4-BE49-F238E27FC236}">
                  <a16:creationId xmlns:a16="http://schemas.microsoft.com/office/drawing/2014/main" id="{76293FF2-4799-A5D7-04B4-0D194BAB8E64}"/>
                </a:ext>
              </a:extLst>
            </p:cNvPr>
            <p:cNvSpPr/>
            <p:nvPr/>
          </p:nvSpPr>
          <p:spPr>
            <a:xfrm>
              <a:off x="3626850" y="1986000"/>
              <a:ext cx="471275" cy="1081275"/>
            </a:xfrm>
            <a:custGeom>
              <a:avLst/>
              <a:gdLst/>
              <a:ahLst/>
              <a:cxnLst/>
              <a:rect l="l" t="t" r="r" b="b"/>
              <a:pathLst>
                <a:path w="18851" h="43251" extrusionOk="0">
                  <a:moveTo>
                    <a:pt x="3920" y="3186"/>
                  </a:moveTo>
                  <a:lnTo>
                    <a:pt x="3920" y="7649"/>
                  </a:lnTo>
                  <a:lnTo>
                    <a:pt x="1777" y="7649"/>
                  </a:lnTo>
                  <a:lnTo>
                    <a:pt x="1777" y="3186"/>
                  </a:lnTo>
                  <a:close/>
                  <a:moveTo>
                    <a:pt x="8324" y="3186"/>
                  </a:moveTo>
                  <a:lnTo>
                    <a:pt x="8324" y="7649"/>
                  </a:lnTo>
                  <a:lnTo>
                    <a:pt x="6181" y="7649"/>
                  </a:lnTo>
                  <a:lnTo>
                    <a:pt x="6181" y="3186"/>
                  </a:lnTo>
                  <a:close/>
                  <a:moveTo>
                    <a:pt x="12670" y="3186"/>
                  </a:moveTo>
                  <a:lnTo>
                    <a:pt x="12670" y="7649"/>
                  </a:lnTo>
                  <a:lnTo>
                    <a:pt x="10585" y="7649"/>
                  </a:lnTo>
                  <a:lnTo>
                    <a:pt x="10585" y="3186"/>
                  </a:lnTo>
                  <a:close/>
                  <a:moveTo>
                    <a:pt x="17074" y="3186"/>
                  </a:moveTo>
                  <a:lnTo>
                    <a:pt x="17074" y="7649"/>
                  </a:lnTo>
                  <a:lnTo>
                    <a:pt x="14989" y="7649"/>
                  </a:lnTo>
                  <a:lnTo>
                    <a:pt x="14989" y="3186"/>
                  </a:lnTo>
                  <a:close/>
                  <a:moveTo>
                    <a:pt x="3920" y="10585"/>
                  </a:moveTo>
                  <a:lnTo>
                    <a:pt x="3920" y="15048"/>
                  </a:lnTo>
                  <a:lnTo>
                    <a:pt x="1777" y="15048"/>
                  </a:lnTo>
                  <a:lnTo>
                    <a:pt x="1777" y="10585"/>
                  </a:lnTo>
                  <a:close/>
                  <a:moveTo>
                    <a:pt x="8324" y="10585"/>
                  </a:moveTo>
                  <a:lnTo>
                    <a:pt x="8324" y="15048"/>
                  </a:lnTo>
                  <a:lnTo>
                    <a:pt x="6181" y="15048"/>
                  </a:lnTo>
                  <a:lnTo>
                    <a:pt x="6181" y="10585"/>
                  </a:lnTo>
                  <a:close/>
                  <a:moveTo>
                    <a:pt x="12670" y="10585"/>
                  </a:moveTo>
                  <a:lnTo>
                    <a:pt x="12670" y="15048"/>
                  </a:lnTo>
                  <a:lnTo>
                    <a:pt x="10585" y="15048"/>
                  </a:lnTo>
                  <a:lnTo>
                    <a:pt x="10585" y="10585"/>
                  </a:lnTo>
                  <a:close/>
                  <a:moveTo>
                    <a:pt x="17074" y="10585"/>
                  </a:moveTo>
                  <a:lnTo>
                    <a:pt x="17074" y="15048"/>
                  </a:lnTo>
                  <a:lnTo>
                    <a:pt x="14989" y="15048"/>
                  </a:lnTo>
                  <a:lnTo>
                    <a:pt x="14989" y="10585"/>
                  </a:lnTo>
                  <a:close/>
                  <a:moveTo>
                    <a:pt x="3920" y="17500"/>
                  </a:moveTo>
                  <a:lnTo>
                    <a:pt x="3920" y="22022"/>
                  </a:lnTo>
                  <a:lnTo>
                    <a:pt x="1777" y="22022"/>
                  </a:lnTo>
                  <a:lnTo>
                    <a:pt x="1777" y="17500"/>
                  </a:lnTo>
                  <a:close/>
                  <a:moveTo>
                    <a:pt x="8324" y="17500"/>
                  </a:moveTo>
                  <a:lnTo>
                    <a:pt x="8324" y="22022"/>
                  </a:lnTo>
                  <a:lnTo>
                    <a:pt x="6181" y="22022"/>
                  </a:lnTo>
                  <a:lnTo>
                    <a:pt x="6181" y="17500"/>
                  </a:lnTo>
                  <a:close/>
                  <a:moveTo>
                    <a:pt x="12670" y="17500"/>
                  </a:moveTo>
                  <a:lnTo>
                    <a:pt x="12670" y="22022"/>
                  </a:lnTo>
                  <a:lnTo>
                    <a:pt x="10585" y="22022"/>
                  </a:lnTo>
                  <a:lnTo>
                    <a:pt x="10585" y="17500"/>
                  </a:lnTo>
                  <a:close/>
                  <a:moveTo>
                    <a:pt x="17074" y="17500"/>
                  </a:moveTo>
                  <a:lnTo>
                    <a:pt x="17074" y="22022"/>
                  </a:lnTo>
                  <a:lnTo>
                    <a:pt x="14989" y="22022"/>
                  </a:lnTo>
                  <a:lnTo>
                    <a:pt x="14989" y="17500"/>
                  </a:lnTo>
                  <a:close/>
                  <a:moveTo>
                    <a:pt x="3920" y="24899"/>
                  </a:moveTo>
                  <a:lnTo>
                    <a:pt x="3920" y="29362"/>
                  </a:lnTo>
                  <a:lnTo>
                    <a:pt x="1777" y="29362"/>
                  </a:lnTo>
                  <a:lnTo>
                    <a:pt x="1777" y="24899"/>
                  </a:lnTo>
                  <a:close/>
                  <a:moveTo>
                    <a:pt x="8324" y="24899"/>
                  </a:moveTo>
                  <a:lnTo>
                    <a:pt x="8324" y="29362"/>
                  </a:lnTo>
                  <a:lnTo>
                    <a:pt x="6181" y="29362"/>
                  </a:lnTo>
                  <a:lnTo>
                    <a:pt x="6181" y="24899"/>
                  </a:lnTo>
                  <a:close/>
                  <a:moveTo>
                    <a:pt x="12670" y="24899"/>
                  </a:moveTo>
                  <a:lnTo>
                    <a:pt x="12670" y="29362"/>
                  </a:lnTo>
                  <a:lnTo>
                    <a:pt x="10585" y="29362"/>
                  </a:lnTo>
                  <a:lnTo>
                    <a:pt x="10585" y="24899"/>
                  </a:lnTo>
                  <a:close/>
                  <a:moveTo>
                    <a:pt x="17074" y="24899"/>
                  </a:moveTo>
                  <a:lnTo>
                    <a:pt x="17074" y="29362"/>
                  </a:lnTo>
                  <a:lnTo>
                    <a:pt x="14989" y="29362"/>
                  </a:lnTo>
                  <a:lnTo>
                    <a:pt x="14989" y="24899"/>
                  </a:lnTo>
                  <a:close/>
                  <a:moveTo>
                    <a:pt x="0" y="0"/>
                  </a:moveTo>
                  <a:lnTo>
                    <a:pt x="0" y="43250"/>
                  </a:lnTo>
                  <a:lnTo>
                    <a:pt x="18851" y="43250"/>
                  </a:lnTo>
                  <a:lnTo>
                    <a:pt x="18851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0" name="Google Shape;8498;p73">
              <a:extLst>
                <a:ext uri="{FF2B5EF4-FFF2-40B4-BE49-F238E27FC236}">
                  <a16:creationId xmlns:a16="http://schemas.microsoft.com/office/drawing/2014/main" id="{94C663CE-52F6-3665-C990-63EC2606E8D2}"/>
                </a:ext>
              </a:extLst>
            </p:cNvPr>
            <p:cNvSpPr/>
            <p:nvPr/>
          </p:nvSpPr>
          <p:spPr>
            <a:xfrm>
              <a:off x="3662075" y="1892775"/>
              <a:ext cx="400825" cy="93250"/>
            </a:xfrm>
            <a:custGeom>
              <a:avLst/>
              <a:gdLst/>
              <a:ahLst/>
              <a:cxnLst/>
              <a:rect l="l" t="t" r="r" b="b"/>
              <a:pathLst>
                <a:path w="16033" h="3730" extrusionOk="0">
                  <a:moveTo>
                    <a:pt x="1" y="0"/>
                  </a:moveTo>
                  <a:lnTo>
                    <a:pt x="1" y="3729"/>
                  </a:lnTo>
                  <a:lnTo>
                    <a:pt x="16032" y="3729"/>
                  </a:lnTo>
                  <a:lnTo>
                    <a:pt x="16032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1" name="Google Shape;8499;p73">
              <a:extLst>
                <a:ext uri="{FF2B5EF4-FFF2-40B4-BE49-F238E27FC236}">
                  <a16:creationId xmlns:a16="http://schemas.microsoft.com/office/drawing/2014/main" id="{80267D7B-1A37-F397-8771-3A61287CAA8F}"/>
                </a:ext>
              </a:extLst>
            </p:cNvPr>
            <p:cNvSpPr/>
            <p:nvPr/>
          </p:nvSpPr>
          <p:spPr>
            <a:xfrm>
              <a:off x="3721900" y="1567225"/>
              <a:ext cx="283000" cy="325575"/>
            </a:xfrm>
            <a:custGeom>
              <a:avLst/>
              <a:gdLst/>
              <a:ahLst/>
              <a:cxnLst/>
              <a:rect l="l" t="t" r="r" b="b"/>
              <a:pathLst>
                <a:path w="11320" h="13023" extrusionOk="0">
                  <a:moveTo>
                    <a:pt x="1" y="0"/>
                  </a:moveTo>
                  <a:lnTo>
                    <a:pt x="1" y="13022"/>
                  </a:lnTo>
                  <a:lnTo>
                    <a:pt x="11320" y="13022"/>
                  </a:lnTo>
                  <a:lnTo>
                    <a:pt x="11320" y="0"/>
                  </a:ln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2" name="Google Shape;8500;p73">
              <a:extLst>
                <a:ext uri="{FF2B5EF4-FFF2-40B4-BE49-F238E27FC236}">
                  <a16:creationId xmlns:a16="http://schemas.microsoft.com/office/drawing/2014/main" id="{55E0ED13-0594-F031-C112-0B7374B11553}"/>
                </a:ext>
              </a:extLst>
            </p:cNvPr>
            <p:cNvSpPr/>
            <p:nvPr/>
          </p:nvSpPr>
          <p:spPr>
            <a:xfrm>
              <a:off x="3743200" y="1496750"/>
              <a:ext cx="238575" cy="70500"/>
            </a:xfrm>
            <a:custGeom>
              <a:avLst/>
              <a:gdLst/>
              <a:ahLst/>
              <a:cxnLst/>
              <a:rect l="l" t="t" r="r" b="b"/>
              <a:pathLst>
                <a:path w="9543" h="2820" extrusionOk="0">
                  <a:moveTo>
                    <a:pt x="0" y="1"/>
                  </a:moveTo>
                  <a:lnTo>
                    <a:pt x="0" y="2819"/>
                  </a:lnTo>
                  <a:lnTo>
                    <a:pt x="9543" y="2819"/>
                  </a:lnTo>
                  <a:lnTo>
                    <a:pt x="9543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3" name="Google Shape;8501;p73">
              <a:extLst>
                <a:ext uri="{FF2B5EF4-FFF2-40B4-BE49-F238E27FC236}">
                  <a16:creationId xmlns:a16="http://schemas.microsoft.com/office/drawing/2014/main" id="{20C13E12-C915-940E-8CCF-7866C4738E52}"/>
                </a:ext>
              </a:extLst>
            </p:cNvPr>
            <p:cNvSpPr/>
            <p:nvPr/>
          </p:nvSpPr>
          <p:spPr>
            <a:xfrm>
              <a:off x="3773650" y="1429575"/>
              <a:ext cx="177675" cy="67200"/>
            </a:xfrm>
            <a:custGeom>
              <a:avLst/>
              <a:gdLst/>
              <a:ahLst/>
              <a:cxnLst/>
              <a:rect l="l" t="t" r="r" b="b"/>
              <a:pathLst>
                <a:path w="7107" h="2688" extrusionOk="0">
                  <a:moveTo>
                    <a:pt x="1" y="1"/>
                  </a:moveTo>
                  <a:lnTo>
                    <a:pt x="1" y="2688"/>
                  </a:lnTo>
                  <a:lnTo>
                    <a:pt x="7106" y="2688"/>
                  </a:lnTo>
                  <a:lnTo>
                    <a:pt x="7106" y="1"/>
                  </a:ln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4" name="Google Shape;8502;p73">
              <a:extLst>
                <a:ext uri="{FF2B5EF4-FFF2-40B4-BE49-F238E27FC236}">
                  <a16:creationId xmlns:a16="http://schemas.microsoft.com/office/drawing/2014/main" id="{BFAED7B9-50ED-F3F3-85CC-78015854C861}"/>
                </a:ext>
              </a:extLst>
            </p:cNvPr>
            <p:cNvSpPr/>
            <p:nvPr/>
          </p:nvSpPr>
          <p:spPr>
            <a:xfrm>
              <a:off x="3803025" y="1986000"/>
              <a:ext cx="1169725" cy="1081275"/>
            </a:xfrm>
            <a:custGeom>
              <a:avLst/>
              <a:gdLst/>
              <a:ahLst/>
              <a:cxnLst/>
              <a:rect l="l" t="t" r="r" b="b"/>
              <a:pathLst>
                <a:path w="46789" h="43251" extrusionOk="0">
                  <a:moveTo>
                    <a:pt x="17735" y="31447"/>
                  </a:moveTo>
                  <a:lnTo>
                    <a:pt x="17735" y="36277"/>
                  </a:lnTo>
                  <a:lnTo>
                    <a:pt x="12112" y="36277"/>
                  </a:lnTo>
                  <a:lnTo>
                    <a:pt x="12112" y="31447"/>
                  </a:lnTo>
                  <a:close/>
                  <a:moveTo>
                    <a:pt x="26543" y="31447"/>
                  </a:moveTo>
                  <a:lnTo>
                    <a:pt x="26543" y="36277"/>
                  </a:lnTo>
                  <a:lnTo>
                    <a:pt x="20920" y="36277"/>
                  </a:lnTo>
                  <a:lnTo>
                    <a:pt x="20920" y="31447"/>
                  </a:lnTo>
                  <a:close/>
                  <a:moveTo>
                    <a:pt x="34985" y="31447"/>
                  </a:moveTo>
                  <a:lnTo>
                    <a:pt x="34985" y="36277"/>
                  </a:lnTo>
                  <a:lnTo>
                    <a:pt x="29362" y="36277"/>
                  </a:lnTo>
                  <a:lnTo>
                    <a:pt x="29362" y="31447"/>
                  </a:lnTo>
                  <a:close/>
                  <a:moveTo>
                    <a:pt x="43793" y="31447"/>
                  </a:moveTo>
                  <a:lnTo>
                    <a:pt x="43793" y="36277"/>
                  </a:lnTo>
                  <a:lnTo>
                    <a:pt x="38171" y="36277"/>
                  </a:lnTo>
                  <a:lnTo>
                    <a:pt x="38171" y="31447"/>
                  </a:lnTo>
                  <a:close/>
                  <a:moveTo>
                    <a:pt x="34867" y="0"/>
                  </a:moveTo>
                  <a:lnTo>
                    <a:pt x="34867" y="27718"/>
                  </a:lnTo>
                  <a:lnTo>
                    <a:pt x="32298" y="27718"/>
                  </a:lnTo>
                  <a:lnTo>
                    <a:pt x="32298" y="19585"/>
                  </a:lnTo>
                  <a:lnTo>
                    <a:pt x="24150" y="27718"/>
                  </a:lnTo>
                  <a:lnTo>
                    <a:pt x="24150" y="20128"/>
                  </a:lnTo>
                  <a:lnTo>
                    <a:pt x="16516" y="27718"/>
                  </a:lnTo>
                  <a:lnTo>
                    <a:pt x="16575" y="20069"/>
                  </a:lnTo>
                  <a:lnTo>
                    <a:pt x="9968" y="26617"/>
                  </a:lnTo>
                  <a:lnTo>
                    <a:pt x="9968" y="36335"/>
                  </a:lnTo>
                  <a:lnTo>
                    <a:pt x="0" y="36335"/>
                  </a:lnTo>
                  <a:lnTo>
                    <a:pt x="0" y="43250"/>
                  </a:lnTo>
                  <a:lnTo>
                    <a:pt x="46788" y="43250"/>
                  </a:lnTo>
                  <a:lnTo>
                    <a:pt x="46788" y="7532"/>
                  </a:lnTo>
                  <a:lnTo>
                    <a:pt x="42942" y="7532"/>
                  </a:lnTo>
                  <a:lnTo>
                    <a:pt x="42942" y="27718"/>
                  </a:lnTo>
                  <a:lnTo>
                    <a:pt x="39389" y="27718"/>
                  </a:lnTo>
                  <a:lnTo>
                    <a:pt x="39389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5" name="Google Shape;8503;p73">
              <a:extLst>
                <a:ext uri="{FF2B5EF4-FFF2-40B4-BE49-F238E27FC236}">
                  <a16:creationId xmlns:a16="http://schemas.microsoft.com/office/drawing/2014/main" id="{8AAAD8FE-4907-44CB-A0D2-DA374481F456}"/>
                </a:ext>
              </a:extLst>
            </p:cNvPr>
            <p:cNvSpPr/>
            <p:nvPr/>
          </p:nvSpPr>
          <p:spPr>
            <a:xfrm>
              <a:off x="5021525" y="1989300"/>
              <a:ext cx="471300" cy="1079425"/>
            </a:xfrm>
            <a:custGeom>
              <a:avLst/>
              <a:gdLst/>
              <a:ahLst/>
              <a:cxnLst/>
              <a:rect l="l" t="t" r="r" b="b"/>
              <a:pathLst>
                <a:path w="18852" h="43177" extrusionOk="0">
                  <a:moveTo>
                    <a:pt x="3921" y="3171"/>
                  </a:moveTo>
                  <a:lnTo>
                    <a:pt x="3921" y="7649"/>
                  </a:lnTo>
                  <a:lnTo>
                    <a:pt x="1777" y="7649"/>
                  </a:lnTo>
                  <a:lnTo>
                    <a:pt x="1777" y="3171"/>
                  </a:lnTo>
                  <a:close/>
                  <a:moveTo>
                    <a:pt x="8325" y="3171"/>
                  </a:moveTo>
                  <a:lnTo>
                    <a:pt x="8325" y="7649"/>
                  </a:lnTo>
                  <a:lnTo>
                    <a:pt x="6182" y="7649"/>
                  </a:lnTo>
                  <a:lnTo>
                    <a:pt x="6182" y="3171"/>
                  </a:lnTo>
                  <a:close/>
                  <a:moveTo>
                    <a:pt x="12729" y="3171"/>
                  </a:moveTo>
                  <a:lnTo>
                    <a:pt x="12729" y="7649"/>
                  </a:lnTo>
                  <a:lnTo>
                    <a:pt x="10586" y="7649"/>
                  </a:lnTo>
                  <a:lnTo>
                    <a:pt x="10586" y="3171"/>
                  </a:lnTo>
                  <a:close/>
                  <a:moveTo>
                    <a:pt x="17133" y="3171"/>
                  </a:moveTo>
                  <a:lnTo>
                    <a:pt x="17133" y="7649"/>
                  </a:lnTo>
                  <a:lnTo>
                    <a:pt x="14990" y="7649"/>
                  </a:lnTo>
                  <a:lnTo>
                    <a:pt x="14990" y="3171"/>
                  </a:lnTo>
                  <a:close/>
                  <a:moveTo>
                    <a:pt x="3921" y="10512"/>
                  </a:moveTo>
                  <a:lnTo>
                    <a:pt x="3921" y="14990"/>
                  </a:lnTo>
                  <a:lnTo>
                    <a:pt x="1777" y="14990"/>
                  </a:lnTo>
                  <a:lnTo>
                    <a:pt x="1777" y="10512"/>
                  </a:lnTo>
                  <a:close/>
                  <a:moveTo>
                    <a:pt x="8325" y="10512"/>
                  </a:moveTo>
                  <a:lnTo>
                    <a:pt x="8325" y="14990"/>
                  </a:lnTo>
                  <a:lnTo>
                    <a:pt x="6182" y="14990"/>
                  </a:lnTo>
                  <a:lnTo>
                    <a:pt x="6182" y="10512"/>
                  </a:lnTo>
                  <a:close/>
                  <a:moveTo>
                    <a:pt x="12729" y="10512"/>
                  </a:moveTo>
                  <a:lnTo>
                    <a:pt x="12729" y="14990"/>
                  </a:lnTo>
                  <a:lnTo>
                    <a:pt x="10586" y="14990"/>
                  </a:lnTo>
                  <a:lnTo>
                    <a:pt x="10586" y="10512"/>
                  </a:lnTo>
                  <a:close/>
                  <a:moveTo>
                    <a:pt x="17133" y="10512"/>
                  </a:moveTo>
                  <a:lnTo>
                    <a:pt x="17133" y="14990"/>
                  </a:lnTo>
                  <a:lnTo>
                    <a:pt x="14990" y="14990"/>
                  </a:lnTo>
                  <a:lnTo>
                    <a:pt x="14990" y="10512"/>
                  </a:lnTo>
                  <a:close/>
                  <a:moveTo>
                    <a:pt x="3921" y="17485"/>
                  </a:moveTo>
                  <a:lnTo>
                    <a:pt x="3921" y="21963"/>
                  </a:lnTo>
                  <a:lnTo>
                    <a:pt x="1777" y="21963"/>
                  </a:lnTo>
                  <a:lnTo>
                    <a:pt x="1777" y="17485"/>
                  </a:lnTo>
                  <a:close/>
                  <a:moveTo>
                    <a:pt x="8325" y="17485"/>
                  </a:moveTo>
                  <a:lnTo>
                    <a:pt x="8325" y="21963"/>
                  </a:lnTo>
                  <a:lnTo>
                    <a:pt x="6182" y="21963"/>
                  </a:lnTo>
                  <a:lnTo>
                    <a:pt x="6182" y="17485"/>
                  </a:lnTo>
                  <a:close/>
                  <a:moveTo>
                    <a:pt x="12729" y="17485"/>
                  </a:moveTo>
                  <a:lnTo>
                    <a:pt x="12729" y="21963"/>
                  </a:lnTo>
                  <a:lnTo>
                    <a:pt x="10586" y="21963"/>
                  </a:lnTo>
                  <a:lnTo>
                    <a:pt x="10586" y="17485"/>
                  </a:lnTo>
                  <a:close/>
                  <a:moveTo>
                    <a:pt x="17133" y="17485"/>
                  </a:moveTo>
                  <a:lnTo>
                    <a:pt x="17133" y="21963"/>
                  </a:lnTo>
                  <a:lnTo>
                    <a:pt x="14990" y="21963"/>
                  </a:lnTo>
                  <a:lnTo>
                    <a:pt x="14990" y="17485"/>
                  </a:lnTo>
                  <a:close/>
                  <a:moveTo>
                    <a:pt x="3921" y="24899"/>
                  </a:moveTo>
                  <a:lnTo>
                    <a:pt x="3921" y="29362"/>
                  </a:lnTo>
                  <a:lnTo>
                    <a:pt x="1777" y="29362"/>
                  </a:lnTo>
                  <a:lnTo>
                    <a:pt x="1777" y="24899"/>
                  </a:lnTo>
                  <a:close/>
                  <a:moveTo>
                    <a:pt x="8325" y="24899"/>
                  </a:moveTo>
                  <a:lnTo>
                    <a:pt x="8325" y="29362"/>
                  </a:lnTo>
                  <a:lnTo>
                    <a:pt x="6182" y="29362"/>
                  </a:lnTo>
                  <a:lnTo>
                    <a:pt x="6182" y="24899"/>
                  </a:lnTo>
                  <a:close/>
                  <a:moveTo>
                    <a:pt x="12729" y="24899"/>
                  </a:moveTo>
                  <a:lnTo>
                    <a:pt x="12729" y="29362"/>
                  </a:lnTo>
                  <a:lnTo>
                    <a:pt x="10586" y="29362"/>
                  </a:lnTo>
                  <a:lnTo>
                    <a:pt x="10586" y="24899"/>
                  </a:lnTo>
                  <a:close/>
                  <a:moveTo>
                    <a:pt x="17133" y="24899"/>
                  </a:moveTo>
                  <a:lnTo>
                    <a:pt x="17133" y="29362"/>
                  </a:lnTo>
                  <a:lnTo>
                    <a:pt x="14990" y="29362"/>
                  </a:lnTo>
                  <a:lnTo>
                    <a:pt x="14990" y="24899"/>
                  </a:lnTo>
                  <a:close/>
                  <a:moveTo>
                    <a:pt x="1" y="0"/>
                  </a:moveTo>
                  <a:lnTo>
                    <a:pt x="1" y="43177"/>
                  </a:lnTo>
                  <a:lnTo>
                    <a:pt x="18851" y="43177"/>
                  </a:lnTo>
                  <a:lnTo>
                    <a:pt x="18851" y="0"/>
                  </a:ln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6" name="Google Shape;8504;p73">
              <a:extLst>
                <a:ext uri="{FF2B5EF4-FFF2-40B4-BE49-F238E27FC236}">
                  <a16:creationId xmlns:a16="http://schemas.microsoft.com/office/drawing/2014/main" id="{D38ADB07-DA09-AC6B-DB9E-7FD346CCFD54}"/>
                </a:ext>
              </a:extLst>
            </p:cNvPr>
            <p:cNvSpPr/>
            <p:nvPr/>
          </p:nvSpPr>
          <p:spPr>
            <a:xfrm>
              <a:off x="5058225" y="1894225"/>
              <a:ext cx="399350" cy="95100"/>
            </a:xfrm>
            <a:custGeom>
              <a:avLst/>
              <a:gdLst/>
              <a:ahLst/>
              <a:cxnLst/>
              <a:rect l="l" t="t" r="r" b="b"/>
              <a:pathLst>
                <a:path w="15974" h="3804" extrusionOk="0">
                  <a:moveTo>
                    <a:pt x="1" y="1"/>
                  </a:moveTo>
                  <a:lnTo>
                    <a:pt x="1" y="3803"/>
                  </a:lnTo>
                  <a:lnTo>
                    <a:pt x="15974" y="3803"/>
                  </a:lnTo>
                  <a:lnTo>
                    <a:pt x="15974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7" name="Google Shape;8505;p73">
              <a:extLst>
                <a:ext uri="{FF2B5EF4-FFF2-40B4-BE49-F238E27FC236}">
                  <a16:creationId xmlns:a16="http://schemas.microsoft.com/office/drawing/2014/main" id="{0380811C-124B-E6D7-F1FF-809BFCA59D70}"/>
                </a:ext>
              </a:extLst>
            </p:cNvPr>
            <p:cNvSpPr/>
            <p:nvPr/>
          </p:nvSpPr>
          <p:spPr>
            <a:xfrm>
              <a:off x="5116600" y="1732375"/>
              <a:ext cx="283000" cy="161875"/>
            </a:xfrm>
            <a:custGeom>
              <a:avLst/>
              <a:gdLst/>
              <a:ahLst/>
              <a:cxnLst/>
              <a:rect l="l" t="t" r="r" b="b"/>
              <a:pathLst>
                <a:path w="11320" h="6475" extrusionOk="0">
                  <a:moveTo>
                    <a:pt x="5623" y="1"/>
                  </a:moveTo>
                  <a:lnTo>
                    <a:pt x="0" y="6475"/>
                  </a:lnTo>
                  <a:lnTo>
                    <a:pt x="11319" y="6475"/>
                  </a:lnTo>
                  <a:lnTo>
                    <a:pt x="5623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8" name="Google Shape;8506;p73">
              <a:extLst>
                <a:ext uri="{FF2B5EF4-FFF2-40B4-BE49-F238E27FC236}">
                  <a16:creationId xmlns:a16="http://schemas.microsoft.com/office/drawing/2014/main" id="{F74CCE7F-CE01-50EA-6638-03AC0A52C73D}"/>
                </a:ext>
              </a:extLst>
            </p:cNvPr>
            <p:cNvSpPr/>
            <p:nvPr/>
          </p:nvSpPr>
          <p:spPr>
            <a:xfrm>
              <a:off x="2929500" y="3132950"/>
              <a:ext cx="916125" cy="1021800"/>
            </a:xfrm>
            <a:custGeom>
              <a:avLst/>
              <a:gdLst/>
              <a:ahLst/>
              <a:cxnLst/>
              <a:rect l="l" t="t" r="r" b="b"/>
              <a:pathLst>
                <a:path w="36645" h="40872" extrusionOk="0">
                  <a:moveTo>
                    <a:pt x="17500" y="2643"/>
                  </a:moveTo>
                  <a:cubicBezTo>
                    <a:pt x="20260" y="2643"/>
                    <a:pt x="22947" y="3861"/>
                    <a:pt x="25031" y="6739"/>
                  </a:cubicBezTo>
                  <a:cubicBezTo>
                    <a:pt x="27777" y="10585"/>
                    <a:pt x="27718" y="15665"/>
                    <a:pt x="28335" y="20318"/>
                  </a:cubicBezTo>
                  <a:cubicBezTo>
                    <a:pt x="28261" y="25325"/>
                    <a:pt x="33341" y="30830"/>
                    <a:pt x="30170" y="35425"/>
                  </a:cubicBezTo>
                  <a:cubicBezTo>
                    <a:pt x="29127" y="36159"/>
                    <a:pt x="28085" y="36409"/>
                    <a:pt x="27043" y="36409"/>
                  </a:cubicBezTo>
                  <a:cubicBezTo>
                    <a:pt x="22521" y="36409"/>
                    <a:pt x="18293" y="30463"/>
                    <a:pt x="14138" y="28877"/>
                  </a:cubicBezTo>
                  <a:cubicBezTo>
                    <a:pt x="9734" y="26367"/>
                    <a:pt x="4170" y="23431"/>
                    <a:pt x="3494" y="17867"/>
                  </a:cubicBezTo>
                  <a:cubicBezTo>
                    <a:pt x="3069" y="10468"/>
                    <a:pt x="10468" y="2643"/>
                    <a:pt x="17500" y="2643"/>
                  </a:cubicBezTo>
                  <a:close/>
                  <a:moveTo>
                    <a:pt x="17559" y="0"/>
                  </a:moveTo>
                  <a:cubicBezTo>
                    <a:pt x="9059" y="0"/>
                    <a:pt x="0" y="9425"/>
                    <a:pt x="617" y="18425"/>
                  </a:cubicBezTo>
                  <a:cubicBezTo>
                    <a:pt x="1410" y="25148"/>
                    <a:pt x="8148" y="28701"/>
                    <a:pt x="13463" y="31696"/>
                  </a:cubicBezTo>
                  <a:cubicBezTo>
                    <a:pt x="18542" y="33649"/>
                    <a:pt x="23622" y="40872"/>
                    <a:pt x="29127" y="40872"/>
                  </a:cubicBezTo>
                  <a:cubicBezTo>
                    <a:pt x="30346" y="40872"/>
                    <a:pt x="31564" y="40505"/>
                    <a:pt x="32856" y="39638"/>
                  </a:cubicBezTo>
                  <a:cubicBezTo>
                    <a:pt x="36644" y="34133"/>
                    <a:pt x="30537" y="27409"/>
                    <a:pt x="30654" y="21361"/>
                  </a:cubicBezTo>
                  <a:cubicBezTo>
                    <a:pt x="29861" y="15723"/>
                    <a:pt x="29979" y="9616"/>
                    <a:pt x="26676" y="4962"/>
                  </a:cubicBezTo>
                  <a:cubicBezTo>
                    <a:pt x="24107" y="1468"/>
                    <a:pt x="20862" y="0"/>
                    <a:pt x="17559" y="0"/>
                  </a:cubicBezTo>
                  <a:close/>
                </a:path>
              </a:pathLst>
            </a:custGeom>
            <a:solidFill>
              <a:srgbClr val="7689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9" name="Google Shape;8507;p73">
              <a:extLst>
                <a:ext uri="{FF2B5EF4-FFF2-40B4-BE49-F238E27FC236}">
                  <a16:creationId xmlns:a16="http://schemas.microsoft.com/office/drawing/2014/main" id="{F6F9A5F7-E371-F00E-2A06-0D46151D0547}"/>
                </a:ext>
              </a:extLst>
            </p:cNvPr>
            <p:cNvSpPr/>
            <p:nvPr/>
          </p:nvSpPr>
          <p:spPr>
            <a:xfrm>
              <a:off x="3006200" y="3199000"/>
              <a:ext cx="756825" cy="844175"/>
            </a:xfrm>
            <a:custGeom>
              <a:avLst/>
              <a:gdLst/>
              <a:ahLst/>
              <a:cxnLst/>
              <a:rect l="l" t="t" r="r" b="b"/>
              <a:pathLst>
                <a:path w="30273" h="33767" extrusionOk="0">
                  <a:moveTo>
                    <a:pt x="14432" y="1"/>
                  </a:moveTo>
                  <a:cubicBezTo>
                    <a:pt x="7400" y="1"/>
                    <a:pt x="1" y="7826"/>
                    <a:pt x="426" y="15225"/>
                  </a:cubicBezTo>
                  <a:cubicBezTo>
                    <a:pt x="1102" y="20789"/>
                    <a:pt x="6666" y="23725"/>
                    <a:pt x="11070" y="26235"/>
                  </a:cubicBezTo>
                  <a:cubicBezTo>
                    <a:pt x="15225" y="27821"/>
                    <a:pt x="19453" y="33767"/>
                    <a:pt x="23975" y="33767"/>
                  </a:cubicBezTo>
                  <a:cubicBezTo>
                    <a:pt x="25017" y="33767"/>
                    <a:pt x="26059" y="33517"/>
                    <a:pt x="27102" y="32783"/>
                  </a:cubicBezTo>
                  <a:cubicBezTo>
                    <a:pt x="30273" y="28188"/>
                    <a:pt x="25193" y="22683"/>
                    <a:pt x="25267" y="17676"/>
                  </a:cubicBezTo>
                  <a:cubicBezTo>
                    <a:pt x="24650" y="13023"/>
                    <a:pt x="24709" y="7943"/>
                    <a:pt x="21963" y="4097"/>
                  </a:cubicBezTo>
                  <a:cubicBezTo>
                    <a:pt x="19879" y="1219"/>
                    <a:pt x="17192" y="1"/>
                    <a:pt x="14432" y="1"/>
                  </a:cubicBezTo>
                  <a:close/>
                </a:path>
              </a:pathLst>
            </a:custGeom>
            <a:solidFill>
              <a:srgbClr val="6E787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0" name="Google Shape;8508;p73">
              <a:extLst>
                <a:ext uri="{FF2B5EF4-FFF2-40B4-BE49-F238E27FC236}">
                  <a16:creationId xmlns:a16="http://schemas.microsoft.com/office/drawing/2014/main" id="{4D9D38F7-DE04-BA74-4124-082A480F7800}"/>
                </a:ext>
              </a:extLst>
            </p:cNvPr>
            <p:cNvSpPr/>
            <p:nvPr/>
          </p:nvSpPr>
          <p:spPr>
            <a:xfrm>
              <a:off x="6140950" y="2510825"/>
              <a:ext cx="146850" cy="273475"/>
            </a:xfrm>
            <a:custGeom>
              <a:avLst/>
              <a:gdLst/>
              <a:ahLst/>
              <a:cxnLst/>
              <a:rect l="l" t="t" r="r" b="b"/>
              <a:pathLst>
                <a:path w="5874" h="10939" extrusionOk="0">
                  <a:moveTo>
                    <a:pt x="1" y="1"/>
                  </a:moveTo>
                  <a:lnTo>
                    <a:pt x="1" y="1469"/>
                  </a:lnTo>
                  <a:lnTo>
                    <a:pt x="2570" y="1469"/>
                  </a:lnTo>
                  <a:cubicBezTo>
                    <a:pt x="3495" y="1469"/>
                    <a:pt x="4229" y="2071"/>
                    <a:pt x="4229" y="2805"/>
                  </a:cubicBezTo>
                  <a:lnTo>
                    <a:pt x="4229" y="10938"/>
                  </a:lnTo>
                  <a:lnTo>
                    <a:pt x="5873" y="10938"/>
                  </a:lnTo>
                  <a:lnTo>
                    <a:pt x="5873" y="2805"/>
                  </a:lnTo>
                  <a:cubicBezTo>
                    <a:pt x="5873" y="1278"/>
                    <a:pt x="4405" y="1"/>
                    <a:pt x="257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1" name="Google Shape;8509;p73">
              <a:extLst>
                <a:ext uri="{FF2B5EF4-FFF2-40B4-BE49-F238E27FC236}">
                  <a16:creationId xmlns:a16="http://schemas.microsoft.com/office/drawing/2014/main" id="{7E0F8EAE-A338-AFC7-4B94-9E55BB4D9462}"/>
                </a:ext>
              </a:extLst>
            </p:cNvPr>
            <p:cNvSpPr/>
            <p:nvPr/>
          </p:nvSpPr>
          <p:spPr>
            <a:xfrm>
              <a:off x="6032675" y="2937325"/>
              <a:ext cx="108300" cy="183525"/>
            </a:xfrm>
            <a:custGeom>
              <a:avLst/>
              <a:gdLst/>
              <a:ahLst/>
              <a:cxnLst/>
              <a:rect l="l" t="t" r="r" b="b"/>
              <a:pathLst>
                <a:path w="4332" h="7341" extrusionOk="0">
                  <a:moveTo>
                    <a:pt x="1" y="0"/>
                  </a:moveTo>
                  <a:lnTo>
                    <a:pt x="1" y="7341"/>
                  </a:lnTo>
                  <a:lnTo>
                    <a:pt x="4332" y="7341"/>
                  </a:lnTo>
                  <a:lnTo>
                    <a:pt x="4332" y="0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2" name="Google Shape;8510;p73">
              <a:extLst>
                <a:ext uri="{FF2B5EF4-FFF2-40B4-BE49-F238E27FC236}">
                  <a16:creationId xmlns:a16="http://schemas.microsoft.com/office/drawing/2014/main" id="{66CDBFCF-FE31-2B19-85D0-13182CC4EE42}"/>
                </a:ext>
              </a:extLst>
            </p:cNvPr>
            <p:cNvSpPr/>
            <p:nvPr/>
          </p:nvSpPr>
          <p:spPr>
            <a:xfrm>
              <a:off x="6032675" y="2585700"/>
              <a:ext cx="108300" cy="351650"/>
            </a:xfrm>
            <a:custGeom>
              <a:avLst/>
              <a:gdLst/>
              <a:ahLst/>
              <a:cxnLst/>
              <a:rect l="l" t="t" r="r" b="b"/>
              <a:pathLst>
                <a:path w="4332" h="14066" extrusionOk="0">
                  <a:moveTo>
                    <a:pt x="1" y="1"/>
                  </a:moveTo>
                  <a:lnTo>
                    <a:pt x="1" y="2071"/>
                  </a:lnTo>
                  <a:lnTo>
                    <a:pt x="1" y="14065"/>
                  </a:lnTo>
                  <a:lnTo>
                    <a:pt x="4332" y="14065"/>
                  </a:lnTo>
                  <a:lnTo>
                    <a:pt x="4332" y="7943"/>
                  </a:lnTo>
                  <a:lnTo>
                    <a:pt x="4332" y="1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3" name="Google Shape;8511;p73">
              <a:extLst>
                <a:ext uri="{FF2B5EF4-FFF2-40B4-BE49-F238E27FC236}">
                  <a16:creationId xmlns:a16="http://schemas.microsoft.com/office/drawing/2014/main" id="{ED1707E3-4C70-0A81-CCA7-57595314A58B}"/>
                </a:ext>
              </a:extLst>
            </p:cNvPr>
            <p:cNvSpPr/>
            <p:nvPr/>
          </p:nvSpPr>
          <p:spPr>
            <a:xfrm>
              <a:off x="6032675" y="2472300"/>
              <a:ext cx="108300" cy="113425"/>
            </a:xfrm>
            <a:custGeom>
              <a:avLst/>
              <a:gdLst/>
              <a:ahLst/>
              <a:cxnLst/>
              <a:rect l="l" t="t" r="r" b="b"/>
              <a:pathLst>
                <a:path w="4332" h="4537" extrusionOk="0">
                  <a:moveTo>
                    <a:pt x="1" y="0"/>
                  </a:moveTo>
                  <a:lnTo>
                    <a:pt x="1" y="4537"/>
                  </a:lnTo>
                  <a:lnTo>
                    <a:pt x="4332" y="4537"/>
                  </a:lnTo>
                  <a:lnTo>
                    <a:pt x="4332" y="3010"/>
                  </a:lnTo>
                  <a:lnTo>
                    <a:pt x="4332" y="1542"/>
                  </a:lnTo>
                  <a:lnTo>
                    <a:pt x="4332" y="0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4" name="Google Shape;8512;p73">
              <a:extLst>
                <a:ext uri="{FF2B5EF4-FFF2-40B4-BE49-F238E27FC236}">
                  <a16:creationId xmlns:a16="http://schemas.microsoft.com/office/drawing/2014/main" id="{F2E349EF-A674-8417-6BAE-EDA6AE9B4024}"/>
                </a:ext>
              </a:extLst>
            </p:cNvPr>
            <p:cNvSpPr/>
            <p:nvPr/>
          </p:nvSpPr>
          <p:spPr>
            <a:xfrm>
              <a:off x="6032675" y="2412850"/>
              <a:ext cx="108300" cy="59475"/>
            </a:xfrm>
            <a:custGeom>
              <a:avLst/>
              <a:gdLst/>
              <a:ahLst/>
              <a:cxnLst/>
              <a:rect l="l" t="t" r="r" b="b"/>
              <a:pathLst>
                <a:path w="4332" h="2379" extrusionOk="0">
                  <a:moveTo>
                    <a:pt x="1" y="0"/>
                  </a:moveTo>
                  <a:lnTo>
                    <a:pt x="1" y="2378"/>
                  </a:lnTo>
                  <a:lnTo>
                    <a:pt x="4332" y="2378"/>
                  </a:lnTo>
                  <a:lnTo>
                    <a:pt x="4332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5" name="Google Shape;8513;p73">
              <a:extLst>
                <a:ext uri="{FF2B5EF4-FFF2-40B4-BE49-F238E27FC236}">
                  <a16:creationId xmlns:a16="http://schemas.microsoft.com/office/drawing/2014/main" id="{D1560280-DFAD-40B7-3669-21A2F814A971}"/>
                </a:ext>
              </a:extLst>
            </p:cNvPr>
            <p:cNvSpPr/>
            <p:nvPr/>
          </p:nvSpPr>
          <p:spPr>
            <a:xfrm>
              <a:off x="6032675" y="2360725"/>
              <a:ext cx="108300" cy="52150"/>
            </a:xfrm>
            <a:custGeom>
              <a:avLst/>
              <a:gdLst/>
              <a:ahLst/>
              <a:cxnLst/>
              <a:rect l="l" t="t" r="r" b="b"/>
              <a:pathLst>
                <a:path w="4332" h="2086" extrusionOk="0">
                  <a:moveTo>
                    <a:pt x="1" y="0"/>
                  </a:moveTo>
                  <a:lnTo>
                    <a:pt x="1" y="617"/>
                  </a:lnTo>
                  <a:lnTo>
                    <a:pt x="1" y="2085"/>
                  </a:lnTo>
                  <a:lnTo>
                    <a:pt x="4332" y="2085"/>
                  </a:lnTo>
                  <a:lnTo>
                    <a:pt x="4332" y="0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6" name="Google Shape;8514;p73">
              <a:extLst>
                <a:ext uri="{FF2B5EF4-FFF2-40B4-BE49-F238E27FC236}">
                  <a16:creationId xmlns:a16="http://schemas.microsoft.com/office/drawing/2014/main" id="{A0A014A6-3519-786D-F2EE-50EE1D5C31AF}"/>
                </a:ext>
              </a:extLst>
            </p:cNvPr>
            <p:cNvSpPr/>
            <p:nvPr/>
          </p:nvSpPr>
          <p:spPr>
            <a:xfrm>
              <a:off x="6140950" y="2784275"/>
              <a:ext cx="352000" cy="336575"/>
            </a:xfrm>
            <a:custGeom>
              <a:avLst/>
              <a:gdLst/>
              <a:ahLst/>
              <a:cxnLst/>
              <a:rect l="l" t="t" r="r" b="b"/>
              <a:pathLst>
                <a:path w="14080" h="13463" extrusionOk="0">
                  <a:moveTo>
                    <a:pt x="1" y="0"/>
                  </a:moveTo>
                  <a:lnTo>
                    <a:pt x="1" y="13463"/>
                  </a:lnTo>
                  <a:lnTo>
                    <a:pt x="14080" y="13463"/>
                  </a:lnTo>
                  <a:lnTo>
                    <a:pt x="14080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7" name="Google Shape;8515;p73">
              <a:extLst>
                <a:ext uri="{FF2B5EF4-FFF2-40B4-BE49-F238E27FC236}">
                  <a16:creationId xmlns:a16="http://schemas.microsoft.com/office/drawing/2014/main" id="{2D7887AF-CDDF-AB79-3082-284727ECB34A}"/>
                </a:ext>
              </a:extLst>
            </p:cNvPr>
            <p:cNvSpPr/>
            <p:nvPr/>
          </p:nvSpPr>
          <p:spPr>
            <a:xfrm>
              <a:off x="5679250" y="2784275"/>
              <a:ext cx="353450" cy="336575"/>
            </a:xfrm>
            <a:custGeom>
              <a:avLst/>
              <a:gdLst/>
              <a:ahLst/>
              <a:cxnLst/>
              <a:rect l="l" t="t" r="r" b="b"/>
              <a:pathLst>
                <a:path w="14138" h="13463" extrusionOk="0">
                  <a:moveTo>
                    <a:pt x="0" y="0"/>
                  </a:moveTo>
                  <a:lnTo>
                    <a:pt x="0" y="13463"/>
                  </a:lnTo>
                  <a:lnTo>
                    <a:pt x="14138" y="13463"/>
                  </a:lnTo>
                  <a:lnTo>
                    <a:pt x="14138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8" name="Google Shape;8516;p73">
              <a:extLst>
                <a:ext uri="{FF2B5EF4-FFF2-40B4-BE49-F238E27FC236}">
                  <a16:creationId xmlns:a16="http://schemas.microsoft.com/office/drawing/2014/main" id="{91F8B3B4-7ED7-A0BE-9B4E-5918383922A1}"/>
                </a:ext>
              </a:extLst>
            </p:cNvPr>
            <p:cNvSpPr/>
            <p:nvPr/>
          </p:nvSpPr>
          <p:spPr>
            <a:xfrm>
              <a:off x="5717400" y="2515250"/>
              <a:ext cx="42975" cy="269050"/>
            </a:xfrm>
            <a:custGeom>
              <a:avLst/>
              <a:gdLst/>
              <a:ahLst/>
              <a:cxnLst/>
              <a:rect l="l" t="t" r="r" b="b"/>
              <a:pathLst>
                <a:path w="1719" h="10762" extrusionOk="0">
                  <a:moveTo>
                    <a:pt x="1" y="0"/>
                  </a:moveTo>
                  <a:lnTo>
                    <a:pt x="1" y="10761"/>
                  </a:lnTo>
                  <a:lnTo>
                    <a:pt x="1719" y="10761"/>
                  </a:lnTo>
                  <a:lnTo>
                    <a:pt x="1719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9" name="Google Shape;8517;p73">
              <a:extLst>
                <a:ext uri="{FF2B5EF4-FFF2-40B4-BE49-F238E27FC236}">
                  <a16:creationId xmlns:a16="http://schemas.microsoft.com/office/drawing/2014/main" id="{3D970FA5-48D3-8FED-2311-B7114562DAA1}"/>
                </a:ext>
              </a:extLst>
            </p:cNvPr>
            <p:cNvSpPr/>
            <p:nvPr/>
          </p:nvSpPr>
          <p:spPr>
            <a:xfrm>
              <a:off x="5824575" y="2515250"/>
              <a:ext cx="44450" cy="269050"/>
            </a:xfrm>
            <a:custGeom>
              <a:avLst/>
              <a:gdLst/>
              <a:ahLst/>
              <a:cxnLst/>
              <a:rect l="l" t="t" r="r" b="b"/>
              <a:pathLst>
                <a:path w="1778" h="10762" extrusionOk="0">
                  <a:moveTo>
                    <a:pt x="1" y="0"/>
                  </a:moveTo>
                  <a:lnTo>
                    <a:pt x="1" y="10761"/>
                  </a:lnTo>
                  <a:lnTo>
                    <a:pt x="1777" y="10761"/>
                  </a:lnTo>
                  <a:lnTo>
                    <a:pt x="1777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0" name="Google Shape;8518;p73">
              <a:extLst>
                <a:ext uri="{FF2B5EF4-FFF2-40B4-BE49-F238E27FC236}">
                  <a16:creationId xmlns:a16="http://schemas.microsoft.com/office/drawing/2014/main" id="{2038915D-A540-E4DC-C43F-67A9D8993FF4}"/>
                </a:ext>
              </a:extLst>
            </p:cNvPr>
            <p:cNvSpPr/>
            <p:nvPr/>
          </p:nvSpPr>
          <p:spPr>
            <a:xfrm>
              <a:off x="5928450" y="2515250"/>
              <a:ext cx="42975" cy="269050"/>
            </a:xfrm>
            <a:custGeom>
              <a:avLst/>
              <a:gdLst/>
              <a:ahLst/>
              <a:cxnLst/>
              <a:rect l="l" t="t" r="r" b="b"/>
              <a:pathLst>
                <a:path w="1719" h="10762" extrusionOk="0">
                  <a:moveTo>
                    <a:pt x="0" y="0"/>
                  </a:moveTo>
                  <a:lnTo>
                    <a:pt x="0" y="10761"/>
                  </a:lnTo>
                  <a:lnTo>
                    <a:pt x="1718" y="10761"/>
                  </a:lnTo>
                  <a:lnTo>
                    <a:pt x="1718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1" name="Google Shape;8519;p73">
              <a:extLst>
                <a:ext uri="{FF2B5EF4-FFF2-40B4-BE49-F238E27FC236}">
                  <a16:creationId xmlns:a16="http://schemas.microsoft.com/office/drawing/2014/main" id="{086E2AF8-F750-877A-C055-21019F604C08}"/>
                </a:ext>
              </a:extLst>
            </p:cNvPr>
            <p:cNvSpPr/>
            <p:nvPr/>
          </p:nvSpPr>
          <p:spPr>
            <a:xfrm>
              <a:off x="5660900" y="2784275"/>
              <a:ext cx="371800" cy="23150"/>
            </a:xfrm>
            <a:custGeom>
              <a:avLst/>
              <a:gdLst/>
              <a:ahLst/>
              <a:cxnLst/>
              <a:rect l="l" t="t" r="r" b="b"/>
              <a:pathLst>
                <a:path w="14872" h="926" extrusionOk="0">
                  <a:moveTo>
                    <a:pt x="0" y="0"/>
                  </a:moveTo>
                  <a:lnTo>
                    <a:pt x="0" y="925"/>
                  </a:lnTo>
                  <a:lnTo>
                    <a:pt x="14872" y="925"/>
                  </a:lnTo>
                  <a:lnTo>
                    <a:pt x="14872" y="0"/>
                  </a:ln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2" name="Google Shape;8520;p73">
              <a:extLst>
                <a:ext uri="{FF2B5EF4-FFF2-40B4-BE49-F238E27FC236}">
                  <a16:creationId xmlns:a16="http://schemas.microsoft.com/office/drawing/2014/main" id="{D76F5AFB-934D-A45D-8F80-6014A4EC2E36}"/>
                </a:ext>
              </a:extLst>
            </p:cNvPr>
            <p:cNvSpPr/>
            <p:nvPr/>
          </p:nvSpPr>
          <p:spPr>
            <a:xfrm>
              <a:off x="6140950" y="2784275"/>
              <a:ext cx="370350" cy="23150"/>
            </a:xfrm>
            <a:custGeom>
              <a:avLst/>
              <a:gdLst/>
              <a:ahLst/>
              <a:cxnLst/>
              <a:rect l="l" t="t" r="r" b="b"/>
              <a:pathLst>
                <a:path w="14814" h="926" extrusionOk="0">
                  <a:moveTo>
                    <a:pt x="1" y="0"/>
                  </a:moveTo>
                  <a:lnTo>
                    <a:pt x="1" y="925"/>
                  </a:lnTo>
                  <a:lnTo>
                    <a:pt x="14814" y="925"/>
                  </a:lnTo>
                  <a:lnTo>
                    <a:pt x="14814" y="0"/>
                  </a:ln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3" name="Google Shape;8521;p73">
              <a:extLst>
                <a:ext uri="{FF2B5EF4-FFF2-40B4-BE49-F238E27FC236}">
                  <a16:creationId xmlns:a16="http://schemas.microsoft.com/office/drawing/2014/main" id="{9AFB656C-057A-E7E6-9F3E-5A8EC552F856}"/>
                </a:ext>
              </a:extLst>
            </p:cNvPr>
            <p:cNvSpPr/>
            <p:nvPr/>
          </p:nvSpPr>
          <p:spPr>
            <a:xfrm>
              <a:off x="5986800" y="2047275"/>
              <a:ext cx="684900" cy="249250"/>
            </a:xfrm>
            <a:custGeom>
              <a:avLst/>
              <a:gdLst/>
              <a:ahLst/>
              <a:cxnLst/>
              <a:rect l="l" t="t" r="r" b="b"/>
              <a:pathLst>
                <a:path w="27396" h="9970" extrusionOk="0">
                  <a:moveTo>
                    <a:pt x="15783" y="1"/>
                  </a:moveTo>
                  <a:cubicBezTo>
                    <a:pt x="10644" y="1"/>
                    <a:pt x="10879" y="3612"/>
                    <a:pt x="10879" y="3612"/>
                  </a:cubicBezTo>
                  <a:cubicBezTo>
                    <a:pt x="10879" y="3612"/>
                    <a:pt x="10391" y="3511"/>
                    <a:pt x="9738" y="3511"/>
                  </a:cubicBezTo>
                  <a:cubicBezTo>
                    <a:pt x="8416" y="3511"/>
                    <a:pt x="6416" y="3926"/>
                    <a:pt x="6416" y="6431"/>
                  </a:cubicBezTo>
                  <a:cubicBezTo>
                    <a:pt x="6416" y="6431"/>
                    <a:pt x="5979" y="6330"/>
                    <a:pt x="5429" y="6330"/>
                  </a:cubicBezTo>
                  <a:cubicBezTo>
                    <a:pt x="4493" y="6330"/>
                    <a:pt x="3231" y="6621"/>
                    <a:pt x="3231" y="8193"/>
                  </a:cubicBezTo>
                  <a:lnTo>
                    <a:pt x="1" y="9969"/>
                  </a:lnTo>
                  <a:lnTo>
                    <a:pt x="27395" y="9969"/>
                  </a:lnTo>
                  <a:cubicBezTo>
                    <a:pt x="27395" y="9969"/>
                    <a:pt x="26467" y="7396"/>
                    <a:pt x="24185" y="7396"/>
                  </a:cubicBezTo>
                  <a:cubicBezTo>
                    <a:pt x="24135" y="7396"/>
                    <a:pt x="24085" y="7398"/>
                    <a:pt x="24033" y="7400"/>
                  </a:cubicBezTo>
                  <a:cubicBezTo>
                    <a:pt x="24033" y="7400"/>
                    <a:pt x="24400" y="4523"/>
                    <a:pt x="20789" y="4523"/>
                  </a:cubicBezTo>
                  <a:cubicBezTo>
                    <a:pt x="20789" y="4523"/>
                    <a:pt x="20980" y="1"/>
                    <a:pt x="15783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4" name="Google Shape;8522;p73">
              <a:extLst>
                <a:ext uri="{FF2B5EF4-FFF2-40B4-BE49-F238E27FC236}">
                  <a16:creationId xmlns:a16="http://schemas.microsoft.com/office/drawing/2014/main" id="{EC424E41-F8E7-4837-761E-A3324EB85E91}"/>
                </a:ext>
              </a:extLst>
            </p:cNvPr>
            <p:cNvSpPr/>
            <p:nvPr/>
          </p:nvSpPr>
          <p:spPr>
            <a:xfrm>
              <a:off x="6416225" y="2217225"/>
              <a:ext cx="403750" cy="140575"/>
            </a:xfrm>
            <a:custGeom>
              <a:avLst/>
              <a:gdLst/>
              <a:ahLst/>
              <a:cxnLst/>
              <a:rect l="l" t="t" r="r" b="b"/>
              <a:pathLst>
                <a:path w="16150" h="5623" extrusionOk="0">
                  <a:moveTo>
                    <a:pt x="9734" y="0"/>
                  </a:moveTo>
                  <a:cubicBezTo>
                    <a:pt x="5506" y="0"/>
                    <a:pt x="5506" y="2995"/>
                    <a:pt x="5506" y="2995"/>
                  </a:cubicBezTo>
                  <a:cubicBezTo>
                    <a:pt x="5506" y="2995"/>
                    <a:pt x="5236" y="2954"/>
                    <a:pt x="4862" y="2954"/>
                  </a:cubicBezTo>
                  <a:cubicBezTo>
                    <a:pt x="4030" y="2954"/>
                    <a:pt x="2684" y="3157"/>
                    <a:pt x="2643" y="4463"/>
                  </a:cubicBezTo>
                  <a:lnTo>
                    <a:pt x="0" y="5623"/>
                  </a:lnTo>
                  <a:lnTo>
                    <a:pt x="16032" y="5623"/>
                  </a:lnTo>
                  <a:cubicBezTo>
                    <a:pt x="16032" y="5623"/>
                    <a:pt x="16149" y="2804"/>
                    <a:pt x="13830" y="2804"/>
                  </a:cubicBezTo>
                  <a:cubicBezTo>
                    <a:pt x="13830" y="2804"/>
                    <a:pt x="13889" y="0"/>
                    <a:pt x="9734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5" name="Google Shape;8523;p73">
              <a:extLst>
                <a:ext uri="{FF2B5EF4-FFF2-40B4-BE49-F238E27FC236}">
                  <a16:creationId xmlns:a16="http://schemas.microsoft.com/office/drawing/2014/main" id="{010CD9C4-2FEB-8A8A-5198-5AF88EC6C248}"/>
                </a:ext>
              </a:extLst>
            </p:cNvPr>
            <p:cNvSpPr/>
            <p:nvPr/>
          </p:nvSpPr>
          <p:spPr>
            <a:xfrm>
              <a:off x="6549450" y="2005875"/>
              <a:ext cx="288675" cy="108600"/>
            </a:xfrm>
            <a:custGeom>
              <a:avLst/>
              <a:gdLst/>
              <a:ahLst/>
              <a:cxnLst/>
              <a:rect l="l" t="t" r="r" b="b"/>
              <a:pathLst>
                <a:path w="11547" h="4344" extrusionOk="0">
                  <a:moveTo>
                    <a:pt x="6592" y="1"/>
                  </a:moveTo>
                  <a:cubicBezTo>
                    <a:pt x="6479" y="1"/>
                    <a:pt x="6362" y="5"/>
                    <a:pt x="6240" y="13"/>
                  </a:cubicBezTo>
                  <a:cubicBezTo>
                    <a:pt x="3304" y="130"/>
                    <a:pt x="3363" y="2817"/>
                    <a:pt x="3363" y="2817"/>
                  </a:cubicBezTo>
                  <a:lnTo>
                    <a:pt x="1" y="4344"/>
                  </a:lnTo>
                  <a:lnTo>
                    <a:pt x="11437" y="4344"/>
                  </a:lnTo>
                  <a:cubicBezTo>
                    <a:pt x="11437" y="4344"/>
                    <a:pt x="11547" y="2015"/>
                    <a:pt x="9570" y="2015"/>
                  </a:cubicBezTo>
                  <a:cubicBezTo>
                    <a:pt x="9500" y="2015"/>
                    <a:pt x="9427" y="2018"/>
                    <a:pt x="9352" y="2024"/>
                  </a:cubicBezTo>
                  <a:cubicBezTo>
                    <a:pt x="9352" y="2024"/>
                    <a:pt x="9191" y="1"/>
                    <a:pt x="6592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6" name="Google Shape;8524;p73">
              <a:extLst>
                <a:ext uri="{FF2B5EF4-FFF2-40B4-BE49-F238E27FC236}">
                  <a16:creationId xmlns:a16="http://schemas.microsoft.com/office/drawing/2014/main" id="{75826FC0-A7F6-FC30-51BE-4DBF2BFE053A}"/>
                </a:ext>
              </a:extLst>
            </p:cNvPr>
            <p:cNvSpPr/>
            <p:nvPr/>
          </p:nvSpPr>
          <p:spPr>
            <a:xfrm>
              <a:off x="4552100" y="3214050"/>
              <a:ext cx="2717475" cy="15450"/>
            </a:xfrm>
            <a:custGeom>
              <a:avLst/>
              <a:gdLst/>
              <a:ahLst/>
              <a:cxnLst/>
              <a:rect l="l" t="t" r="r" b="b"/>
              <a:pathLst>
                <a:path w="108699" h="618" extrusionOk="0">
                  <a:moveTo>
                    <a:pt x="1" y="1"/>
                  </a:moveTo>
                  <a:lnTo>
                    <a:pt x="1" y="617"/>
                  </a:lnTo>
                  <a:lnTo>
                    <a:pt x="108699" y="617"/>
                  </a:lnTo>
                  <a:lnTo>
                    <a:pt x="10869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7" name="Google Shape;8525;p73">
              <a:extLst>
                <a:ext uri="{FF2B5EF4-FFF2-40B4-BE49-F238E27FC236}">
                  <a16:creationId xmlns:a16="http://schemas.microsoft.com/office/drawing/2014/main" id="{DF023564-DDC9-9839-662F-654592503784}"/>
                </a:ext>
              </a:extLst>
            </p:cNvPr>
            <p:cNvSpPr/>
            <p:nvPr/>
          </p:nvSpPr>
          <p:spPr>
            <a:xfrm>
              <a:off x="6564875" y="2847025"/>
              <a:ext cx="166650" cy="280075"/>
            </a:xfrm>
            <a:custGeom>
              <a:avLst/>
              <a:gdLst/>
              <a:ahLst/>
              <a:cxnLst/>
              <a:rect l="l" t="t" r="r" b="b"/>
              <a:pathLst>
                <a:path w="6666" h="11203" extrusionOk="0">
                  <a:moveTo>
                    <a:pt x="0" y="1"/>
                  </a:moveTo>
                  <a:lnTo>
                    <a:pt x="0" y="11202"/>
                  </a:lnTo>
                  <a:lnTo>
                    <a:pt x="6665" y="11202"/>
                  </a:lnTo>
                  <a:lnTo>
                    <a:pt x="6665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8" name="Google Shape;8526;p73">
              <a:extLst>
                <a:ext uri="{FF2B5EF4-FFF2-40B4-BE49-F238E27FC236}">
                  <a16:creationId xmlns:a16="http://schemas.microsoft.com/office/drawing/2014/main" id="{9507FA73-DADD-36C7-44E7-4F3127BED043}"/>
                </a:ext>
              </a:extLst>
            </p:cNvPr>
            <p:cNvSpPr/>
            <p:nvPr/>
          </p:nvSpPr>
          <p:spPr>
            <a:xfrm>
              <a:off x="6555700" y="2847025"/>
              <a:ext cx="189400" cy="24625"/>
            </a:xfrm>
            <a:custGeom>
              <a:avLst/>
              <a:gdLst/>
              <a:ahLst/>
              <a:cxnLst/>
              <a:rect l="l" t="t" r="r" b="b"/>
              <a:pathLst>
                <a:path w="7576" h="985" extrusionOk="0">
                  <a:moveTo>
                    <a:pt x="0" y="1"/>
                  </a:moveTo>
                  <a:lnTo>
                    <a:pt x="0" y="984"/>
                  </a:lnTo>
                  <a:lnTo>
                    <a:pt x="7576" y="984"/>
                  </a:lnTo>
                  <a:lnTo>
                    <a:pt x="7576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9" name="Google Shape;8527;p73">
              <a:extLst>
                <a:ext uri="{FF2B5EF4-FFF2-40B4-BE49-F238E27FC236}">
                  <a16:creationId xmlns:a16="http://schemas.microsoft.com/office/drawing/2014/main" id="{33EA130F-94A1-F77A-E32E-E130BEF5001F}"/>
                </a:ext>
              </a:extLst>
            </p:cNvPr>
            <p:cNvSpPr/>
            <p:nvPr/>
          </p:nvSpPr>
          <p:spPr>
            <a:xfrm>
              <a:off x="6553850" y="3103950"/>
              <a:ext cx="188325" cy="23150"/>
            </a:xfrm>
            <a:custGeom>
              <a:avLst/>
              <a:gdLst/>
              <a:ahLst/>
              <a:cxnLst/>
              <a:rect l="l" t="t" r="r" b="b"/>
              <a:pathLst>
                <a:path w="7533" h="926" extrusionOk="0">
                  <a:moveTo>
                    <a:pt x="1" y="0"/>
                  </a:moveTo>
                  <a:lnTo>
                    <a:pt x="1" y="925"/>
                  </a:lnTo>
                  <a:lnTo>
                    <a:pt x="7532" y="925"/>
                  </a:lnTo>
                  <a:lnTo>
                    <a:pt x="7532" y="0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0" name="Google Shape;8528;p73">
              <a:extLst>
                <a:ext uri="{FF2B5EF4-FFF2-40B4-BE49-F238E27FC236}">
                  <a16:creationId xmlns:a16="http://schemas.microsoft.com/office/drawing/2014/main" id="{AB436A9F-C93A-B344-C097-387DA4AB95CD}"/>
                </a:ext>
              </a:extLst>
            </p:cNvPr>
            <p:cNvSpPr/>
            <p:nvPr/>
          </p:nvSpPr>
          <p:spPr>
            <a:xfrm>
              <a:off x="6549450" y="2912725"/>
              <a:ext cx="201900" cy="146825"/>
            </a:xfrm>
            <a:custGeom>
              <a:avLst/>
              <a:gdLst/>
              <a:ahLst/>
              <a:cxnLst/>
              <a:rect l="l" t="t" r="r" b="b"/>
              <a:pathLst>
                <a:path w="8076" h="5873" extrusionOk="0">
                  <a:moveTo>
                    <a:pt x="4038" y="0"/>
                  </a:moveTo>
                  <a:cubicBezTo>
                    <a:pt x="4038" y="0"/>
                    <a:pt x="1" y="5873"/>
                    <a:pt x="4038" y="5873"/>
                  </a:cubicBezTo>
                  <a:cubicBezTo>
                    <a:pt x="8075" y="5873"/>
                    <a:pt x="4038" y="0"/>
                    <a:pt x="4038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1" name="Google Shape;8529;p73">
              <a:extLst>
                <a:ext uri="{FF2B5EF4-FFF2-40B4-BE49-F238E27FC236}">
                  <a16:creationId xmlns:a16="http://schemas.microsoft.com/office/drawing/2014/main" id="{5D627ECA-B226-F064-F452-685055A8FB51}"/>
                </a:ext>
              </a:extLst>
            </p:cNvPr>
            <p:cNvSpPr/>
            <p:nvPr/>
          </p:nvSpPr>
          <p:spPr>
            <a:xfrm>
              <a:off x="6800125" y="2847025"/>
              <a:ext cx="166650" cy="280075"/>
            </a:xfrm>
            <a:custGeom>
              <a:avLst/>
              <a:gdLst/>
              <a:ahLst/>
              <a:cxnLst/>
              <a:rect l="l" t="t" r="r" b="b"/>
              <a:pathLst>
                <a:path w="6666" h="11203" extrusionOk="0">
                  <a:moveTo>
                    <a:pt x="1" y="1"/>
                  </a:moveTo>
                  <a:lnTo>
                    <a:pt x="1" y="11202"/>
                  </a:lnTo>
                  <a:lnTo>
                    <a:pt x="6666" y="11202"/>
                  </a:lnTo>
                  <a:lnTo>
                    <a:pt x="6666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2" name="Google Shape;8530;p73">
              <a:extLst>
                <a:ext uri="{FF2B5EF4-FFF2-40B4-BE49-F238E27FC236}">
                  <a16:creationId xmlns:a16="http://schemas.microsoft.com/office/drawing/2014/main" id="{ECCFAB74-26A9-5F48-B3E9-EDF04AA4B0E9}"/>
                </a:ext>
              </a:extLst>
            </p:cNvPr>
            <p:cNvSpPr/>
            <p:nvPr/>
          </p:nvSpPr>
          <p:spPr>
            <a:xfrm>
              <a:off x="6792425" y="2847025"/>
              <a:ext cx="188300" cy="24625"/>
            </a:xfrm>
            <a:custGeom>
              <a:avLst/>
              <a:gdLst/>
              <a:ahLst/>
              <a:cxnLst/>
              <a:rect l="l" t="t" r="r" b="b"/>
              <a:pathLst>
                <a:path w="7532" h="985" extrusionOk="0">
                  <a:moveTo>
                    <a:pt x="0" y="1"/>
                  </a:moveTo>
                  <a:lnTo>
                    <a:pt x="0" y="984"/>
                  </a:lnTo>
                  <a:lnTo>
                    <a:pt x="7532" y="984"/>
                  </a:lnTo>
                  <a:lnTo>
                    <a:pt x="7532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3" name="Google Shape;8531;p73">
              <a:extLst>
                <a:ext uri="{FF2B5EF4-FFF2-40B4-BE49-F238E27FC236}">
                  <a16:creationId xmlns:a16="http://schemas.microsoft.com/office/drawing/2014/main" id="{DAD144B8-24EE-A21A-BD17-BCA97109DDAC}"/>
                </a:ext>
              </a:extLst>
            </p:cNvPr>
            <p:cNvSpPr/>
            <p:nvPr/>
          </p:nvSpPr>
          <p:spPr>
            <a:xfrm>
              <a:off x="6789475" y="3103950"/>
              <a:ext cx="189775" cy="23150"/>
            </a:xfrm>
            <a:custGeom>
              <a:avLst/>
              <a:gdLst/>
              <a:ahLst/>
              <a:cxnLst/>
              <a:rect l="l" t="t" r="r" b="b"/>
              <a:pathLst>
                <a:path w="7591" h="926" extrusionOk="0">
                  <a:moveTo>
                    <a:pt x="1" y="0"/>
                  </a:moveTo>
                  <a:lnTo>
                    <a:pt x="1" y="925"/>
                  </a:lnTo>
                  <a:lnTo>
                    <a:pt x="7591" y="925"/>
                  </a:lnTo>
                  <a:lnTo>
                    <a:pt x="7591" y="0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4" name="Google Shape;8532;p73">
              <a:extLst>
                <a:ext uri="{FF2B5EF4-FFF2-40B4-BE49-F238E27FC236}">
                  <a16:creationId xmlns:a16="http://schemas.microsoft.com/office/drawing/2014/main" id="{95B6BAB4-C389-6B86-82DC-AC5CD0DA1D59}"/>
                </a:ext>
              </a:extLst>
            </p:cNvPr>
            <p:cNvSpPr/>
            <p:nvPr/>
          </p:nvSpPr>
          <p:spPr>
            <a:xfrm>
              <a:off x="6785075" y="2912725"/>
              <a:ext cx="201900" cy="146825"/>
            </a:xfrm>
            <a:custGeom>
              <a:avLst/>
              <a:gdLst/>
              <a:ahLst/>
              <a:cxnLst/>
              <a:rect l="l" t="t" r="r" b="b"/>
              <a:pathLst>
                <a:path w="8076" h="5873" extrusionOk="0">
                  <a:moveTo>
                    <a:pt x="4038" y="0"/>
                  </a:moveTo>
                  <a:cubicBezTo>
                    <a:pt x="4038" y="0"/>
                    <a:pt x="1" y="5873"/>
                    <a:pt x="4038" y="5873"/>
                  </a:cubicBezTo>
                  <a:cubicBezTo>
                    <a:pt x="8075" y="5873"/>
                    <a:pt x="4038" y="0"/>
                    <a:pt x="4038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5" name="Google Shape;8533;p73">
              <a:extLst>
                <a:ext uri="{FF2B5EF4-FFF2-40B4-BE49-F238E27FC236}">
                  <a16:creationId xmlns:a16="http://schemas.microsoft.com/office/drawing/2014/main" id="{0C79C2B0-D95F-306D-B02B-02D0F14E65E2}"/>
                </a:ext>
              </a:extLst>
            </p:cNvPr>
            <p:cNvSpPr/>
            <p:nvPr/>
          </p:nvSpPr>
          <p:spPr>
            <a:xfrm>
              <a:off x="7025125" y="2847025"/>
              <a:ext cx="166650" cy="280075"/>
            </a:xfrm>
            <a:custGeom>
              <a:avLst/>
              <a:gdLst/>
              <a:ahLst/>
              <a:cxnLst/>
              <a:rect l="l" t="t" r="r" b="b"/>
              <a:pathLst>
                <a:path w="6666" h="11203" extrusionOk="0">
                  <a:moveTo>
                    <a:pt x="0" y="1"/>
                  </a:moveTo>
                  <a:lnTo>
                    <a:pt x="0" y="11202"/>
                  </a:lnTo>
                  <a:lnTo>
                    <a:pt x="6665" y="11202"/>
                  </a:lnTo>
                  <a:lnTo>
                    <a:pt x="6665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6" name="Google Shape;8534;p73">
              <a:extLst>
                <a:ext uri="{FF2B5EF4-FFF2-40B4-BE49-F238E27FC236}">
                  <a16:creationId xmlns:a16="http://schemas.microsoft.com/office/drawing/2014/main" id="{DCCA8126-903E-8223-8E7B-4E571448CC5B}"/>
                </a:ext>
              </a:extLst>
            </p:cNvPr>
            <p:cNvSpPr/>
            <p:nvPr/>
          </p:nvSpPr>
          <p:spPr>
            <a:xfrm>
              <a:off x="7015950" y="2847025"/>
              <a:ext cx="189400" cy="24625"/>
            </a:xfrm>
            <a:custGeom>
              <a:avLst/>
              <a:gdLst/>
              <a:ahLst/>
              <a:cxnLst/>
              <a:rect l="l" t="t" r="r" b="b"/>
              <a:pathLst>
                <a:path w="7576" h="985" extrusionOk="0">
                  <a:moveTo>
                    <a:pt x="0" y="1"/>
                  </a:moveTo>
                  <a:lnTo>
                    <a:pt x="0" y="984"/>
                  </a:lnTo>
                  <a:lnTo>
                    <a:pt x="7575" y="984"/>
                  </a:lnTo>
                  <a:lnTo>
                    <a:pt x="7575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7" name="Google Shape;8535;p73">
              <a:extLst>
                <a:ext uri="{FF2B5EF4-FFF2-40B4-BE49-F238E27FC236}">
                  <a16:creationId xmlns:a16="http://schemas.microsoft.com/office/drawing/2014/main" id="{62CA67D7-607B-7590-519E-FF2FCD49DC61}"/>
                </a:ext>
              </a:extLst>
            </p:cNvPr>
            <p:cNvSpPr/>
            <p:nvPr/>
          </p:nvSpPr>
          <p:spPr>
            <a:xfrm>
              <a:off x="7012625" y="3103950"/>
              <a:ext cx="189800" cy="23150"/>
            </a:xfrm>
            <a:custGeom>
              <a:avLst/>
              <a:gdLst/>
              <a:ahLst/>
              <a:cxnLst/>
              <a:rect l="l" t="t" r="r" b="b"/>
              <a:pathLst>
                <a:path w="7592" h="926" extrusionOk="0">
                  <a:moveTo>
                    <a:pt x="1" y="0"/>
                  </a:moveTo>
                  <a:lnTo>
                    <a:pt x="1" y="925"/>
                  </a:lnTo>
                  <a:lnTo>
                    <a:pt x="7591" y="925"/>
                  </a:lnTo>
                  <a:lnTo>
                    <a:pt x="7591" y="0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8" name="Google Shape;8536;p73">
              <a:extLst>
                <a:ext uri="{FF2B5EF4-FFF2-40B4-BE49-F238E27FC236}">
                  <a16:creationId xmlns:a16="http://schemas.microsoft.com/office/drawing/2014/main" id="{CF12C738-3AA3-1218-D209-A417CD1EF7B1}"/>
                </a:ext>
              </a:extLst>
            </p:cNvPr>
            <p:cNvSpPr/>
            <p:nvPr/>
          </p:nvSpPr>
          <p:spPr>
            <a:xfrm>
              <a:off x="7009700" y="2912725"/>
              <a:ext cx="201900" cy="146825"/>
            </a:xfrm>
            <a:custGeom>
              <a:avLst/>
              <a:gdLst/>
              <a:ahLst/>
              <a:cxnLst/>
              <a:rect l="l" t="t" r="r" b="b"/>
              <a:pathLst>
                <a:path w="8076" h="5873" extrusionOk="0">
                  <a:moveTo>
                    <a:pt x="4038" y="0"/>
                  </a:moveTo>
                  <a:cubicBezTo>
                    <a:pt x="4038" y="0"/>
                    <a:pt x="1" y="5873"/>
                    <a:pt x="4038" y="5873"/>
                  </a:cubicBezTo>
                  <a:cubicBezTo>
                    <a:pt x="8075" y="5873"/>
                    <a:pt x="4038" y="0"/>
                    <a:pt x="4038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9" name="Google Shape;8537;p73">
              <a:extLst>
                <a:ext uri="{FF2B5EF4-FFF2-40B4-BE49-F238E27FC236}">
                  <a16:creationId xmlns:a16="http://schemas.microsoft.com/office/drawing/2014/main" id="{C4FE160D-DE26-E083-83C1-82A001A536BE}"/>
                </a:ext>
              </a:extLst>
            </p:cNvPr>
            <p:cNvSpPr/>
            <p:nvPr/>
          </p:nvSpPr>
          <p:spPr>
            <a:xfrm>
              <a:off x="6118200" y="3938925"/>
              <a:ext cx="73425" cy="143900"/>
            </a:xfrm>
            <a:custGeom>
              <a:avLst/>
              <a:gdLst/>
              <a:ahLst/>
              <a:cxnLst/>
              <a:rect l="l" t="t" r="r" b="b"/>
              <a:pathLst>
                <a:path w="2937" h="5756" extrusionOk="0">
                  <a:moveTo>
                    <a:pt x="0" y="0"/>
                  </a:moveTo>
                  <a:lnTo>
                    <a:pt x="0" y="5755"/>
                  </a:lnTo>
                  <a:lnTo>
                    <a:pt x="2937" y="5755"/>
                  </a:lnTo>
                  <a:lnTo>
                    <a:pt x="2937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0" name="Google Shape;8538;p73">
              <a:extLst>
                <a:ext uri="{FF2B5EF4-FFF2-40B4-BE49-F238E27FC236}">
                  <a16:creationId xmlns:a16="http://schemas.microsoft.com/office/drawing/2014/main" id="{40892BC9-C843-3D0B-21C4-6DF60640BCA7}"/>
                </a:ext>
              </a:extLst>
            </p:cNvPr>
            <p:cNvSpPr/>
            <p:nvPr/>
          </p:nvSpPr>
          <p:spPr>
            <a:xfrm>
              <a:off x="5992675" y="3605675"/>
              <a:ext cx="324475" cy="153050"/>
            </a:xfrm>
            <a:custGeom>
              <a:avLst/>
              <a:gdLst/>
              <a:ahLst/>
              <a:cxnLst/>
              <a:rect l="l" t="t" r="r" b="b"/>
              <a:pathLst>
                <a:path w="12979" h="6122" extrusionOk="0">
                  <a:moveTo>
                    <a:pt x="2937" y="0"/>
                  </a:moveTo>
                  <a:lnTo>
                    <a:pt x="1" y="6122"/>
                  </a:lnTo>
                  <a:lnTo>
                    <a:pt x="12979" y="6122"/>
                  </a:lnTo>
                  <a:lnTo>
                    <a:pt x="10042" y="0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1" name="Google Shape;8539;p73">
              <a:extLst>
                <a:ext uri="{FF2B5EF4-FFF2-40B4-BE49-F238E27FC236}">
                  <a16:creationId xmlns:a16="http://schemas.microsoft.com/office/drawing/2014/main" id="{1A4D2E6B-808C-ED5A-CF67-73F19104B81D}"/>
                </a:ext>
              </a:extLst>
            </p:cNvPr>
            <p:cNvSpPr/>
            <p:nvPr/>
          </p:nvSpPr>
          <p:spPr>
            <a:xfrm>
              <a:off x="5951575" y="3758700"/>
              <a:ext cx="406675" cy="180250"/>
            </a:xfrm>
            <a:custGeom>
              <a:avLst/>
              <a:gdLst/>
              <a:ahLst/>
              <a:cxnLst/>
              <a:rect l="l" t="t" r="r" b="b"/>
              <a:pathLst>
                <a:path w="16267" h="7210" extrusionOk="0">
                  <a:moveTo>
                    <a:pt x="3480" y="1"/>
                  </a:moveTo>
                  <a:lnTo>
                    <a:pt x="0" y="7209"/>
                  </a:lnTo>
                  <a:lnTo>
                    <a:pt x="16267" y="7209"/>
                  </a:lnTo>
                  <a:lnTo>
                    <a:pt x="12846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2" name="Google Shape;8540;p73">
              <a:extLst>
                <a:ext uri="{FF2B5EF4-FFF2-40B4-BE49-F238E27FC236}">
                  <a16:creationId xmlns:a16="http://schemas.microsoft.com/office/drawing/2014/main" id="{A8BAC4D7-9E6E-FD69-D351-3B398DC9011A}"/>
                </a:ext>
              </a:extLst>
            </p:cNvPr>
            <p:cNvSpPr/>
            <p:nvPr/>
          </p:nvSpPr>
          <p:spPr>
            <a:xfrm>
              <a:off x="6024975" y="3334800"/>
              <a:ext cx="259875" cy="270900"/>
            </a:xfrm>
            <a:custGeom>
              <a:avLst/>
              <a:gdLst/>
              <a:ahLst/>
              <a:cxnLst/>
              <a:rect l="l" t="t" r="r" b="b"/>
              <a:pathLst>
                <a:path w="10395" h="10836" extrusionOk="0">
                  <a:moveTo>
                    <a:pt x="5198" y="1"/>
                  </a:moveTo>
                  <a:lnTo>
                    <a:pt x="1" y="10835"/>
                  </a:lnTo>
                  <a:lnTo>
                    <a:pt x="10395" y="10835"/>
                  </a:lnTo>
                  <a:lnTo>
                    <a:pt x="5198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3" name="Google Shape;8541;p73">
              <a:extLst>
                <a:ext uri="{FF2B5EF4-FFF2-40B4-BE49-F238E27FC236}">
                  <a16:creationId xmlns:a16="http://schemas.microsoft.com/office/drawing/2014/main" id="{242FC0E4-2E6B-4BF3-7B14-1603476C2398}"/>
                </a:ext>
              </a:extLst>
            </p:cNvPr>
            <p:cNvSpPr/>
            <p:nvPr/>
          </p:nvSpPr>
          <p:spPr>
            <a:xfrm>
              <a:off x="5922575" y="3977100"/>
              <a:ext cx="59475" cy="100950"/>
            </a:xfrm>
            <a:custGeom>
              <a:avLst/>
              <a:gdLst/>
              <a:ahLst/>
              <a:cxnLst/>
              <a:rect l="l" t="t" r="r" b="b"/>
              <a:pathLst>
                <a:path w="2379" h="4038" extrusionOk="0">
                  <a:moveTo>
                    <a:pt x="1" y="0"/>
                  </a:moveTo>
                  <a:lnTo>
                    <a:pt x="1" y="4037"/>
                  </a:lnTo>
                  <a:lnTo>
                    <a:pt x="2379" y="4037"/>
                  </a:lnTo>
                  <a:lnTo>
                    <a:pt x="2379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4" name="Google Shape;8542;p73">
              <a:extLst>
                <a:ext uri="{FF2B5EF4-FFF2-40B4-BE49-F238E27FC236}">
                  <a16:creationId xmlns:a16="http://schemas.microsoft.com/office/drawing/2014/main" id="{7D2159D8-DE24-C067-BDCC-6F57CCD4111D}"/>
                </a:ext>
              </a:extLst>
            </p:cNvPr>
            <p:cNvSpPr/>
            <p:nvPr/>
          </p:nvSpPr>
          <p:spPr>
            <a:xfrm>
              <a:off x="5816875" y="3749525"/>
              <a:ext cx="269050" cy="105375"/>
            </a:xfrm>
            <a:custGeom>
              <a:avLst/>
              <a:gdLst/>
              <a:ahLst/>
              <a:cxnLst/>
              <a:rect l="l" t="t" r="r" b="b"/>
              <a:pathLst>
                <a:path w="10762" h="4215" extrusionOk="0">
                  <a:moveTo>
                    <a:pt x="2452" y="1"/>
                  </a:moveTo>
                  <a:lnTo>
                    <a:pt x="0" y="4214"/>
                  </a:lnTo>
                  <a:lnTo>
                    <a:pt x="10762" y="4214"/>
                  </a:lnTo>
                  <a:lnTo>
                    <a:pt x="8383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5" name="Google Shape;8543;p73">
              <a:extLst>
                <a:ext uri="{FF2B5EF4-FFF2-40B4-BE49-F238E27FC236}">
                  <a16:creationId xmlns:a16="http://schemas.microsoft.com/office/drawing/2014/main" id="{DF8D2654-88BB-FF92-DD16-13D4B23AB0E8}"/>
                </a:ext>
              </a:extLst>
            </p:cNvPr>
            <p:cNvSpPr/>
            <p:nvPr/>
          </p:nvSpPr>
          <p:spPr>
            <a:xfrm>
              <a:off x="5783100" y="3854875"/>
              <a:ext cx="336600" cy="122250"/>
            </a:xfrm>
            <a:custGeom>
              <a:avLst/>
              <a:gdLst/>
              <a:ahLst/>
              <a:cxnLst/>
              <a:rect l="l" t="t" r="r" b="b"/>
              <a:pathLst>
                <a:path w="13464" h="4890" extrusionOk="0">
                  <a:moveTo>
                    <a:pt x="2878" y="0"/>
                  </a:moveTo>
                  <a:lnTo>
                    <a:pt x="1" y="4889"/>
                  </a:lnTo>
                  <a:lnTo>
                    <a:pt x="13463" y="4889"/>
                  </a:lnTo>
                  <a:lnTo>
                    <a:pt x="10644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6" name="Google Shape;8544;p73">
              <a:extLst>
                <a:ext uri="{FF2B5EF4-FFF2-40B4-BE49-F238E27FC236}">
                  <a16:creationId xmlns:a16="http://schemas.microsoft.com/office/drawing/2014/main" id="{8FB92BCE-8C35-9A4F-8605-E93C682B9297}"/>
                </a:ext>
              </a:extLst>
            </p:cNvPr>
            <p:cNvSpPr/>
            <p:nvPr/>
          </p:nvSpPr>
          <p:spPr>
            <a:xfrm>
              <a:off x="5844400" y="3562725"/>
              <a:ext cx="215825" cy="186825"/>
            </a:xfrm>
            <a:custGeom>
              <a:avLst/>
              <a:gdLst/>
              <a:ahLst/>
              <a:cxnLst/>
              <a:rect l="l" t="t" r="r" b="b"/>
              <a:pathLst>
                <a:path w="8633" h="7473" extrusionOk="0">
                  <a:moveTo>
                    <a:pt x="4287" y="0"/>
                  </a:moveTo>
                  <a:lnTo>
                    <a:pt x="1" y="7473"/>
                  </a:lnTo>
                  <a:lnTo>
                    <a:pt x="8633" y="7473"/>
                  </a:lnTo>
                  <a:lnTo>
                    <a:pt x="4287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7" name="Google Shape;8545;p73">
              <a:extLst>
                <a:ext uri="{FF2B5EF4-FFF2-40B4-BE49-F238E27FC236}">
                  <a16:creationId xmlns:a16="http://schemas.microsoft.com/office/drawing/2014/main" id="{579CBB1C-512D-259E-6F8B-3E273962A233}"/>
                </a:ext>
              </a:extLst>
            </p:cNvPr>
            <p:cNvSpPr/>
            <p:nvPr/>
          </p:nvSpPr>
          <p:spPr>
            <a:xfrm>
              <a:off x="6281900" y="3654475"/>
              <a:ext cx="212525" cy="434575"/>
            </a:xfrm>
            <a:custGeom>
              <a:avLst/>
              <a:gdLst/>
              <a:ahLst/>
              <a:cxnLst/>
              <a:rect l="l" t="t" r="r" b="b"/>
              <a:pathLst>
                <a:path w="8501" h="17383" extrusionOk="0">
                  <a:moveTo>
                    <a:pt x="3847" y="1"/>
                  </a:moveTo>
                  <a:cubicBezTo>
                    <a:pt x="3612" y="1"/>
                    <a:pt x="3421" y="191"/>
                    <a:pt x="3421" y="426"/>
                  </a:cubicBezTo>
                  <a:lnTo>
                    <a:pt x="3421" y="5697"/>
                  </a:lnTo>
                  <a:lnTo>
                    <a:pt x="793" y="2511"/>
                  </a:lnTo>
                  <a:cubicBezTo>
                    <a:pt x="724" y="2408"/>
                    <a:pt x="589" y="2340"/>
                    <a:pt x="451" y="2340"/>
                  </a:cubicBezTo>
                  <a:cubicBezTo>
                    <a:pt x="354" y="2340"/>
                    <a:pt x="255" y="2373"/>
                    <a:pt x="176" y="2452"/>
                  </a:cubicBezTo>
                  <a:cubicBezTo>
                    <a:pt x="0" y="2570"/>
                    <a:pt x="0" y="2819"/>
                    <a:pt x="118" y="2995"/>
                  </a:cubicBezTo>
                  <a:lnTo>
                    <a:pt x="3421" y="7033"/>
                  </a:lnTo>
                  <a:lnTo>
                    <a:pt x="3421" y="9851"/>
                  </a:lnTo>
                  <a:lnTo>
                    <a:pt x="3421" y="16942"/>
                  </a:lnTo>
                  <a:cubicBezTo>
                    <a:pt x="3421" y="17192"/>
                    <a:pt x="3612" y="17383"/>
                    <a:pt x="3847" y="17383"/>
                  </a:cubicBezTo>
                  <a:cubicBezTo>
                    <a:pt x="4096" y="17383"/>
                    <a:pt x="4272" y="17192"/>
                    <a:pt x="4272" y="16942"/>
                  </a:cubicBezTo>
                  <a:lnTo>
                    <a:pt x="4272" y="9851"/>
                  </a:lnTo>
                  <a:lnTo>
                    <a:pt x="4272" y="8442"/>
                  </a:lnTo>
                  <a:lnTo>
                    <a:pt x="8383" y="3862"/>
                  </a:lnTo>
                  <a:cubicBezTo>
                    <a:pt x="8500" y="3730"/>
                    <a:pt x="8500" y="3436"/>
                    <a:pt x="8310" y="3304"/>
                  </a:cubicBezTo>
                  <a:cubicBezTo>
                    <a:pt x="8222" y="3216"/>
                    <a:pt x="8115" y="3172"/>
                    <a:pt x="8009" y="3172"/>
                  </a:cubicBezTo>
                  <a:cubicBezTo>
                    <a:pt x="7902" y="3172"/>
                    <a:pt x="7796" y="3216"/>
                    <a:pt x="7708" y="3304"/>
                  </a:cubicBezTo>
                  <a:lnTo>
                    <a:pt x="4272" y="7165"/>
                  </a:lnTo>
                  <a:lnTo>
                    <a:pt x="4272" y="426"/>
                  </a:lnTo>
                  <a:cubicBezTo>
                    <a:pt x="4272" y="191"/>
                    <a:pt x="4096" y="1"/>
                    <a:pt x="3847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8" name="Google Shape;8546;p73">
              <a:extLst>
                <a:ext uri="{FF2B5EF4-FFF2-40B4-BE49-F238E27FC236}">
                  <a16:creationId xmlns:a16="http://schemas.microsoft.com/office/drawing/2014/main" id="{E5D945CF-D87E-BAF9-B510-5E33986B7627}"/>
                </a:ext>
              </a:extLst>
            </p:cNvPr>
            <p:cNvSpPr/>
            <p:nvPr/>
          </p:nvSpPr>
          <p:spPr>
            <a:xfrm>
              <a:off x="6209950" y="3562725"/>
              <a:ext cx="338050" cy="338050"/>
            </a:xfrm>
            <a:custGeom>
              <a:avLst/>
              <a:gdLst/>
              <a:ahLst/>
              <a:cxnLst/>
              <a:rect l="l" t="t" r="r" b="b"/>
              <a:pathLst>
                <a:path w="13522" h="13522" extrusionOk="0">
                  <a:moveTo>
                    <a:pt x="6725" y="0"/>
                  </a:moveTo>
                  <a:cubicBezTo>
                    <a:pt x="2996" y="0"/>
                    <a:pt x="1" y="2995"/>
                    <a:pt x="1" y="6798"/>
                  </a:cubicBezTo>
                  <a:cubicBezTo>
                    <a:pt x="1" y="10336"/>
                    <a:pt x="2746" y="13272"/>
                    <a:pt x="6299" y="13521"/>
                  </a:cubicBezTo>
                  <a:lnTo>
                    <a:pt x="6299" y="10703"/>
                  </a:lnTo>
                  <a:lnTo>
                    <a:pt x="2996" y="6665"/>
                  </a:lnTo>
                  <a:cubicBezTo>
                    <a:pt x="2878" y="6489"/>
                    <a:pt x="2878" y="6240"/>
                    <a:pt x="3054" y="6122"/>
                  </a:cubicBezTo>
                  <a:cubicBezTo>
                    <a:pt x="3133" y="6043"/>
                    <a:pt x="3232" y="6010"/>
                    <a:pt x="3329" y="6010"/>
                  </a:cubicBezTo>
                  <a:cubicBezTo>
                    <a:pt x="3467" y="6010"/>
                    <a:pt x="3602" y="6078"/>
                    <a:pt x="3671" y="6181"/>
                  </a:cubicBezTo>
                  <a:lnTo>
                    <a:pt x="6299" y="9367"/>
                  </a:lnTo>
                  <a:lnTo>
                    <a:pt x="6299" y="4096"/>
                  </a:lnTo>
                  <a:cubicBezTo>
                    <a:pt x="6299" y="3861"/>
                    <a:pt x="6490" y="3671"/>
                    <a:pt x="6725" y="3671"/>
                  </a:cubicBezTo>
                  <a:cubicBezTo>
                    <a:pt x="6974" y="3671"/>
                    <a:pt x="7150" y="3861"/>
                    <a:pt x="7150" y="4096"/>
                  </a:cubicBezTo>
                  <a:lnTo>
                    <a:pt x="7150" y="10835"/>
                  </a:lnTo>
                  <a:lnTo>
                    <a:pt x="10586" y="6974"/>
                  </a:lnTo>
                  <a:cubicBezTo>
                    <a:pt x="10674" y="6886"/>
                    <a:pt x="10780" y="6842"/>
                    <a:pt x="10887" y="6842"/>
                  </a:cubicBezTo>
                  <a:cubicBezTo>
                    <a:pt x="10993" y="6842"/>
                    <a:pt x="11100" y="6886"/>
                    <a:pt x="11188" y="6974"/>
                  </a:cubicBezTo>
                  <a:cubicBezTo>
                    <a:pt x="11378" y="7106"/>
                    <a:pt x="11378" y="7400"/>
                    <a:pt x="11261" y="7532"/>
                  </a:cubicBezTo>
                  <a:lnTo>
                    <a:pt x="7150" y="12112"/>
                  </a:lnTo>
                  <a:lnTo>
                    <a:pt x="7150" y="13521"/>
                  </a:lnTo>
                  <a:cubicBezTo>
                    <a:pt x="10703" y="13272"/>
                    <a:pt x="13522" y="10336"/>
                    <a:pt x="13522" y="6798"/>
                  </a:cubicBezTo>
                  <a:cubicBezTo>
                    <a:pt x="13522" y="2995"/>
                    <a:pt x="10454" y="0"/>
                    <a:pt x="6725" y="0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9" name="Google Shape;8547;p73">
              <a:extLst>
                <a:ext uri="{FF2B5EF4-FFF2-40B4-BE49-F238E27FC236}">
                  <a16:creationId xmlns:a16="http://schemas.microsoft.com/office/drawing/2014/main" id="{280C322A-CD73-5816-F4F3-3E671F559D55}"/>
                </a:ext>
              </a:extLst>
            </p:cNvPr>
            <p:cNvSpPr/>
            <p:nvPr/>
          </p:nvSpPr>
          <p:spPr>
            <a:xfrm>
              <a:off x="6569275" y="3821100"/>
              <a:ext cx="223175" cy="292175"/>
            </a:xfrm>
            <a:custGeom>
              <a:avLst/>
              <a:gdLst/>
              <a:ahLst/>
              <a:cxnLst/>
              <a:rect l="l" t="t" r="r" b="b"/>
              <a:pathLst>
                <a:path w="8927" h="11687" extrusionOk="0">
                  <a:moveTo>
                    <a:pt x="5447" y="1"/>
                  </a:moveTo>
                  <a:lnTo>
                    <a:pt x="5447" y="1"/>
                  </a:lnTo>
                  <a:cubicBezTo>
                    <a:pt x="2995" y="2085"/>
                    <a:pt x="2261" y="4229"/>
                    <a:pt x="2261" y="4229"/>
                  </a:cubicBezTo>
                  <a:lnTo>
                    <a:pt x="2452" y="2335"/>
                  </a:lnTo>
                  <a:lnTo>
                    <a:pt x="2452" y="2335"/>
                  </a:lnTo>
                  <a:cubicBezTo>
                    <a:pt x="2452" y="2335"/>
                    <a:pt x="59" y="3803"/>
                    <a:pt x="0" y="7282"/>
                  </a:cubicBezTo>
                  <a:cubicBezTo>
                    <a:pt x="0" y="10776"/>
                    <a:pt x="4405" y="11687"/>
                    <a:pt x="4405" y="11687"/>
                  </a:cubicBezTo>
                  <a:cubicBezTo>
                    <a:pt x="4405" y="11687"/>
                    <a:pt x="8559" y="10468"/>
                    <a:pt x="8750" y="7341"/>
                  </a:cubicBezTo>
                  <a:cubicBezTo>
                    <a:pt x="8926" y="4229"/>
                    <a:pt x="6240" y="2086"/>
                    <a:pt x="6240" y="2085"/>
                  </a:cubicBezTo>
                  <a:lnTo>
                    <a:pt x="6240" y="2085"/>
                  </a:lnTo>
                  <a:lnTo>
                    <a:pt x="6666" y="4170"/>
                  </a:lnTo>
                  <a:cubicBezTo>
                    <a:pt x="4596" y="2570"/>
                    <a:pt x="5447" y="1"/>
                    <a:pt x="5447" y="1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0" name="Google Shape;8548;p73">
              <a:extLst>
                <a:ext uri="{FF2B5EF4-FFF2-40B4-BE49-F238E27FC236}">
                  <a16:creationId xmlns:a16="http://schemas.microsoft.com/office/drawing/2014/main" id="{4D0FA1B8-8E98-64D8-0CF3-117E2A0E1019}"/>
                </a:ext>
              </a:extLst>
            </p:cNvPr>
            <p:cNvSpPr/>
            <p:nvPr/>
          </p:nvSpPr>
          <p:spPr>
            <a:xfrm>
              <a:off x="6607450" y="3907000"/>
              <a:ext cx="159300" cy="187925"/>
            </a:xfrm>
            <a:custGeom>
              <a:avLst/>
              <a:gdLst/>
              <a:ahLst/>
              <a:cxnLst/>
              <a:rect l="l" t="t" r="r" b="b"/>
              <a:pathLst>
                <a:path w="6372" h="7517" extrusionOk="0">
                  <a:moveTo>
                    <a:pt x="2995" y="0"/>
                  </a:moveTo>
                  <a:cubicBezTo>
                    <a:pt x="2995" y="0"/>
                    <a:pt x="617" y="2437"/>
                    <a:pt x="309" y="4155"/>
                  </a:cubicBezTo>
                  <a:cubicBezTo>
                    <a:pt x="0" y="5872"/>
                    <a:pt x="2878" y="7517"/>
                    <a:pt x="2878" y="7517"/>
                  </a:cubicBezTo>
                  <a:cubicBezTo>
                    <a:pt x="6372" y="5197"/>
                    <a:pt x="6005" y="4713"/>
                    <a:pt x="4830" y="2995"/>
                  </a:cubicBezTo>
                  <a:cubicBezTo>
                    <a:pt x="4037" y="1776"/>
                    <a:pt x="2995" y="0"/>
                    <a:pt x="2995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1" name="Google Shape;8549;p73">
              <a:extLst>
                <a:ext uri="{FF2B5EF4-FFF2-40B4-BE49-F238E27FC236}">
                  <a16:creationId xmlns:a16="http://schemas.microsoft.com/office/drawing/2014/main" id="{8FAF5612-06D3-EA86-0ADF-5A4250A5EF82}"/>
                </a:ext>
              </a:extLst>
            </p:cNvPr>
            <p:cNvSpPr/>
            <p:nvPr/>
          </p:nvSpPr>
          <p:spPr>
            <a:xfrm>
              <a:off x="310050" y="2420550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0" y="0"/>
                  </a:moveTo>
                  <a:lnTo>
                    <a:pt x="2819" y="3304"/>
                  </a:lnTo>
                  <a:lnTo>
                    <a:pt x="2819" y="3304"/>
                  </a:lnTo>
                  <a:lnTo>
                    <a:pt x="2746" y="2261"/>
                  </a:lnTo>
                  <a:cubicBezTo>
                    <a:pt x="2746" y="969"/>
                    <a:pt x="1894" y="0"/>
                    <a:pt x="852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2" name="Google Shape;8550;p73">
              <a:extLst>
                <a:ext uri="{FF2B5EF4-FFF2-40B4-BE49-F238E27FC236}">
                  <a16:creationId xmlns:a16="http://schemas.microsoft.com/office/drawing/2014/main" id="{A1085ECB-A5CD-8D54-9421-2EB2C1EDD472}"/>
                </a:ext>
              </a:extLst>
            </p:cNvPr>
            <p:cNvSpPr/>
            <p:nvPr/>
          </p:nvSpPr>
          <p:spPr>
            <a:xfrm>
              <a:off x="400325" y="2226400"/>
              <a:ext cx="33425" cy="117475"/>
            </a:xfrm>
            <a:custGeom>
              <a:avLst/>
              <a:gdLst/>
              <a:ahLst/>
              <a:cxnLst/>
              <a:rect l="l" t="t" r="r" b="b"/>
              <a:pathLst>
                <a:path w="1337" h="4699" extrusionOk="0">
                  <a:moveTo>
                    <a:pt x="1" y="0"/>
                  </a:moveTo>
                  <a:lnTo>
                    <a:pt x="1" y="4698"/>
                  </a:lnTo>
                  <a:lnTo>
                    <a:pt x="603" y="3964"/>
                  </a:lnTo>
                  <a:cubicBezTo>
                    <a:pt x="1337" y="3054"/>
                    <a:pt x="1337" y="1586"/>
                    <a:pt x="544" y="66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3" name="Google Shape;8551;p73">
              <a:extLst>
                <a:ext uri="{FF2B5EF4-FFF2-40B4-BE49-F238E27FC236}">
                  <a16:creationId xmlns:a16="http://schemas.microsoft.com/office/drawing/2014/main" id="{1102AF42-DEEE-6B84-04C5-D934B404790A}"/>
                </a:ext>
              </a:extLst>
            </p:cNvPr>
            <p:cNvSpPr/>
            <p:nvPr/>
          </p:nvSpPr>
          <p:spPr>
            <a:xfrm>
              <a:off x="426400" y="2623875"/>
              <a:ext cx="68650" cy="84075"/>
            </a:xfrm>
            <a:custGeom>
              <a:avLst/>
              <a:gdLst/>
              <a:ahLst/>
              <a:cxnLst/>
              <a:rect l="l" t="t" r="r" b="b"/>
              <a:pathLst>
                <a:path w="2746" h="3363" extrusionOk="0">
                  <a:moveTo>
                    <a:pt x="2746" y="1"/>
                  </a:moveTo>
                  <a:lnTo>
                    <a:pt x="0" y="3363"/>
                  </a:lnTo>
                  <a:lnTo>
                    <a:pt x="852" y="3363"/>
                  </a:lnTo>
                  <a:cubicBezTo>
                    <a:pt x="1894" y="3304"/>
                    <a:pt x="2746" y="2261"/>
                    <a:pt x="2746" y="984"/>
                  </a:cubicBezTo>
                  <a:lnTo>
                    <a:pt x="2746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4" name="Google Shape;8552;p73">
              <a:extLst>
                <a:ext uri="{FF2B5EF4-FFF2-40B4-BE49-F238E27FC236}">
                  <a16:creationId xmlns:a16="http://schemas.microsoft.com/office/drawing/2014/main" id="{53F540D0-6603-2A91-0843-4B3ABD30F8E4}"/>
                </a:ext>
              </a:extLst>
            </p:cNvPr>
            <p:cNvSpPr/>
            <p:nvPr/>
          </p:nvSpPr>
          <p:spPr>
            <a:xfrm>
              <a:off x="308575" y="2322550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1" y="1"/>
                  </a:moveTo>
                  <a:lnTo>
                    <a:pt x="2805" y="3304"/>
                  </a:lnTo>
                  <a:lnTo>
                    <a:pt x="2805" y="2261"/>
                  </a:lnTo>
                  <a:cubicBezTo>
                    <a:pt x="2805" y="1043"/>
                    <a:pt x="1895" y="1"/>
                    <a:pt x="852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5" name="Google Shape;8553;p73">
              <a:extLst>
                <a:ext uri="{FF2B5EF4-FFF2-40B4-BE49-F238E27FC236}">
                  <a16:creationId xmlns:a16="http://schemas.microsoft.com/office/drawing/2014/main" id="{43C699BD-2654-7392-DC98-FEE71036B966}"/>
                </a:ext>
              </a:extLst>
            </p:cNvPr>
            <p:cNvSpPr/>
            <p:nvPr/>
          </p:nvSpPr>
          <p:spPr>
            <a:xfrm>
              <a:off x="305275" y="2424950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1" y="1"/>
                  </a:moveTo>
                  <a:lnTo>
                    <a:pt x="74" y="984"/>
                  </a:lnTo>
                  <a:cubicBezTo>
                    <a:pt x="74" y="2261"/>
                    <a:pt x="926" y="3304"/>
                    <a:pt x="2027" y="3304"/>
                  </a:cubicBezTo>
                  <a:lnTo>
                    <a:pt x="2819" y="330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6" name="Google Shape;8554;p73">
              <a:extLst>
                <a:ext uri="{FF2B5EF4-FFF2-40B4-BE49-F238E27FC236}">
                  <a16:creationId xmlns:a16="http://schemas.microsoft.com/office/drawing/2014/main" id="{0CC803FE-1FCD-2B8B-08A1-8636DA377412}"/>
                </a:ext>
              </a:extLst>
            </p:cNvPr>
            <p:cNvSpPr/>
            <p:nvPr/>
          </p:nvSpPr>
          <p:spPr>
            <a:xfrm>
              <a:off x="308575" y="2620950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1" y="0"/>
                  </a:moveTo>
                  <a:lnTo>
                    <a:pt x="1" y="969"/>
                  </a:lnTo>
                  <a:cubicBezTo>
                    <a:pt x="1" y="2261"/>
                    <a:pt x="911" y="3303"/>
                    <a:pt x="1953" y="3303"/>
                  </a:cubicBezTo>
                  <a:lnTo>
                    <a:pt x="2805" y="330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7" name="Google Shape;8555;p73">
              <a:extLst>
                <a:ext uri="{FF2B5EF4-FFF2-40B4-BE49-F238E27FC236}">
                  <a16:creationId xmlns:a16="http://schemas.microsoft.com/office/drawing/2014/main" id="{F22D777F-262E-0885-B30A-DD182F6C8D41}"/>
                </a:ext>
              </a:extLst>
            </p:cNvPr>
            <p:cNvSpPr/>
            <p:nvPr/>
          </p:nvSpPr>
          <p:spPr>
            <a:xfrm>
              <a:off x="426400" y="2525875"/>
              <a:ext cx="68650" cy="84075"/>
            </a:xfrm>
            <a:custGeom>
              <a:avLst/>
              <a:gdLst/>
              <a:ahLst/>
              <a:cxnLst/>
              <a:rect l="l" t="t" r="r" b="b"/>
              <a:pathLst>
                <a:path w="2746" h="3363" extrusionOk="0">
                  <a:moveTo>
                    <a:pt x="2687" y="1"/>
                  </a:moveTo>
                  <a:lnTo>
                    <a:pt x="0" y="3363"/>
                  </a:lnTo>
                  <a:lnTo>
                    <a:pt x="793" y="3363"/>
                  </a:lnTo>
                  <a:cubicBezTo>
                    <a:pt x="1894" y="3363"/>
                    <a:pt x="2746" y="2262"/>
                    <a:pt x="2746" y="984"/>
                  </a:cubicBezTo>
                  <a:lnTo>
                    <a:pt x="2687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8" name="Google Shape;8556;p73">
              <a:extLst>
                <a:ext uri="{FF2B5EF4-FFF2-40B4-BE49-F238E27FC236}">
                  <a16:creationId xmlns:a16="http://schemas.microsoft.com/office/drawing/2014/main" id="{748C3490-989B-F74E-2EFF-4AF1CE740D6C}"/>
                </a:ext>
              </a:extLst>
            </p:cNvPr>
            <p:cNvSpPr/>
            <p:nvPr/>
          </p:nvSpPr>
          <p:spPr>
            <a:xfrm>
              <a:off x="423100" y="2330250"/>
              <a:ext cx="70475" cy="84075"/>
            </a:xfrm>
            <a:custGeom>
              <a:avLst/>
              <a:gdLst/>
              <a:ahLst/>
              <a:cxnLst/>
              <a:rect l="l" t="t" r="r" b="b"/>
              <a:pathLst>
                <a:path w="2819" h="3363" extrusionOk="0">
                  <a:moveTo>
                    <a:pt x="2760" y="1"/>
                  </a:moveTo>
                  <a:lnTo>
                    <a:pt x="0" y="3363"/>
                  </a:lnTo>
                  <a:lnTo>
                    <a:pt x="866" y="3363"/>
                  </a:lnTo>
                  <a:cubicBezTo>
                    <a:pt x="1894" y="3363"/>
                    <a:pt x="2819" y="2262"/>
                    <a:pt x="2760" y="985"/>
                  </a:cubicBezTo>
                  <a:lnTo>
                    <a:pt x="2760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9" name="Google Shape;8557;p73">
              <a:extLst>
                <a:ext uri="{FF2B5EF4-FFF2-40B4-BE49-F238E27FC236}">
                  <a16:creationId xmlns:a16="http://schemas.microsoft.com/office/drawing/2014/main" id="{137D10FC-7BD5-5B30-D012-5EAEE0E1C755}"/>
                </a:ext>
              </a:extLst>
            </p:cNvPr>
            <p:cNvSpPr/>
            <p:nvPr/>
          </p:nvSpPr>
          <p:spPr>
            <a:xfrm>
              <a:off x="311525" y="2616175"/>
              <a:ext cx="70475" cy="82600"/>
            </a:xfrm>
            <a:custGeom>
              <a:avLst/>
              <a:gdLst/>
              <a:ahLst/>
              <a:cxnLst/>
              <a:rect l="l" t="t" r="r" b="b"/>
              <a:pathLst>
                <a:path w="2819" h="3304" extrusionOk="0">
                  <a:moveTo>
                    <a:pt x="0" y="0"/>
                  </a:moveTo>
                  <a:lnTo>
                    <a:pt x="2819" y="3304"/>
                  </a:lnTo>
                  <a:lnTo>
                    <a:pt x="2819" y="2261"/>
                  </a:lnTo>
                  <a:cubicBezTo>
                    <a:pt x="2760" y="984"/>
                    <a:pt x="1894" y="0"/>
                    <a:pt x="852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0" name="Google Shape;8558;p73">
              <a:extLst>
                <a:ext uri="{FF2B5EF4-FFF2-40B4-BE49-F238E27FC236}">
                  <a16:creationId xmlns:a16="http://schemas.microsoft.com/office/drawing/2014/main" id="{5FDA41F8-0969-656C-600F-7AB4753D6168}"/>
                </a:ext>
              </a:extLst>
            </p:cNvPr>
            <p:cNvSpPr/>
            <p:nvPr/>
          </p:nvSpPr>
          <p:spPr>
            <a:xfrm>
              <a:off x="424550" y="2428250"/>
              <a:ext cx="69025" cy="84075"/>
            </a:xfrm>
            <a:custGeom>
              <a:avLst/>
              <a:gdLst/>
              <a:ahLst/>
              <a:cxnLst/>
              <a:rect l="l" t="t" r="r" b="b"/>
              <a:pathLst>
                <a:path w="2761" h="3363" extrusionOk="0">
                  <a:moveTo>
                    <a:pt x="2761" y="1"/>
                  </a:moveTo>
                  <a:lnTo>
                    <a:pt x="1" y="3363"/>
                  </a:lnTo>
                  <a:lnTo>
                    <a:pt x="808" y="3363"/>
                  </a:lnTo>
                  <a:cubicBezTo>
                    <a:pt x="1909" y="3363"/>
                    <a:pt x="2761" y="2262"/>
                    <a:pt x="2761" y="970"/>
                  </a:cubicBezTo>
                  <a:lnTo>
                    <a:pt x="2761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1" name="Google Shape;8559;p73">
              <a:extLst>
                <a:ext uri="{FF2B5EF4-FFF2-40B4-BE49-F238E27FC236}">
                  <a16:creationId xmlns:a16="http://schemas.microsoft.com/office/drawing/2014/main" id="{8179E9BC-B8EF-DD21-A9BF-1CD5EFCC759C}"/>
                </a:ext>
              </a:extLst>
            </p:cNvPr>
            <p:cNvSpPr/>
            <p:nvPr/>
          </p:nvSpPr>
          <p:spPr>
            <a:xfrm>
              <a:off x="310050" y="2518175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0" y="1"/>
                  </a:moveTo>
                  <a:lnTo>
                    <a:pt x="2819" y="3304"/>
                  </a:lnTo>
                  <a:lnTo>
                    <a:pt x="2819" y="2276"/>
                  </a:lnTo>
                  <a:cubicBezTo>
                    <a:pt x="2819" y="984"/>
                    <a:pt x="1953" y="1"/>
                    <a:pt x="911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2" name="Google Shape;8560;p73">
              <a:extLst>
                <a:ext uri="{FF2B5EF4-FFF2-40B4-BE49-F238E27FC236}">
                  <a16:creationId xmlns:a16="http://schemas.microsoft.com/office/drawing/2014/main" id="{B25BBDD2-4877-DC1F-3BEB-29721D4992F7}"/>
                </a:ext>
              </a:extLst>
            </p:cNvPr>
            <p:cNvSpPr/>
            <p:nvPr/>
          </p:nvSpPr>
          <p:spPr>
            <a:xfrm>
              <a:off x="307125" y="2522950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0" y="0"/>
                  </a:moveTo>
                  <a:lnTo>
                    <a:pt x="0" y="984"/>
                  </a:lnTo>
                  <a:cubicBezTo>
                    <a:pt x="0" y="2261"/>
                    <a:pt x="910" y="3304"/>
                    <a:pt x="2011" y="3304"/>
                  </a:cubicBezTo>
                  <a:lnTo>
                    <a:pt x="2804" y="33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3" name="Google Shape;8561;p73">
              <a:extLst>
                <a:ext uri="{FF2B5EF4-FFF2-40B4-BE49-F238E27FC236}">
                  <a16:creationId xmlns:a16="http://schemas.microsoft.com/office/drawing/2014/main" id="{FB159681-AB35-0B9C-AC14-D7D751EF6F85}"/>
                </a:ext>
              </a:extLst>
            </p:cNvPr>
            <p:cNvSpPr/>
            <p:nvPr/>
          </p:nvSpPr>
          <p:spPr>
            <a:xfrm>
              <a:off x="362175" y="2226400"/>
              <a:ext cx="33425" cy="117475"/>
            </a:xfrm>
            <a:custGeom>
              <a:avLst/>
              <a:gdLst/>
              <a:ahLst/>
              <a:cxnLst/>
              <a:rect l="l" t="t" r="r" b="b"/>
              <a:pathLst>
                <a:path w="1337" h="4699" extrusionOk="0">
                  <a:moveTo>
                    <a:pt x="1336" y="0"/>
                  </a:moveTo>
                  <a:lnTo>
                    <a:pt x="661" y="734"/>
                  </a:lnTo>
                  <a:cubicBezTo>
                    <a:pt x="0" y="1644"/>
                    <a:pt x="0" y="3054"/>
                    <a:pt x="734" y="3964"/>
                  </a:cubicBezTo>
                  <a:lnTo>
                    <a:pt x="1336" y="4698"/>
                  </a:lnTo>
                  <a:lnTo>
                    <a:pt x="133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4" name="Google Shape;8562;p73">
              <a:extLst>
                <a:ext uri="{FF2B5EF4-FFF2-40B4-BE49-F238E27FC236}">
                  <a16:creationId xmlns:a16="http://schemas.microsoft.com/office/drawing/2014/main" id="{A1ED7E32-5DE7-194E-CB81-3E16D32BFD39}"/>
                </a:ext>
              </a:extLst>
            </p:cNvPr>
            <p:cNvSpPr/>
            <p:nvPr/>
          </p:nvSpPr>
          <p:spPr>
            <a:xfrm>
              <a:off x="305275" y="2327325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1" y="0"/>
                  </a:moveTo>
                  <a:lnTo>
                    <a:pt x="1" y="969"/>
                  </a:lnTo>
                  <a:cubicBezTo>
                    <a:pt x="1" y="2261"/>
                    <a:pt x="926" y="3304"/>
                    <a:pt x="1968" y="3304"/>
                  </a:cubicBezTo>
                  <a:lnTo>
                    <a:pt x="2819" y="3304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5" name="Google Shape;8563;p73">
              <a:extLst>
                <a:ext uri="{FF2B5EF4-FFF2-40B4-BE49-F238E27FC236}">
                  <a16:creationId xmlns:a16="http://schemas.microsoft.com/office/drawing/2014/main" id="{8A8B9B2F-43E4-1C94-1DB1-6222D416BDA4}"/>
                </a:ext>
              </a:extLst>
            </p:cNvPr>
            <p:cNvSpPr/>
            <p:nvPr/>
          </p:nvSpPr>
          <p:spPr>
            <a:xfrm>
              <a:off x="389700" y="2359250"/>
              <a:ext cx="24250" cy="544325"/>
            </a:xfrm>
            <a:custGeom>
              <a:avLst/>
              <a:gdLst/>
              <a:ahLst/>
              <a:cxnLst/>
              <a:rect l="l" t="t" r="r" b="b"/>
              <a:pathLst>
                <a:path w="970" h="21773" extrusionOk="0">
                  <a:moveTo>
                    <a:pt x="0" y="1"/>
                  </a:moveTo>
                  <a:lnTo>
                    <a:pt x="176" y="21772"/>
                  </a:lnTo>
                  <a:lnTo>
                    <a:pt x="969" y="21714"/>
                  </a:lnTo>
                  <a:lnTo>
                    <a:pt x="734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6" name="Google Shape;8564;p73">
              <a:extLst>
                <a:ext uri="{FF2B5EF4-FFF2-40B4-BE49-F238E27FC236}">
                  <a16:creationId xmlns:a16="http://schemas.microsoft.com/office/drawing/2014/main" id="{ACADEDB1-AE3D-0B72-BE3C-8D72D7D40EEA}"/>
                </a:ext>
              </a:extLst>
            </p:cNvPr>
            <p:cNvSpPr/>
            <p:nvPr/>
          </p:nvSpPr>
          <p:spPr>
            <a:xfrm>
              <a:off x="420150" y="2327325"/>
              <a:ext cx="68675" cy="82600"/>
            </a:xfrm>
            <a:custGeom>
              <a:avLst/>
              <a:gdLst/>
              <a:ahLst/>
              <a:cxnLst/>
              <a:rect l="l" t="t" r="r" b="b"/>
              <a:pathLst>
                <a:path w="2747" h="3304" extrusionOk="0">
                  <a:moveTo>
                    <a:pt x="1836" y="0"/>
                  </a:moveTo>
                  <a:cubicBezTo>
                    <a:pt x="794" y="0"/>
                    <a:pt x="1" y="1028"/>
                    <a:pt x="1" y="2261"/>
                  </a:cubicBezTo>
                  <a:lnTo>
                    <a:pt x="1" y="3304"/>
                  </a:lnTo>
                  <a:lnTo>
                    <a:pt x="274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7" name="Google Shape;8565;p73">
              <a:extLst>
                <a:ext uri="{FF2B5EF4-FFF2-40B4-BE49-F238E27FC236}">
                  <a16:creationId xmlns:a16="http://schemas.microsoft.com/office/drawing/2014/main" id="{FE4A28AA-BBE3-2A92-A0F9-3D197B5FCB49}"/>
                </a:ext>
              </a:extLst>
            </p:cNvPr>
            <p:cNvSpPr/>
            <p:nvPr/>
          </p:nvSpPr>
          <p:spPr>
            <a:xfrm>
              <a:off x="423100" y="2619100"/>
              <a:ext cx="69025" cy="84450"/>
            </a:xfrm>
            <a:custGeom>
              <a:avLst/>
              <a:gdLst/>
              <a:ahLst/>
              <a:cxnLst/>
              <a:rect l="l" t="t" r="r" b="b"/>
              <a:pathLst>
                <a:path w="2761" h="3378" extrusionOk="0">
                  <a:moveTo>
                    <a:pt x="2760" y="1"/>
                  </a:moveTo>
                  <a:lnTo>
                    <a:pt x="1835" y="74"/>
                  </a:lnTo>
                  <a:cubicBezTo>
                    <a:pt x="793" y="74"/>
                    <a:pt x="0" y="1102"/>
                    <a:pt x="0" y="2335"/>
                  </a:cubicBezTo>
                  <a:lnTo>
                    <a:pt x="0" y="3377"/>
                  </a:lnTo>
                  <a:lnTo>
                    <a:pt x="2760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8" name="Google Shape;8566;p73">
              <a:extLst>
                <a:ext uri="{FF2B5EF4-FFF2-40B4-BE49-F238E27FC236}">
                  <a16:creationId xmlns:a16="http://schemas.microsoft.com/office/drawing/2014/main" id="{8AEB2A8B-10F2-118A-9FA6-DEB2F81B9A79}"/>
                </a:ext>
              </a:extLst>
            </p:cNvPr>
            <p:cNvSpPr/>
            <p:nvPr/>
          </p:nvSpPr>
          <p:spPr>
            <a:xfrm>
              <a:off x="420150" y="2424950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1895" y="1"/>
                  </a:moveTo>
                  <a:cubicBezTo>
                    <a:pt x="852" y="1"/>
                    <a:pt x="1" y="1043"/>
                    <a:pt x="59" y="2261"/>
                  </a:cubicBezTo>
                  <a:lnTo>
                    <a:pt x="59" y="3304"/>
                  </a:lnTo>
                  <a:lnTo>
                    <a:pt x="2819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9" name="Google Shape;8567;p73">
              <a:extLst>
                <a:ext uri="{FF2B5EF4-FFF2-40B4-BE49-F238E27FC236}">
                  <a16:creationId xmlns:a16="http://schemas.microsoft.com/office/drawing/2014/main" id="{EA0B5AB7-EF24-09CE-93A0-7030EFE4F0A8}"/>
                </a:ext>
              </a:extLst>
            </p:cNvPr>
            <p:cNvSpPr/>
            <p:nvPr/>
          </p:nvSpPr>
          <p:spPr>
            <a:xfrm>
              <a:off x="421625" y="2521475"/>
              <a:ext cx="69025" cy="84075"/>
            </a:xfrm>
            <a:custGeom>
              <a:avLst/>
              <a:gdLst/>
              <a:ahLst/>
              <a:cxnLst/>
              <a:rect l="l" t="t" r="r" b="b"/>
              <a:pathLst>
                <a:path w="2761" h="3363" extrusionOk="0">
                  <a:moveTo>
                    <a:pt x="2760" y="1"/>
                  </a:moveTo>
                  <a:lnTo>
                    <a:pt x="1894" y="59"/>
                  </a:lnTo>
                  <a:cubicBezTo>
                    <a:pt x="852" y="59"/>
                    <a:pt x="0" y="1102"/>
                    <a:pt x="0" y="2320"/>
                  </a:cubicBezTo>
                  <a:lnTo>
                    <a:pt x="0" y="3363"/>
                  </a:lnTo>
                  <a:lnTo>
                    <a:pt x="2760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0" name="Google Shape;8568;p73">
              <a:extLst>
                <a:ext uri="{FF2B5EF4-FFF2-40B4-BE49-F238E27FC236}">
                  <a16:creationId xmlns:a16="http://schemas.microsoft.com/office/drawing/2014/main" id="{586EA856-6C18-91B1-C32E-59B5E003E8A9}"/>
                </a:ext>
              </a:extLst>
            </p:cNvPr>
            <p:cNvSpPr/>
            <p:nvPr/>
          </p:nvSpPr>
          <p:spPr>
            <a:xfrm>
              <a:off x="545675" y="2412850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1" y="0"/>
                  </a:moveTo>
                  <a:lnTo>
                    <a:pt x="2805" y="3303"/>
                  </a:lnTo>
                  <a:lnTo>
                    <a:pt x="2805" y="3303"/>
                  </a:lnTo>
                  <a:lnTo>
                    <a:pt x="2746" y="2261"/>
                  </a:lnTo>
                  <a:cubicBezTo>
                    <a:pt x="2746" y="1042"/>
                    <a:pt x="1894" y="0"/>
                    <a:pt x="852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1" name="Google Shape;8569;p73">
              <a:extLst>
                <a:ext uri="{FF2B5EF4-FFF2-40B4-BE49-F238E27FC236}">
                  <a16:creationId xmlns:a16="http://schemas.microsoft.com/office/drawing/2014/main" id="{E6C81B49-A7B6-7AE6-A4B8-E742BA7D1B22}"/>
                </a:ext>
              </a:extLst>
            </p:cNvPr>
            <p:cNvSpPr/>
            <p:nvPr/>
          </p:nvSpPr>
          <p:spPr>
            <a:xfrm>
              <a:off x="635600" y="2218675"/>
              <a:ext cx="33800" cy="117850"/>
            </a:xfrm>
            <a:custGeom>
              <a:avLst/>
              <a:gdLst/>
              <a:ahLst/>
              <a:cxnLst/>
              <a:rect l="l" t="t" r="r" b="b"/>
              <a:pathLst>
                <a:path w="1352" h="4714" extrusionOk="0">
                  <a:moveTo>
                    <a:pt x="0" y="1"/>
                  </a:moveTo>
                  <a:lnTo>
                    <a:pt x="0" y="4713"/>
                  </a:lnTo>
                  <a:lnTo>
                    <a:pt x="617" y="3979"/>
                  </a:lnTo>
                  <a:cubicBezTo>
                    <a:pt x="1351" y="3055"/>
                    <a:pt x="1351" y="1586"/>
                    <a:pt x="558" y="676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2" name="Google Shape;8570;p73">
              <a:extLst>
                <a:ext uri="{FF2B5EF4-FFF2-40B4-BE49-F238E27FC236}">
                  <a16:creationId xmlns:a16="http://schemas.microsoft.com/office/drawing/2014/main" id="{C9C9EBCD-25DC-838C-2973-0ED60180E099}"/>
                </a:ext>
              </a:extLst>
            </p:cNvPr>
            <p:cNvSpPr/>
            <p:nvPr/>
          </p:nvSpPr>
          <p:spPr>
            <a:xfrm>
              <a:off x="661650" y="2616175"/>
              <a:ext cx="69025" cy="84075"/>
            </a:xfrm>
            <a:custGeom>
              <a:avLst/>
              <a:gdLst/>
              <a:ahLst/>
              <a:cxnLst/>
              <a:rect l="l" t="t" r="r" b="b"/>
              <a:pathLst>
                <a:path w="2761" h="3363" extrusionOk="0">
                  <a:moveTo>
                    <a:pt x="2761" y="0"/>
                  </a:moveTo>
                  <a:lnTo>
                    <a:pt x="1" y="3362"/>
                  </a:lnTo>
                  <a:lnTo>
                    <a:pt x="867" y="3362"/>
                  </a:lnTo>
                  <a:cubicBezTo>
                    <a:pt x="1895" y="3362"/>
                    <a:pt x="2761" y="2261"/>
                    <a:pt x="2761" y="984"/>
                  </a:cubicBezTo>
                  <a:lnTo>
                    <a:pt x="276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3" name="Google Shape;8571;p73">
              <a:extLst>
                <a:ext uri="{FF2B5EF4-FFF2-40B4-BE49-F238E27FC236}">
                  <a16:creationId xmlns:a16="http://schemas.microsoft.com/office/drawing/2014/main" id="{5DD27C08-A8A8-F865-A7B3-6AEA540DD8BB}"/>
                </a:ext>
              </a:extLst>
            </p:cNvPr>
            <p:cNvSpPr/>
            <p:nvPr/>
          </p:nvSpPr>
          <p:spPr>
            <a:xfrm>
              <a:off x="543850" y="2314850"/>
              <a:ext cx="70475" cy="82600"/>
            </a:xfrm>
            <a:custGeom>
              <a:avLst/>
              <a:gdLst/>
              <a:ahLst/>
              <a:cxnLst/>
              <a:rect l="l" t="t" r="r" b="b"/>
              <a:pathLst>
                <a:path w="2819" h="3304" extrusionOk="0">
                  <a:moveTo>
                    <a:pt x="0" y="0"/>
                  </a:moveTo>
                  <a:lnTo>
                    <a:pt x="2819" y="3303"/>
                  </a:lnTo>
                  <a:lnTo>
                    <a:pt x="2819" y="2261"/>
                  </a:lnTo>
                  <a:cubicBezTo>
                    <a:pt x="2819" y="1043"/>
                    <a:pt x="1909" y="0"/>
                    <a:pt x="866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4" name="Google Shape;8572;p73">
              <a:extLst>
                <a:ext uri="{FF2B5EF4-FFF2-40B4-BE49-F238E27FC236}">
                  <a16:creationId xmlns:a16="http://schemas.microsoft.com/office/drawing/2014/main" id="{038A6D74-83A9-0FEA-E81D-A250B6690820}"/>
                </a:ext>
              </a:extLst>
            </p:cNvPr>
            <p:cNvSpPr/>
            <p:nvPr/>
          </p:nvSpPr>
          <p:spPr>
            <a:xfrm>
              <a:off x="540900" y="2417250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1" y="0"/>
                  </a:moveTo>
                  <a:lnTo>
                    <a:pt x="60" y="984"/>
                  </a:lnTo>
                  <a:cubicBezTo>
                    <a:pt x="60" y="2276"/>
                    <a:pt x="926" y="3303"/>
                    <a:pt x="2027" y="3303"/>
                  </a:cubicBezTo>
                  <a:lnTo>
                    <a:pt x="2820" y="330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5" name="Google Shape;8573;p73">
              <a:extLst>
                <a:ext uri="{FF2B5EF4-FFF2-40B4-BE49-F238E27FC236}">
                  <a16:creationId xmlns:a16="http://schemas.microsoft.com/office/drawing/2014/main" id="{1CEE89ED-F3D7-2538-6609-85310C8FB8A2}"/>
                </a:ext>
              </a:extLst>
            </p:cNvPr>
            <p:cNvSpPr/>
            <p:nvPr/>
          </p:nvSpPr>
          <p:spPr>
            <a:xfrm>
              <a:off x="543850" y="2613225"/>
              <a:ext cx="70475" cy="82625"/>
            </a:xfrm>
            <a:custGeom>
              <a:avLst/>
              <a:gdLst/>
              <a:ahLst/>
              <a:cxnLst/>
              <a:rect l="l" t="t" r="r" b="b"/>
              <a:pathLst>
                <a:path w="2819" h="3305" extrusionOk="0">
                  <a:moveTo>
                    <a:pt x="0" y="1"/>
                  </a:moveTo>
                  <a:lnTo>
                    <a:pt x="0" y="970"/>
                  </a:lnTo>
                  <a:cubicBezTo>
                    <a:pt x="0" y="2262"/>
                    <a:pt x="925" y="3304"/>
                    <a:pt x="1967" y="3304"/>
                  </a:cubicBezTo>
                  <a:lnTo>
                    <a:pt x="2819" y="3304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6" name="Google Shape;8574;p73">
              <a:extLst>
                <a:ext uri="{FF2B5EF4-FFF2-40B4-BE49-F238E27FC236}">
                  <a16:creationId xmlns:a16="http://schemas.microsoft.com/office/drawing/2014/main" id="{8B8D91A0-4BDE-18C9-7735-2280F11F9553}"/>
                </a:ext>
              </a:extLst>
            </p:cNvPr>
            <p:cNvSpPr/>
            <p:nvPr/>
          </p:nvSpPr>
          <p:spPr>
            <a:xfrm>
              <a:off x="661650" y="2518175"/>
              <a:ext cx="69025" cy="84450"/>
            </a:xfrm>
            <a:custGeom>
              <a:avLst/>
              <a:gdLst/>
              <a:ahLst/>
              <a:cxnLst/>
              <a:rect l="l" t="t" r="r" b="b"/>
              <a:pathLst>
                <a:path w="2761" h="3378" extrusionOk="0">
                  <a:moveTo>
                    <a:pt x="2702" y="1"/>
                  </a:moveTo>
                  <a:lnTo>
                    <a:pt x="1" y="3377"/>
                  </a:lnTo>
                  <a:lnTo>
                    <a:pt x="794" y="3377"/>
                  </a:lnTo>
                  <a:cubicBezTo>
                    <a:pt x="1895" y="3377"/>
                    <a:pt x="2761" y="2276"/>
                    <a:pt x="2761" y="984"/>
                  </a:cubicBezTo>
                  <a:lnTo>
                    <a:pt x="2702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7" name="Google Shape;8575;p73">
              <a:extLst>
                <a:ext uri="{FF2B5EF4-FFF2-40B4-BE49-F238E27FC236}">
                  <a16:creationId xmlns:a16="http://schemas.microsoft.com/office/drawing/2014/main" id="{03C67CC7-D622-4B55-3B9B-2EF831868DA0}"/>
                </a:ext>
              </a:extLst>
            </p:cNvPr>
            <p:cNvSpPr/>
            <p:nvPr/>
          </p:nvSpPr>
          <p:spPr>
            <a:xfrm>
              <a:off x="658725" y="2322550"/>
              <a:ext cx="70500" cy="84075"/>
            </a:xfrm>
            <a:custGeom>
              <a:avLst/>
              <a:gdLst/>
              <a:ahLst/>
              <a:cxnLst/>
              <a:rect l="l" t="t" r="r" b="b"/>
              <a:pathLst>
                <a:path w="2820" h="3363" extrusionOk="0">
                  <a:moveTo>
                    <a:pt x="2746" y="1"/>
                  </a:moveTo>
                  <a:lnTo>
                    <a:pt x="0" y="3363"/>
                  </a:lnTo>
                  <a:lnTo>
                    <a:pt x="852" y="3363"/>
                  </a:lnTo>
                  <a:cubicBezTo>
                    <a:pt x="1894" y="3363"/>
                    <a:pt x="2819" y="2261"/>
                    <a:pt x="2746" y="984"/>
                  </a:cubicBezTo>
                  <a:lnTo>
                    <a:pt x="2746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8" name="Google Shape;8576;p73">
              <a:extLst>
                <a:ext uri="{FF2B5EF4-FFF2-40B4-BE49-F238E27FC236}">
                  <a16:creationId xmlns:a16="http://schemas.microsoft.com/office/drawing/2014/main" id="{13578870-F2C1-0637-0CB5-C83B88EE2DA4}"/>
                </a:ext>
              </a:extLst>
            </p:cNvPr>
            <p:cNvSpPr/>
            <p:nvPr/>
          </p:nvSpPr>
          <p:spPr>
            <a:xfrm>
              <a:off x="547150" y="2608475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0" y="0"/>
                  </a:moveTo>
                  <a:lnTo>
                    <a:pt x="2804" y="3303"/>
                  </a:lnTo>
                  <a:lnTo>
                    <a:pt x="2804" y="2261"/>
                  </a:lnTo>
                  <a:cubicBezTo>
                    <a:pt x="2746" y="984"/>
                    <a:pt x="1894" y="0"/>
                    <a:pt x="852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9" name="Google Shape;8577;p73">
              <a:extLst>
                <a:ext uri="{FF2B5EF4-FFF2-40B4-BE49-F238E27FC236}">
                  <a16:creationId xmlns:a16="http://schemas.microsoft.com/office/drawing/2014/main" id="{DB3E38A4-8A32-861B-EAD7-D1FF6D25F0E4}"/>
                </a:ext>
              </a:extLst>
            </p:cNvPr>
            <p:cNvSpPr/>
            <p:nvPr/>
          </p:nvSpPr>
          <p:spPr>
            <a:xfrm>
              <a:off x="660200" y="2420550"/>
              <a:ext cx="69025" cy="84075"/>
            </a:xfrm>
            <a:custGeom>
              <a:avLst/>
              <a:gdLst/>
              <a:ahLst/>
              <a:cxnLst/>
              <a:rect l="l" t="t" r="r" b="b"/>
              <a:pathLst>
                <a:path w="2761" h="3363" extrusionOk="0">
                  <a:moveTo>
                    <a:pt x="2760" y="0"/>
                  </a:moveTo>
                  <a:lnTo>
                    <a:pt x="0" y="3362"/>
                  </a:lnTo>
                  <a:lnTo>
                    <a:pt x="793" y="3362"/>
                  </a:lnTo>
                  <a:cubicBezTo>
                    <a:pt x="1894" y="3362"/>
                    <a:pt x="2760" y="2261"/>
                    <a:pt x="2760" y="969"/>
                  </a:cubicBezTo>
                  <a:lnTo>
                    <a:pt x="2760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0" name="Google Shape;8578;p73">
              <a:extLst>
                <a:ext uri="{FF2B5EF4-FFF2-40B4-BE49-F238E27FC236}">
                  <a16:creationId xmlns:a16="http://schemas.microsoft.com/office/drawing/2014/main" id="{D09696E9-37A6-97BA-EB9E-6531ACE54428}"/>
                </a:ext>
              </a:extLst>
            </p:cNvPr>
            <p:cNvSpPr/>
            <p:nvPr/>
          </p:nvSpPr>
          <p:spPr>
            <a:xfrm>
              <a:off x="545675" y="2510825"/>
              <a:ext cx="70125" cy="82625"/>
            </a:xfrm>
            <a:custGeom>
              <a:avLst/>
              <a:gdLst/>
              <a:ahLst/>
              <a:cxnLst/>
              <a:rect l="l" t="t" r="r" b="b"/>
              <a:pathLst>
                <a:path w="2805" h="3305" extrusionOk="0">
                  <a:moveTo>
                    <a:pt x="1" y="1"/>
                  </a:moveTo>
                  <a:lnTo>
                    <a:pt x="2805" y="3304"/>
                  </a:lnTo>
                  <a:lnTo>
                    <a:pt x="2805" y="2262"/>
                  </a:lnTo>
                  <a:cubicBezTo>
                    <a:pt x="2805" y="970"/>
                    <a:pt x="1953" y="1"/>
                    <a:pt x="911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1" name="Google Shape;8579;p73">
              <a:extLst>
                <a:ext uri="{FF2B5EF4-FFF2-40B4-BE49-F238E27FC236}">
                  <a16:creationId xmlns:a16="http://schemas.microsoft.com/office/drawing/2014/main" id="{200C323B-B018-FEE3-EFDC-008CABF9D6D5}"/>
                </a:ext>
              </a:extLst>
            </p:cNvPr>
            <p:cNvSpPr/>
            <p:nvPr/>
          </p:nvSpPr>
          <p:spPr>
            <a:xfrm>
              <a:off x="542375" y="2515250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1" y="0"/>
                  </a:moveTo>
                  <a:lnTo>
                    <a:pt x="1" y="984"/>
                  </a:lnTo>
                  <a:cubicBezTo>
                    <a:pt x="1" y="2261"/>
                    <a:pt x="925" y="3303"/>
                    <a:pt x="2026" y="3303"/>
                  </a:cubicBezTo>
                  <a:lnTo>
                    <a:pt x="2819" y="330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2" name="Google Shape;8580;p73">
              <a:extLst>
                <a:ext uri="{FF2B5EF4-FFF2-40B4-BE49-F238E27FC236}">
                  <a16:creationId xmlns:a16="http://schemas.microsoft.com/office/drawing/2014/main" id="{8063D0BF-339E-72CB-EEEE-EEF3C0B79CA0}"/>
                </a:ext>
              </a:extLst>
            </p:cNvPr>
            <p:cNvSpPr/>
            <p:nvPr/>
          </p:nvSpPr>
          <p:spPr>
            <a:xfrm>
              <a:off x="597425" y="2218675"/>
              <a:ext cx="33800" cy="117850"/>
            </a:xfrm>
            <a:custGeom>
              <a:avLst/>
              <a:gdLst/>
              <a:ahLst/>
              <a:cxnLst/>
              <a:rect l="l" t="t" r="r" b="b"/>
              <a:pathLst>
                <a:path w="1352" h="4714" extrusionOk="0">
                  <a:moveTo>
                    <a:pt x="1351" y="1"/>
                  </a:moveTo>
                  <a:lnTo>
                    <a:pt x="676" y="735"/>
                  </a:lnTo>
                  <a:cubicBezTo>
                    <a:pt x="1" y="1645"/>
                    <a:pt x="1" y="3055"/>
                    <a:pt x="735" y="3979"/>
                  </a:cubicBezTo>
                  <a:lnTo>
                    <a:pt x="1351" y="4713"/>
                  </a:lnTo>
                  <a:lnTo>
                    <a:pt x="1351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3" name="Google Shape;8581;p73">
              <a:extLst>
                <a:ext uri="{FF2B5EF4-FFF2-40B4-BE49-F238E27FC236}">
                  <a16:creationId xmlns:a16="http://schemas.microsoft.com/office/drawing/2014/main" id="{9B9CB541-67C9-9832-07BD-A3702DF2E2C0}"/>
                </a:ext>
              </a:extLst>
            </p:cNvPr>
            <p:cNvSpPr/>
            <p:nvPr/>
          </p:nvSpPr>
          <p:spPr>
            <a:xfrm>
              <a:off x="540900" y="2319625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1" y="0"/>
                  </a:moveTo>
                  <a:lnTo>
                    <a:pt x="1" y="969"/>
                  </a:lnTo>
                  <a:cubicBezTo>
                    <a:pt x="1" y="2261"/>
                    <a:pt x="926" y="3303"/>
                    <a:pt x="1953" y="3303"/>
                  </a:cubicBezTo>
                  <a:lnTo>
                    <a:pt x="2820" y="330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4" name="Google Shape;8582;p73">
              <a:extLst>
                <a:ext uri="{FF2B5EF4-FFF2-40B4-BE49-F238E27FC236}">
                  <a16:creationId xmlns:a16="http://schemas.microsoft.com/office/drawing/2014/main" id="{8DCBF550-5CB2-884F-DC48-32A0E213EF11}"/>
                </a:ext>
              </a:extLst>
            </p:cNvPr>
            <p:cNvSpPr/>
            <p:nvPr/>
          </p:nvSpPr>
          <p:spPr>
            <a:xfrm>
              <a:off x="624950" y="2351550"/>
              <a:ext cx="24625" cy="544675"/>
            </a:xfrm>
            <a:custGeom>
              <a:avLst/>
              <a:gdLst/>
              <a:ahLst/>
              <a:cxnLst/>
              <a:rect l="l" t="t" r="r" b="b"/>
              <a:pathLst>
                <a:path w="985" h="21787" extrusionOk="0">
                  <a:moveTo>
                    <a:pt x="1" y="0"/>
                  </a:moveTo>
                  <a:lnTo>
                    <a:pt x="192" y="21787"/>
                  </a:lnTo>
                  <a:lnTo>
                    <a:pt x="984" y="21787"/>
                  </a:lnTo>
                  <a:lnTo>
                    <a:pt x="735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5" name="Google Shape;8583;p73">
              <a:extLst>
                <a:ext uri="{FF2B5EF4-FFF2-40B4-BE49-F238E27FC236}">
                  <a16:creationId xmlns:a16="http://schemas.microsoft.com/office/drawing/2014/main" id="{00AEEDFC-C803-875F-A6FE-24493BA3E032}"/>
                </a:ext>
              </a:extLst>
            </p:cNvPr>
            <p:cNvSpPr/>
            <p:nvPr/>
          </p:nvSpPr>
          <p:spPr>
            <a:xfrm>
              <a:off x="655775" y="2319625"/>
              <a:ext cx="68675" cy="82600"/>
            </a:xfrm>
            <a:custGeom>
              <a:avLst/>
              <a:gdLst/>
              <a:ahLst/>
              <a:cxnLst/>
              <a:rect l="l" t="t" r="r" b="b"/>
              <a:pathLst>
                <a:path w="2747" h="3304" extrusionOk="0">
                  <a:moveTo>
                    <a:pt x="1895" y="0"/>
                  </a:moveTo>
                  <a:cubicBezTo>
                    <a:pt x="794" y="0"/>
                    <a:pt x="1" y="1042"/>
                    <a:pt x="1" y="2261"/>
                  </a:cubicBezTo>
                  <a:lnTo>
                    <a:pt x="1" y="3303"/>
                  </a:lnTo>
                  <a:lnTo>
                    <a:pt x="274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6" name="Google Shape;8584;p73">
              <a:extLst>
                <a:ext uri="{FF2B5EF4-FFF2-40B4-BE49-F238E27FC236}">
                  <a16:creationId xmlns:a16="http://schemas.microsoft.com/office/drawing/2014/main" id="{76A053BC-D444-868F-E633-13AB29FE6F69}"/>
                </a:ext>
              </a:extLst>
            </p:cNvPr>
            <p:cNvSpPr/>
            <p:nvPr/>
          </p:nvSpPr>
          <p:spPr>
            <a:xfrm>
              <a:off x="658725" y="2611775"/>
              <a:ext cx="68650" cy="84075"/>
            </a:xfrm>
            <a:custGeom>
              <a:avLst/>
              <a:gdLst/>
              <a:ahLst/>
              <a:cxnLst/>
              <a:rect l="l" t="t" r="r" b="b"/>
              <a:pathLst>
                <a:path w="2746" h="3363" extrusionOk="0">
                  <a:moveTo>
                    <a:pt x="2746" y="0"/>
                  </a:moveTo>
                  <a:lnTo>
                    <a:pt x="1835" y="59"/>
                  </a:lnTo>
                  <a:cubicBezTo>
                    <a:pt x="793" y="59"/>
                    <a:pt x="0" y="1101"/>
                    <a:pt x="0" y="2320"/>
                  </a:cubicBezTo>
                  <a:lnTo>
                    <a:pt x="0" y="3362"/>
                  </a:lnTo>
                  <a:lnTo>
                    <a:pt x="274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7" name="Google Shape;8585;p73">
              <a:extLst>
                <a:ext uri="{FF2B5EF4-FFF2-40B4-BE49-F238E27FC236}">
                  <a16:creationId xmlns:a16="http://schemas.microsoft.com/office/drawing/2014/main" id="{6E610641-F89A-1BE3-D401-BEC13C5F56E9}"/>
                </a:ext>
              </a:extLst>
            </p:cNvPr>
            <p:cNvSpPr/>
            <p:nvPr/>
          </p:nvSpPr>
          <p:spPr>
            <a:xfrm>
              <a:off x="655775" y="2417250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1895" y="0"/>
                  </a:moveTo>
                  <a:cubicBezTo>
                    <a:pt x="852" y="0"/>
                    <a:pt x="1" y="1043"/>
                    <a:pt x="60" y="2276"/>
                  </a:cubicBezTo>
                  <a:lnTo>
                    <a:pt x="60" y="3303"/>
                  </a:lnTo>
                  <a:lnTo>
                    <a:pt x="2805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8" name="Google Shape;8586;p73">
              <a:extLst>
                <a:ext uri="{FF2B5EF4-FFF2-40B4-BE49-F238E27FC236}">
                  <a16:creationId xmlns:a16="http://schemas.microsoft.com/office/drawing/2014/main" id="{D060EBA8-4317-D45D-6B43-12B11A4CDF91}"/>
                </a:ext>
              </a:extLst>
            </p:cNvPr>
            <p:cNvSpPr/>
            <p:nvPr/>
          </p:nvSpPr>
          <p:spPr>
            <a:xfrm>
              <a:off x="657250" y="2513775"/>
              <a:ext cx="68650" cy="84075"/>
            </a:xfrm>
            <a:custGeom>
              <a:avLst/>
              <a:gdLst/>
              <a:ahLst/>
              <a:cxnLst/>
              <a:rect l="l" t="t" r="r" b="b"/>
              <a:pathLst>
                <a:path w="2746" h="3363" extrusionOk="0">
                  <a:moveTo>
                    <a:pt x="2746" y="0"/>
                  </a:moveTo>
                  <a:lnTo>
                    <a:pt x="1894" y="59"/>
                  </a:lnTo>
                  <a:cubicBezTo>
                    <a:pt x="852" y="59"/>
                    <a:pt x="1" y="1101"/>
                    <a:pt x="1" y="2320"/>
                  </a:cubicBezTo>
                  <a:lnTo>
                    <a:pt x="1" y="3362"/>
                  </a:lnTo>
                  <a:lnTo>
                    <a:pt x="274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9" name="Google Shape;8587;p73">
              <a:extLst>
                <a:ext uri="{FF2B5EF4-FFF2-40B4-BE49-F238E27FC236}">
                  <a16:creationId xmlns:a16="http://schemas.microsoft.com/office/drawing/2014/main" id="{EFCB02BB-6FE2-DDB8-F292-38A5EFAC8E43}"/>
                </a:ext>
              </a:extLst>
            </p:cNvPr>
            <p:cNvSpPr/>
            <p:nvPr/>
          </p:nvSpPr>
          <p:spPr>
            <a:xfrm>
              <a:off x="768825" y="2417250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1" y="0"/>
                  </a:moveTo>
                  <a:lnTo>
                    <a:pt x="2819" y="3303"/>
                  </a:lnTo>
                  <a:lnTo>
                    <a:pt x="2819" y="2276"/>
                  </a:lnTo>
                  <a:cubicBezTo>
                    <a:pt x="2819" y="984"/>
                    <a:pt x="1894" y="0"/>
                    <a:pt x="852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0" name="Google Shape;8588;p73">
              <a:extLst>
                <a:ext uri="{FF2B5EF4-FFF2-40B4-BE49-F238E27FC236}">
                  <a16:creationId xmlns:a16="http://schemas.microsoft.com/office/drawing/2014/main" id="{5F2308D3-5F00-363B-2B03-FEA8B02B3A27}"/>
                </a:ext>
              </a:extLst>
            </p:cNvPr>
            <p:cNvSpPr/>
            <p:nvPr/>
          </p:nvSpPr>
          <p:spPr>
            <a:xfrm>
              <a:off x="859125" y="2223100"/>
              <a:ext cx="33425" cy="117825"/>
            </a:xfrm>
            <a:custGeom>
              <a:avLst/>
              <a:gdLst/>
              <a:ahLst/>
              <a:cxnLst/>
              <a:rect l="l" t="t" r="r" b="b"/>
              <a:pathLst>
                <a:path w="1337" h="4713" extrusionOk="0">
                  <a:moveTo>
                    <a:pt x="0" y="0"/>
                  </a:moveTo>
                  <a:lnTo>
                    <a:pt x="59" y="4713"/>
                  </a:lnTo>
                  <a:lnTo>
                    <a:pt x="602" y="3979"/>
                  </a:lnTo>
                  <a:cubicBezTo>
                    <a:pt x="1336" y="3068"/>
                    <a:pt x="1336" y="1600"/>
                    <a:pt x="602" y="67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1" name="Google Shape;8589;p73">
              <a:extLst>
                <a:ext uri="{FF2B5EF4-FFF2-40B4-BE49-F238E27FC236}">
                  <a16:creationId xmlns:a16="http://schemas.microsoft.com/office/drawing/2014/main" id="{639E5859-6F29-82EC-F406-8E2DDED367E0}"/>
                </a:ext>
              </a:extLst>
            </p:cNvPr>
            <p:cNvSpPr/>
            <p:nvPr/>
          </p:nvSpPr>
          <p:spPr>
            <a:xfrm>
              <a:off x="886650" y="2620950"/>
              <a:ext cx="68650" cy="84075"/>
            </a:xfrm>
            <a:custGeom>
              <a:avLst/>
              <a:gdLst/>
              <a:ahLst/>
              <a:cxnLst/>
              <a:rect l="l" t="t" r="r" b="b"/>
              <a:pathLst>
                <a:path w="2746" h="3363" extrusionOk="0">
                  <a:moveTo>
                    <a:pt x="2687" y="0"/>
                  </a:moveTo>
                  <a:lnTo>
                    <a:pt x="0" y="3362"/>
                  </a:lnTo>
                  <a:lnTo>
                    <a:pt x="793" y="3362"/>
                  </a:lnTo>
                  <a:cubicBezTo>
                    <a:pt x="1894" y="3303"/>
                    <a:pt x="2746" y="2261"/>
                    <a:pt x="2746" y="969"/>
                  </a:cubicBezTo>
                  <a:lnTo>
                    <a:pt x="2687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2" name="Google Shape;8590;p73">
              <a:extLst>
                <a:ext uri="{FF2B5EF4-FFF2-40B4-BE49-F238E27FC236}">
                  <a16:creationId xmlns:a16="http://schemas.microsoft.com/office/drawing/2014/main" id="{1E14F08A-CD91-3F6C-9FAE-714302DB0616}"/>
                </a:ext>
              </a:extLst>
            </p:cNvPr>
            <p:cNvSpPr/>
            <p:nvPr/>
          </p:nvSpPr>
          <p:spPr>
            <a:xfrm>
              <a:off x="767350" y="2319625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1" y="0"/>
                  </a:moveTo>
                  <a:lnTo>
                    <a:pt x="2805" y="3303"/>
                  </a:lnTo>
                  <a:lnTo>
                    <a:pt x="2805" y="2261"/>
                  </a:lnTo>
                  <a:cubicBezTo>
                    <a:pt x="2805" y="1042"/>
                    <a:pt x="1953" y="0"/>
                    <a:pt x="91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3" name="Google Shape;8591;p73">
              <a:extLst>
                <a:ext uri="{FF2B5EF4-FFF2-40B4-BE49-F238E27FC236}">
                  <a16:creationId xmlns:a16="http://schemas.microsoft.com/office/drawing/2014/main" id="{D948901E-D427-B00A-AA40-86D457869D9A}"/>
                </a:ext>
              </a:extLst>
            </p:cNvPr>
            <p:cNvSpPr/>
            <p:nvPr/>
          </p:nvSpPr>
          <p:spPr>
            <a:xfrm>
              <a:off x="765900" y="2422025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0" y="0"/>
                  </a:moveTo>
                  <a:lnTo>
                    <a:pt x="0" y="984"/>
                  </a:lnTo>
                  <a:cubicBezTo>
                    <a:pt x="0" y="2261"/>
                    <a:pt x="910" y="3303"/>
                    <a:pt x="1953" y="3303"/>
                  </a:cubicBezTo>
                  <a:lnTo>
                    <a:pt x="2804" y="33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4" name="Google Shape;8592;p73">
              <a:extLst>
                <a:ext uri="{FF2B5EF4-FFF2-40B4-BE49-F238E27FC236}">
                  <a16:creationId xmlns:a16="http://schemas.microsoft.com/office/drawing/2014/main" id="{9BDCA6C1-2DF1-4B4E-8EF2-9B7F9F54B6CD}"/>
                </a:ext>
              </a:extLst>
            </p:cNvPr>
            <p:cNvSpPr/>
            <p:nvPr/>
          </p:nvSpPr>
          <p:spPr>
            <a:xfrm>
              <a:off x="767350" y="2617650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1" y="0"/>
                  </a:moveTo>
                  <a:lnTo>
                    <a:pt x="1" y="984"/>
                  </a:lnTo>
                  <a:cubicBezTo>
                    <a:pt x="1" y="2261"/>
                    <a:pt x="911" y="3303"/>
                    <a:pt x="2012" y="3303"/>
                  </a:cubicBezTo>
                  <a:lnTo>
                    <a:pt x="2805" y="330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5" name="Google Shape;8593;p73">
              <a:extLst>
                <a:ext uri="{FF2B5EF4-FFF2-40B4-BE49-F238E27FC236}">
                  <a16:creationId xmlns:a16="http://schemas.microsoft.com/office/drawing/2014/main" id="{D6324694-39FA-FDA5-E101-531AAA606F0D}"/>
                </a:ext>
              </a:extLst>
            </p:cNvPr>
            <p:cNvSpPr/>
            <p:nvPr/>
          </p:nvSpPr>
          <p:spPr>
            <a:xfrm>
              <a:off x="885175" y="2522950"/>
              <a:ext cx="68650" cy="84075"/>
            </a:xfrm>
            <a:custGeom>
              <a:avLst/>
              <a:gdLst/>
              <a:ahLst/>
              <a:cxnLst/>
              <a:rect l="l" t="t" r="r" b="b"/>
              <a:pathLst>
                <a:path w="2746" h="3363" extrusionOk="0">
                  <a:moveTo>
                    <a:pt x="2746" y="0"/>
                  </a:moveTo>
                  <a:lnTo>
                    <a:pt x="1" y="3362"/>
                  </a:lnTo>
                  <a:lnTo>
                    <a:pt x="793" y="3362"/>
                  </a:lnTo>
                  <a:cubicBezTo>
                    <a:pt x="1894" y="3304"/>
                    <a:pt x="2746" y="2261"/>
                    <a:pt x="2746" y="984"/>
                  </a:cubicBezTo>
                  <a:lnTo>
                    <a:pt x="274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6" name="Google Shape;8594;p73">
              <a:extLst>
                <a:ext uri="{FF2B5EF4-FFF2-40B4-BE49-F238E27FC236}">
                  <a16:creationId xmlns:a16="http://schemas.microsoft.com/office/drawing/2014/main" id="{4AA630FC-0AAC-9EC4-296C-30527B3A6D51}"/>
                </a:ext>
              </a:extLst>
            </p:cNvPr>
            <p:cNvSpPr/>
            <p:nvPr/>
          </p:nvSpPr>
          <p:spPr>
            <a:xfrm>
              <a:off x="883350" y="2327325"/>
              <a:ext cx="69025" cy="84075"/>
            </a:xfrm>
            <a:custGeom>
              <a:avLst/>
              <a:gdLst/>
              <a:ahLst/>
              <a:cxnLst/>
              <a:rect l="l" t="t" r="r" b="b"/>
              <a:pathLst>
                <a:path w="2761" h="3363" extrusionOk="0">
                  <a:moveTo>
                    <a:pt x="2760" y="0"/>
                  </a:moveTo>
                  <a:lnTo>
                    <a:pt x="0" y="3362"/>
                  </a:lnTo>
                  <a:lnTo>
                    <a:pt x="808" y="3362"/>
                  </a:lnTo>
                  <a:cubicBezTo>
                    <a:pt x="1909" y="3362"/>
                    <a:pt x="2760" y="2261"/>
                    <a:pt x="2760" y="969"/>
                  </a:cubicBezTo>
                  <a:lnTo>
                    <a:pt x="2760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7" name="Google Shape;8595;p73">
              <a:extLst>
                <a:ext uri="{FF2B5EF4-FFF2-40B4-BE49-F238E27FC236}">
                  <a16:creationId xmlns:a16="http://schemas.microsoft.com/office/drawing/2014/main" id="{F0536EBB-6B5D-7ABB-B0EE-F480F1A99A72}"/>
                </a:ext>
              </a:extLst>
            </p:cNvPr>
            <p:cNvSpPr/>
            <p:nvPr/>
          </p:nvSpPr>
          <p:spPr>
            <a:xfrm>
              <a:off x="770300" y="2613225"/>
              <a:ext cx="70500" cy="82625"/>
            </a:xfrm>
            <a:custGeom>
              <a:avLst/>
              <a:gdLst/>
              <a:ahLst/>
              <a:cxnLst/>
              <a:rect l="l" t="t" r="r" b="b"/>
              <a:pathLst>
                <a:path w="2820" h="3305" extrusionOk="0">
                  <a:moveTo>
                    <a:pt x="0" y="1"/>
                  </a:moveTo>
                  <a:lnTo>
                    <a:pt x="2819" y="3304"/>
                  </a:lnTo>
                  <a:lnTo>
                    <a:pt x="2819" y="2262"/>
                  </a:lnTo>
                  <a:cubicBezTo>
                    <a:pt x="2819" y="970"/>
                    <a:pt x="1953" y="1"/>
                    <a:pt x="92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8" name="Google Shape;8596;p73">
              <a:extLst>
                <a:ext uri="{FF2B5EF4-FFF2-40B4-BE49-F238E27FC236}">
                  <a16:creationId xmlns:a16="http://schemas.microsoft.com/office/drawing/2014/main" id="{DA9AABE8-7F98-B0AC-E702-FB4944342DC2}"/>
                </a:ext>
              </a:extLst>
            </p:cNvPr>
            <p:cNvSpPr/>
            <p:nvPr/>
          </p:nvSpPr>
          <p:spPr>
            <a:xfrm>
              <a:off x="883350" y="2424950"/>
              <a:ext cx="70475" cy="84075"/>
            </a:xfrm>
            <a:custGeom>
              <a:avLst/>
              <a:gdLst/>
              <a:ahLst/>
              <a:cxnLst/>
              <a:rect l="l" t="t" r="r" b="b"/>
              <a:pathLst>
                <a:path w="2819" h="3363" extrusionOk="0">
                  <a:moveTo>
                    <a:pt x="2760" y="1"/>
                  </a:moveTo>
                  <a:lnTo>
                    <a:pt x="0" y="3362"/>
                  </a:lnTo>
                  <a:lnTo>
                    <a:pt x="866" y="3362"/>
                  </a:lnTo>
                  <a:cubicBezTo>
                    <a:pt x="1909" y="3362"/>
                    <a:pt x="2819" y="2261"/>
                    <a:pt x="2760" y="984"/>
                  </a:cubicBezTo>
                  <a:lnTo>
                    <a:pt x="2760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9" name="Google Shape;8597;p73">
              <a:extLst>
                <a:ext uri="{FF2B5EF4-FFF2-40B4-BE49-F238E27FC236}">
                  <a16:creationId xmlns:a16="http://schemas.microsoft.com/office/drawing/2014/main" id="{9835943E-520E-4FAD-D785-AA9D4863071F}"/>
                </a:ext>
              </a:extLst>
            </p:cNvPr>
            <p:cNvSpPr/>
            <p:nvPr/>
          </p:nvSpPr>
          <p:spPr>
            <a:xfrm>
              <a:off x="770300" y="2515250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0" y="0"/>
                  </a:moveTo>
                  <a:lnTo>
                    <a:pt x="2819" y="3303"/>
                  </a:lnTo>
                  <a:lnTo>
                    <a:pt x="2760" y="2261"/>
                  </a:lnTo>
                  <a:cubicBezTo>
                    <a:pt x="2760" y="984"/>
                    <a:pt x="1894" y="0"/>
                    <a:pt x="852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0" name="Google Shape;8598;p73">
              <a:extLst>
                <a:ext uri="{FF2B5EF4-FFF2-40B4-BE49-F238E27FC236}">
                  <a16:creationId xmlns:a16="http://schemas.microsoft.com/office/drawing/2014/main" id="{4176A480-DA3A-BB86-9F2B-7877ED919593}"/>
                </a:ext>
              </a:extLst>
            </p:cNvPr>
            <p:cNvSpPr/>
            <p:nvPr/>
          </p:nvSpPr>
          <p:spPr>
            <a:xfrm>
              <a:off x="765900" y="2520000"/>
              <a:ext cx="70125" cy="82625"/>
            </a:xfrm>
            <a:custGeom>
              <a:avLst/>
              <a:gdLst/>
              <a:ahLst/>
              <a:cxnLst/>
              <a:rect l="l" t="t" r="r" b="b"/>
              <a:pathLst>
                <a:path w="2805" h="3305" extrusionOk="0">
                  <a:moveTo>
                    <a:pt x="0" y="1"/>
                  </a:moveTo>
                  <a:lnTo>
                    <a:pt x="59" y="970"/>
                  </a:lnTo>
                  <a:cubicBezTo>
                    <a:pt x="59" y="2262"/>
                    <a:pt x="910" y="3304"/>
                    <a:pt x="2011" y="3304"/>
                  </a:cubicBezTo>
                  <a:lnTo>
                    <a:pt x="2804" y="3304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1" name="Google Shape;8599;p73">
              <a:extLst>
                <a:ext uri="{FF2B5EF4-FFF2-40B4-BE49-F238E27FC236}">
                  <a16:creationId xmlns:a16="http://schemas.microsoft.com/office/drawing/2014/main" id="{CB5A15A2-03EA-4241-A08D-5538E2C177EA}"/>
                </a:ext>
              </a:extLst>
            </p:cNvPr>
            <p:cNvSpPr/>
            <p:nvPr/>
          </p:nvSpPr>
          <p:spPr>
            <a:xfrm>
              <a:off x="820950" y="2223100"/>
              <a:ext cx="34900" cy="117825"/>
            </a:xfrm>
            <a:custGeom>
              <a:avLst/>
              <a:gdLst/>
              <a:ahLst/>
              <a:cxnLst/>
              <a:rect l="l" t="t" r="r" b="b"/>
              <a:pathLst>
                <a:path w="1396" h="4713" extrusionOk="0">
                  <a:moveTo>
                    <a:pt x="1336" y="0"/>
                  </a:moveTo>
                  <a:lnTo>
                    <a:pt x="734" y="734"/>
                  </a:lnTo>
                  <a:cubicBezTo>
                    <a:pt x="0" y="1659"/>
                    <a:pt x="0" y="3068"/>
                    <a:pt x="734" y="3920"/>
                  </a:cubicBezTo>
                  <a:lnTo>
                    <a:pt x="1395" y="4713"/>
                  </a:lnTo>
                  <a:lnTo>
                    <a:pt x="133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2" name="Google Shape;8600;p73">
              <a:extLst>
                <a:ext uri="{FF2B5EF4-FFF2-40B4-BE49-F238E27FC236}">
                  <a16:creationId xmlns:a16="http://schemas.microsoft.com/office/drawing/2014/main" id="{2DF6B07A-00C5-A78B-BFA7-36C2E0869ED9}"/>
                </a:ext>
              </a:extLst>
            </p:cNvPr>
            <p:cNvSpPr/>
            <p:nvPr/>
          </p:nvSpPr>
          <p:spPr>
            <a:xfrm>
              <a:off x="764050" y="2324025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1" y="0"/>
                  </a:moveTo>
                  <a:lnTo>
                    <a:pt x="1" y="984"/>
                  </a:lnTo>
                  <a:cubicBezTo>
                    <a:pt x="74" y="2261"/>
                    <a:pt x="926" y="3304"/>
                    <a:pt x="2027" y="3304"/>
                  </a:cubicBezTo>
                  <a:lnTo>
                    <a:pt x="2820" y="3304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3" name="Google Shape;8601;p73">
              <a:extLst>
                <a:ext uri="{FF2B5EF4-FFF2-40B4-BE49-F238E27FC236}">
                  <a16:creationId xmlns:a16="http://schemas.microsoft.com/office/drawing/2014/main" id="{E3F2C717-98CB-3380-C8FC-2FED0864A2B3}"/>
                </a:ext>
              </a:extLst>
            </p:cNvPr>
            <p:cNvSpPr/>
            <p:nvPr/>
          </p:nvSpPr>
          <p:spPr>
            <a:xfrm>
              <a:off x="848475" y="2356325"/>
              <a:ext cx="24250" cy="544325"/>
            </a:xfrm>
            <a:custGeom>
              <a:avLst/>
              <a:gdLst/>
              <a:ahLst/>
              <a:cxnLst/>
              <a:rect l="l" t="t" r="r" b="b"/>
              <a:pathLst>
                <a:path w="970" h="21773" extrusionOk="0">
                  <a:moveTo>
                    <a:pt x="0" y="0"/>
                  </a:moveTo>
                  <a:lnTo>
                    <a:pt x="177" y="21772"/>
                  </a:lnTo>
                  <a:lnTo>
                    <a:pt x="969" y="21713"/>
                  </a:lnTo>
                  <a:lnTo>
                    <a:pt x="734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4" name="Google Shape;8602;p73">
              <a:extLst>
                <a:ext uri="{FF2B5EF4-FFF2-40B4-BE49-F238E27FC236}">
                  <a16:creationId xmlns:a16="http://schemas.microsoft.com/office/drawing/2014/main" id="{9CBEB1FB-7EED-02B5-0FB3-CC4CB598675C}"/>
                </a:ext>
              </a:extLst>
            </p:cNvPr>
            <p:cNvSpPr/>
            <p:nvPr/>
          </p:nvSpPr>
          <p:spPr>
            <a:xfrm>
              <a:off x="878925" y="2324025"/>
              <a:ext cx="68675" cy="82600"/>
            </a:xfrm>
            <a:custGeom>
              <a:avLst/>
              <a:gdLst/>
              <a:ahLst/>
              <a:cxnLst/>
              <a:rect l="l" t="t" r="r" b="b"/>
              <a:pathLst>
                <a:path w="2747" h="3304" extrusionOk="0">
                  <a:moveTo>
                    <a:pt x="1895" y="0"/>
                  </a:moveTo>
                  <a:cubicBezTo>
                    <a:pt x="852" y="0"/>
                    <a:pt x="1" y="1043"/>
                    <a:pt x="1" y="2261"/>
                  </a:cubicBezTo>
                  <a:lnTo>
                    <a:pt x="1" y="3304"/>
                  </a:lnTo>
                  <a:lnTo>
                    <a:pt x="274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5" name="Google Shape;8603;p73">
              <a:extLst>
                <a:ext uri="{FF2B5EF4-FFF2-40B4-BE49-F238E27FC236}">
                  <a16:creationId xmlns:a16="http://schemas.microsoft.com/office/drawing/2014/main" id="{5232430F-CEE0-6634-0FDB-DC21E93569D7}"/>
                </a:ext>
              </a:extLst>
            </p:cNvPr>
            <p:cNvSpPr/>
            <p:nvPr/>
          </p:nvSpPr>
          <p:spPr>
            <a:xfrm>
              <a:off x="881875" y="2616175"/>
              <a:ext cx="69025" cy="84075"/>
            </a:xfrm>
            <a:custGeom>
              <a:avLst/>
              <a:gdLst/>
              <a:ahLst/>
              <a:cxnLst/>
              <a:rect l="l" t="t" r="r" b="b"/>
              <a:pathLst>
                <a:path w="2761" h="3363" extrusionOk="0">
                  <a:moveTo>
                    <a:pt x="1894" y="0"/>
                  </a:moveTo>
                  <a:cubicBezTo>
                    <a:pt x="867" y="59"/>
                    <a:pt x="0" y="1043"/>
                    <a:pt x="0" y="2320"/>
                  </a:cubicBezTo>
                  <a:lnTo>
                    <a:pt x="0" y="3362"/>
                  </a:lnTo>
                  <a:lnTo>
                    <a:pt x="2760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6" name="Google Shape;8604;p73">
              <a:extLst>
                <a:ext uri="{FF2B5EF4-FFF2-40B4-BE49-F238E27FC236}">
                  <a16:creationId xmlns:a16="http://schemas.microsoft.com/office/drawing/2014/main" id="{FB01D25D-19EA-1A9F-B17A-CF83D88201B6}"/>
                </a:ext>
              </a:extLst>
            </p:cNvPr>
            <p:cNvSpPr/>
            <p:nvPr/>
          </p:nvSpPr>
          <p:spPr>
            <a:xfrm>
              <a:off x="880400" y="2422025"/>
              <a:ext cx="69025" cy="82600"/>
            </a:xfrm>
            <a:custGeom>
              <a:avLst/>
              <a:gdLst/>
              <a:ahLst/>
              <a:cxnLst/>
              <a:rect l="l" t="t" r="r" b="b"/>
              <a:pathLst>
                <a:path w="2761" h="3304" extrusionOk="0">
                  <a:moveTo>
                    <a:pt x="1895" y="0"/>
                  </a:moveTo>
                  <a:cubicBezTo>
                    <a:pt x="852" y="0"/>
                    <a:pt x="1" y="1042"/>
                    <a:pt x="1" y="2261"/>
                  </a:cubicBezTo>
                  <a:lnTo>
                    <a:pt x="1" y="3303"/>
                  </a:lnTo>
                  <a:lnTo>
                    <a:pt x="276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7" name="Google Shape;8605;p73">
              <a:extLst>
                <a:ext uri="{FF2B5EF4-FFF2-40B4-BE49-F238E27FC236}">
                  <a16:creationId xmlns:a16="http://schemas.microsoft.com/office/drawing/2014/main" id="{7905F939-3D6C-944D-761E-E2EA86EA9FAD}"/>
                </a:ext>
              </a:extLst>
            </p:cNvPr>
            <p:cNvSpPr/>
            <p:nvPr/>
          </p:nvSpPr>
          <p:spPr>
            <a:xfrm>
              <a:off x="880400" y="2518175"/>
              <a:ext cx="70500" cy="84450"/>
            </a:xfrm>
            <a:custGeom>
              <a:avLst/>
              <a:gdLst/>
              <a:ahLst/>
              <a:cxnLst/>
              <a:rect l="l" t="t" r="r" b="b"/>
              <a:pathLst>
                <a:path w="2820" h="3378" extrusionOk="0">
                  <a:moveTo>
                    <a:pt x="2819" y="1"/>
                  </a:moveTo>
                  <a:lnTo>
                    <a:pt x="1895" y="74"/>
                  </a:lnTo>
                  <a:cubicBezTo>
                    <a:pt x="852" y="74"/>
                    <a:pt x="1" y="1102"/>
                    <a:pt x="59" y="2335"/>
                  </a:cubicBezTo>
                  <a:lnTo>
                    <a:pt x="59" y="3377"/>
                  </a:lnTo>
                  <a:lnTo>
                    <a:pt x="2819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8" name="Google Shape;8606;p73">
              <a:extLst>
                <a:ext uri="{FF2B5EF4-FFF2-40B4-BE49-F238E27FC236}">
                  <a16:creationId xmlns:a16="http://schemas.microsoft.com/office/drawing/2014/main" id="{45732978-C73E-6F3C-940C-4E8E7A433FDA}"/>
                </a:ext>
              </a:extLst>
            </p:cNvPr>
            <p:cNvSpPr/>
            <p:nvPr/>
          </p:nvSpPr>
          <p:spPr>
            <a:xfrm>
              <a:off x="996750" y="2417250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1" y="0"/>
                  </a:moveTo>
                  <a:lnTo>
                    <a:pt x="2805" y="3303"/>
                  </a:lnTo>
                  <a:lnTo>
                    <a:pt x="2805" y="2276"/>
                  </a:lnTo>
                  <a:cubicBezTo>
                    <a:pt x="2805" y="1043"/>
                    <a:pt x="1953" y="0"/>
                    <a:pt x="91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9" name="Google Shape;8607;p73">
              <a:extLst>
                <a:ext uri="{FF2B5EF4-FFF2-40B4-BE49-F238E27FC236}">
                  <a16:creationId xmlns:a16="http://schemas.microsoft.com/office/drawing/2014/main" id="{1F32613B-54DE-A8E3-F638-1B384CE28A93}"/>
                </a:ext>
              </a:extLst>
            </p:cNvPr>
            <p:cNvSpPr/>
            <p:nvPr/>
          </p:nvSpPr>
          <p:spPr>
            <a:xfrm>
              <a:off x="1087050" y="2223100"/>
              <a:ext cx="34875" cy="117825"/>
            </a:xfrm>
            <a:custGeom>
              <a:avLst/>
              <a:gdLst/>
              <a:ahLst/>
              <a:cxnLst/>
              <a:rect l="l" t="t" r="r" b="b"/>
              <a:pathLst>
                <a:path w="1395" h="4713" extrusionOk="0">
                  <a:moveTo>
                    <a:pt x="0" y="0"/>
                  </a:moveTo>
                  <a:lnTo>
                    <a:pt x="59" y="4713"/>
                  </a:lnTo>
                  <a:lnTo>
                    <a:pt x="602" y="3979"/>
                  </a:lnTo>
                  <a:cubicBezTo>
                    <a:pt x="1395" y="3068"/>
                    <a:pt x="1395" y="1600"/>
                    <a:pt x="602" y="67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0" name="Google Shape;8608;p73">
              <a:extLst>
                <a:ext uri="{FF2B5EF4-FFF2-40B4-BE49-F238E27FC236}">
                  <a16:creationId xmlns:a16="http://schemas.microsoft.com/office/drawing/2014/main" id="{362D8B4A-0FBD-6F71-F7D1-4044A2AB28F0}"/>
                </a:ext>
              </a:extLst>
            </p:cNvPr>
            <p:cNvSpPr/>
            <p:nvPr/>
          </p:nvSpPr>
          <p:spPr>
            <a:xfrm>
              <a:off x="1114575" y="2620950"/>
              <a:ext cx="68650" cy="84075"/>
            </a:xfrm>
            <a:custGeom>
              <a:avLst/>
              <a:gdLst/>
              <a:ahLst/>
              <a:cxnLst/>
              <a:rect l="l" t="t" r="r" b="b"/>
              <a:pathLst>
                <a:path w="2746" h="3363" extrusionOk="0">
                  <a:moveTo>
                    <a:pt x="2745" y="0"/>
                  </a:moveTo>
                  <a:lnTo>
                    <a:pt x="0" y="3362"/>
                  </a:lnTo>
                  <a:lnTo>
                    <a:pt x="793" y="3362"/>
                  </a:lnTo>
                  <a:cubicBezTo>
                    <a:pt x="1894" y="3362"/>
                    <a:pt x="2745" y="2261"/>
                    <a:pt x="2745" y="969"/>
                  </a:cubicBezTo>
                  <a:lnTo>
                    <a:pt x="2745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1" name="Google Shape;8609;p73">
              <a:extLst>
                <a:ext uri="{FF2B5EF4-FFF2-40B4-BE49-F238E27FC236}">
                  <a16:creationId xmlns:a16="http://schemas.microsoft.com/office/drawing/2014/main" id="{849D5E3D-5A70-8237-305A-E5EC59917191}"/>
                </a:ext>
              </a:extLst>
            </p:cNvPr>
            <p:cNvSpPr/>
            <p:nvPr/>
          </p:nvSpPr>
          <p:spPr>
            <a:xfrm>
              <a:off x="996750" y="2319625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852" y="0"/>
                  </a:moveTo>
                  <a:lnTo>
                    <a:pt x="1" y="59"/>
                  </a:lnTo>
                  <a:lnTo>
                    <a:pt x="2805" y="3303"/>
                  </a:lnTo>
                  <a:lnTo>
                    <a:pt x="2746" y="2261"/>
                  </a:lnTo>
                  <a:cubicBezTo>
                    <a:pt x="2746" y="1042"/>
                    <a:pt x="1894" y="0"/>
                    <a:pt x="852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2" name="Google Shape;8610;p73">
              <a:extLst>
                <a:ext uri="{FF2B5EF4-FFF2-40B4-BE49-F238E27FC236}">
                  <a16:creationId xmlns:a16="http://schemas.microsoft.com/office/drawing/2014/main" id="{C87C2D13-E457-FBB0-E57C-80626E7C1688}"/>
                </a:ext>
              </a:extLst>
            </p:cNvPr>
            <p:cNvSpPr/>
            <p:nvPr/>
          </p:nvSpPr>
          <p:spPr>
            <a:xfrm>
              <a:off x="993450" y="2422025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0" y="0"/>
                  </a:moveTo>
                  <a:lnTo>
                    <a:pt x="0" y="984"/>
                  </a:lnTo>
                  <a:cubicBezTo>
                    <a:pt x="74" y="2261"/>
                    <a:pt x="925" y="3303"/>
                    <a:pt x="2026" y="3303"/>
                  </a:cubicBezTo>
                  <a:lnTo>
                    <a:pt x="2819" y="33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3" name="Google Shape;8611;p73">
              <a:extLst>
                <a:ext uri="{FF2B5EF4-FFF2-40B4-BE49-F238E27FC236}">
                  <a16:creationId xmlns:a16="http://schemas.microsoft.com/office/drawing/2014/main" id="{084825AE-07D5-A92A-BF3E-CE1312765BDF}"/>
                </a:ext>
              </a:extLst>
            </p:cNvPr>
            <p:cNvSpPr/>
            <p:nvPr/>
          </p:nvSpPr>
          <p:spPr>
            <a:xfrm>
              <a:off x="995275" y="2617650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1" y="0"/>
                  </a:moveTo>
                  <a:lnTo>
                    <a:pt x="60" y="984"/>
                  </a:lnTo>
                  <a:cubicBezTo>
                    <a:pt x="60" y="2261"/>
                    <a:pt x="911" y="3303"/>
                    <a:pt x="2012" y="3303"/>
                  </a:cubicBezTo>
                  <a:lnTo>
                    <a:pt x="2805" y="330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4" name="Google Shape;8612;p73">
              <a:extLst>
                <a:ext uri="{FF2B5EF4-FFF2-40B4-BE49-F238E27FC236}">
                  <a16:creationId xmlns:a16="http://schemas.microsoft.com/office/drawing/2014/main" id="{081FA1B6-7F01-9A7D-8A92-A1AF43641F5C}"/>
                </a:ext>
              </a:extLst>
            </p:cNvPr>
            <p:cNvSpPr/>
            <p:nvPr/>
          </p:nvSpPr>
          <p:spPr>
            <a:xfrm>
              <a:off x="1112725" y="2522950"/>
              <a:ext cx="70500" cy="84075"/>
            </a:xfrm>
            <a:custGeom>
              <a:avLst/>
              <a:gdLst/>
              <a:ahLst/>
              <a:cxnLst/>
              <a:rect l="l" t="t" r="r" b="b"/>
              <a:pathLst>
                <a:path w="2820" h="3363" extrusionOk="0">
                  <a:moveTo>
                    <a:pt x="2761" y="0"/>
                  </a:moveTo>
                  <a:lnTo>
                    <a:pt x="1" y="3362"/>
                  </a:lnTo>
                  <a:lnTo>
                    <a:pt x="867" y="3362"/>
                  </a:lnTo>
                  <a:cubicBezTo>
                    <a:pt x="1909" y="3362"/>
                    <a:pt x="2819" y="2261"/>
                    <a:pt x="2761" y="984"/>
                  </a:cubicBezTo>
                  <a:lnTo>
                    <a:pt x="276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5" name="Google Shape;8613;p73">
              <a:extLst>
                <a:ext uri="{FF2B5EF4-FFF2-40B4-BE49-F238E27FC236}">
                  <a16:creationId xmlns:a16="http://schemas.microsoft.com/office/drawing/2014/main" id="{02BD544E-66B3-9028-E29D-B2F46305703D}"/>
                </a:ext>
              </a:extLst>
            </p:cNvPr>
            <p:cNvSpPr/>
            <p:nvPr/>
          </p:nvSpPr>
          <p:spPr>
            <a:xfrm>
              <a:off x="1111250" y="2327325"/>
              <a:ext cx="69025" cy="84075"/>
            </a:xfrm>
            <a:custGeom>
              <a:avLst/>
              <a:gdLst/>
              <a:ahLst/>
              <a:cxnLst/>
              <a:rect l="l" t="t" r="r" b="b"/>
              <a:pathLst>
                <a:path w="2761" h="3363" extrusionOk="0">
                  <a:moveTo>
                    <a:pt x="2761" y="0"/>
                  </a:moveTo>
                  <a:lnTo>
                    <a:pt x="1" y="3362"/>
                  </a:lnTo>
                  <a:lnTo>
                    <a:pt x="794" y="3362"/>
                  </a:lnTo>
                  <a:cubicBezTo>
                    <a:pt x="1895" y="3362"/>
                    <a:pt x="2761" y="2261"/>
                    <a:pt x="2761" y="969"/>
                  </a:cubicBezTo>
                  <a:lnTo>
                    <a:pt x="276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6" name="Google Shape;8614;p73">
              <a:extLst>
                <a:ext uri="{FF2B5EF4-FFF2-40B4-BE49-F238E27FC236}">
                  <a16:creationId xmlns:a16="http://schemas.microsoft.com/office/drawing/2014/main" id="{FE09D204-32B6-5F94-543B-98171EE62CF4}"/>
                </a:ext>
              </a:extLst>
            </p:cNvPr>
            <p:cNvSpPr/>
            <p:nvPr/>
          </p:nvSpPr>
          <p:spPr>
            <a:xfrm>
              <a:off x="999675" y="2613225"/>
              <a:ext cx="70500" cy="82625"/>
            </a:xfrm>
            <a:custGeom>
              <a:avLst/>
              <a:gdLst/>
              <a:ahLst/>
              <a:cxnLst/>
              <a:rect l="l" t="t" r="r" b="b"/>
              <a:pathLst>
                <a:path w="2820" h="3305" extrusionOk="0">
                  <a:moveTo>
                    <a:pt x="1" y="1"/>
                  </a:moveTo>
                  <a:lnTo>
                    <a:pt x="2820" y="3304"/>
                  </a:lnTo>
                  <a:lnTo>
                    <a:pt x="2820" y="3304"/>
                  </a:lnTo>
                  <a:lnTo>
                    <a:pt x="2761" y="2262"/>
                  </a:lnTo>
                  <a:cubicBezTo>
                    <a:pt x="2761" y="970"/>
                    <a:pt x="1895" y="1"/>
                    <a:pt x="852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7" name="Google Shape;8615;p73">
              <a:extLst>
                <a:ext uri="{FF2B5EF4-FFF2-40B4-BE49-F238E27FC236}">
                  <a16:creationId xmlns:a16="http://schemas.microsoft.com/office/drawing/2014/main" id="{F145A2F0-8996-8EAA-D6F0-BD271E0B5D68}"/>
                </a:ext>
              </a:extLst>
            </p:cNvPr>
            <p:cNvSpPr/>
            <p:nvPr/>
          </p:nvSpPr>
          <p:spPr>
            <a:xfrm>
              <a:off x="1112725" y="2424950"/>
              <a:ext cx="69025" cy="84075"/>
            </a:xfrm>
            <a:custGeom>
              <a:avLst/>
              <a:gdLst/>
              <a:ahLst/>
              <a:cxnLst/>
              <a:rect l="l" t="t" r="r" b="b"/>
              <a:pathLst>
                <a:path w="2761" h="3363" extrusionOk="0">
                  <a:moveTo>
                    <a:pt x="2761" y="1"/>
                  </a:moveTo>
                  <a:lnTo>
                    <a:pt x="1" y="3362"/>
                  </a:lnTo>
                  <a:lnTo>
                    <a:pt x="808" y="3362"/>
                  </a:lnTo>
                  <a:cubicBezTo>
                    <a:pt x="1909" y="3362"/>
                    <a:pt x="2761" y="2261"/>
                    <a:pt x="2761" y="984"/>
                  </a:cubicBezTo>
                  <a:lnTo>
                    <a:pt x="2761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8" name="Google Shape;8616;p73">
              <a:extLst>
                <a:ext uri="{FF2B5EF4-FFF2-40B4-BE49-F238E27FC236}">
                  <a16:creationId xmlns:a16="http://schemas.microsoft.com/office/drawing/2014/main" id="{5806CC83-474D-C980-4BED-0AC2BFF6F23E}"/>
                </a:ext>
              </a:extLst>
            </p:cNvPr>
            <p:cNvSpPr/>
            <p:nvPr/>
          </p:nvSpPr>
          <p:spPr>
            <a:xfrm>
              <a:off x="998225" y="2515250"/>
              <a:ext cx="70475" cy="82600"/>
            </a:xfrm>
            <a:custGeom>
              <a:avLst/>
              <a:gdLst/>
              <a:ahLst/>
              <a:cxnLst/>
              <a:rect l="l" t="t" r="r" b="b"/>
              <a:pathLst>
                <a:path w="2819" h="3304" extrusionOk="0">
                  <a:moveTo>
                    <a:pt x="0" y="0"/>
                  </a:moveTo>
                  <a:lnTo>
                    <a:pt x="2819" y="3303"/>
                  </a:lnTo>
                  <a:lnTo>
                    <a:pt x="2819" y="2261"/>
                  </a:lnTo>
                  <a:cubicBezTo>
                    <a:pt x="2819" y="1042"/>
                    <a:pt x="1894" y="0"/>
                    <a:pt x="852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9" name="Google Shape;8617;p73">
              <a:extLst>
                <a:ext uri="{FF2B5EF4-FFF2-40B4-BE49-F238E27FC236}">
                  <a16:creationId xmlns:a16="http://schemas.microsoft.com/office/drawing/2014/main" id="{55A5C451-74DC-3E19-8C7D-A210FF9D0DAE}"/>
                </a:ext>
              </a:extLst>
            </p:cNvPr>
            <p:cNvSpPr/>
            <p:nvPr/>
          </p:nvSpPr>
          <p:spPr>
            <a:xfrm>
              <a:off x="995275" y="2520000"/>
              <a:ext cx="70125" cy="82625"/>
            </a:xfrm>
            <a:custGeom>
              <a:avLst/>
              <a:gdLst/>
              <a:ahLst/>
              <a:cxnLst/>
              <a:rect l="l" t="t" r="r" b="b"/>
              <a:pathLst>
                <a:path w="2805" h="3305" extrusionOk="0">
                  <a:moveTo>
                    <a:pt x="1" y="1"/>
                  </a:moveTo>
                  <a:lnTo>
                    <a:pt x="1" y="970"/>
                  </a:lnTo>
                  <a:cubicBezTo>
                    <a:pt x="1" y="2262"/>
                    <a:pt x="911" y="3304"/>
                    <a:pt x="1953" y="3304"/>
                  </a:cubicBezTo>
                  <a:lnTo>
                    <a:pt x="2805" y="330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0" name="Google Shape;8618;p73">
              <a:extLst>
                <a:ext uri="{FF2B5EF4-FFF2-40B4-BE49-F238E27FC236}">
                  <a16:creationId xmlns:a16="http://schemas.microsoft.com/office/drawing/2014/main" id="{D88303D3-9304-6C37-1441-3E8A7450729B}"/>
                </a:ext>
              </a:extLst>
            </p:cNvPr>
            <p:cNvSpPr/>
            <p:nvPr/>
          </p:nvSpPr>
          <p:spPr>
            <a:xfrm>
              <a:off x="1048500" y="2223100"/>
              <a:ext cx="35250" cy="117825"/>
            </a:xfrm>
            <a:custGeom>
              <a:avLst/>
              <a:gdLst/>
              <a:ahLst/>
              <a:cxnLst/>
              <a:rect l="l" t="t" r="r" b="b"/>
              <a:pathLst>
                <a:path w="1410" h="4713" extrusionOk="0">
                  <a:moveTo>
                    <a:pt x="1351" y="0"/>
                  </a:moveTo>
                  <a:lnTo>
                    <a:pt x="735" y="734"/>
                  </a:lnTo>
                  <a:cubicBezTo>
                    <a:pt x="1" y="1659"/>
                    <a:pt x="74" y="3068"/>
                    <a:pt x="808" y="3979"/>
                  </a:cubicBezTo>
                  <a:lnTo>
                    <a:pt x="1410" y="4713"/>
                  </a:lnTo>
                  <a:lnTo>
                    <a:pt x="135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1" name="Google Shape;8619;p73">
              <a:extLst>
                <a:ext uri="{FF2B5EF4-FFF2-40B4-BE49-F238E27FC236}">
                  <a16:creationId xmlns:a16="http://schemas.microsoft.com/office/drawing/2014/main" id="{8D24D3B8-1AF8-475F-598F-1A918BF353AA}"/>
                </a:ext>
              </a:extLst>
            </p:cNvPr>
            <p:cNvSpPr/>
            <p:nvPr/>
          </p:nvSpPr>
          <p:spPr>
            <a:xfrm>
              <a:off x="993450" y="2324025"/>
              <a:ext cx="69025" cy="82600"/>
            </a:xfrm>
            <a:custGeom>
              <a:avLst/>
              <a:gdLst/>
              <a:ahLst/>
              <a:cxnLst/>
              <a:rect l="l" t="t" r="r" b="b"/>
              <a:pathLst>
                <a:path w="2761" h="3304" extrusionOk="0">
                  <a:moveTo>
                    <a:pt x="0" y="0"/>
                  </a:moveTo>
                  <a:lnTo>
                    <a:pt x="0" y="984"/>
                  </a:lnTo>
                  <a:cubicBezTo>
                    <a:pt x="0" y="2261"/>
                    <a:pt x="925" y="3304"/>
                    <a:pt x="1968" y="3304"/>
                  </a:cubicBezTo>
                  <a:lnTo>
                    <a:pt x="2760" y="33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2" name="Google Shape;8620;p73">
              <a:extLst>
                <a:ext uri="{FF2B5EF4-FFF2-40B4-BE49-F238E27FC236}">
                  <a16:creationId xmlns:a16="http://schemas.microsoft.com/office/drawing/2014/main" id="{2864D216-F286-C6D2-DA7C-0157198D2CC0}"/>
                </a:ext>
              </a:extLst>
            </p:cNvPr>
            <p:cNvSpPr/>
            <p:nvPr/>
          </p:nvSpPr>
          <p:spPr>
            <a:xfrm>
              <a:off x="1076025" y="2356325"/>
              <a:ext cx="24625" cy="544325"/>
            </a:xfrm>
            <a:custGeom>
              <a:avLst/>
              <a:gdLst/>
              <a:ahLst/>
              <a:cxnLst/>
              <a:rect l="l" t="t" r="r" b="b"/>
              <a:pathLst>
                <a:path w="985" h="21773" extrusionOk="0">
                  <a:moveTo>
                    <a:pt x="1" y="0"/>
                  </a:moveTo>
                  <a:lnTo>
                    <a:pt x="250" y="21772"/>
                  </a:lnTo>
                  <a:lnTo>
                    <a:pt x="984" y="21772"/>
                  </a:lnTo>
                  <a:lnTo>
                    <a:pt x="808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3" name="Google Shape;8621;p73">
              <a:extLst>
                <a:ext uri="{FF2B5EF4-FFF2-40B4-BE49-F238E27FC236}">
                  <a16:creationId xmlns:a16="http://schemas.microsoft.com/office/drawing/2014/main" id="{902FA10F-F337-EB8C-C1BD-9F716C3078E2}"/>
                </a:ext>
              </a:extLst>
            </p:cNvPr>
            <p:cNvSpPr/>
            <p:nvPr/>
          </p:nvSpPr>
          <p:spPr>
            <a:xfrm>
              <a:off x="1106850" y="2324025"/>
              <a:ext cx="70125" cy="84075"/>
            </a:xfrm>
            <a:custGeom>
              <a:avLst/>
              <a:gdLst/>
              <a:ahLst/>
              <a:cxnLst/>
              <a:rect l="l" t="t" r="r" b="b"/>
              <a:pathLst>
                <a:path w="2805" h="3363" extrusionOk="0">
                  <a:moveTo>
                    <a:pt x="1895" y="0"/>
                  </a:moveTo>
                  <a:cubicBezTo>
                    <a:pt x="852" y="0"/>
                    <a:pt x="1" y="1043"/>
                    <a:pt x="60" y="2261"/>
                  </a:cubicBezTo>
                  <a:lnTo>
                    <a:pt x="60" y="3362"/>
                  </a:lnTo>
                  <a:lnTo>
                    <a:pt x="2805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4" name="Google Shape;8622;p73">
              <a:extLst>
                <a:ext uri="{FF2B5EF4-FFF2-40B4-BE49-F238E27FC236}">
                  <a16:creationId xmlns:a16="http://schemas.microsoft.com/office/drawing/2014/main" id="{8D6BBCE1-DD4C-871F-FFAE-D4447AAB9644}"/>
                </a:ext>
              </a:extLst>
            </p:cNvPr>
            <p:cNvSpPr/>
            <p:nvPr/>
          </p:nvSpPr>
          <p:spPr>
            <a:xfrm>
              <a:off x="1109800" y="2617650"/>
              <a:ext cx="70475" cy="82600"/>
            </a:xfrm>
            <a:custGeom>
              <a:avLst/>
              <a:gdLst/>
              <a:ahLst/>
              <a:cxnLst/>
              <a:rect l="l" t="t" r="r" b="b"/>
              <a:pathLst>
                <a:path w="2819" h="3304" extrusionOk="0">
                  <a:moveTo>
                    <a:pt x="1894" y="0"/>
                  </a:moveTo>
                  <a:cubicBezTo>
                    <a:pt x="852" y="0"/>
                    <a:pt x="0" y="1042"/>
                    <a:pt x="59" y="2261"/>
                  </a:cubicBezTo>
                  <a:lnTo>
                    <a:pt x="59" y="3303"/>
                  </a:lnTo>
                  <a:lnTo>
                    <a:pt x="2819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5" name="Google Shape;8623;p73">
              <a:extLst>
                <a:ext uri="{FF2B5EF4-FFF2-40B4-BE49-F238E27FC236}">
                  <a16:creationId xmlns:a16="http://schemas.microsoft.com/office/drawing/2014/main" id="{95AFFE84-59B9-BA13-620A-45BB8746B358}"/>
                </a:ext>
              </a:extLst>
            </p:cNvPr>
            <p:cNvSpPr/>
            <p:nvPr/>
          </p:nvSpPr>
          <p:spPr>
            <a:xfrm>
              <a:off x="1108325" y="2422025"/>
              <a:ext cx="68650" cy="84075"/>
            </a:xfrm>
            <a:custGeom>
              <a:avLst/>
              <a:gdLst/>
              <a:ahLst/>
              <a:cxnLst/>
              <a:rect l="l" t="t" r="r" b="b"/>
              <a:pathLst>
                <a:path w="2746" h="3363" extrusionOk="0">
                  <a:moveTo>
                    <a:pt x="1894" y="0"/>
                  </a:moveTo>
                  <a:cubicBezTo>
                    <a:pt x="852" y="0"/>
                    <a:pt x="1" y="1042"/>
                    <a:pt x="1" y="2261"/>
                  </a:cubicBezTo>
                  <a:lnTo>
                    <a:pt x="59" y="3362"/>
                  </a:lnTo>
                  <a:lnTo>
                    <a:pt x="274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6" name="Google Shape;8624;p73">
              <a:extLst>
                <a:ext uri="{FF2B5EF4-FFF2-40B4-BE49-F238E27FC236}">
                  <a16:creationId xmlns:a16="http://schemas.microsoft.com/office/drawing/2014/main" id="{1383BF03-C816-3102-4976-F13CD5BDFEB8}"/>
                </a:ext>
              </a:extLst>
            </p:cNvPr>
            <p:cNvSpPr/>
            <p:nvPr/>
          </p:nvSpPr>
          <p:spPr>
            <a:xfrm>
              <a:off x="1109800" y="2520000"/>
              <a:ext cx="69025" cy="82625"/>
            </a:xfrm>
            <a:custGeom>
              <a:avLst/>
              <a:gdLst/>
              <a:ahLst/>
              <a:cxnLst/>
              <a:rect l="l" t="t" r="r" b="b"/>
              <a:pathLst>
                <a:path w="2761" h="3305" extrusionOk="0">
                  <a:moveTo>
                    <a:pt x="1894" y="1"/>
                  </a:moveTo>
                  <a:cubicBezTo>
                    <a:pt x="852" y="1"/>
                    <a:pt x="0" y="1029"/>
                    <a:pt x="0" y="2262"/>
                  </a:cubicBezTo>
                  <a:lnTo>
                    <a:pt x="0" y="3304"/>
                  </a:lnTo>
                  <a:lnTo>
                    <a:pt x="2760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7" name="Google Shape;8625;p73">
              <a:extLst>
                <a:ext uri="{FF2B5EF4-FFF2-40B4-BE49-F238E27FC236}">
                  <a16:creationId xmlns:a16="http://schemas.microsoft.com/office/drawing/2014/main" id="{E4A98448-8BFB-105C-876D-7778FBFBF301}"/>
                </a:ext>
              </a:extLst>
            </p:cNvPr>
            <p:cNvSpPr/>
            <p:nvPr/>
          </p:nvSpPr>
          <p:spPr>
            <a:xfrm>
              <a:off x="296100" y="2949425"/>
              <a:ext cx="1965450" cy="15450"/>
            </a:xfrm>
            <a:custGeom>
              <a:avLst/>
              <a:gdLst/>
              <a:ahLst/>
              <a:cxnLst/>
              <a:rect l="l" t="t" r="r" b="b"/>
              <a:pathLst>
                <a:path w="78618" h="618" extrusionOk="0">
                  <a:moveTo>
                    <a:pt x="1" y="1"/>
                  </a:moveTo>
                  <a:lnTo>
                    <a:pt x="1" y="617"/>
                  </a:lnTo>
                  <a:lnTo>
                    <a:pt x="78617" y="617"/>
                  </a:lnTo>
                  <a:lnTo>
                    <a:pt x="7861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8" name="Google Shape;8626;p73">
              <a:extLst>
                <a:ext uri="{FF2B5EF4-FFF2-40B4-BE49-F238E27FC236}">
                  <a16:creationId xmlns:a16="http://schemas.microsoft.com/office/drawing/2014/main" id="{94FA196C-E40C-20B8-A2A7-64864705513B}"/>
                </a:ext>
              </a:extLst>
            </p:cNvPr>
            <p:cNvSpPr/>
            <p:nvPr/>
          </p:nvSpPr>
          <p:spPr>
            <a:xfrm>
              <a:off x="236650" y="3975625"/>
              <a:ext cx="2329150" cy="15425"/>
            </a:xfrm>
            <a:custGeom>
              <a:avLst/>
              <a:gdLst/>
              <a:ahLst/>
              <a:cxnLst/>
              <a:rect l="l" t="t" r="r" b="b"/>
              <a:pathLst>
                <a:path w="93166" h="617" extrusionOk="0">
                  <a:moveTo>
                    <a:pt x="0" y="0"/>
                  </a:moveTo>
                  <a:lnTo>
                    <a:pt x="0" y="617"/>
                  </a:lnTo>
                  <a:lnTo>
                    <a:pt x="93166" y="617"/>
                  </a:lnTo>
                  <a:lnTo>
                    <a:pt x="9316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9" name="Google Shape;8627;p73">
              <a:extLst>
                <a:ext uri="{FF2B5EF4-FFF2-40B4-BE49-F238E27FC236}">
                  <a16:creationId xmlns:a16="http://schemas.microsoft.com/office/drawing/2014/main" id="{EB5CDDD4-FA46-0535-727C-CB7A413B354C}"/>
                </a:ext>
              </a:extLst>
            </p:cNvPr>
            <p:cNvSpPr/>
            <p:nvPr/>
          </p:nvSpPr>
          <p:spPr>
            <a:xfrm>
              <a:off x="6095075" y="993575"/>
              <a:ext cx="148675" cy="339700"/>
            </a:xfrm>
            <a:custGeom>
              <a:avLst/>
              <a:gdLst/>
              <a:ahLst/>
              <a:cxnLst/>
              <a:rect l="l" t="t" r="r" b="b"/>
              <a:pathLst>
                <a:path w="5947" h="13588" extrusionOk="0">
                  <a:moveTo>
                    <a:pt x="617" y="0"/>
                  </a:moveTo>
                  <a:cubicBezTo>
                    <a:pt x="309" y="0"/>
                    <a:pt x="74" y="250"/>
                    <a:pt x="74" y="558"/>
                  </a:cubicBezTo>
                  <a:lnTo>
                    <a:pt x="1" y="5388"/>
                  </a:lnTo>
                  <a:cubicBezTo>
                    <a:pt x="1" y="5665"/>
                    <a:pt x="250" y="5942"/>
                    <a:pt x="566" y="5942"/>
                  </a:cubicBezTo>
                  <a:cubicBezTo>
                    <a:pt x="602" y="5942"/>
                    <a:pt x="639" y="5939"/>
                    <a:pt x="676" y="5931"/>
                  </a:cubicBezTo>
                  <a:cubicBezTo>
                    <a:pt x="925" y="5872"/>
                    <a:pt x="1102" y="5638"/>
                    <a:pt x="1102" y="5329"/>
                  </a:cubicBezTo>
                  <a:lnTo>
                    <a:pt x="1175" y="1659"/>
                  </a:lnTo>
                  <a:cubicBezTo>
                    <a:pt x="1175" y="1600"/>
                    <a:pt x="1234" y="1468"/>
                    <a:pt x="1351" y="1468"/>
                  </a:cubicBezTo>
                  <a:cubicBezTo>
                    <a:pt x="1410" y="1468"/>
                    <a:pt x="1469" y="1600"/>
                    <a:pt x="1469" y="1659"/>
                  </a:cubicBezTo>
                  <a:lnTo>
                    <a:pt x="1410" y="13037"/>
                  </a:lnTo>
                  <a:cubicBezTo>
                    <a:pt x="1410" y="13318"/>
                    <a:pt x="1667" y="13587"/>
                    <a:pt x="1991" y="13587"/>
                  </a:cubicBezTo>
                  <a:cubicBezTo>
                    <a:pt x="2022" y="13587"/>
                    <a:pt x="2053" y="13585"/>
                    <a:pt x="2085" y="13580"/>
                  </a:cubicBezTo>
                  <a:cubicBezTo>
                    <a:pt x="2335" y="13521"/>
                    <a:pt x="2511" y="13272"/>
                    <a:pt x="2511" y="12978"/>
                  </a:cubicBezTo>
                  <a:lnTo>
                    <a:pt x="2643" y="6489"/>
                  </a:lnTo>
                  <a:cubicBezTo>
                    <a:pt x="2643" y="6430"/>
                    <a:pt x="2702" y="6372"/>
                    <a:pt x="2761" y="6372"/>
                  </a:cubicBezTo>
                  <a:lnTo>
                    <a:pt x="3245" y="6372"/>
                  </a:lnTo>
                  <a:cubicBezTo>
                    <a:pt x="3304" y="6372"/>
                    <a:pt x="3377" y="6372"/>
                    <a:pt x="3377" y="6430"/>
                  </a:cubicBezTo>
                  <a:lnTo>
                    <a:pt x="3495" y="13037"/>
                  </a:lnTo>
                  <a:cubicBezTo>
                    <a:pt x="3495" y="13318"/>
                    <a:pt x="3752" y="13587"/>
                    <a:pt x="4076" y="13587"/>
                  </a:cubicBezTo>
                  <a:cubicBezTo>
                    <a:pt x="4107" y="13587"/>
                    <a:pt x="4138" y="13585"/>
                    <a:pt x="4170" y="13580"/>
                  </a:cubicBezTo>
                  <a:cubicBezTo>
                    <a:pt x="4405" y="13521"/>
                    <a:pt x="4596" y="13272"/>
                    <a:pt x="4596" y="12978"/>
                  </a:cubicBezTo>
                  <a:lnTo>
                    <a:pt x="4478" y="1659"/>
                  </a:lnTo>
                  <a:cubicBezTo>
                    <a:pt x="4478" y="1600"/>
                    <a:pt x="4537" y="1468"/>
                    <a:pt x="4654" y="1468"/>
                  </a:cubicBezTo>
                  <a:cubicBezTo>
                    <a:pt x="4713" y="1468"/>
                    <a:pt x="4772" y="1527"/>
                    <a:pt x="4772" y="1659"/>
                  </a:cubicBezTo>
                  <a:lnTo>
                    <a:pt x="4845" y="5329"/>
                  </a:lnTo>
                  <a:cubicBezTo>
                    <a:pt x="4845" y="5638"/>
                    <a:pt x="5021" y="5872"/>
                    <a:pt x="5271" y="5931"/>
                  </a:cubicBezTo>
                  <a:cubicBezTo>
                    <a:pt x="5308" y="5939"/>
                    <a:pt x="5345" y="5942"/>
                    <a:pt x="5381" y="5942"/>
                  </a:cubicBezTo>
                  <a:cubicBezTo>
                    <a:pt x="5697" y="5942"/>
                    <a:pt x="5946" y="5665"/>
                    <a:pt x="5946" y="5388"/>
                  </a:cubicBezTo>
                  <a:lnTo>
                    <a:pt x="5946" y="558"/>
                  </a:lnTo>
                  <a:cubicBezTo>
                    <a:pt x="5946" y="367"/>
                    <a:pt x="5873" y="250"/>
                    <a:pt x="5756" y="132"/>
                  </a:cubicBezTo>
                  <a:cubicBezTo>
                    <a:pt x="5638" y="59"/>
                    <a:pt x="5506" y="0"/>
                    <a:pt x="5330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0" name="Google Shape;8628;p73">
              <a:extLst>
                <a:ext uri="{FF2B5EF4-FFF2-40B4-BE49-F238E27FC236}">
                  <a16:creationId xmlns:a16="http://schemas.microsoft.com/office/drawing/2014/main" id="{3D9AAF12-1873-413B-8525-1D3A1E72030B}"/>
                </a:ext>
              </a:extLst>
            </p:cNvPr>
            <p:cNvSpPr/>
            <p:nvPr/>
          </p:nvSpPr>
          <p:spPr>
            <a:xfrm>
              <a:off x="6127550" y="900075"/>
              <a:ext cx="85175" cy="80200"/>
            </a:xfrm>
            <a:custGeom>
              <a:avLst/>
              <a:gdLst/>
              <a:ahLst/>
              <a:cxnLst/>
              <a:rect l="l" t="t" r="r" b="b"/>
              <a:pathLst>
                <a:path w="3407" h="3208" extrusionOk="0">
                  <a:moveTo>
                    <a:pt x="1695" y="0"/>
                  </a:moveTo>
                  <a:cubicBezTo>
                    <a:pt x="743" y="0"/>
                    <a:pt x="1" y="810"/>
                    <a:pt x="111" y="1787"/>
                  </a:cubicBezTo>
                  <a:cubicBezTo>
                    <a:pt x="170" y="2522"/>
                    <a:pt x="786" y="3065"/>
                    <a:pt x="1462" y="3197"/>
                  </a:cubicBezTo>
                  <a:cubicBezTo>
                    <a:pt x="1530" y="3204"/>
                    <a:pt x="1598" y="3208"/>
                    <a:pt x="1664" y="3208"/>
                  </a:cubicBezTo>
                  <a:cubicBezTo>
                    <a:pt x="2665" y="3208"/>
                    <a:pt x="3407" y="2398"/>
                    <a:pt x="3297" y="1420"/>
                  </a:cubicBezTo>
                  <a:cubicBezTo>
                    <a:pt x="3179" y="686"/>
                    <a:pt x="2621" y="70"/>
                    <a:pt x="1887" y="11"/>
                  </a:cubicBezTo>
                  <a:cubicBezTo>
                    <a:pt x="1823" y="4"/>
                    <a:pt x="1759" y="0"/>
                    <a:pt x="1695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1" name="Google Shape;8629;p73">
              <a:extLst>
                <a:ext uri="{FF2B5EF4-FFF2-40B4-BE49-F238E27FC236}">
                  <a16:creationId xmlns:a16="http://schemas.microsoft.com/office/drawing/2014/main" id="{BDACC31D-DC1D-EB49-E75D-D965F8BA7CFE}"/>
                </a:ext>
              </a:extLst>
            </p:cNvPr>
            <p:cNvSpPr/>
            <p:nvPr/>
          </p:nvSpPr>
          <p:spPr>
            <a:xfrm>
              <a:off x="6296950" y="993575"/>
              <a:ext cx="150125" cy="339700"/>
            </a:xfrm>
            <a:custGeom>
              <a:avLst/>
              <a:gdLst/>
              <a:ahLst/>
              <a:cxnLst/>
              <a:rect l="l" t="t" r="r" b="b"/>
              <a:pathLst>
                <a:path w="6005" h="13588" extrusionOk="0">
                  <a:moveTo>
                    <a:pt x="675" y="0"/>
                  </a:moveTo>
                  <a:cubicBezTo>
                    <a:pt x="308" y="0"/>
                    <a:pt x="74" y="250"/>
                    <a:pt x="74" y="558"/>
                  </a:cubicBezTo>
                  <a:lnTo>
                    <a:pt x="0" y="5388"/>
                  </a:lnTo>
                  <a:cubicBezTo>
                    <a:pt x="0" y="5665"/>
                    <a:pt x="297" y="5942"/>
                    <a:pt x="580" y="5942"/>
                  </a:cubicBezTo>
                  <a:cubicBezTo>
                    <a:pt x="612" y="5942"/>
                    <a:pt x="644" y="5939"/>
                    <a:pt x="675" y="5931"/>
                  </a:cubicBezTo>
                  <a:cubicBezTo>
                    <a:pt x="984" y="5872"/>
                    <a:pt x="1175" y="5638"/>
                    <a:pt x="1175" y="5329"/>
                  </a:cubicBezTo>
                  <a:lnTo>
                    <a:pt x="1233" y="1659"/>
                  </a:lnTo>
                  <a:cubicBezTo>
                    <a:pt x="1233" y="1600"/>
                    <a:pt x="1292" y="1468"/>
                    <a:pt x="1351" y="1468"/>
                  </a:cubicBezTo>
                  <a:cubicBezTo>
                    <a:pt x="1468" y="1468"/>
                    <a:pt x="1542" y="1600"/>
                    <a:pt x="1542" y="1659"/>
                  </a:cubicBezTo>
                  <a:lnTo>
                    <a:pt x="1409" y="13037"/>
                  </a:lnTo>
                  <a:cubicBezTo>
                    <a:pt x="1409" y="13318"/>
                    <a:pt x="1667" y="13587"/>
                    <a:pt x="1991" y="13587"/>
                  </a:cubicBezTo>
                  <a:cubicBezTo>
                    <a:pt x="2021" y="13587"/>
                    <a:pt x="2053" y="13585"/>
                    <a:pt x="2085" y="13580"/>
                  </a:cubicBezTo>
                  <a:cubicBezTo>
                    <a:pt x="2334" y="13521"/>
                    <a:pt x="2511" y="13272"/>
                    <a:pt x="2511" y="12978"/>
                  </a:cubicBezTo>
                  <a:lnTo>
                    <a:pt x="2643" y="6489"/>
                  </a:lnTo>
                  <a:cubicBezTo>
                    <a:pt x="2643" y="6430"/>
                    <a:pt x="2701" y="6372"/>
                    <a:pt x="2760" y="6372"/>
                  </a:cubicBezTo>
                  <a:lnTo>
                    <a:pt x="3303" y="6372"/>
                  </a:lnTo>
                  <a:cubicBezTo>
                    <a:pt x="3377" y="6372"/>
                    <a:pt x="3377" y="6372"/>
                    <a:pt x="3377" y="6430"/>
                  </a:cubicBezTo>
                  <a:lnTo>
                    <a:pt x="3494" y="13037"/>
                  </a:lnTo>
                  <a:cubicBezTo>
                    <a:pt x="3494" y="13318"/>
                    <a:pt x="3751" y="13587"/>
                    <a:pt x="4075" y="13587"/>
                  </a:cubicBezTo>
                  <a:cubicBezTo>
                    <a:pt x="4106" y="13587"/>
                    <a:pt x="4138" y="13585"/>
                    <a:pt x="4170" y="13580"/>
                  </a:cubicBezTo>
                  <a:cubicBezTo>
                    <a:pt x="4478" y="13521"/>
                    <a:pt x="4595" y="13272"/>
                    <a:pt x="4595" y="12978"/>
                  </a:cubicBezTo>
                  <a:lnTo>
                    <a:pt x="4537" y="1659"/>
                  </a:lnTo>
                  <a:cubicBezTo>
                    <a:pt x="4537" y="1600"/>
                    <a:pt x="4595" y="1468"/>
                    <a:pt x="4654" y="1468"/>
                  </a:cubicBezTo>
                  <a:cubicBezTo>
                    <a:pt x="4771" y="1468"/>
                    <a:pt x="4845" y="1527"/>
                    <a:pt x="4845" y="1659"/>
                  </a:cubicBezTo>
                  <a:lnTo>
                    <a:pt x="4904" y="5329"/>
                  </a:lnTo>
                  <a:cubicBezTo>
                    <a:pt x="4904" y="5638"/>
                    <a:pt x="5021" y="5872"/>
                    <a:pt x="5329" y="5931"/>
                  </a:cubicBezTo>
                  <a:cubicBezTo>
                    <a:pt x="5366" y="5939"/>
                    <a:pt x="5403" y="5942"/>
                    <a:pt x="5439" y="5942"/>
                  </a:cubicBezTo>
                  <a:cubicBezTo>
                    <a:pt x="5756" y="5942"/>
                    <a:pt x="6005" y="5665"/>
                    <a:pt x="6005" y="5388"/>
                  </a:cubicBezTo>
                  <a:lnTo>
                    <a:pt x="5946" y="558"/>
                  </a:lnTo>
                  <a:cubicBezTo>
                    <a:pt x="5946" y="367"/>
                    <a:pt x="5873" y="250"/>
                    <a:pt x="5755" y="132"/>
                  </a:cubicBezTo>
                  <a:cubicBezTo>
                    <a:pt x="5696" y="59"/>
                    <a:pt x="5505" y="0"/>
                    <a:pt x="5388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2" name="Google Shape;8630;p73">
              <a:extLst>
                <a:ext uri="{FF2B5EF4-FFF2-40B4-BE49-F238E27FC236}">
                  <a16:creationId xmlns:a16="http://schemas.microsoft.com/office/drawing/2014/main" id="{4D3A10B5-75EC-9E47-7BC1-F175A11CB23A}"/>
                </a:ext>
              </a:extLst>
            </p:cNvPr>
            <p:cNvSpPr/>
            <p:nvPr/>
          </p:nvSpPr>
          <p:spPr>
            <a:xfrm>
              <a:off x="6329425" y="900075"/>
              <a:ext cx="85175" cy="80200"/>
            </a:xfrm>
            <a:custGeom>
              <a:avLst/>
              <a:gdLst/>
              <a:ahLst/>
              <a:cxnLst/>
              <a:rect l="l" t="t" r="r" b="b"/>
              <a:pathLst>
                <a:path w="3407" h="3208" extrusionOk="0">
                  <a:moveTo>
                    <a:pt x="1743" y="0"/>
                  </a:moveTo>
                  <a:cubicBezTo>
                    <a:pt x="742" y="0"/>
                    <a:pt x="0" y="810"/>
                    <a:pt x="110" y="1787"/>
                  </a:cubicBezTo>
                  <a:cubicBezTo>
                    <a:pt x="243" y="2522"/>
                    <a:pt x="786" y="3065"/>
                    <a:pt x="1520" y="3197"/>
                  </a:cubicBezTo>
                  <a:cubicBezTo>
                    <a:pt x="1585" y="3204"/>
                    <a:pt x="1649" y="3208"/>
                    <a:pt x="1712" y="3208"/>
                  </a:cubicBezTo>
                  <a:cubicBezTo>
                    <a:pt x="2664" y="3208"/>
                    <a:pt x="3406" y="2398"/>
                    <a:pt x="3296" y="1420"/>
                  </a:cubicBezTo>
                  <a:cubicBezTo>
                    <a:pt x="3238" y="686"/>
                    <a:pt x="2621" y="70"/>
                    <a:pt x="1946" y="11"/>
                  </a:cubicBezTo>
                  <a:cubicBezTo>
                    <a:pt x="1877" y="4"/>
                    <a:pt x="1810" y="0"/>
                    <a:pt x="1743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3" name="Google Shape;8631;p73">
              <a:extLst>
                <a:ext uri="{FF2B5EF4-FFF2-40B4-BE49-F238E27FC236}">
                  <a16:creationId xmlns:a16="http://schemas.microsoft.com/office/drawing/2014/main" id="{0D6B8D1E-8DB8-AC4E-229E-DF2353284E6C}"/>
                </a:ext>
              </a:extLst>
            </p:cNvPr>
            <p:cNvSpPr/>
            <p:nvPr/>
          </p:nvSpPr>
          <p:spPr>
            <a:xfrm>
              <a:off x="6494400" y="993575"/>
              <a:ext cx="149775" cy="339700"/>
            </a:xfrm>
            <a:custGeom>
              <a:avLst/>
              <a:gdLst/>
              <a:ahLst/>
              <a:cxnLst/>
              <a:rect l="l" t="t" r="r" b="b"/>
              <a:pathLst>
                <a:path w="5991" h="13588" extrusionOk="0">
                  <a:moveTo>
                    <a:pt x="617" y="0"/>
                  </a:moveTo>
                  <a:cubicBezTo>
                    <a:pt x="309" y="0"/>
                    <a:pt x="59" y="250"/>
                    <a:pt x="59" y="558"/>
                  </a:cubicBezTo>
                  <a:lnTo>
                    <a:pt x="0" y="5388"/>
                  </a:lnTo>
                  <a:cubicBezTo>
                    <a:pt x="0" y="5665"/>
                    <a:pt x="249" y="5942"/>
                    <a:pt x="566" y="5942"/>
                  </a:cubicBezTo>
                  <a:cubicBezTo>
                    <a:pt x="602" y="5942"/>
                    <a:pt x="639" y="5939"/>
                    <a:pt x="676" y="5931"/>
                  </a:cubicBezTo>
                  <a:cubicBezTo>
                    <a:pt x="911" y="5872"/>
                    <a:pt x="1102" y="5638"/>
                    <a:pt x="1102" y="5329"/>
                  </a:cubicBezTo>
                  <a:lnTo>
                    <a:pt x="1160" y="1659"/>
                  </a:lnTo>
                  <a:cubicBezTo>
                    <a:pt x="1160" y="1600"/>
                    <a:pt x="1278" y="1468"/>
                    <a:pt x="1351" y="1468"/>
                  </a:cubicBezTo>
                  <a:cubicBezTo>
                    <a:pt x="1410" y="1468"/>
                    <a:pt x="1527" y="1600"/>
                    <a:pt x="1527" y="1659"/>
                  </a:cubicBezTo>
                  <a:lnTo>
                    <a:pt x="1410" y="13037"/>
                  </a:lnTo>
                  <a:cubicBezTo>
                    <a:pt x="1410" y="13318"/>
                    <a:pt x="1667" y="13587"/>
                    <a:pt x="1991" y="13587"/>
                  </a:cubicBezTo>
                  <a:cubicBezTo>
                    <a:pt x="2022" y="13587"/>
                    <a:pt x="2053" y="13585"/>
                    <a:pt x="2085" y="13580"/>
                  </a:cubicBezTo>
                  <a:cubicBezTo>
                    <a:pt x="2320" y="13521"/>
                    <a:pt x="2511" y="13272"/>
                    <a:pt x="2511" y="12978"/>
                  </a:cubicBezTo>
                  <a:lnTo>
                    <a:pt x="2628" y="6489"/>
                  </a:lnTo>
                  <a:cubicBezTo>
                    <a:pt x="2628" y="6430"/>
                    <a:pt x="2687" y="6372"/>
                    <a:pt x="2746" y="6372"/>
                  </a:cubicBezTo>
                  <a:lnTo>
                    <a:pt x="3245" y="6372"/>
                  </a:lnTo>
                  <a:cubicBezTo>
                    <a:pt x="3304" y="6372"/>
                    <a:pt x="3362" y="6372"/>
                    <a:pt x="3362" y="6430"/>
                  </a:cubicBezTo>
                  <a:lnTo>
                    <a:pt x="3480" y="13037"/>
                  </a:lnTo>
                  <a:cubicBezTo>
                    <a:pt x="3480" y="13318"/>
                    <a:pt x="3737" y="13587"/>
                    <a:pt x="4061" y="13587"/>
                  </a:cubicBezTo>
                  <a:cubicBezTo>
                    <a:pt x="4092" y="13587"/>
                    <a:pt x="4123" y="13585"/>
                    <a:pt x="4155" y="13580"/>
                  </a:cubicBezTo>
                  <a:cubicBezTo>
                    <a:pt x="4405" y="13521"/>
                    <a:pt x="4581" y="13272"/>
                    <a:pt x="4581" y="12978"/>
                  </a:cubicBezTo>
                  <a:lnTo>
                    <a:pt x="4463" y="1659"/>
                  </a:lnTo>
                  <a:cubicBezTo>
                    <a:pt x="4463" y="1600"/>
                    <a:pt x="4581" y="1468"/>
                    <a:pt x="4654" y="1468"/>
                  </a:cubicBezTo>
                  <a:cubicBezTo>
                    <a:pt x="4713" y="1468"/>
                    <a:pt x="4772" y="1527"/>
                    <a:pt x="4772" y="1659"/>
                  </a:cubicBezTo>
                  <a:lnTo>
                    <a:pt x="4831" y="5329"/>
                  </a:lnTo>
                  <a:cubicBezTo>
                    <a:pt x="4831" y="5638"/>
                    <a:pt x="5021" y="5872"/>
                    <a:pt x="5256" y="5931"/>
                  </a:cubicBezTo>
                  <a:cubicBezTo>
                    <a:pt x="5293" y="5939"/>
                    <a:pt x="5331" y="5942"/>
                    <a:pt x="5367" y="5942"/>
                  </a:cubicBezTo>
                  <a:cubicBezTo>
                    <a:pt x="5694" y="5942"/>
                    <a:pt x="5990" y="5665"/>
                    <a:pt x="5990" y="5388"/>
                  </a:cubicBezTo>
                  <a:lnTo>
                    <a:pt x="5932" y="558"/>
                  </a:lnTo>
                  <a:cubicBezTo>
                    <a:pt x="5932" y="367"/>
                    <a:pt x="5873" y="250"/>
                    <a:pt x="5755" y="132"/>
                  </a:cubicBezTo>
                  <a:cubicBezTo>
                    <a:pt x="5623" y="59"/>
                    <a:pt x="5506" y="0"/>
                    <a:pt x="5388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4" name="Google Shape;8632;p73">
              <a:extLst>
                <a:ext uri="{FF2B5EF4-FFF2-40B4-BE49-F238E27FC236}">
                  <a16:creationId xmlns:a16="http://schemas.microsoft.com/office/drawing/2014/main" id="{CACF6B5D-BE07-2C46-1C2B-B5C28BB446B2}"/>
                </a:ext>
              </a:extLst>
            </p:cNvPr>
            <p:cNvSpPr/>
            <p:nvPr/>
          </p:nvSpPr>
          <p:spPr>
            <a:xfrm>
              <a:off x="6526525" y="900075"/>
              <a:ext cx="85500" cy="80200"/>
            </a:xfrm>
            <a:custGeom>
              <a:avLst/>
              <a:gdLst/>
              <a:ahLst/>
              <a:cxnLst/>
              <a:rect l="l" t="t" r="r" b="b"/>
              <a:pathLst>
                <a:path w="3420" h="3208" extrusionOk="0">
                  <a:moveTo>
                    <a:pt x="1709" y="0"/>
                  </a:moveTo>
                  <a:cubicBezTo>
                    <a:pt x="755" y="0"/>
                    <a:pt x="1" y="810"/>
                    <a:pt x="125" y="1787"/>
                  </a:cubicBezTo>
                  <a:cubicBezTo>
                    <a:pt x="184" y="2522"/>
                    <a:pt x="800" y="3065"/>
                    <a:pt x="1534" y="3197"/>
                  </a:cubicBezTo>
                  <a:cubicBezTo>
                    <a:pt x="1598" y="3204"/>
                    <a:pt x="1661" y="3208"/>
                    <a:pt x="1724" y="3208"/>
                  </a:cubicBezTo>
                  <a:cubicBezTo>
                    <a:pt x="2666" y="3208"/>
                    <a:pt x="3420" y="2398"/>
                    <a:pt x="3296" y="1420"/>
                  </a:cubicBezTo>
                  <a:cubicBezTo>
                    <a:pt x="3178" y="686"/>
                    <a:pt x="2635" y="70"/>
                    <a:pt x="1901" y="11"/>
                  </a:cubicBezTo>
                  <a:cubicBezTo>
                    <a:pt x="1836" y="4"/>
                    <a:pt x="1772" y="0"/>
                    <a:pt x="1709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5" name="Google Shape;8633;p73">
              <a:extLst>
                <a:ext uri="{FF2B5EF4-FFF2-40B4-BE49-F238E27FC236}">
                  <a16:creationId xmlns:a16="http://schemas.microsoft.com/office/drawing/2014/main" id="{87C0F7DA-CC39-7A65-9210-9428E73A1F41}"/>
                </a:ext>
              </a:extLst>
            </p:cNvPr>
            <p:cNvSpPr/>
            <p:nvPr/>
          </p:nvSpPr>
          <p:spPr>
            <a:xfrm>
              <a:off x="6696275" y="993575"/>
              <a:ext cx="149750" cy="339700"/>
            </a:xfrm>
            <a:custGeom>
              <a:avLst/>
              <a:gdLst/>
              <a:ahLst/>
              <a:cxnLst/>
              <a:rect l="l" t="t" r="r" b="b"/>
              <a:pathLst>
                <a:path w="5990" h="13588" extrusionOk="0">
                  <a:moveTo>
                    <a:pt x="675" y="0"/>
                  </a:moveTo>
                  <a:cubicBezTo>
                    <a:pt x="367" y="0"/>
                    <a:pt x="117" y="250"/>
                    <a:pt x="117" y="558"/>
                  </a:cubicBezTo>
                  <a:lnTo>
                    <a:pt x="0" y="5388"/>
                  </a:lnTo>
                  <a:cubicBezTo>
                    <a:pt x="0" y="5665"/>
                    <a:pt x="296" y="5942"/>
                    <a:pt x="623" y="5942"/>
                  </a:cubicBezTo>
                  <a:cubicBezTo>
                    <a:pt x="660" y="5942"/>
                    <a:pt x="697" y="5939"/>
                    <a:pt x="734" y="5931"/>
                  </a:cubicBezTo>
                  <a:cubicBezTo>
                    <a:pt x="984" y="5872"/>
                    <a:pt x="1160" y="5638"/>
                    <a:pt x="1160" y="5329"/>
                  </a:cubicBezTo>
                  <a:lnTo>
                    <a:pt x="1219" y="1659"/>
                  </a:lnTo>
                  <a:cubicBezTo>
                    <a:pt x="1219" y="1600"/>
                    <a:pt x="1277" y="1468"/>
                    <a:pt x="1351" y="1468"/>
                  </a:cubicBezTo>
                  <a:cubicBezTo>
                    <a:pt x="1468" y="1468"/>
                    <a:pt x="1527" y="1600"/>
                    <a:pt x="1527" y="1659"/>
                  </a:cubicBezTo>
                  <a:lnTo>
                    <a:pt x="1409" y="13037"/>
                  </a:lnTo>
                  <a:cubicBezTo>
                    <a:pt x="1409" y="13318"/>
                    <a:pt x="1666" y="13587"/>
                    <a:pt x="1990" y="13587"/>
                  </a:cubicBezTo>
                  <a:cubicBezTo>
                    <a:pt x="2021" y="13587"/>
                    <a:pt x="2053" y="13585"/>
                    <a:pt x="2085" y="13580"/>
                  </a:cubicBezTo>
                  <a:cubicBezTo>
                    <a:pt x="2378" y="13521"/>
                    <a:pt x="2510" y="13272"/>
                    <a:pt x="2510" y="12978"/>
                  </a:cubicBezTo>
                  <a:lnTo>
                    <a:pt x="2628" y="6489"/>
                  </a:lnTo>
                  <a:cubicBezTo>
                    <a:pt x="2628" y="6430"/>
                    <a:pt x="2687" y="6372"/>
                    <a:pt x="2745" y="6372"/>
                  </a:cubicBezTo>
                  <a:lnTo>
                    <a:pt x="3303" y="6372"/>
                  </a:lnTo>
                  <a:cubicBezTo>
                    <a:pt x="3362" y="6372"/>
                    <a:pt x="3362" y="6372"/>
                    <a:pt x="3362" y="6430"/>
                  </a:cubicBezTo>
                  <a:lnTo>
                    <a:pt x="3479" y="13037"/>
                  </a:lnTo>
                  <a:cubicBezTo>
                    <a:pt x="3479" y="13318"/>
                    <a:pt x="3785" y="13587"/>
                    <a:pt x="4073" y="13587"/>
                  </a:cubicBezTo>
                  <a:cubicBezTo>
                    <a:pt x="4101" y="13587"/>
                    <a:pt x="4128" y="13585"/>
                    <a:pt x="4155" y="13580"/>
                  </a:cubicBezTo>
                  <a:cubicBezTo>
                    <a:pt x="4463" y="13521"/>
                    <a:pt x="4654" y="13272"/>
                    <a:pt x="4654" y="12978"/>
                  </a:cubicBezTo>
                  <a:lnTo>
                    <a:pt x="4522" y="1659"/>
                  </a:lnTo>
                  <a:cubicBezTo>
                    <a:pt x="4522" y="1600"/>
                    <a:pt x="4580" y="1468"/>
                    <a:pt x="4654" y="1468"/>
                  </a:cubicBezTo>
                  <a:lnTo>
                    <a:pt x="4713" y="1468"/>
                  </a:lnTo>
                  <a:cubicBezTo>
                    <a:pt x="4771" y="1468"/>
                    <a:pt x="4830" y="1527"/>
                    <a:pt x="4830" y="1659"/>
                  </a:cubicBezTo>
                  <a:lnTo>
                    <a:pt x="4889" y="5329"/>
                  </a:lnTo>
                  <a:cubicBezTo>
                    <a:pt x="4889" y="5638"/>
                    <a:pt x="5080" y="5872"/>
                    <a:pt x="5315" y="5931"/>
                  </a:cubicBezTo>
                  <a:cubicBezTo>
                    <a:pt x="5352" y="5939"/>
                    <a:pt x="5388" y="5942"/>
                    <a:pt x="5424" y="5942"/>
                  </a:cubicBezTo>
                  <a:cubicBezTo>
                    <a:pt x="5741" y="5942"/>
                    <a:pt x="5990" y="5665"/>
                    <a:pt x="5990" y="5388"/>
                  </a:cubicBezTo>
                  <a:lnTo>
                    <a:pt x="5931" y="558"/>
                  </a:lnTo>
                  <a:cubicBezTo>
                    <a:pt x="5931" y="367"/>
                    <a:pt x="5872" y="250"/>
                    <a:pt x="5755" y="132"/>
                  </a:cubicBezTo>
                  <a:cubicBezTo>
                    <a:pt x="5682" y="59"/>
                    <a:pt x="5564" y="0"/>
                    <a:pt x="5388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6" name="Google Shape;8634;p73">
              <a:extLst>
                <a:ext uri="{FF2B5EF4-FFF2-40B4-BE49-F238E27FC236}">
                  <a16:creationId xmlns:a16="http://schemas.microsoft.com/office/drawing/2014/main" id="{BC8143F2-4F71-0386-6F2E-2B240698A820}"/>
                </a:ext>
              </a:extLst>
            </p:cNvPr>
            <p:cNvSpPr/>
            <p:nvPr/>
          </p:nvSpPr>
          <p:spPr>
            <a:xfrm>
              <a:off x="6728400" y="900075"/>
              <a:ext cx="86875" cy="80200"/>
            </a:xfrm>
            <a:custGeom>
              <a:avLst/>
              <a:gdLst/>
              <a:ahLst/>
              <a:cxnLst/>
              <a:rect l="l" t="t" r="r" b="b"/>
              <a:pathLst>
                <a:path w="3475" h="3208" extrusionOk="0">
                  <a:moveTo>
                    <a:pt x="1767" y="0"/>
                  </a:moveTo>
                  <a:cubicBezTo>
                    <a:pt x="806" y="0"/>
                    <a:pt x="0" y="810"/>
                    <a:pt x="124" y="1787"/>
                  </a:cubicBezTo>
                  <a:cubicBezTo>
                    <a:pt x="242" y="2522"/>
                    <a:pt x="800" y="3065"/>
                    <a:pt x="1534" y="3197"/>
                  </a:cubicBezTo>
                  <a:cubicBezTo>
                    <a:pt x="1598" y="3204"/>
                    <a:pt x="1661" y="3208"/>
                    <a:pt x="1724" y="3208"/>
                  </a:cubicBezTo>
                  <a:cubicBezTo>
                    <a:pt x="2672" y="3208"/>
                    <a:pt x="3474" y="2398"/>
                    <a:pt x="3295" y="1420"/>
                  </a:cubicBezTo>
                  <a:cubicBezTo>
                    <a:pt x="3237" y="686"/>
                    <a:pt x="2635" y="70"/>
                    <a:pt x="1959" y="11"/>
                  </a:cubicBezTo>
                  <a:cubicBezTo>
                    <a:pt x="1895" y="4"/>
                    <a:pt x="1830" y="0"/>
                    <a:pt x="1767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7" name="Google Shape;8635;p73">
              <a:extLst>
                <a:ext uri="{FF2B5EF4-FFF2-40B4-BE49-F238E27FC236}">
                  <a16:creationId xmlns:a16="http://schemas.microsoft.com/office/drawing/2014/main" id="{78319E6A-7426-C0CC-C75C-2D89C7BDC779}"/>
                </a:ext>
              </a:extLst>
            </p:cNvPr>
            <p:cNvSpPr/>
            <p:nvPr/>
          </p:nvSpPr>
          <p:spPr>
            <a:xfrm>
              <a:off x="6890425" y="993575"/>
              <a:ext cx="148300" cy="339700"/>
            </a:xfrm>
            <a:custGeom>
              <a:avLst/>
              <a:gdLst/>
              <a:ahLst/>
              <a:cxnLst/>
              <a:rect l="l" t="t" r="r" b="b"/>
              <a:pathLst>
                <a:path w="5932" h="13588" extrusionOk="0">
                  <a:moveTo>
                    <a:pt x="617" y="0"/>
                  </a:moveTo>
                  <a:cubicBezTo>
                    <a:pt x="309" y="0"/>
                    <a:pt x="59" y="250"/>
                    <a:pt x="59" y="558"/>
                  </a:cubicBezTo>
                  <a:lnTo>
                    <a:pt x="0" y="5388"/>
                  </a:lnTo>
                  <a:cubicBezTo>
                    <a:pt x="0" y="5665"/>
                    <a:pt x="249" y="5942"/>
                    <a:pt x="566" y="5942"/>
                  </a:cubicBezTo>
                  <a:cubicBezTo>
                    <a:pt x="602" y="5942"/>
                    <a:pt x="638" y="5939"/>
                    <a:pt x="676" y="5931"/>
                  </a:cubicBezTo>
                  <a:cubicBezTo>
                    <a:pt x="925" y="5872"/>
                    <a:pt x="1101" y="5638"/>
                    <a:pt x="1101" y="5329"/>
                  </a:cubicBezTo>
                  <a:lnTo>
                    <a:pt x="1160" y="1659"/>
                  </a:lnTo>
                  <a:cubicBezTo>
                    <a:pt x="1160" y="1600"/>
                    <a:pt x="1219" y="1468"/>
                    <a:pt x="1351" y="1468"/>
                  </a:cubicBezTo>
                  <a:cubicBezTo>
                    <a:pt x="1410" y="1468"/>
                    <a:pt x="1468" y="1600"/>
                    <a:pt x="1468" y="1659"/>
                  </a:cubicBezTo>
                  <a:lnTo>
                    <a:pt x="1410" y="13037"/>
                  </a:lnTo>
                  <a:cubicBezTo>
                    <a:pt x="1410" y="13318"/>
                    <a:pt x="1667" y="13587"/>
                    <a:pt x="1991" y="13587"/>
                  </a:cubicBezTo>
                  <a:cubicBezTo>
                    <a:pt x="2022" y="13587"/>
                    <a:pt x="2053" y="13585"/>
                    <a:pt x="2085" y="13580"/>
                  </a:cubicBezTo>
                  <a:cubicBezTo>
                    <a:pt x="2320" y="13521"/>
                    <a:pt x="2511" y="13272"/>
                    <a:pt x="2511" y="12978"/>
                  </a:cubicBezTo>
                  <a:lnTo>
                    <a:pt x="2628" y="6489"/>
                  </a:lnTo>
                  <a:cubicBezTo>
                    <a:pt x="2628" y="6430"/>
                    <a:pt x="2687" y="6372"/>
                    <a:pt x="2760" y="6372"/>
                  </a:cubicBezTo>
                  <a:lnTo>
                    <a:pt x="3245" y="6372"/>
                  </a:lnTo>
                  <a:cubicBezTo>
                    <a:pt x="3303" y="6372"/>
                    <a:pt x="3362" y="6372"/>
                    <a:pt x="3362" y="6430"/>
                  </a:cubicBezTo>
                  <a:lnTo>
                    <a:pt x="3494" y="13037"/>
                  </a:lnTo>
                  <a:cubicBezTo>
                    <a:pt x="3494" y="13318"/>
                    <a:pt x="3739" y="13587"/>
                    <a:pt x="4061" y="13587"/>
                  </a:cubicBezTo>
                  <a:cubicBezTo>
                    <a:pt x="4092" y="13587"/>
                    <a:pt x="4123" y="13585"/>
                    <a:pt x="4155" y="13580"/>
                  </a:cubicBezTo>
                  <a:cubicBezTo>
                    <a:pt x="4405" y="13521"/>
                    <a:pt x="4595" y="13272"/>
                    <a:pt x="4595" y="12978"/>
                  </a:cubicBezTo>
                  <a:lnTo>
                    <a:pt x="4463" y="1659"/>
                  </a:lnTo>
                  <a:cubicBezTo>
                    <a:pt x="4463" y="1600"/>
                    <a:pt x="4522" y="1468"/>
                    <a:pt x="4654" y="1468"/>
                  </a:cubicBezTo>
                  <a:cubicBezTo>
                    <a:pt x="4713" y="1468"/>
                    <a:pt x="4772" y="1527"/>
                    <a:pt x="4772" y="1659"/>
                  </a:cubicBezTo>
                  <a:lnTo>
                    <a:pt x="4830" y="5329"/>
                  </a:lnTo>
                  <a:cubicBezTo>
                    <a:pt x="4830" y="5638"/>
                    <a:pt x="5021" y="5872"/>
                    <a:pt x="5256" y="5931"/>
                  </a:cubicBezTo>
                  <a:cubicBezTo>
                    <a:pt x="5293" y="5939"/>
                    <a:pt x="5330" y="5942"/>
                    <a:pt x="5365" y="5942"/>
                  </a:cubicBezTo>
                  <a:cubicBezTo>
                    <a:pt x="5682" y="5942"/>
                    <a:pt x="5931" y="5665"/>
                    <a:pt x="5931" y="5388"/>
                  </a:cubicBezTo>
                  <a:lnTo>
                    <a:pt x="5931" y="558"/>
                  </a:lnTo>
                  <a:cubicBezTo>
                    <a:pt x="5931" y="367"/>
                    <a:pt x="5873" y="250"/>
                    <a:pt x="5755" y="132"/>
                  </a:cubicBezTo>
                  <a:cubicBezTo>
                    <a:pt x="5623" y="59"/>
                    <a:pt x="5506" y="0"/>
                    <a:pt x="5329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8" name="Google Shape;8636;p73">
              <a:extLst>
                <a:ext uri="{FF2B5EF4-FFF2-40B4-BE49-F238E27FC236}">
                  <a16:creationId xmlns:a16="http://schemas.microsoft.com/office/drawing/2014/main" id="{98DA75FD-9C9F-C5B8-2536-C101E4227C9B}"/>
                </a:ext>
              </a:extLst>
            </p:cNvPr>
            <p:cNvSpPr/>
            <p:nvPr/>
          </p:nvSpPr>
          <p:spPr>
            <a:xfrm>
              <a:off x="6922900" y="900075"/>
              <a:ext cx="85175" cy="80200"/>
            </a:xfrm>
            <a:custGeom>
              <a:avLst/>
              <a:gdLst/>
              <a:ahLst/>
              <a:cxnLst/>
              <a:rect l="l" t="t" r="r" b="b"/>
              <a:pathLst>
                <a:path w="3407" h="3208" extrusionOk="0">
                  <a:moveTo>
                    <a:pt x="1695" y="0"/>
                  </a:moveTo>
                  <a:cubicBezTo>
                    <a:pt x="743" y="0"/>
                    <a:pt x="0" y="810"/>
                    <a:pt x="111" y="1787"/>
                  </a:cubicBezTo>
                  <a:cubicBezTo>
                    <a:pt x="169" y="2522"/>
                    <a:pt x="786" y="3065"/>
                    <a:pt x="1461" y="3197"/>
                  </a:cubicBezTo>
                  <a:cubicBezTo>
                    <a:pt x="1525" y="3204"/>
                    <a:pt x="1589" y="3208"/>
                    <a:pt x="1651" y="3208"/>
                  </a:cubicBezTo>
                  <a:cubicBezTo>
                    <a:pt x="2600" y="3208"/>
                    <a:pt x="3407" y="2398"/>
                    <a:pt x="3296" y="1420"/>
                  </a:cubicBezTo>
                  <a:cubicBezTo>
                    <a:pt x="3164" y="686"/>
                    <a:pt x="2621" y="70"/>
                    <a:pt x="1887" y="11"/>
                  </a:cubicBezTo>
                  <a:cubicBezTo>
                    <a:pt x="1822" y="4"/>
                    <a:pt x="1758" y="0"/>
                    <a:pt x="1695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9" name="Google Shape;8637;p73">
              <a:extLst>
                <a:ext uri="{FF2B5EF4-FFF2-40B4-BE49-F238E27FC236}">
                  <a16:creationId xmlns:a16="http://schemas.microsoft.com/office/drawing/2014/main" id="{440C9156-EDA0-29BF-085B-124BB1D2C873}"/>
                </a:ext>
              </a:extLst>
            </p:cNvPr>
            <p:cNvSpPr/>
            <p:nvPr/>
          </p:nvSpPr>
          <p:spPr>
            <a:xfrm>
              <a:off x="7092275" y="993575"/>
              <a:ext cx="149775" cy="339700"/>
            </a:xfrm>
            <a:custGeom>
              <a:avLst/>
              <a:gdLst/>
              <a:ahLst/>
              <a:cxnLst/>
              <a:rect l="l" t="t" r="r" b="b"/>
              <a:pathLst>
                <a:path w="5991" h="13588" extrusionOk="0">
                  <a:moveTo>
                    <a:pt x="617" y="0"/>
                  </a:moveTo>
                  <a:cubicBezTo>
                    <a:pt x="309" y="0"/>
                    <a:pt x="59" y="250"/>
                    <a:pt x="59" y="558"/>
                  </a:cubicBezTo>
                  <a:lnTo>
                    <a:pt x="1" y="5388"/>
                  </a:lnTo>
                  <a:cubicBezTo>
                    <a:pt x="1" y="5665"/>
                    <a:pt x="297" y="5942"/>
                    <a:pt x="581" y="5942"/>
                  </a:cubicBezTo>
                  <a:cubicBezTo>
                    <a:pt x="613" y="5942"/>
                    <a:pt x="645" y="5939"/>
                    <a:pt x="676" y="5931"/>
                  </a:cubicBezTo>
                  <a:cubicBezTo>
                    <a:pt x="984" y="5872"/>
                    <a:pt x="1161" y="5638"/>
                    <a:pt x="1161" y="5329"/>
                  </a:cubicBezTo>
                  <a:lnTo>
                    <a:pt x="1219" y="1659"/>
                  </a:lnTo>
                  <a:cubicBezTo>
                    <a:pt x="1219" y="1600"/>
                    <a:pt x="1293" y="1468"/>
                    <a:pt x="1351" y="1468"/>
                  </a:cubicBezTo>
                  <a:cubicBezTo>
                    <a:pt x="1469" y="1468"/>
                    <a:pt x="1528" y="1600"/>
                    <a:pt x="1528" y="1659"/>
                  </a:cubicBezTo>
                  <a:lnTo>
                    <a:pt x="1410" y="13037"/>
                  </a:lnTo>
                  <a:cubicBezTo>
                    <a:pt x="1410" y="13318"/>
                    <a:pt x="1667" y="13587"/>
                    <a:pt x="1991" y="13587"/>
                  </a:cubicBezTo>
                  <a:cubicBezTo>
                    <a:pt x="2022" y="13587"/>
                    <a:pt x="2054" y="13585"/>
                    <a:pt x="2085" y="13580"/>
                  </a:cubicBezTo>
                  <a:cubicBezTo>
                    <a:pt x="2320" y="13521"/>
                    <a:pt x="2511" y="13272"/>
                    <a:pt x="2511" y="12978"/>
                  </a:cubicBezTo>
                  <a:lnTo>
                    <a:pt x="2629" y="6489"/>
                  </a:lnTo>
                  <a:cubicBezTo>
                    <a:pt x="2629" y="6430"/>
                    <a:pt x="2687" y="6372"/>
                    <a:pt x="2761" y="6372"/>
                  </a:cubicBezTo>
                  <a:lnTo>
                    <a:pt x="3245" y="6372"/>
                  </a:lnTo>
                  <a:cubicBezTo>
                    <a:pt x="3304" y="6372"/>
                    <a:pt x="3363" y="6372"/>
                    <a:pt x="3363" y="6430"/>
                  </a:cubicBezTo>
                  <a:lnTo>
                    <a:pt x="3495" y="13037"/>
                  </a:lnTo>
                  <a:cubicBezTo>
                    <a:pt x="3495" y="13318"/>
                    <a:pt x="3740" y="13587"/>
                    <a:pt x="4062" y="13587"/>
                  </a:cubicBezTo>
                  <a:cubicBezTo>
                    <a:pt x="4092" y="13587"/>
                    <a:pt x="4124" y="13585"/>
                    <a:pt x="4155" y="13580"/>
                  </a:cubicBezTo>
                  <a:cubicBezTo>
                    <a:pt x="4405" y="13521"/>
                    <a:pt x="4596" y="13272"/>
                    <a:pt x="4596" y="12978"/>
                  </a:cubicBezTo>
                  <a:lnTo>
                    <a:pt x="4522" y="1659"/>
                  </a:lnTo>
                  <a:cubicBezTo>
                    <a:pt x="4522" y="1600"/>
                    <a:pt x="4596" y="1468"/>
                    <a:pt x="4655" y="1468"/>
                  </a:cubicBezTo>
                  <a:cubicBezTo>
                    <a:pt x="4772" y="1468"/>
                    <a:pt x="4831" y="1527"/>
                    <a:pt x="4831" y="1659"/>
                  </a:cubicBezTo>
                  <a:lnTo>
                    <a:pt x="4890" y="5329"/>
                  </a:lnTo>
                  <a:cubicBezTo>
                    <a:pt x="4890" y="5638"/>
                    <a:pt x="5022" y="5872"/>
                    <a:pt x="5330" y="5931"/>
                  </a:cubicBezTo>
                  <a:cubicBezTo>
                    <a:pt x="5367" y="5939"/>
                    <a:pt x="5404" y="5942"/>
                    <a:pt x="5439" y="5942"/>
                  </a:cubicBezTo>
                  <a:cubicBezTo>
                    <a:pt x="5753" y="5942"/>
                    <a:pt x="5991" y="5665"/>
                    <a:pt x="5991" y="5388"/>
                  </a:cubicBezTo>
                  <a:lnTo>
                    <a:pt x="5932" y="558"/>
                  </a:lnTo>
                  <a:cubicBezTo>
                    <a:pt x="5932" y="367"/>
                    <a:pt x="5873" y="250"/>
                    <a:pt x="5756" y="132"/>
                  </a:cubicBezTo>
                  <a:cubicBezTo>
                    <a:pt x="5697" y="59"/>
                    <a:pt x="5506" y="0"/>
                    <a:pt x="5389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0" name="Google Shape;8638;p73">
              <a:extLst>
                <a:ext uri="{FF2B5EF4-FFF2-40B4-BE49-F238E27FC236}">
                  <a16:creationId xmlns:a16="http://schemas.microsoft.com/office/drawing/2014/main" id="{78D1196A-ABA6-F663-C8CE-708F0128FE66}"/>
                </a:ext>
              </a:extLst>
            </p:cNvPr>
            <p:cNvSpPr/>
            <p:nvPr/>
          </p:nvSpPr>
          <p:spPr>
            <a:xfrm>
              <a:off x="7124750" y="900075"/>
              <a:ext cx="85175" cy="80200"/>
            </a:xfrm>
            <a:custGeom>
              <a:avLst/>
              <a:gdLst/>
              <a:ahLst/>
              <a:cxnLst/>
              <a:rect l="l" t="t" r="r" b="b"/>
              <a:pathLst>
                <a:path w="3407" h="3208" extrusionOk="0">
                  <a:moveTo>
                    <a:pt x="1744" y="0"/>
                  </a:moveTo>
                  <a:cubicBezTo>
                    <a:pt x="743" y="0"/>
                    <a:pt x="1" y="810"/>
                    <a:pt x="111" y="1787"/>
                  </a:cubicBezTo>
                  <a:cubicBezTo>
                    <a:pt x="229" y="2522"/>
                    <a:pt x="786" y="3065"/>
                    <a:pt x="1520" y="3197"/>
                  </a:cubicBezTo>
                  <a:cubicBezTo>
                    <a:pt x="1585" y="3204"/>
                    <a:pt x="1649" y="3208"/>
                    <a:pt x="1712" y="3208"/>
                  </a:cubicBezTo>
                  <a:cubicBezTo>
                    <a:pt x="2665" y="3208"/>
                    <a:pt x="3407" y="2398"/>
                    <a:pt x="3297" y="1420"/>
                  </a:cubicBezTo>
                  <a:cubicBezTo>
                    <a:pt x="3223" y="686"/>
                    <a:pt x="2622" y="70"/>
                    <a:pt x="1946" y="11"/>
                  </a:cubicBezTo>
                  <a:cubicBezTo>
                    <a:pt x="1878" y="4"/>
                    <a:pt x="1810" y="0"/>
                    <a:pt x="1744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1" name="Google Shape;8639;p73">
              <a:extLst>
                <a:ext uri="{FF2B5EF4-FFF2-40B4-BE49-F238E27FC236}">
                  <a16:creationId xmlns:a16="http://schemas.microsoft.com/office/drawing/2014/main" id="{D9D122CC-667E-1847-9E8A-60B2F7821C8E}"/>
                </a:ext>
              </a:extLst>
            </p:cNvPr>
            <p:cNvSpPr/>
            <p:nvPr/>
          </p:nvSpPr>
          <p:spPr>
            <a:xfrm>
              <a:off x="5524725" y="1402050"/>
              <a:ext cx="1842850" cy="723425"/>
            </a:xfrm>
            <a:custGeom>
              <a:avLst/>
              <a:gdLst/>
              <a:ahLst/>
              <a:cxnLst/>
              <a:rect l="l" t="t" r="r" b="b"/>
              <a:pathLst>
                <a:path w="73714" h="28937" extrusionOk="0">
                  <a:moveTo>
                    <a:pt x="18293" y="1"/>
                  </a:moveTo>
                  <a:lnTo>
                    <a:pt x="0" y="28629"/>
                  </a:lnTo>
                  <a:lnTo>
                    <a:pt x="500" y="28937"/>
                  </a:lnTo>
                  <a:lnTo>
                    <a:pt x="18601" y="603"/>
                  </a:lnTo>
                  <a:lnTo>
                    <a:pt x="73713" y="603"/>
                  </a:lnTo>
                  <a:lnTo>
                    <a:pt x="7371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2" name="Google Shape;8640;p73">
              <a:extLst>
                <a:ext uri="{FF2B5EF4-FFF2-40B4-BE49-F238E27FC236}">
                  <a16:creationId xmlns:a16="http://schemas.microsoft.com/office/drawing/2014/main" id="{D4AE8F64-2A47-399B-844D-5C58DA8A57D0}"/>
                </a:ext>
              </a:extLst>
            </p:cNvPr>
            <p:cNvSpPr/>
            <p:nvPr/>
          </p:nvSpPr>
          <p:spPr>
            <a:xfrm>
              <a:off x="4965000" y="3568950"/>
              <a:ext cx="1842850" cy="668375"/>
            </a:xfrm>
            <a:custGeom>
              <a:avLst/>
              <a:gdLst/>
              <a:ahLst/>
              <a:cxnLst/>
              <a:rect l="l" t="t" r="r" b="b"/>
              <a:pathLst>
                <a:path w="73714" h="26735" extrusionOk="0">
                  <a:moveTo>
                    <a:pt x="500" y="1"/>
                  </a:moveTo>
                  <a:lnTo>
                    <a:pt x="1" y="368"/>
                  </a:lnTo>
                  <a:lnTo>
                    <a:pt x="18293" y="26735"/>
                  </a:lnTo>
                  <a:lnTo>
                    <a:pt x="73714" y="26735"/>
                  </a:lnTo>
                  <a:lnTo>
                    <a:pt x="73714" y="26118"/>
                  </a:lnTo>
                  <a:lnTo>
                    <a:pt x="18602" y="26118"/>
                  </a:lnTo>
                  <a:lnTo>
                    <a:pt x="500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3" name="Google Shape;8641;p73">
              <a:extLst>
                <a:ext uri="{FF2B5EF4-FFF2-40B4-BE49-F238E27FC236}">
                  <a16:creationId xmlns:a16="http://schemas.microsoft.com/office/drawing/2014/main" id="{7493A45A-A32D-2AEB-A395-8D80B2528713}"/>
                </a:ext>
              </a:extLst>
            </p:cNvPr>
            <p:cNvSpPr/>
            <p:nvPr/>
          </p:nvSpPr>
          <p:spPr>
            <a:xfrm>
              <a:off x="317750" y="3272400"/>
              <a:ext cx="1142200" cy="458800"/>
            </a:xfrm>
            <a:custGeom>
              <a:avLst/>
              <a:gdLst/>
              <a:ahLst/>
              <a:cxnLst/>
              <a:rect l="l" t="t" r="r" b="b"/>
              <a:pathLst>
                <a:path w="45688" h="18352" extrusionOk="0">
                  <a:moveTo>
                    <a:pt x="25325" y="911"/>
                  </a:moveTo>
                  <a:lnTo>
                    <a:pt x="21714" y="4522"/>
                  </a:lnTo>
                  <a:lnTo>
                    <a:pt x="20187" y="911"/>
                  </a:lnTo>
                  <a:close/>
                  <a:moveTo>
                    <a:pt x="16693" y="911"/>
                  </a:moveTo>
                  <a:lnTo>
                    <a:pt x="10703" y="6901"/>
                  </a:lnTo>
                  <a:lnTo>
                    <a:pt x="13214" y="911"/>
                  </a:lnTo>
                  <a:close/>
                  <a:moveTo>
                    <a:pt x="20128" y="2438"/>
                  </a:moveTo>
                  <a:lnTo>
                    <a:pt x="22389" y="7708"/>
                  </a:lnTo>
                  <a:lnTo>
                    <a:pt x="14917" y="7708"/>
                  </a:lnTo>
                  <a:lnTo>
                    <a:pt x="20128" y="2438"/>
                  </a:lnTo>
                  <a:close/>
                  <a:moveTo>
                    <a:pt x="31991" y="911"/>
                  </a:moveTo>
                  <a:lnTo>
                    <a:pt x="33459" y="2805"/>
                  </a:lnTo>
                  <a:lnTo>
                    <a:pt x="28629" y="7708"/>
                  </a:lnTo>
                  <a:lnTo>
                    <a:pt x="23725" y="7708"/>
                  </a:lnTo>
                  <a:lnTo>
                    <a:pt x="30522" y="911"/>
                  </a:lnTo>
                  <a:close/>
                  <a:moveTo>
                    <a:pt x="34560" y="4273"/>
                  </a:moveTo>
                  <a:lnTo>
                    <a:pt x="37188" y="7708"/>
                  </a:lnTo>
                  <a:lnTo>
                    <a:pt x="31198" y="7708"/>
                  </a:lnTo>
                  <a:lnTo>
                    <a:pt x="34560" y="4273"/>
                  </a:lnTo>
                  <a:close/>
                  <a:moveTo>
                    <a:pt x="13023" y="1"/>
                  </a:moveTo>
                  <a:lnTo>
                    <a:pt x="9411" y="7943"/>
                  </a:lnTo>
                  <a:lnTo>
                    <a:pt x="1" y="11188"/>
                  </a:lnTo>
                  <a:lnTo>
                    <a:pt x="1704" y="18352"/>
                  </a:lnTo>
                  <a:lnTo>
                    <a:pt x="10762" y="18352"/>
                  </a:lnTo>
                  <a:cubicBezTo>
                    <a:pt x="10762" y="15651"/>
                    <a:pt x="12905" y="13448"/>
                    <a:pt x="15592" y="13448"/>
                  </a:cubicBezTo>
                  <a:cubicBezTo>
                    <a:pt x="18293" y="13448"/>
                    <a:pt x="20422" y="15651"/>
                    <a:pt x="20422" y="18352"/>
                  </a:cubicBezTo>
                  <a:lnTo>
                    <a:pt x="27395" y="18352"/>
                  </a:lnTo>
                  <a:cubicBezTo>
                    <a:pt x="27395" y="15651"/>
                    <a:pt x="29598" y="13448"/>
                    <a:pt x="32240" y="13448"/>
                  </a:cubicBezTo>
                  <a:cubicBezTo>
                    <a:pt x="34927" y="13448"/>
                    <a:pt x="37070" y="15651"/>
                    <a:pt x="37070" y="18352"/>
                  </a:cubicBezTo>
                  <a:lnTo>
                    <a:pt x="45688" y="18352"/>
                  </a:lnTo>
                  <a:lnTo>
                    <a:pt x="45380" y="11378"/>
                  </a:lnTo>
                  <a:lnTo>
                    <a:pt x="38289" y="6842"/>
                  </a:lnTo>
                  <a:lnTo>
                    <a:pt x="35470" y="3421"/>
                  </a:lnTo>
                  <a:lnTo>
                    <a:pt x="32725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4" name="Google Shape;8642;p73">
              <a:extLst>
                <a:ext uri="{FF2B5EF4-FFF2-40B4-BE49-F238E27FC236}">
                  <a16:creationId xmlns:a16="http://schemas.microsoft.com/office/drawing/2014/main" id="{497A979B-F9E6-8D6B-D2A0-145BD436AB3B}"/>
                </a:ext>
              </a:extLst>
            </p:cNvPr>
            <p:cNvSpPr/>
            <p:nvPr/>
          </p:nvSpPr>
          <p:spPr>
            <a:xfrm>
              <a:off x="611375" y="3611900"/>
              <a:ext cx="192725" cy="192725"/>
            </a:xfrm>
            <a:custGeom>
              <a:avLst/>
              <a:gdLst/>
              <a:ahLst/>
              <a:cxnLst/>
              <a:rect l="l" t="t" r="r" b="b"/>
              <a:pathLst>
                <a:path w="7709" h="7709" extrusionOk="0">
                  <a:moveTo>
                    <a:pt x="3847" y="1"/>
                  </a:moveTo>
                  <a:cubicBezTo>
                    <a:pt x="1704" y="1"/>
                    <a:pt x="1" y="1704"/>
                    <a:pt x="1" y="3847"/>
                  </a:cubicBezTo>
                  <a:cubicBezTo>
                    <a:pt x="1" y="5990"/>
                    <a:pt x="1704" y="7708"/>
                    <a:pt x="3847" y="7708"/>
                  </a:cubicBezTo>
                  <a:cubicBezTo>
                    <a:pt x="5990" y="7708"/>
                    <a:pt x="7708" y="5990"/>
                    <a:pt x="7708" y="3847"/>
                  </a:cubicBezTo>
                  <a:cubicBezTo>
                    <a:pt x="7708" y="1704"/>
                    <a:pt x="5990" y="1"/>
                    <a:pt x="3847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5" name="Google Shape;8643;p73">
              <a:extLst>
                <a:ext uri="{FF2B5EF4-FFF2-40B4-BE49-F238E27FC236}">
                  <a16:creationId xmlns:a16="http://schemas.microsoft.com/office/drawing/2014/main" id="{8B94CA6D-1C43-EA7F-D1E2-82C7353D278D}"/>
                </a:ext>
              </a:extLst>
            </p:cNvPr>
            <p:cNvSpPr/>
            <p:nvPr/>
          </p:nvSpPr>
          <p:spPr>
            <a:xfrm>
              <a:off x="1027225" y="3611900"/>
              <a:ext cx="194175" cy="192725"/>
            </a:xfrm>
            <a:custGeom>
              <a:avLst/>
              <a:gdLst/>
              <a:ahLst/>
              <a:cxnLst/>
              <a:rect l="l" t="t" r="r" b="b"/>
              <a:pathLst>
                <a:path w="7767" h="7709" extrusionOk="0">
                  <a:moveTo>
                    <a:pt x="3861" y="1"/>
                  </a:moveTo>
                  <a:cubicBezTo>
                    <a:pt x="1718" y="1"/>
                    <a:pt x="0" y="1704"/>
                    <a:pt x="0" y="3847"/>
                  </a:cubicBezTo>
                  <a:cubicBezTo>
                    <a:pt x="0" y="5990"/>
                    <a:pt x="1718" y="7708"/>
                    <a:pt x="3861" y="7708"/>
                  </a:cubicBezTo>
                  <a:cubicBezTo>
                    <a:pt x="5990" y="7708"/>
                    <a:pt x="7766" y="5990"/>
                    <a:pt x="7766" y="3847"/>
                  </a:cubicBezTo>
                  <a:cubicBezTo>
                    <a:pt x="7766" y="1704"/>
                    <a:pt x="5990" y="1"/>
                    <a:pt x="386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6" name="Google Shape;8644;p73">
              <a:extLst>
                <a:ext uri="{FF2B5EF4-FFF2-40B4-BE49-F238E27FC236}">
                  <a16:creationId xmlns:a16="http://schemas.microsoft.com/office/drawing/2014/main" id="{0B3C8F3E-23C9-22F6-0160-F33890401E61}"/>
                </a:ext>
              </a:extLst>
            </p:cNvPr>
            <p:cNvSpPr/>
            <p:nvPr/>
          </p:nvSpPr>
          <p:spPr>
            <a:xfrm>
              <a:off x="652475" y="3653000"/>
              <a:ext cx="108675" cy="110150"/>
            </a:xfrm>
            <a:custGeom>
              <a:avLst/>
              <a:gdLst/>
              <a:ahLst/>
              <a:cxnLst/>
              <a:rect l="l" t="t" r="r" b="b"/>
              <a:pathLst>
                <a:path w="4347" h="4406" extrusionOk="0">
                  <a:moveTo>
                    <a:pt x="2144" y="1"/>
                  </a:moveTo>
                  <a:cubicBezTo>
                    <a:pt x="984" y="1"/>
                    <a:pt x="1" y="984"/>
                    <a:pt x="1" y="2203"/>
                  </a:cubicBezTo>
                  <a:cubicBezTo>
                    <a:pt x="1" y="3422"/>
                    <a:pt x="984" y="4405"/>
                    <a:pt x="2144" y="4405"/>
                  </a:cubicBezTo>
                  <a:cubicBezTo>
                    <a:pt x="3363" y="4405"/>
                    <a:pt x="4346" y="3422"/>
                    <a:pt x="4346" y="2203"/>
                  </a:cubicBezTo>
                  <a:cubicBezTo>
                    <a:pt x="4346" y="984"/>
                    <a:pt x="3363" y="1"/>
                    <a:pt x="2144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7" name="Google Shape;8645;p73">
              <a:extLst>
                <a:ext uri="{FF2B5EF4-FFF2-40B4-BE49-F238E27FC236}">
                  <a16:creationId xmlns:a16="http://schemas.microsoft.com/office/drawing/2014/main" id="{ECF3564F-402F-2556-6054-C1BFFF58CF1E}"/>
                </a:ext>
              </a:extLst>
            </p:cNvPr>
            <p:cNvSpPr/>
            <p:nvPr/>
          </p:nvSpPr>
          <p:spPr>
            <a:xfrm>
              <a:off x="1070150" y="3653000"/>
              <a:ext cx="108675" cy="110150"/>
            </a:xfrm>
            <a:custGeom>
              <a:avLst/>
              <a:gdLst/>
              <a:ahLst/>
              <a:cxnLst/>
              <a:rect l="l" t="t" r="r" b="b"/>
              <a:pathLst>
                <a:path w="4347" h="4406" extrusionOk="0">
                  <a:moveTo>
                    <a:pt x="2144" y="1"/>
                  </a:moveTo>
                  <a:cubicBezTo>
                    <a:pt x="970" y="1"/>
                    <a:pt x="1" y="984"/>
                    <a:pt x="1" y="2203"/>
                  </a:cubicBezTo>
                  <a:cubicBezTo>
                    <a:pt x="1" y="3422"/>
                    <a:pt x="970" y="4405"/>
                    <a:pt x="2144" y="4405"/>
                  </a:cubicBezTo>
                  <a:cubicBezTo>
                    <a:pt x="3363" y="4405"/>
                    <a:pt x="4346" y="3422"/>
                    <a:pt x="4346" y="2203"/>
                  </a:cubicBezTo>
                  <a:cubicBezTo>
                    <a:pt x="4346" y="984"/>
                    <a:pt x="3363" y="1"/>
                    <a:pt x="2144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8" name="Google Shape;8646;p73">
              <a:extLst>
                <a:ext uri="{FF2B5EF4-FFF2-40B4-BE49-F238E27FC236}">
                  <a16:creationId xmlns:a16="http://schemas.microsoft.com/office/drawing/2014/main" id="{BBF65D11-2BF7-8FC2-3278-AD4FA3AB0292}"/>
                </a:ext>
              </a:extLst>
            </p:cNvPr>
            <p:cNvSpPr/>
            <p:nvPr/>
          </p:nvSpPr>
          <p:spPr>
            <a:xfrm>
              <a:off x="576150" y="3295150"/>
              <a:ext cx="244825" cy="169975"/>
            </a:xfrm>
            <a:custGeom>
              <a:avLst/>
              <a:gdLst/>
              <a:ahLst/>
              <a:cxnLst/>
              <a:rect l="l" t="t" r="r" b="b"/>
              <a:pathLst>
                <a:path w="9793" h="6799" extrusionOk="0">
                  <a:moveTo>
                    <a:pt x="6357" y="1"/>
                  </a:moveTo>
                  <a:lnTo>
                    <a:pt x="367" y="5991"/>
                  </a:lnTo>
                  <a:lnTo>
                    <a:pt x="0" y="6798"/>
                  </a:lnTo>
                  <a:lnTo>
                    <a:pt x="4581" y="6798"/>
                  </a:lnTo>
                  <a:lnTo>
                    <a:pt x="9792" y="1528"/>
                  </a:lnTo>
                  <a:lnTo>
                    <a:pt x="9117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9" name="Google Shape;8647;p73">
              <a:extLst>
                <a:ext uri="{FF2B5EF4-FFF2-40B4-BE49-F238E27FC236}">
                  <a16:creationId xmlns:a16="http://schemas.microsoft.com/office/drawing/2014/main" id="{4D751615-8EBA-E0D9-E7B6-66D5BF5C4391}"/>
                </a:ext>
              </a:extLst>
            </p:cNvPr>
            <p:cNvSpPr/>
            <p:nvPr/>
          </p:nvSpPr>
          <p:spPr>
            <a:xfrm>
              <a:off x="860575" y="3295150"/>
              <a:ext cx="220250" cy="169975"/>
            </a:xfrm>
            <a:custGeom>
              <a:avLst/>
              <a:gdLst/>
              <a:ahLst/>
              <a:cxnLst/>
              <a:rect l="l" t="t" r="r" b="b"/>
              <a:pathLst>
                <a:path w="8810" h="6799" extrusionOk="0">
                  <a:moveTo>
                    <a:pt x="3612" y="1"/>
                  </a:moveTo>
                  <a:lnTo>
                    <a:pt x="1" y="3612"/>
                  </a:lnTo>
                  <a:lnTo>
                    <a:pt x="1352" y="6798"/>
                  </a:lnTo>
                  <a:lnTo>
                    <a:pt x="2012" y="6798"/>
                  </a:lnTo>
                  <a:lnTo>
                    <a:pt x="8809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0" name="Google Shape;8648;p73">
              <a:extLst>
                <a:ext uri="{FF2B5EF4-FFF2-40B4-BE49-F238E27FC236}">
                  <a16:creationId xmlns:a16="http://schemas.microsoft.com/office/drawing/2014/main" id="{CE3DF120-26B7-62D4-DE92-69E1B474A190}"/>
                </a:ext>
              </a:extLst>
            </p:cNvPr>
            <p:cNvSpPr/>
            <p:nvPr/>
          </p:nvSpPr>
          <p:spPr>
            <a:xfrm>
              <a:off x="1033450" y="3342500"/>
              <a:ext cx="148300" cy="122625"/>
            </a:xfrm>
            <a:custGeom>
              <a:avLst/>
              <a:gdLst/>
              <a:ahLst/>
              <a:cxnLst/>
              <a:rect l="l" t="t" r="r" b="b"/>
              <a:pathLst>
                <a:path w="5932" h="4905" extrusionOk="0">
                  <a:moveTo>
                    <a:pt x="4831" y="1"/>
                  </a:moveTo>
                  <a:lnTo>
                    <a:pt x="1" y="4904"/>
                  </a:lnTo>
                  <a:lnTo>
                    <a:pt x="2570" y="4904"/>
                  </a:lnTo>
                  <a:lnTo>
                    <a:pt x="5932" y="1469"/>
                  </a:lnTo>
                  <a:lnTo>
                    <a:pt x="4831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1" name="Google Shape;8649;p73">
              <a:extLst>
                <a:ext uri="{FF2B5EF4-FFF2-40B4-BE49-F238E27FC236}">
                  <a16:creationId xmlns:a16="http://schemas.microsoft.com/office/drawing/2014/main" id="{C2D63F3C-A3A7-A6DA-512A-B074FF5ACDBF}"/>
                </a:ext>
              </a:extLst>
            </p:cNvPr>
            <p:cNvSpPr/>
            <p:nvPr/>
          </p:nvSpPr>
          <p:spPr>
            <a:xfrm>
              <a:off x="341975" y="3566025"/>
              <a:ext cx="99500" cy="58025"/>
            </a:xfrm>
            <a:custGeom>
              <a:avLst/>
              <a:gdLst/>
              <a:ahLst/>
              <a:cxnLst/>
              <a:rect l="l" t="t" r="r" b="b"/>
              <a:pathLst>
                <a:path w="3980" h="2321" extrusionOk="0">
                  <a:moveTo>
                    <a:pt x="1" y="0"/>
                  </a:moveTo>
                  <a:lnTo>
                    <a:pt x="617" y="2320"/>
                  </a:lnTo>
                  <a:cubicBezTo>
                    <a:pt x="617" y="2320"/>
                    <a:pt x="3436" y="1953"/>
                    <a:pt x="39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2" name="Google Shape;8650;p73">
              <a:extLst>
                <a:ext uri="{FF2B5EF4-FFF2-40B4-BE49-F238E27FC236}">
                  <a16:creationId xmlns:a16="http://schemas.microsoft.com/office/drawing/2014/main" id="{52577B0C-D3E7-61D8-4315-F2CC2D2AF23F}"/>
                </a:ext>
              </a:extLst>
            </p:cNvPr>
            <p:cNvSpPr/>
            <p:nvPr/>
          </p:nvSpPr>
          <p:spPr>
            <a:xfrm>
              <a:off x="991975" y="3599425"/>
              <a:ext cx="264650" cy="142425"/>
            </a:xfrm>
            <a:custGeom>
              <a:avLst/>
              <a:gdLst/>
              <a:ahLst/>
              <a:cxnLst/>
              <a:rect l="l" t="t" r="r" b="b"/>
              <a:pathLst>
                <a:path w="10586" h="5697" extrusionOk="0">
                  <a:moveTo>
                    <a:pt x="5271" y="0"/>
                  </a:moveTo>
                  <a:cubicBezTo>
                    <a:pt x="250" y="0"/>
                    <a:pt x="1" y="5139"/>
                    <a:pt x="1" y="5197"/>
                  </a:cubicBezTo>
                  <a:cubicBezTo>
                    <a:pt x="1" y="5447"/>
                    <a:pt x="192" y="5697"/>
                    <a:pt x="426" y="5697"/>
                  </a:cubicBezTo>
                  <a:cubicBezTo>
                    <a:pt x="676" y="5697"/>
                    <a:pt x="867" y="5506"/>
                    <a:pt x="867" y="5271"/>
                  </a:cubicBezTo>
                  <a:cubicBezTo>
                    <a:pt x="926" y="5080"/>
                    <a:pt x="1102" y="925"/>
                    <a:pt x="5271" y="925"/>
                  </a:cubicBezTo>
                  <a:cubicBezTo>
                    <a:pt x="9426" y="925"/>
                    <a:pt x="9675" y="5080"/>
                    <a:pt x="9675" y="5271"/>
                  </a:cubicBezTo>
                  <a:cubicBezTo>
                    <a:pt x="9675" y="5506"/>
                    <a:pt x="9910" y="5697"/>
                    <a:pt x="10160" y="5697"/>
                  </a:cubicBezTo>
                  <a:cubicBezTo>
                    <a:pt x="10409" y="5697"/>
                    <a:pt x="10586" y="5447"/>
                    <a:pt x="10586" y="5197"/>
                  </a:cubicBezTo>
                  <a:cubicBezTo>
                    <a:pt x="10586" y="5139"/>
                    <a:pt x="10277" y="0"/>
                    <a:pt x="5271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3" name="Google Shape;8651;p73">
              <a:extLst>
                <a:ext uri="{FF2B5EF4-FFF2-40B4-BE49-F238E27FC236}">
                  <a16:creationId xmlns:a16="http://schemas.microsoft.com/office/drawing/2014/main" id="{D7A87C3C-A8F7-ED48-00D4-124E658B158F}"/>
                </a:ext>
              </a:extLst>
            </p:cNvPr>
            <p:cNvSpPr/>
            <p:nvPr/>
          </p:nvSpPr>
          <p:spPr>
            <a:xfrm>
              <a:off x="580550" y="3596500"/>
              <a:ext cx="264650" cy="140575"/>
            </a:xfrm>
            <a:custGeom>
              <a:avLst/>
              <a:gdLst/>
              <a:ahLst/>
              <a:cxnLst/>
              <a:rect l="l" t="t" r="r" b="b"/>
              <a:pathLst>
                <a:path w="10586" h="5623" extrusionOk="0">
                  <a:moveTo>
                    <a:pt x="5330" y="0"/>
                  </a:moveTo>
                  <a:cubicBezTo>
                    <a:pt x="250" y="0"/>
                    <a:pt x="0" y="5138"/>
                    <a:pt x="0" y="5197"/>
                  </a:cubicBezTo>
                  <a:cubicBezTo>
                    <a:pt x="0" y="5447"/>
                    <a:pt x="191" y="5623"/>
                    <a:pt x="441" y="5623"/>
                  </a:cubicBezTo>
                  <a:cubicBezTo>
                    <a:pt x="676" y="5623"/>
                    <a:pt x="925" y="5447"/>
                    <a:pt x="925" y="5197"/>
                  </a:cubicBezTo>
                  <a:cubicBezTo>
                    <a:pt x="925" y="5021"/>
                    <a:pt x="1101" y="851"/>
                    <a:pt x="5330" y="851"/>
                  </a:cubicBezTo>
                  <a:cubicBezTo>
                    <a:pt x="9425" y="851"/>
                    <a:pt x="9675" y="5021"/>
                    <a:pt x="9675" y="5197"/>
                  </a:cubicBezTo>
                  <a:cubicBezTo>
                    <a:pt x="9734" y="5447"/>
                    <a:pt x="9910" y="5623"/>
                    <a:pt x="10160" y="5623"/>
                  </a:cubicBezTo>
                  <a:cubicBezTo>
                    <a:pt x="10409" y="5623"/>
                    <a:pt x="10585" y="5447"/>
                    <a:pt x="10585" y="5197"/>
                  </a:cubicBezTo>
                  <a:cubicBezTo>
                    <a:pt x="10585" y="5138"/>
                    <a:pt x="10350" y="0"/>
                    <a:pt x="5330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4" name="Google Shape;8652;p73">
              <a:extLst>
                <a:ext uri="{FF2B5EF4-FFF2-40B4-BE49-F238E27FC236}">
                  <a16:creationId xmlns:a16="http://schemas.microsoft.com/office/drawing/2014/main" id="{2712D8EE-06DB-C0C4-DCD9-BE9BBCAD50AF}"/>
                </a:ext>
              </a:extLst>
            </p:cNvPr>
            <p:cNvSpPr/>
            <p:nvPr/>
          </p:nvSpPr>
          <p:spPr>
            <a:xfrm>
              <a:off x="1386525" y="3584375"/>
              <a:ext cx="52150" cy="33425"/>
            </a:xfrm>
            <a:custGeom>
              <a:avLst/>
              <a:gdLst/>
              <a:ahLst/>
              <a:cxnLst/>
              <a:rect l="l" t="t" r="r" b="b"/>
              <a:pathLst>
                <a:path w="2086" h="1337" extrusionOk="0">
                  <a:moveTo>
                    <a:pt x="1" y="1"/>
                  </a:moveTo>
                  <a:cubicBezTo>
                    <a:pt x="1" y="1"/>
                    <a:pt x="1293" y="1336"/>
                    <a:pt x="2085" y="1336"/>
                  </a:cubicBezTo>
                  <a:lnTo>
                    <a:pt x="2085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5" name="Google Shape;8653;p73">
              <a:extLst>
                <a:ext uri="{FF2B5EF4-FFF2-40B4-BE49-F238E27FC236}">
                  <a16:creationId xmlns:a16="http://schemas.microsoft.com/office/drawing/2014/main" id="{91062652-6806-79B9-82F0-D38FF6344F52}"/>
                </a:ext>
              </a:extLst>
            </p:cNvPr>
            <p:cNvSpPr/>
            <p:nvPr/>
          </p:nvSpPr>
          <p:spPr>
            <a:xfrm>
              <a:off x="973625" y="3518300"/>
              <a:ext cx="56550" cy="15450"/>
            </a:xfrm>
            <a:custGeom>
              <a:avLst/>
              <a:gdLst/>
              <a:ahLst/>
              <a:cxnLst/>
              <a:rect l="l" t="t" r="r" b="b"/>
              <a:pathLst>
                <a:path w="2262" h="618" extrusionOk="0">
                  <a:moveTo>
                    <a:pt x="133" y="1"/>
                  </a:moveTo>
                  <a:cubicBezTo>
                    <a:pt x="59" y="1"/>
                    <a:pt x="1" y="74"/>
                    <a:pt x="1" y="133"/>
                  </a:cubicBezTo>
                  <a:lnTo>
                    <a:pt x="1" y="500"/>
                  </a:lnTo>
                  <a:cubicBezTo>
                    <a:pt x="1" y="559"/>
                    <a:pt x="59" y="618"/>
                    <a:pt x="133" y="618"/>
                  </a:cubicBezTo>
                  <a:lnTo>
                    <a:pt x="2144" y="618"/>
                  </a:lnTo>
                  <a:cubicBezTo>
                    <a:pt x="2203" y="618"/>
                    <a:pt x="2261" y="559"/>
                    <a:pt x="2261" y="500"/>
                  </a:cubicBezTo>
                  <a:lnTo>
                    <a:pt x="2261" y="133"/>
                  </a:lnTo>
                  <a:cubicBezTo>
                    <a:pt x="2261" y="74"/>
                    <a:pt x="2203" y="1"/>
                    <a:pt x="214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6" name="Google Shape;8654;p73">
              <a:extLst>
                <a:ext uri="{FF2B5EF4-FFF2-40B4-BE49-F238E27FC236}">
                  <a16:creationId xmlns:a16="http://schemas.microsoft.com/office/drawing/2014/main" id="{CEC793CB-EDEB-CB7B-A93E-0252140963AC}"/>
                </a:ext>
              </a:extLst>
            </p:cNvPr>
            <p:cNvSpPr/>
            <p:nvPr/>
          </p:nvSpPr>
          <p:spPr>
            <a:xfrm>
              <a:off x="877475" y="3520150"/>
              <a:ext cx="56550" cy="15075"/>
            </a:xfrm>
            <a:custGeom>
              <a:avLst/>
              <a:gdLst/>
              <a:ahLst/>
              <a:cxnLst/>
              <a:rect l="l" t="t" r="r" b="b"/>
              <a:pathLst>
                <a:path w="2262" h="603" extrusionOk="0">
                  <a:moveTo>
                    <a:pt x="118" y="0"/>
                  </a:moveTo>
                  <a:cubicBezTo>
                    <a:pt x="59" y="0"/>
                    <a:pt x="0" y="59"/>
                    <a:pt x="0" y="118"/>
                  </a:cubicBezTo>
                  <a:lnTo>
                    <a:pt x="0" y="485"/>
                  </a:lnTo>
                  <a:cubicBezTo>
                    <a:pt x="0" y="544"/>
                    <a:pt x="59" y="602"/>
                    <a:pt x="118" y="602"/>
                  </a:cubicBezTo>
                  <a:lnTo>
                    <a:pt x="2144" y="602"/>
                  </a:lnTo>
                  <a:cubicBezTo>
                    <a:pt x="2202" y="602"/>
                    <a:pt x="2261" y="544"/>
                    <a:pt x="2261" y="485"/>
                  </a:cubicBezTo>
                  <a:lnTo>
                    <a:pt x="2261" y="118"/>
                  </a:lnTo>
                  <a:cubicBezTo>
                    <a:pt x="2261" y="59"/>
                    <a:pt x="2202" y="0"/>
                    <a:pt x="2144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7" name="Google Shape;8655;p73">
              <a:extLst>
                <a:ext uri="{FF2B5EF4-FFF2-40B4-BE49-F238E27FC236}">
                  <a16:creationId xmlns:a16="http://schemas.microsoft.com/office/drawing/2014/main" id="{CBD040C9-0F06-B910-6545-2CBBB6EABCEF}"/>
                </a:ext>
              </a:extLst>
            </p:cNvPr>
            <p:cNvSpPr/>
            <p:nvPr/>
          </p:nvSpPr>
          <p:spPr>
            <a:xfrm>
              <a:off x="336100" y="3691175"/>
              <a:ext cx="123725" cy="50675"/>
            </a:xfrm>
            <a:custGeom>
              <a:avLst/>
              <a:gdLst/>
              <a:ahLst/>
              <a:cxnLst/>
              <a:rect l="l" t="t" r="r" b="b"/>
              <a:pathLst>
                <a:path w="4949" h="2027" extrusionOk="0">
                  <a:moveTo>
                    <a:pt x="1" y="1"/>
                  </a:moveTo>
                  <a:lnTo>
                    <a:pt x="911" y="2027"/>
                  </a:lnTo>
                  <a:lnTo>
                    <a:pt x="4948" y="2027"/>
                  </a:lnTo>
                  <a:lnTo>
                    <a:pt x="4346" y="61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8" name="Google Shape;8656;p73">
              <a:extLst>
                <a:ext uri="{FF2B5EF4-FFF2-40B4-BE49-F238E27FC236}">
                  <a16:creationId xmlns:a16="http://schemas.microsoft.com/office/drawing/2014/main" id="{AB1B4A9C-437D-5899-9FDE-C2D8E05D5165}"/>
                </a:ext>
              </a:extLst>
            </p:cNvPr>
            <p:cNvSpPr/>
            <p:nvPr/>
          </p:nvSpPr>
          <p:spPr>
            <a:xfrm>
              <a:off x="802600" y="1529050"/>
              <a:ext cx="111600" cy="24250"/>
            </a:xfrm>
            <a:custGeom>
              <a:avLst/>
              <a:gdLst/>
              <a:ahLst/>
              <a:cxnLst/>
              <a:rect l="l" t="t" r="r" b="b"/>
              <a:pathLst>
                <a:path w="4464" h="970" extrusionOk="0">
                  <a:moveTo>
                    <a:pt x="0" y="0"/>
                  </a:moveTo>
                  <a:lnTo>
                    <a:pt x="0" y="969"/>
                  </a:lnTo>
                  <a:lnTo>
                    <a:pt x="4463" y="969"/>
                  </a:lnTo>
                  <a:lnTo>
                    <a:pt x="4463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9" name="Google Shape;8657;p73">
              <a:extLst>
                <a:ext uri="{FF2B5EF4-FFF2-40B4-BE49-F238E27FC236}">
                  <a16:creationId xmlns:a16="http://schemas.microsoft.com/office/drawing/2014/main" id="{2CBB9849-30BF-0FAD-8179-98AC6A10B9C2}"/>
                </a:ext>
              </a:extLst>
            </p:cNvPr>
            <p:cNvSpPr/>
            <p:nvPr/>
          </p:nvSpPr>
          <p:spPr>
            <a:xfrm>
              <a:off x="814700" y="1558050"/>
              <a:ext cx="90325" cy="15075"/>
            </a:xfrm>
            <a:custGeom>
              <a:avLst/>
              <a:gdLst/>
              <a:ahLst/>
              <a:cxnLst/>
              <a:rect l="l" t="t" r="r" b="b"/>
              <a:pathLst>
                <a:path w="3613" h="603" extrusionOk="0">
                  <a:moveTo>
                    <a:pt x="1" y="0"/>
                  </a:moveTo>
                  <a:lnTo>
                    <a:pt x="1" y="602"/>
                  </a:lnTo>
                  <a:lnTo>
                    <a:pt x="3612" y="602"/>
                  </a:lnTo>
                  <a:lnTo>
                    <a:pt x="3612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0" name="Google Shape;8658;p73">
              <a:extLst>
                <a:ext uri="{FF2B5EF4-FFF2-40B4-BE49-F238E27FC236}">
                  <a16:creationId xmlns:a16="http://schemas.microsoft.com/office/drawing/2014/main" id="{9C231EF9-F27C-5FCB-98CD-162C6E323204}"/>
                </a:ext>
              </a:extLst>
            </p:cNvPr>
            <p:cNvSpPr/>
            <p:nvPr/>
          </p:nvSpPr>
          <p:spPr>
            <a:xfrm>
              <a:off x="814700" y="1577875"/>
              <a:ext cx="90325" cy="27550"/>
            </a:xfrm>
            <a:custGeom>
              <a:avLst/>
              <a:gdLst/>
              <a:ahLst/>
              <a:cxnLst/>
              <a:rect l="l" t="t" r="r" b="b"/>
              <a:pathLst>
                <a:path w="3613" h="1102" extrusionOk="0">
                  <a:moveTo>
                    <a:pt x="1" y="0"/>
                  </a:moveTo>
                  <a:cubicBezTo>
                    <a:pt x="1" y="0"/>
                    <a:pt x="177" y="1101"/>
                    <a:pt x="1777" y="1101"/>
                  </a:cubicBezTo>
                  <a:cubicBezTo>
                    <a:pt x="3421" y="1101"/>
                    <a:pt x="3612" y="0"/>
                    <a:pt x="3612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1" name="Google Shape;8659;p73">
              <a:extLst>
                <a:ext uri="{FF2B5EF4-FFF2-40B4-BE49-F238E27FC236}">
                  <a16:creationId xmlns:a16="http://schemas.microsoft.com/office/drawing/2014/main" id="{C39B5567-D244-CCF4-1224-B5DFCC89DC04}"/>
                </a:ext>
              </a:extLst>
            </p:cNvPr>
            <p:cNvSpPr/>
            <p:nvPr/>
          </p:nvSpPr>
          <p:spPr>
            <a:xfrm>
              <a:off x="834525" y="1421875"/>
              <a:ext cx="47375" cy="94725"/>
            </a:xfrm>
            <a:custGeom>
              <a:avLst/>
              <a:gdLst/>
              <a:ahLst/>
              <a:cxnLst/>
              <a:rect l="l" t="t" r="r" b="b"/>
              <a:pathLst>
                <a:path w="1895" h="3789" extrusionOk="0">
                  <a:moveTo>
                    <a:pt x="309" y="1"/>
                  </a:moveTo>
                  <a:cubicBezTo>
                    <a:pt x="118" y="1"/>
                    <a:pt x="1" y="118"/>
                    <a:pt x="1" y="309"/>
                  </a:cubicBezTo>
                  <a:lnTo>
                    <a:pt x="1" y="3480"/>
                  </a:lnTo>
                  <a:cubicBezTo>
                    <a:pt x="1" y="3671"/>
                    <a:pt x="118" y="3788"/>
                    <a:pt x="309" y="3788"/>
                  </a:cubicBezTo>
                  <a:lnTo>
                    <a:pt x="1586" y="3788"/>
                  </a:lnTo>
                  <a:cubicBezTo>
                    <a:pt x="1777" y="3788"/>
                    <a:pt x="1894" y="3671"/>
                    <a:pt x="1894" y="3480"/>
                  </a:cubicBezTo>
                  <a:lnTo>
                    <a:pt x="1894" y="309"/>
                  </a:lnTo>
                  <a:cubicBezTo>
                    <a:pt x="1894" y="118"/>
                    <a:pt x="1777" y="1"/>
                    <a:pt x="1586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2" name="Google Shape;8660;p73">
              <a:extLst>
                <a:ext uri="{FF2B5EF4-FFF2-40B4-BE49-F238E27FC236}">
                  <a16:creationId xmlns:a16="http://schemas.microsoft.com/office/drawing/2014/main" id="{A3CEE27D-13B5-4B9D-3F0A-02BC48EEE5ED}"/>
                </a:ext>
              </a:extLst>
            </p:cNvPr>
            <p:cNvSpPr/>
            <p:nvPr/>
          </p:nvSpPr>
          <p:spPr>
            <a:xfrm>
              <a:off x="745700" y="1367900"/>
              <a:ext cx="211075" cy="115850"/>
            </a:xfrm>
            <a:custGeom>
              <a:avLst/>
              <a:gdLst/>
              <a:ahLst/>
              <a:cxnLst/>
              <a:rect l="l" t="t" r="r" b="b"/>
              <a:pathLst>
                <a:path w="8443" h="4634" extrusionOk="0">
                  <a:moveTo>
                    <a:pt x="7570" y="1"/>
                  </a:moveTo>
                  <a:cubicBezTo>
                    <a:pt x="7538" y="1"/>
                    <a:pt x="7505" y="6"/>
                    <a:pt x="7473" y="16"/>
                  </a:cubicBezTo>
                  <a:lnTo>
                    <a:pt x="250" y="2703"/>
                  </a:lnTo>
                  <a:cubicBezTo>
                    <a:pt x="74" y="2776"/>
                    <a:pt x="1" y="2952"/>
                    <a:pt x="74" y="3143"/>
                  </a:cubicBezTo>
                  <a:lnTo>
                    <a:pt x="559" y="4421"/>
                  </a:lnTo>
                  <a:cubicBezTo>
                    <a:pt x="603" y="4564"/>
                    <a:pt x="722" y="4633"/>
                    <a:pt x="829" y="4633"/>
                  </a:cubicBezTo>
                  <a:cubicBezTo>
                    <a:pt x="863" y="4633"/>
                    <a:pt x="897" y="4626"/>
                    <a:pt x="926" y="4611"/>
                  </a:cubicBezTo>
                  <a:lnTo>
                    <a:pt x="8207" y="1910"/>
                  </a:lnTo>
                  <a:cubicBezTo>
                    <a:pt x="8325" y="1851"/>
                    <a:pt x="8442" y="1675"/>
                    <a:pt x="8384" y="1484"/>
                  </a:cubicBezTo>
                  <a:lnTo>
                    <a:pt x="7899" y="207"/>
                  </a:lnTo>
                  <a:cubicBezTo>
                    <a:pt x="7851" y="99"/>
                    <a:pt x="7715" y="1"/>
                    <a:pt x="7570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3" name="Google Shape;8661;p73">
              <a:extLst>
                <a:ext uri="{FF2B5EF4-FFF2-40B4-BE49-F238E27FC236}">
                  <a16:creationId xmlns:a16="http://schemas.microsoft.com/office/drawing/2014/main" id="{8530905E-F52F-351F-1392-A4B248EDFB65}"/>
                </a:ext>
              </a:extLst>
            </p:cNvPr>
            <p:cNvSpPr/>
            <p:nvPr/>
          </p:nvSpPr>
          <p:spPr>
            <a:xfrm>
              <a:off x="753425" y="1273225"/>
              <a:ext cx="211050" cy="116250"/>
            </a:xfrm>
            <a:custGeom>
              <a:avLst/>
              <a:gdLst/>
              <a:ahLst/>
              <a:cxnLst/>
              <a:rect l="l" t="t" r="r" b="b"/>
              <a:pathLst>
                <a:path w="8442" h="4650" extrusionOk="0">
                  <a:moveTo>
                    <a:pt x="7600" y="0"/>
                  </a:moveTo>
                  <a:cubicBezTo>
                    <a:pt x="7575" y="0"/>
                    <a:pt x="7552" y="5"/>
                    <a:pt x="7531" y="16"/>
                  </a:cubicBezTo>
                  <a:lnTo>
                    <a:pt x="250" y="2702"/>
                  </a:lnTo>
                  <a:cubicBezTo>
                    <a:pt x="132" y="2761"/>
                    <a:pt x="0" y="3010"/>
                    <a:pt x="59" y="3128"/>
                  </a:cubicBezTo>
                  <a:lnTo>
                    <a:pt x="558" y="4420"/>
                  </a:lnTo>
                  <a:cubicBezTo>
                    <a:pt x="600" y="4546"/>
                    <a:pt x="702" y="4650"/>
                    <a:pt x="827" y="4650"/>
                  </a:cubicBezTo>
                  <a:cubicBezTo>
                    <a:pt x="877" y="4650"/>
                    <a:pt x="930" y="4633"/>
                    <a:pt x="984" y="4596"/>
                  </a:cubicBezTo>
                  <a:lnTo>
                    <a:pt x="8207" y="1909"/>
                  </a:lnTo>
                  <a:cubicBezTo>
                    <a:pt x="8383" y="1851"/>
                    <a:pt x="8442" y="1660"/>
                    <a:pt x="8383" y="1542"/>
                  </a:cubicBezTo>
                  <a:lnTo>
                    <a:pt x="7898" y="250"/>
                  </a:lnTo>
                  <a:cubicBezTo>
                    <a:pt x="7850" y="105"/>
                    <a:pt x="7712" y="0"/>
                    <a:pt x="7600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4" name="Google Shape;8662;p73">
              <a:extLst>
                <a:ext uri="{FF2B5EF4-FFF2-40B4-BE49-F238E27FC236}">
                  <a16:creationId xmlns:a16="http://schemas.microsoft.com/office/drawing/2014/main" id="{4D4E5D89-D5E9-8ABD-EC83-9DDDFFF4165B}"/>
                </a:ext>
              </a:extLst>
            </p:cNvPr>
            <p:cNvSpPr/>
            <p:nvPr/>
          </p:nvSpPr>
          <p:spPr>
            <a:xfrm>
              <a:off x="751950" y="1176525"/>
              <a:ext cx="212525" cy="115850"/>
            </a:xfrm>
            <a:custGeom>
              <a:avLst/>
              <a:gdLst/>
              <a:ahLst/>
              <a:cxnLst/>
              <a:rect l="l" t="t" r="r" b="b"/>
              <a:pathLst>
                <a:path w="8501" h="4634" extrusionOk="0">
                  <a:moveTo>
                    <a:pt x="7662" y="1"/>
                  </a:moveTo>
                  <a:cubicBezTo>
                    <a:pt x="7619" y="1"/>
                    <a:pt x="7575" y="8"/>
                    <a:pt x="7532" y="22"/>
                  </a:cubicBezTo>
                  <a:lnTo>
                    <a:pt x="309" y="2724"/>
                  </a:lnTo>
                  <a:cubicBezTo>
                    <a:pt x="118" y="2783"/>
                    <a:pt x="0" y="2959"/>
                    <a:pt x="59" y="3150"/>
                  </a:cubicBezTo>
                  <a:lnTo>
                    <a:pt x="558" y="4427"/>
                  </a:lnTo>
                  <a:cubicBezTo>
                    <a:pt x="606" y="4535"/>
                    <a:pt x="733" y="4633"/>
                    <a:pt x="882" y="4633"/>
                  </a:cubicBezTo>
                  <a:cubicBezTo>
                    <a:pt x="915" y="4633"/>
                    <a:pt x="949" y="4628"/>
                    <a:pt x="984" y="4618"/>
                  </a:cubicBezTo>
                  <a:lnTo>
                    <a:pt x="8192" y="1916"/>
                  </a:lnTo>
                  <a:cubicBezTo>
                    <a:pt x="8383" y="1858"/>
                    <a:pt x="8501" y="1681"/>
                    <a:pt x="8442" y="1491"/>
                  </a:cubicBezTo>
                  <a:lnTo>
                    <a:pt x="7957" y="213"/>
                  </a:lnTo>
                  <a:cubicBezTo>
                    <a:pt x="7913" y="69"/>
                    <a:pt x="7794" y="1"/>
                    <a:pt x="7662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5" name="Google Shape;8663;p73">
              <a:extLst>
                <a:ext uri="{FF2B5EF4-FFF2-40B4-BE49-F238E27FC236}">
                  <a16:creationId xmlns:a16="http://schemas.microsoft.com/office/drawing/2014/main" id="{BFC9B625-2963-F427-8FC4-C0CA6F9507ED}"/>
                </a:ext>
              </a:extLst>
            </p:cNvPr>
            <p:cNvSpPr/>
            <p:nvPr/>
          </p:nvSpPr>
          <p:spPr>
            <a:xfrm>
              <a:off x="836000" y="1154325"/>
              <a:ext cx="47375" cy="93250"/>
            </a:xfrm>
            <a:custGeom>
              <a:avLst/>
              <a:gdLst/>
              <a:ahLst/>
              <a:cxnLst/>
              <a:rect l="l" t="t" r="r" b="b"/>
              <a:pathLst>
                <a:path w="1895" h="3730" extrusionOk="0">
                  <a:moveTo>
                    <a:pt x="309" y="0"/>
                  </a:moveTo>
                  <a:cubicBezTo>
                    <a:pt x="132" y="0"/>
                    <a:pt x="0" y="118"/>
                    <a:pt x="0" y="309"/>
                  </a:cubicBezTo>
                  <a:lnTo>
                    <a:pt x="0" y="3421"/>
                  </a:lnTo>
                  <a:cubicBezTo>
                    <a:pt x="0" y="3612"/>
                    <a:pt x="132" y="3729"/>
                    <a:pt x="309" y="3729"/>
                  </a:cubicBezTo>
                  <a:lnTo>
                    <a:pt x="1600" y="3729"/>
                  </a:lnTo>
                  <a:cubicBezTo>
                    <a:pt x="1718" y="3729"/>
                    <a:pt x="1894" y="3612"/>
                    <a:pt x="1894" y="3421"/>
                  </a:cubicBezTo>
                  <a:lnTo>
                    <a:pt x="1894" y="309"/>
                  </a:lnTo>
                  <a:cubicBezTo>
                    <a:pt x="1894" y="118"/>
                    <a:pt x="1718" y="0"/>
                    <a:pt x="1600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6" name="Google Shape;8664;p73">
              <a:extLst>
                <a:ext uri="{FF2B5EF4-FFF2-40B4-BE49-F238E27FC236}">
                  <a16:creationId xmlns:a16="http://schemas.microsoft.com/office/drawing/2014/main" id="{712CA6D0-C237-5984-27E3-D07A67BB6B55}"/>
                </a:ext>
              </a:extLst>
            </p:cNvPr>
            <p:cNvSpPr/>
            <p:nvPr/>
          </p:nvSpPr>
          <p:spPr>
            <a:xfrm>
              <a:off x="481450" y="1284250"/>
              <a:ext cx="38200" cy="71950"/>
            </a:xfrm>
            <a:custGeom>
              <a:avLst/>
              <a:gdLst/>
              <a:ahLst/>
              <a:cxnLst/>
              <a:rect l="l" t="t" r="r" b="b"/>
              <a:pathLst>
                <a:path w="1528" h="2878" extrusionOk="0">
                  <a:moveTo>
                    <a:pt x="602" y="0"/>
                  </a:moveTo>
                  <a:cubicBezTo>
                    <a:pt x="602" y="0"/>
                    <a:pt x="544" y="0"/>
                    <a:pt x="485" y="59"/>
                  </a:cubicBezTo>
                  <a:cubicBezTo>
                    <a:pt x="294" y="118"/>
                    <a:pt x="235" y="367"/>
                    <a:pt x="177" y="485"/>
                  </a:cubicBezTo>
                  <a:cubicBezTo>
                    <a:pt x="0" y="1278"/>
                    <a:pt x="294" y="2202"/>
                    <a:pt x="852" y="2878"/>
                  </a:cubicBezTo>
                  <a:cubicBezTo>
                    <a:pt x="1028" y="2687"/>
                    <a:pt x="1160" y="2511"/>
                    <a:pt x="1278" y="2261"/>
                  </a:cubicBezTo>
                  <a:cubicBezTo>
                    <a:pt x="1527" y="1645"/>
                    <a:pt x="1527" y="911"/>
                    <a:pt x="1160" y="426"/>
                  </a:cubicBezTo>
                  <a:cubicBezTo>
                    <a:pt x="1028" y="176"/>
                    <a:pt x="793" y="0"/>
                    <a:pt x="602" y="0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7" name="Google Shape;8665;p73">
              <a:extLst>
                <a:ext uri="{FF2B5EF4-FFF2-40B4-BE49-F238E27FC236}">
                  <a16:creationId xmlns:a16="http://schemas.microsoft.com/office/drawing/2014/main" id="{CBE7350A-4A39-DE9F-9113-EF1A972ED70F}"/>
                </a:ext>
              </a:extLst>
            </p:cNvPr>
            <p:cNvSpPr/>
            <p:nvPr/>
          </p:nvSpPr>
          <p:spPr>
            <a:xfrm>
              <a:off x="337575" y="1124975"/>
              <a:ext cx="338050" cy="417675"/>
            </a:xfrm>
            <a:custGeom>
              <a:avLst/>
              <a:gdLst/>
              <a:ahLst/>
              <a:cxnLst/>
              <a:rect l="l" t="t" r="r" b="b"/>
              <a:pathLst>
                <a:path w="13522" h="16707" extrusionOk="0">
                  <a:moveTo>
                    <a:pt x="6370" y="5806"/>
                  </a:moveTo>
                  <a:cubicBezTo>
                    <a:pt x="6805" y="5806"/>
                    <a:pt x="7220" y="6100"/>
                    <a:pt x="7458" y="6430"/>
                  </a:cubicBezTo>
                  <a:cubicBezTo>
                    <a:pt x="7884" y="7105"/>
                    <a:pt x="7958" y="8016"/>
                    <a:pt x="7591" y="8882"/>
                  </a:cubicBezTo>
                  <a:cubicBezTo>
                    <a:pt x="7458" y="9190"/>
                    <a:pt x="7282" y="9425"/>
                    <a:pt x="7091" y="9675"/>
                  </a:cubicBezTo>
                  <a:cubicBezTo>
                    <a:pt x="7767" y="10218"/>
                    <a:pt x="8442" y="10467"/>
                    <a:pt x="9235" y="10526"/>
                  </a:cubicBezTo>
                  <a:lnTo>
                    <a:pt x="9793" y="8691"/>
                  </a:lnTo>
                  <a:cubicBezTo>
                    <a:pt x="9793" y="8515"/>
                    <a:pt x="9969" y="8456"/>
                    <a:pt x="10160" y="8456"/>
                  </a:cubicBezTo>
                  <a:cubicBezTo>
                    <a:pt x="10277" y="8515"/>
                    <a:pt x="10395" y="8691"/>
                    <a:pt x="10336" y="8823"/>
                  </a:cubicBezTo>
                  <a:lnTo>
                    <a:pt x="9851" y="10526"/>
                  </a:lnTo>
                  <a:cubicBezTo>
                    <a:pt x="10277" y="10467"/>
                    <a:pt x="10820" y="9983"/>
                    <a:pt x="11011" y="9792"/>
                  </a:cubicBezTo>
                  <a:cubicBezTo>
                    <a:pt x="11070" y="9733"/>
                    <a:pt x="11147" y="9704"/>
                    <a:pt x="11224" y="9704"/>
                  </a:cubicBezTo>
                  <a:cubicBezTo>
                    <a:pt x="11301" y="9704"/>
                    <a:pt x="11378" y="9733"/>
                    <a:pt x="11437" y="9792"/>
                  </a:cubicBezTo>
                  <a:cubicBezTo>
                    <a:pt x="11554" y="9924"/>
                    <a:pt x="11554" y="10100"/>
                    <a:pt x="11437" y="10218"/>
                  </a:cubicBezTo>
                  <a:cubicBezTo>
                    <a:pt x="11320" y="10350"/>
                    <a:pt x="10586" y="11084"/>
                    <a:pt x="9851" y="11084"/>
                  </a:cubicBezTo>
                  <a:cubicBezTo>
                    <a:pt x="9793" y="11084"/>
                    <a:pt x="9719" y="11084"/>
                    <a:pt x="9661" y="11143"/>
                  </a:cubicBezTo>
                  <a:lnTo>
                    <a:pt x="8325" y="15914"/>
                  </a:lnTo>
                  <a:cubicBezTo>
                    <a:pt x="8251" y="16031"/>
                    <a:pt x="8134" y="16163"/>
                    <a:pt x="8016" y="16163"/>
                  </a:cubicBezTo>
                  <a:cubicBezTo>
                    <a:pt x="7958" y="16163"/>
                    <a:pt x="7958" y="16163"/>
                    <a:pt x="7958" y="16090"/>
                  </a:cubicBezTo>
                  <a:cubicBezTo>
                    <a:pt x="7767" y="16090"/>
                    <a:pt x="7708" y="15914"/>
                    <a:pt x="7708" y="15723"/>
                  </a:cubicBezTo>
                  <a:lnTo>
                    <a:pt x="9059" y="11084"/>
                  </a:lnTo>
                  <a:cubicBezTo>
                    <a:pt x="8193" y="11025"/>
                    <a:pt x="7400" y="10717"/>
                    <a:pt x="6666" y="10100"/>
                  </a:cubicBezTo>
                  <a:cubicBezTo>
                    <a:pt x="6416" y="10291"/>
                    <a:pt x="6181" y="10467"/>
                    <a:pt x="5932" y="10585"/>
                  </a:cubicBezTo>
                  <a:cubicBezTo>
                    <a:pt x="5623" y="10776"/>
                    <a:pt x="5256" y="10893"/>
                    <a:pt x="4948" y="11025"/>
                  </a:cubicBezTo>
                  <a:lnTo>
                    <a:pt x="6299" y="15723"/>
                  </a:lnTo>
                  <a:cubicBezTo>
                    <a:pt x="6357" y="15914"/>
                    <a:pt x="6299" y="16090"/>
                    <a:pt x="6122" y="16090"/>
                  </a:cubicBezTo>
                  <a:cubicBezTo>
                    <a:pt x="6122" y="16163"/>
                    <a:pt x="6049" y="16163"/>
                    <a:pt x="6049" y="16163"/>
                  </a:cubicBezTo>
                  <a:cubicBezTo>
                    <a:pt x="5932" y="16163"/>
                    <a:pt x="5814" y="16031"/>
                    <a:pt x="5755" y="15914"/>
                  </a:cubicBezTo>
                  <a:lnTo>
                    <a:pt x="4346" y="11084"/>
                  </a:lnTo>
                  <a:lnTo>
                    <a:pt x="4097" y="11084"/>
                  </a:lnTo>
                  <a:cubicBezTo>
                    <a:pt x="3421" y="11084"/>
                    <a:pt x="2746" y="10776"/>
                    <a:pt x="2379" y="10218"/>
                  </a:cubicBezTo>
                  <a:cubicBezTo>
                    <a:pt x="2261" y="10100"/>
                    <a:pt x="2320" y="9924"/>
                    <a:pt x="2452" y="9792"/>
                  </a:cubicBezTo>
                  <a:cubicBezTo>
                    <a:pt x="2501" y="9768"/>
                    <a:pt x="2560" y="9753"/>
                    <a:pt x="2621" y="9753"/>
                  </a:cubicBezTo>
                  <a:cubicBezTo>
                    <a:pt x="2708" y="9753"/>
                    <a:pt x="2801" y="9782"/>
                    <a:pt x="2878" y="9851"/>
                  </a:cubicBezTo>
                  <a:cubicBezTo>
                    <a:pt x="3113" y="10218"/>
                    <a:pt x="3612" y="10467"/>
                    <a:pt x="4155" y="10526"/>
                  </a:cubicBezTo>
                  <a:lnTo>
                    <a:pt x="4214" y="10526"/>
                  </a:lnTo>
                  <a:lnTo>
                    <a:pt x="3729" y="8823"/>
                  </a:lnTo>
                  <a:cubicBezTo>
                    <a:pt x="3671" y="8691"/>
                    <a:pt x="3729" y="8515"/>
                    <a:pt x="3920" y="8456"/>
                  </a:cubicBezTo>
                  <a:cubicBezTo>
                    <a:pt x="4097" y="8456"/>
                    <a:pt x="4214" y="8515"/>
                    <a:pt x="4287" y="8691"/>
                  </a:cubicBezTo>
                  <a:lnTo>
                    <a:pt x="4772" y="10409"/>
                  </a:lnTo>
                  <a:cubicBezTo>
                    <a:pt x="5080" y="10350"/>
                    <a:pt x="5388" y="10218"/>
                    <a:pt x="5623" y="10100"/>
                  </a:cubicBezTo>
                  <a:cubicBezTo>
                    <a:pt x="5873" y="9983"/>
                    <a:pt x="6049" y="9851"/>
                    <a:pt x="6181" y="9675"/>
                  </a:cubicBezTo>
                  <a:cubicBezTo>
                    <a:pt x="5447" y="8882"/>
                    <a:pt x="5139" y="7722"/>
                    <a:pt x="5388" y="6738"/>
                  </a:cubicBezTo>
                  <a:cubicBezTo>
                    <a:pt x="5506" y="6313"/>
                    <a:pt x="5682" y="6004"/>
                    <a:pt x="5990" y="5887"/>
                  </a:cubicBezTo>
                  <a:cubicBezTo>
                    <a:pt x="6116" y="5831"/>
                    <a:pt x="6244" y="5806"/>
                    <a:pt x="6370" y="5806"/>
                  </a:cubicBezTo>
                  <a:close/>
                  <a:moveTo>
                    <a:pt x="6712" y="0"/>
                  </a:moveTo>
                  <a:cubicBezTo>
                    <a:pt x="3005" y="0"/>
                    <a:pt x="1" y="3021"/>
                    <a:pt x="1" y="6680"/>
                  </a:cubicBezTo>
                  <a:cubicBezTo>
                    <a:pt x="1" y="8691"/>
                    <a:pt x="911" y="10467"/>
                    <a:pt x="2261" y="11686"/>
                  </a:cubicBezTo>
                  <a:cubicBezTo>
                    <a:pt x="3480" y="12787"/>
                    <a:pt x="4346" y="14138"/>
                    <a:pt x="4831" y="15664"/>
                  </a:cubicBezTo>
                  <a:lnTo>
                    <a:pt x="5256" y="16707"/>
                  </a:lnTo>
                  <a:lnTo>
                    <a:pt x="8927" y="16707"/>
                  </a:lnTo>
                  <a:lnTo>
                    <a:pt x="9294" y="15239"/>
                  </a:lnTo>
                  <a:cubicBezTo>
                    <a:pt x="9719" y="13829"/>
                    <a:pt x="10395" y="12493"/>
                    <a:pt x="11437" y="11451"/>
                  </a:cubicBezTo>
                  <a:cubicBezTo>
                    <a:pt x="12729" y="10159"/>
                    <a:pt x="13522" y="8324"/>
                    <a:pt x="13390" y="6371"/>
                  </a:cubicBezTo>
                  <a:cubicBezTo>
                    <a:pt x="13272" y="3009"/>
                    <a:pt x="10527" y="249"/>
                    <a:pt x="7150" y="14"/>
                  </a:cubicBezTo>
                  <a:cubicBezTo>
                    <a:pt x="7003" y="5"/>
                    <a:pt x="6857" y="0"/>
                    <a:pt x="6712" y="0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8" name="Google Shape;8666;p73">
              <a:extLst>
                <a:ext uri="{FF2B5EF4-FFF2-40B4-BE49-F238E27FC236}">
                  <a16:creationId xmlns:a16="http://schemas.microsoft.com/office/drawing/2014/main" id="{04547025-FB48-663A-A55A-448181E58923}"/>
                </a:ext>
              </a:extLst>
            </p:cNvPr>
            <p:cNvSpPr/>
            <p:nvPr/>
          </p:nvSpPr>
          <p:spPr>
            <a:xfrm>
              <a:off x="456850" y="1550325"/>
              <a:ext cx="113075" cy="26100"/>
            </a:xfrm>
            <a:custGeom>
              <a:avLst/>
              <a:gdLst/>
              <a:ahLst/>
              <a:cxnLst/>
              <a:rect l="l" t="t" r="r" b="b"/>
              <a:pathLst>
                <a:path w="4523" h="1044" extrusionOk="0">
                  <a:moveTo>
                    <a:pt x="1" y="1"/>
                  </a:moveTo>
                  <a:lnTo>
                    <a:pt x="1" y="1043"/>
                  </a:lnTo>
                  <a:lnTo>
                    <a:pt x="4523" y="1043"/>
                  </a:lnTo>
                  <a:lnTo>
                    <a:pt x="4523" y="1"/>
                  </a:ln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9" name="Google Shape;8667;p73">
              <a:extLst>
                <a:ext uri="{FF2B5EF4-FFF2-40B4-BE49-F238E27FC236}">
                  <a16:creationId xmlns:a16="http://schemas.microsoft.com/office/drawing/2014/main" id="{2C6563D7-E090-D681-71CF-6150F64672D2}"/>
                </a:ext>
              </a:extLst>
            </p:cNvPr>
            <p:cNvSpPr/>
            <p:nvPr/>
          </p:nvSpPr>
          <p:spPr>
            <a:xfrm>
              <a:off x="468975" y="1580800"/>
              <a:ext cx="90300" cy="13975"/>
            </a:xfrm>
            <a:custGeom>
              <a:avLst/>
              <a:gdLst/>
              <a:ahLst/>
              <a:cxnLst/>
              <a:rect l="l" t="t" r="r" b="b"/>
              <a:pathLst>
                <a:path w="3612" h="559" extrusionOk="0">
                  <a:moveTo>
                    <a:pt x="0" y="0"/>
                  </a:moveTo>
                  <a:lnTo>
                    <a:pt x="0" y="558"/>
                  </a:lnTo>
                  <a:lnTo>
                    <a:pt x="3612" y="558"/>
                  </a:lnTo>
                  <a:lnTo>
                    <a:pt x="3612" y="0"/>
                  </a:ln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0" name="Google Shape;8668;p73">
              <a:extLst>
                <a:ext uri="{FF2B5EF4-FFF2-40B4-BE49-F238E27FC236}">
                  <a16:creationId xmlns:a16="http://schemas.microsoft.com/office/drawing/2014/main" id="{93A4DC79-3F57-B07D-E55B-4F46F7508DEE}"/>
                </a:ext>
              </a:extLst>
            </p:cNvPr>
            <p:cNvSpPr/>
            <p:nvPr/>
          </p:nvSpPr>
          <p:spPr>
            <a:xfrm>
              <a:off x="468975" y="1600625"/>
              <a:ext cx="90300" cy="26075"/>
            </a:xfrm>
            <a:custGeom>
              <a:avLst/>
              <a:gdLst/>
              <a:ahLst/>
              <a:cxnLst/>
              <a:rect l="l" t="t" r="r" b="b"/>
              <a:pathLst>
                <a:path w="3612" h="1043" extrusionOk="0">
                  <a:moveTo>
                    <a:pt x="0" y="0"/>
                  </a:moveTo>
                  <a:cubicBezTo>
                    <a:pt x="0" y="0"/>
                    <a:pt x="191" y="1043"/>
                    <a:pt x="1777" y="1043"/>
                  </a:cubicBezTo>
                  <a:cubicBezTo>
                    <a:pt x="3436" y="1043"/>
                    <a:pt x="3612" y="0"/>
                    <a:pt x="3612" y="0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1" name="Google Shape;8669;p73">
              <a:extLst>
                <a:ext uri="{FF2B5EF4-FFF2-40B4-BE49-F238E27FC236}">
                  <a16:creationId xmlns:a16="http://schemas.microsoft.com/office/drawing/2014/main" id="{49B7FEFD-B2E7-CD39-6189-804DB0071D86}"/>
                </a:ext>
              </a:extLst>
            </p:cNvPr>
            <p:cNvSpPr/>
            <p:nvPr/>
          </p:nvSpPr>
          <p:spPr>
            <a:xfrm>
              <a:off x="481450" y="1284250"/>
              <a:ext cx="38200" cy="71950"/>
            </a:xfrm>
            <a:custGeom>
              <a:avLst/>
              <a:gdLst/>
              <a:ahLst/>
              <a:cxnLst/>
              <a:rect l="l" t="t" r="r" b="b"/>
              <a:pathLst>
                <a:path w="1528" h="2878" extrusionOk="0">
                  <a:moveTo>
                    <a:pt x="602" y="0"/>
                  </a:moveTo>
                  <a:cubicBezTo>
                    <a:pt x="602" y="0"/>
                    <a:pt x="544" y="0"/>
                    <a:pt x="485" y="59"/>
                  </a:cubicBezTo>
                  <a:cubicBezTo>
                    <a:pt x="294" y="118"/>
                    <a:pt x="235" y="367"/>
                    <a:pt x="177" y="485"/>
                  </a:cubicBezTo>
                  <a:cubicBezTo>
                    <a:pt x="0" y="1278"/>
                    <a:pt x="294" y="2202"/>
                    <a:pt x="852" y="2878"/>
                  </a:cubicBezTo>
                  <a:cubicBezTo>
                    <a:pt x="1028" y="2687"/>
                    <a:pt x="1160" y="2511"/>
                    <a:pt x="1278" y="2261"/>
                  </a:cubicBezTo>
                  <a:cubicBezTo>
                    <a:pt x="1527" y="1645"/>
                    <a:pt x="1527" y="911"/>
                    <a:pt x="1160" y="426"/>
                  </a:cubicBezTo>
                  <a:cubicBezTo>
                    <a:pt x="1028" y="176"/>
                    <a:pt x="793" y="0"/>
                    <a:pt x="602" y="0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2" name="Google Shape;8670;p73">
              <a:extLst>
                <a:ext uri="{FF2B5EF4-FFF2-40B4-BE49-F238E27FC236}">
                  <a16:creationId xmlns:a16="http://schemas.microsoft.com/office/drawing/2014/main" id="{FB9DDDC3-B3B3-515B-7A1D-4CA7C91668BC}"/>
                </a:ext>
              </a:extLst>
            </p:cNvPr>
            <p:cNvSpPr/>
            <p:nvPr/>
          </p:nvSpPr>
          <p:spPr>
            <a:xfrm>
              <a:off x="1172550" y="1265900"/>
              <a:ext cx="38200" cy="71950"/>
            </a:xfrm>
            <a:custGeom>
              <a:avLst/>
              <a:gdLst/>
              <a:ahLst/>
              <a:cxnLst/>
              <a:rect l="l" t="t" r="r" b="b"/>
              <a:pathLst>
                <a:path w="1528" h="2878" extrusionOk="0">
                  <a:moveTo>
                    <a:pt x="485" y="0"/>
                  </a:moveTo>
                  <a:cubicBezTo>
                    <a:pt x="309" y="59"/>
                    <a:pt x="250" y="309"/>
                    <a:pt x="177" y="485"/>
                  </a:cubicBezTo>
                  <a:cubicBezTo>
                    <a:pt x="1" y="1278"/>
                    <a:pt x="250" y="2144"/>
                    <a:pt x="852" y="2878"/>
                  </a:cubicBezTo>
                  <a:cubicBezTo>
                    <a:pt x="1043" y="2628"/>
                    <a:pt x="1160" y="2452"/>
                    <a:pt x="1278" y="2202"/>
                  </a:cubicBezTo>
                  <a:cubicBezTo>
                    <a:pt x="1528" y="1586"/>
                    <a:pt x="1469" y="852"/>
                    <a:pt x="1160" y="367"/>
                  </a:cubicBezTo>
                  <a:cubicBezTo>
                    <a:pt x="1043" y="118"/>
                    <a:pt x="793" y="0"/>
                    <a:pt x="617" y="0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3" name="Google Shape;8671;p73">
              <a:extLst>
                <a:ext uri="{FF2B5EF4-FFF2-40B4-BE49-F238E27FC236}">
                  <a16:creationId xmlns:a16="http://schemas.microsoft.com/office/drawing/2014/main" id="{A7CCDFC7-1A74-668D-6854-6BBC995947F6}"/>
                </a:ext>
              </a:extLst>
            </p:cNvPr>
            <p:cNvSpPr/>
            <p:nvPr/>
          </p:nvSpPr>
          <p:spPr>
            <a:xfrm>
              <a:off x="1028675" y="1104825"/>
              <a:ext cx="336600" cy="418000"/>
            </a:xfrm>
            <a:custGeom>
              <a:avLst/>
              <a:gdLst/>
              <a:ahLst/>
              <a:cxnLst/>
              <a:rect l="l" t="t" r="r" b="b"/>
              <a:pathLst>
                <a:path w="13464" h="16720" extrusionOk="0">
                  <a:moveTo>
                    <a:pt x="6357" y="5812"/>
                  </a:moveTo>
                  <a:cubicBezTo>
                    <a:pt x="6777" y="5812"/>
                    <a:pt x="7170" y="6110"/>
                    <a:pt x="7400" y="6443"/>
                  </a:cubicBezTo>
                  <a:cubicBezTo>
                    <a:pt x="7840" y="7177"/>
                    <a:pt x="7899" y="8088"/>
                    <a:pt x="7591" y="8895"/>
                  </a:cubicBezTo>
                  <a:cubicBezTo>
                    <a:pt x="7400" y="9189"/>
                    <a:pt x="7224" y="9438"/>
                    <a:pt x="7033" y="9688"/>
                  </a:cubicBezTo>
                  <a:cubicBezTo>
                    <a:pt x="7708" y="10231"/>
                    <a:pt x="8384" y="10481"/>
                    <a:pt x="9235" y="10539"/>
                  </a:cubicBezTo>
                  <a:lnTo>
                    <a:pt x="9734" y="8704"/>
                  </a:lnTo>
                  <a:cubicBezTo>
                    <a:pt x="9793" y="8528"/>
                    <a:pt x="9969" y="8455"/>
                    <a:pt x="10101" y="8455"/>
                  </a:cubicBezTo>
                  <a:cubicBezTo>
                    <a:pt x="10277" y="8528"/>
                    <a:pt x="10336" y="8704"/>
                    <a:pt x="10336" y="8822"/>
                  </a:cubicBezTo>
                  <a:lnTo>
                    <a:pt x="9852" y="10539"/>
                  </a:lnTo>
                  <a:cubicBezTo>
                    <a:pt x="10277" y="10481"/>
                    <a:pt x="10835" y="9996"/>
                    <a:pt x="10953" y="9864"/>
                  </a:cubicBezTo>
                  <a:cubicBezTo>
                    <a:pt x="11022" y="9795"/>
                    <a:pt x="11116" y="9767"/>
                    <a:pt x="11205" y="9767"/>
                  </a:cubicBezTo>
                  <a:cubicBezTo>
                    <a:pt x="11269" y="9767"/>
                    <a:pt x="11330" y="9781"/>
                    <a:pt x="11379" y="9805"/>
                  </a:cubicBezTo>
                  <a:cubicBezTo>
                    <a:pt x="11511" y="9923"/>
                    <a:pt x="11511" y="10113"/>
                    <a:pt x="11379" y="10231"/>
                  </a:cubicBezTo>
                  <a:cubicBezTo>
                    <a:pt x="11320" y="10363"/>
                    <a:pt x="10586" y="11097"/>
                    <a:pt x="9852" y="11156"/>
                  </a:cubicBezTo>
                  <a:lnTo>
                    <a:pt x="9676" y="11156"/>
                  </a:lnTo>
                  <a:lnTo>
                    <a:pt x="8266" y="15927"/>
                  </a:lnTo>
                  <a:cubicBezTo>
                    <a:pt x="8266" y="16045"/>
                    <a:pt x="8134" y="16162"/>
                    <a:pt x="8017" y="16162"/>
                  </a:cubicBezTo>
                  <a:lnTo>
                    <a:pt x="7899" y="16162"/>
                  </a:lnTo>
                  <a:cubicBezTo>
                    <a:pt x="7767" y="16103"/>
                    <a:pt x="7650" y="15927"/>
                    <a:pt x="7708" y="15795"/>
                  </a:cubicBezTo>
                  <a:lnTo>
                    <a:pt x="9059" y="11097"/>
                  </a:lnTo>
                  <a:cubicBezTo>
                    <a:pt x="8134" y="11024"/>
                    <a:pt x="7400" y="10730"/>
                    <a:pt x="6666" y="10172"/>
                  </a:cubicBezTo>
                  <a:lnTo>
                    <a:pt x="6607" y="10113"/>
                  </a:lnTo>
                  <a:cubicBezTo>
                    <a:pt x="6372" y="10363"/>
                    <a:pt x="6123" y="10481"/>
                    <a:pt x="5932" y="10598"/>
                  </a:cubicBezTo>
                  <a:cubicBezTo>
                    <a:pt x="5565" y="10789"/>
                    <a:pt x="5271" y="10965"/>
                    <a:pt x="4963" y="11024"/>
                  </a:cubicBezTo>
                  <a:lnTo>
                    <a:pt x="6299" y="15795"/>
                  </a:lnTo>
                  <a:cubicBezTo>
                    <a:pt x="6372" y="15927"/>
                    <a:pt x="6240" y="16103"/>
                    <a:pt x="6123" y="16162"/>
                  </a:cubicBezTo>
                  <a:lnTo>
                    <a:pt x="6005" y="16162"/>
                  </a:lnTo>
                  <a:cubicBezTo>
                    <a:pt x="5873" y="16162"/>
                    <a:pt x="5756" y="16045"/>
                    <a:pt x="5756" y="15927"/>
                  </a:cubicBezTo>
                  <a:lnTo>
                    <a:pt x="4346" y="11097"/>
                  </a:lnTo>
                  <a:cubicBezTo>
                    <a:pt x="4288" y="11156"/>
                    <a:pt x="4170" y="11156"/>
                    <a:pt x="4097" y="11156"/>
                  </a:cubicBezTo>
                  <a:cubicBezTo>
                    <a:pt x="3363" y="11097"/>
                    <a:pt x="2761" y="10789"/>
                    <a:pt x="2335" y="10231"/>
                  </a:cubicBezTo>
                  <a:cubicBezTo>
                    <a:pt x="2262" y="10113"/>
                    <a:pt x="2262" y="9923"/>
                    <a:pt x="2452" y="9805"/>
                  </a:cubicBezTo>
                  <a:cubicBezTo>
                    <a:pt x="2501" y="9781"/>
                    <a:pt x="2562" y="9767"/>
                    <a:pt x="2622" y="9767"/>
                  </a:cubicBezTo>
                  <a:cubicBezTo>
                    <a:pt x="2705" y="9767"/>
                    <a:pt x="2785" y="9795"/>
                    <a:pt x="2820" y="9864"/>
                  </a:cubicBezTo>
                  <a:cubicBezTo>
                    <a:pt x="3128" y="10290"/>
                    <a:pt x="3612" y="10481"/>
                    <a:pt x="4097" y="10539"/>
                  </a:cubicBezTo>
                  <a:lnTo>
                    <a:pt x="4170" y="10539"/>
                  </a:lnTo>
                  <a:lnTo>
                    <a:pt x="3671" y="8822"/>
                  </a:lnTo>
                  <a:cubicBezTo>
                    <a:pt x="3671" y="8704"/>
                    <a:pt x="3730" y="8528"/>
                    <a:pt x="3921" y="8455"/>
                  </a:cubicBezTo>
                  <a:cubicBezTo>
                    <a:pt x="4038" y="8455"/>
                    <a:pt x="4229" y="8528"/>
                    <a:pt x="4288" y="8704"/>
                  </a:cubicBezTo>
                  <a:lnTo>
                    <a:pt x="4772" y="10481"/>
                  </a:lnTo>
                  <a:cubicBezTo>
                    <a:pt x="5080" y="10363"/>
                    <a:pt x="5330" y="10290"/>
                    <a:pt x="5638" y="10113"/>
                  </a:cubicBezTo>
                  <a:cubicBezTo>
                    <a:pt x="5814" y="9996"/>
                    <a:pt x="6005" y="9864"/>
                    <a:pt x="6181" y="9688"/>
                  </a:cubicBezTo>
                  <a:cubicBezTo>
                    <a:pt x="5447" y="8895"/>
                    <a:pt x="5139" y="7794"/>
                    <a:pt x="5389" y="6752"/>
                  </a:cubicBezTo>
                  <a:cubicBezTo>
                    <a:pt x="5447" y="6326"/>
                    <a:pt x="5697" y="6018"/>
                    <a:pt x="6005" y="5885"/>
                  </a:cubicBezTo>
                  <a:cubicBezTo>
                    <a:pt x="6123" y="5835"/>
                    <a:pt x="6241" y="5812"/>
                    <a:pt x="6357" y="5812"/>
                  </a:cubicBezTo>
                  <a:close/>
                  <a:moveTo>
                    <a:pt x="6749" y="1"/>
                  </a:moveTo>
                  <a:cubicBezTo>
                    <a:pt x="3018" y="1"/>
                    <a:pt x="1" y="3028"/>
                    <a:pt x="1" y="6752"/>
                  </a:cubicBezTo>
                  <a:cubicBezTo>
                    <a:pt x="1" y="8704"/>
                    <a:pt x="867" y="10539"/>
                    <a:pt x="2262" y="11758"/>
                  </a:cubicBezTo>
                  <a:cubicBezTo>
                    <a:pt x="3436" y="12800"/>
                    <a:pt x="4288" y="14151"/>
                    <a:pt x="4831" y="15678"/>
                  </a:cubicBezTo>
                  <a:lnTo>
                    <a:pt x="5198" y="16720"/>
                  </a:lnTo>
                  <a:lnTo>
                    <a:pt x="8868" y="16720"/>
                  </a:lnTo>
                  <a:lnTo>
                    <a:pt x="9308" y="15252"/>
                  </a:lnTo>
                  <a:cubicBezTo>
                    <a:pt x="9676" y="13842"/>
                    <a:pt x="10410" y="12492"/>
                    <a:pt x="11437" y="11464"/>
                  </a:cubicBezTo>
                  <a:cubicBezTo>
                    <a:pt x="12729" y="10172"/>
                    <a:pt x="13463" y="8337"/>
                    <a:pt x="13404" y="6385"/>
                  </a:cubicBezTo>
                  <a:cubicBezTo>
                    <a:pt x="13214" y="3023"/>
                    <a:pt x="10527" y="263"/>
                    <a:pt x="7165" y="13"/>
                  </a:cubicBezTo>
                  <a:cubicBezTo>
                    <a:pt x="7026" y="5"/>
                    <a:pt x="6887" y="1"/>
                    <a:pt x="6749" y="1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4" name="Google Shape;8672;p73">
              <a:extLst>
                <a:ext uri="{FF2B5EF4-FFF2-40B4-BE49-F238E27FC236}">
                  <a16:creationId xmlns:a16="http://schemas.microsoft.com/office/drawing/2014/main" id="{FE098B72-45B9-F88D-1CDE-731A55C5CA39}"/>
                </a:ext>
              </a:extLst>
            </p:cNvPr>
            <p:cNvSpPr/>
            <p:nvPr/>
          </p:nvSpPr>
          <p:spPr>
            <a:xfrm>
              <a:off x="1147975" y="1530525"/>
              <a:ext cx="111600" cy="26075"/>
            </a:xfrm>
            <a:custGeom>
              <a:avLst/>
              <a:gdLst/>
              <a:ahLst/>
              <a:cxnLst/>
              <a:rect l="l" t="t" r="r" b="b"/>
              <a:pathLst>
                <a:path w="4464" h="1043" extrusionOk="0">
                  <a:moveTo>
                    <a:pt x="0" y="0"/>
                  </a:moveTo>
                  <a:lnTo>
                    <a:pt x="0" y="1043"/>
                  </a:lnTo>
                  <a:lnTo>
                    <a:pt x="4463" y="1043"/>
                  </a:lnTo>
                  <a:lnTo>
                    <a:pt x="4463" y="0"/>
                  </a:ln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5" name="Google Shape;8673;p73">
              <a:extLst>
                <a:ext uri="{FF2B5EF4-FFF2-40B4-BE49-F238E27FC236}">
                  <a16:creationId xmlns:a16="http://schemas.microsoft.com/office/drawing/2014/main" id="{B1A4B383-C42B-4A5F-1280-7629CC4FA664}"/>
                </a:ext>
              </a:extLst>
            </p:cNvPr>
            <p:cNvSpPr/>
            <p:nvPr/>
          </p:nvSpPr>
          <p:spPr>
            <a:xfrm>
              <a:off x="1160450" y="1560975"/>
              <a:ext cx="89950" cy="13975"/>
            </a:xfrm>
            <a:custGeom>
              <a:avLst/>
              <a:gdLst/>
              <a:ahLst/>
              <a:cxnLst/>
              <a:rect l="l" t="t" r="r" b="b"/>
              <a:pathLst>
                <a:path w="3598" h="559" extrusionOk="0">
                  <a:moveTo>
                    <a:pt x="0" y="1"/>
                  </a:moveTo>
                  <a:lnTo>
                    <a:pt x="0" y="559"/>
                  </a:lnTo>
                  <a:lnTo>
                    <a:pt x="3597" y="559"/>
                  </a:lnTo>
                  <a:lnTo>
                    <a:pt x="3597" y="1"/>
                  </a:ln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6" name="Google Shape;8674;p73">
              <a:extLst>
                <a:ext uri="{FF2B5EF4-FFF2-40B4-BE49-F238E27FC236}">
                  <a16:creationId xmlns:a16="http://schemas.microsoft.com/office/drawing/2014/main" id="{CE8035BB-E0C3-4F95-4B96-FF503311C9D3}"/>
                </a:ext>
              </a:extLst>
            </p:cNvPr>
            <p:cNvSpPr/>
            <p:nvPr/>
          </p:nvSpPr>
          <p:spPr>
            <a:xfrm>
              <a:off x="1160450" y="1580800"/>
              <a:ext cx="89950" cy="27550"/>
            </a:xfrm>
            <a:custGeom>
              <a:avLst/>
              <a:gdLst/>
              <a:ahLst/>
              <a:cxnLst/>
              <a:rect l="l" t="t" r="r" b="b"/>
              <a:pathLst>
                <a:path w="3598" h="1102" extrusionOk="0">
                  <a:moveTo>
                    <a:pt x="0" y="0"/>
                  </a:moveTo>
                  <a:cubicBezTo>
                    <a:pt x="0" y="0"/>
                    <a:pt x="176" y="1102"/>
                    <a:pt x="1762" y="1102"/>
                  </a:cubicBezTo>
                  <a:cubicBezTo>
                    <a:pt x="3421" y="1102"/>
                    <a:pt x="3597" y="0"/>
                    <a:pt x="3597" y="0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7" name="Google Shape;8675;p73">
              <a:extLst>
                <a:ext uri="{FF2B5EF4-FFF2-40B4-BE49-F238E27FC236}">
                  <a16:creationId xmlns:a16="http://schemas.microsoft.com/office/drawing/2014/main" id="{A761E839-17E7-9E51-0D6E-C6B3AAA4205E}"/>
                </a:ext>
              </a:extLst>
            </p:cNvPr>
            <p:cNvSpPr/>
            <p:nvPr/>
          </p:nvSpPr>
          <p:spPr>
            <a:xfrm>
              <a:off x="1172550" y="1265900"/>
              <a:ext cx="38200" cy="71950"/>
            </a:xfrm>
            <a:custGeom>
              <a:avLst/>
              <a:gdLst/>
              <a:ahLst/>
              <a:cxnLst/>
              <a:rect l="l" t="t" r="r" b="b"/>
              <a:pathLst>
                <a:path w="1528" h="2878" extrusionOk="0">
                  <a:moveTo>
                    <a:pt x="485" y="0"/>
                  </a:moveTo>
                  <a:cubicBezTo>
                    <a:pt x="309" y="59"/>
                    <a:pt x="250" y="309"/>
                    <a:pt x="177" y="485"/>
                  </a:cubicBezTo>
                  <a:cubicBezTo>
                    <a:pt x="1" y="1278"/>
                    <a:pt x="250" y="2144"/>
                    <a:pt x="852" y="2878"/>
                  </a:cubicBezTo>
                  <a:cubicBezTo>
                    <a:pt x="1043" y="2628"/>
                    <a:pt x="1160" y="2452"/>
                    <a:pt x="1278" y="2202"/>
                  </a:cubicBezTo>
                  <a:cubicBezTo>
                    <a:pt x="1528" y="1586"/>
                    <a:pt x="1469" y="852"/>
                    <a:pt x="1160" y="367"/>
                  </a:cubicBezTo>
                  <a:cubicBezTo>
                    <a:pt x="1043" y="118"/>
                    <a:pt x="793" y="0"/>
                    <a:pt x="617" y="0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8" name="Google Shape;8676;p73">
              <a:extLst>
                <a:ext uri="{FF2B5EF4-FFF2-40B4-BE49-F238E27FC236}">
                  <a16:creationId xmlns:a16="http://schemas.microsoft.com/office/drawing/2014/main" id="{B5EF85DB-2B0A-E82F-8A4F-15F4E1086155}"/>
                </a:ext>
              </a:extLst>
            </p:cNvPr>
            <p:cNvSpPr/>
            <p:nvPr/>
          </p:nvSpPr>
          <p:spPr>
            <a:xfrm>
              <a:off x="310050" y="1660450"/>
              <a:ext cx="2584600" cy="844175"/>
            </a:xfrm>
            <a:custGeom>
              <a:avLst/>
              <a:gdLst/>
              <a:ahLst/>
              <a:cxnLst/>
              <a:rect l="l" t="t" r="r" b="b"/>
              <a:pathLst>
                <a:path w="103384" h="33767" extrusionOk="0">
                  <a:moveTo>
                    <a:pt x="0" y="0"/>
                  </a:moveTo>
                  <a:lnTo>
                    <a:pt x="0" y="617"/>
                  </a:lnTo>
                  <a:lnTo>
                    <a:pt x="66432" y="617"/>
                  </a:lnTo>
                  <a:lnTo>
                    <a:pt x="102943" y="33766"/>
                  </a:lnTo>
                  <a:lnTo>
                    <a:pt x="103384" y="33341"/>
                  </a:lnTo>
                  <a:lnTo>
                    <a:pt x="66799" y="59"/>
                  </a:lnTo>
                  <a:lnTo>
                    <a:pt x="666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9" name="Google Shape;8677;p73">
              <a:extLst>
                <a:ext uri="{FF2B5EF4-FFF2-40B4-BE49-F238E27FC236}">
                  <a16:creationId xmlns:a16="http://schemas.microsoft.com/office/drawing/2014/main" id="{63B3732B-1624-28C2-1B1C-9CDE0ECD7DA4}"/>
                </a:ext>
              </a:extLst>
            </p:cNvPr>
            <p:cNvSpPr/>
            <p:nvPr/>
          </p:nvSpPr>
          <p:spPr>
            <a:xfrm>
              <a:off x="1463250" y="1529050"/>
              <a:ext cx="111600" cy="24250"/>
            </a:xfrm>
            <a:custGeom>
              <a:avLst/>
              <a:gdLst/>
              <a:ahLst/>
              <a:cxnLst/>
              <a:rect l="l" t="t" r="r" b="b"/>
              <a:pathLst>
                <a:path w="4464" h="970" extrusionOk="0">
                  <a:moveTo>
                    <a:pt x="0" y="0"/>
                  </a:moveTo>
                  <a:lnTo>
                    <a:pt x="0" y="969"/>
                  </a:lnTo>
                  <a:lnTo>
                    <a:pt x="4463" y="969"/>
                  </a:lnTo>
                  <a:lnTo>
                    <a:pt x="4463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0" name="Google Shape;8678;p73">
              <a:extLst>
                <a:ext uri="{FF2B5EF4-FFF2-40B4-BE49-F238E27FC236}">
                  <a16:creationId xmlns:a16="http://schemas.microsoft.com/office/drawing/2014/main" id="{B72C0C13-1D75-5F63-91DD-58325617CA68}"/>
                </a:ext>
              </a:extLst>
            </p:cNvPr>
            <p:cNvSpPr/>
            <p:nvPr/>
          </p:nvSpPr>
          <p:spPr>
            <a:xfrm>
              <a:off x="1475350" y="1558050"/>
              <a:ext cx="90300" cy="15075"/>
            </a:xfrm>
            <a:custGeom>
              <a:avLst/>
              <a:gdLst/>
              <a:ahLst/>
              <a:cxnLst/>
              <a:rect l="l" t="t" r="r" b="b"/>
              <a:pathLst>
                <a:path w="3612" h="603" extrusionOk="0">
                  <a:moveTo>
                    <a:pt x="0" y="0"/>
                  </a:moveTo>
                  <a:lnTo>
                    <a:pt x="0" y="602"/>
                  </a:lnTo>
                  <a:lnTo>
                    <a:pt x="3612" y="602"/>
                  </a:lnTo>
                  <a:lnTo>
                    <a:pt x="3612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1" name="Google Shape;8679;p73">
              <a:extLst>
                <a:ext uri="{FF2B5EF4-FFF2-40B4-BE49-F238E27FC236}">
                  <a16:creationId xmlns:a16="http://schemas.microsoft.com/office/drawing/2014/main" id="{9DE5773D-64B3-EA27-12C3-5DC2B265F0C0}"/>
                </a:ext>
              </a:extLst>
            </p:cNvPr>
            <p:cNvSpPr/>
            <p:nvPr/>
          </p:nvSpPr>
          <p:spPr>
            <a:xfrm>
              <a:off x="1475350" y="1577875"/>
              <a:ext cx="90300" cy="27550"/>
            </a:xfrm>
            <a:custGeom>
              <a:avLst/>
              <a:gdLst/>
              <a:ahLst/>
              <a:cxnLst/>
              <a:rect l="l" t="t" r="r" b="b"/>
              <a:pathLst>
                <a:path w="3612" h="1102" extrusionOk="0">
                  <a:moveTo>
                    <a:pt x="0" y="0"/>
                  </a:moveTo>
                  <a:cubicBezTo>
                    <a:pt x="0" y="0"/>
                    <a:pt x="177" y="1101"/>
                    <a:pt x="1777" y="1101"/>
                  </a:cubicBezTo>
                  <a:cubicBezTo>
                    <a:pt x="3421" y="1101"/>
                    <a:pt x="3612" y="0"/>
                    <a:pt x="3612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2" name="Google Shape;8680;p73">
              <a:extLst>
                <a:ext uri="{FF2B5EF4-FFF2-40B4-BE49-F238E27FC236}">
                  <a16:creationId xmlns:a16="http://schemas.microsoft.com/office/drawing/2014/main" id="{22A45DF0-22E4-6227-B67F-B804E3C6EF4B}"/>
                </a:ext>
              </a:extLst>
            </p:cNvPr>
            <p:cNvSpPr/>
            <p:nvPr/>
          </p:nvSpPr>
          <p:spPr>
            <a:xfrm>
              <a:off x="1495175" y="1421875"/>
              <a:ext cx="47375" cy="94725"/>
            </a:xfrm>
            <a:custGeom>
              <a:avLst/>
              <a:gdLst/>
              <a:ahLst/>
              <a:cxnLst/>
              <a:rect l="l" t="t" r="r" b="b"/>
              <a:pathLst>
                <a:path w="1895" h="3789" extrusionOk="0">
                  <a:moveTo>
                    <a:pt x="309" y="1"/>
                  </a:moveTo>
                  <a:cubicBezTo>
                    <a:pt x="191" y="1"/>
                    <a:pt x="0" y="118"/>
                    <a:pt x="0" y="309"/>
                  </a:cubicBezTo>
                  <a:lnTo>
                    <a:pt x="0" y="3480"/>
                  </a:lnTo>
                  <a:cubicBezTo>
                    <a:pt x="0" y="3671"/>
                    <a:pt x="191" y="3788"/>
                    <a:pt x="309" y="3788"/>
                  </a:cubicBezTo>
                  <a:lnTo>
                    <a:pt x="1586" y="3788"/>
                  </a:lnTo>
                  <a:cubicBezTo>
                    <a:pt x="1777" y="3788"/>
                    <a:pt x="1894" y="3671"/>
                    <a:pt x="1894" y="3480"/>
                  </a:cubicBezTo>
                  <a:lnTo>
                    <a:pt x="1894" y="309"/>
                  </a:lnTo>
                  <a:cubicBezTo>
                    <a:pt x="1894" y="118"/>
                    <a:pt x="1777" y="1"/>
                    <a:pt x="1586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3" name="Google Shape;8681;p73">
              <a:extLst>
                <a:ext uri="{FF2B5EF4-FFF2-40B4-BE49-F238E27FC236}">
                  <a16:creationId xmlns:a16="http://schemas.microsoft.com/office/drawing/2014/main" id="{AE82F031-FE7B-D1A5-0FED-4A559BDF25A3}"/>
                </a:ext>
              </a:extLst>
            </p:cNvPr>
            <p:cNvSpPr/>
            <p:nvPr/>
          </p:nvSpPr>
          <p:spPr>
            <a:xfrm>
              <a:off x="1406350" y="1367900"/>
              <a:ext cx="211075" cy="115850"/>
            </a:xfrm>
            <a:custGeom>
              <a:avLst/>
              <a:gdLst/>
              <a:ahLst/>
              <a:cxnLst/>
              <a:rect l="l" t="t" r="r" b="b"/>
              <a:pathLst>
                <a:path w="8443" h="4634" extrusionOk="0">
                  <a:moveTo>
                    <a:pt x="7570" y="1"/>
                  </a:moveTo>
                  <a:cubicBezTo>
                    <a:pt x="7538" y="1"/>
                    <a:pt x="7505" y="6"/>
                    <a:pt x="7473" y="16"/>
                  </a:cubicBezTo>
                  <a:lnTo>
                    <a:pt x="250" y="2703"/>
                  </a:lnTo>
                  <a:cubicBezTo>
                    <a:pt x="74" y="2776"/>
                    <a:pt x="0" y="2952"/>
                    <a:pt x="74" y="3143"/>
                  </a:cubicBezTo>
                  <a:lnTo>
                    <a:pt x="558" y="4421"/>
                  </a:lnTo>
                  <a:cubicBezTo>
                    <a:pt x="603" y="4564"/>
                    <a:pt x="722" y="4633"/>
                    <a:pt x="853" y="4633"/>
                  </a:cubicBezTo>
                  <a:cubicBezTo>
                    <a:pt x="896" y="4633"/>
                    <a:pt x="941" y="4626"/>
                    <a:pt x="984" y="4611"/>
                  </a:cubicBezTo>
                  <a:lnTo>
                    <a:pt x="8207" y="1910"/>
                  </a:lnTo>
                  <a:cubicBezTo>
                    <a:pt x="8383" y="1851"/>
                    <a:pt x="8442" y="1675"/>
                    <a:pt x="8383" y="1484"/>
                  </a:cubicBezTo>
                  <a:lnTo>
                    <a:pt x="7899" y="207"/>
                  </a:lnTo>
                  <a:cubicBezTo>
                    <a:pt x="7851" y="99"/>
                    <a:pt x="7714" y="1"/>
                    <a:pt x="7570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4" name="Google Shape;8682;p73">
              <a:extLst>
                <a:ext uri="{FF2B5EF4-FFF2-40B4-BE49-F238E27FC236}">
                  <a16:creationId xmlns:a16="http://schemas.microsoft.com/office/drawing/2014/main" id="{626B9D41-50A4-7176-00D0-ED76E07A016D}"/>
                </a:ext>
              </a:extLst>
            </p:cNvPr>
            <p:cNvSpPr/>
            <p:nvPr/>
          </p:nvSpPr>
          <p:spPr>
            <a:xfrm>
              <a:off x="1414050" y="1273225"/>
              <a:ext cx="211075" cy="116250"/>
            </a:xfrm>
            <a:custGeom>
              <a:avLst/>
              <a:gdLst/>
              <a:ahLst/>
              <a:cxnLst/>
              <a:rect l="l" t="t" r="r" b="b"/>
              <a:pathLst>
                <a:path w="8443" h="4650" extrusionOk="0">
                  <a:moveTo>
                    <a:pt x="7626" y="0"/>
                  </a:moveTo>
                  <a:cubicBezTo>
                    <a:pt x="7595" y="0"/>
                    <a:pt x="7563" y="5"/>
                    <a:pt x="7532" y="16"/>
                  </a:cubicBezTo>
                  <a:lnTo>
                    <a:pt x="250" y="2702"/>
                  </a:lnTo>
                  <a:cubicBezTo>
                    <a:pt x="133" y="2761"/>
                    <a:pt x="1" y="3010"/>
                    <a:pt x="59" y="3128"/>
                  </a:cubicBezTo>
                  <a:lnTo>
                    <a:pt x="559" y="4420"/>
                  </a:lnTo>
                  <a:cubicBezTo>
                    <a:pt x="601" y="4546"/>
                    <a:pt x="703" y="4650"/>
                    <a:pt x="828" y="4650"/>
                  </a:cubicBezTo>
                  <a:cubicBezTo>
                    <a:pt x="877" y="4650"/>
                    <a:pt x="930" y="4633"/>
                    <a:pt x="984" y="4596"/>
                  </a:cubicBezTo>
                  <a:lnTo>
                    <a:pt x="8207" y="1909"/>
                  </a:lnTo>
                  <a:cubicBezTo>
                    <a:pt x="8384" y="1851"/>
                    <a:pt x="8442" y="1660"/>
                    <a:pt x="8384" y="1542"/>
                  </a:cubicBezTo>
                  <a:lnTo>
                    <a:pt x="7958" y="250"/>
                  </a:lnTo>
                  <a:cubicBezTo>
                    <a:pt x="7910" y="105"/>
                    <a:pt x="7772" y="0"/>
                    <a:pt x="7626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5" name="Google Shape;8683;p73">
              <a:extLst>
                <a:ext uri="{FF2B5EF4-FFF2-40B4-BE49-F238E27FC236}">
                  <a16:creationId xmlns:a16="http://schemas.microsoft.com/office/drawing/2014/main" id="{ED92A3E7-3A34-6468-060A-76583DAF7328}"/>
                </a:ext>
              </a:extLst>
            </p:cNvPr>
            <p:cNvSpPr/>
            <p:nvPr/>
          </p:nvSpPr>
          <p:spPr>
            <a:xfrm>
              <a:off x="1414050" y="1176525"/>
              <a:ext cx="211075" cy="115850"/>
            </a:xfrm>
            <a:custGeom>
              <a:avLst/>
              <a:gdLst/>
              <a:ahLst/>
              <a:cxnLst/>
              <a:rect l="l" t="t" r="r" b="b"/>
              <a:pathLst>
                <a:path w="8443" h="4634" extrusionOk="0">
                  <a:moveTo>
                    <a:pt x="7604" y="1"/>
                  </a:moveTo>
                  <a:cubicBezTo>
                    <a:pt x="7561" y="1"/>
                    <a:pt x="7517" y="8"/>
                    <a:pt x="7473" y="22"/>
                  </a:cubicBezTo>
                  <a:lnTo>
                    <a:pt x="250" y="2724"/>
                  </a:lnTo>
                  <a:cubicBezTo>
                    <a:pt x="59" y="2783"/>
                    <a:pt x="1" y="2959"/>
                    <a:pt x="59" y="3150"/>
                  </a:cubicBezTo>
                  <a:lnTo>
                    <a:pt x="559" y="4427"/>
                  </a:lnTo>
                  <a:cubicBezTo>
                    <a:pt x="607" y="4535"/>
                    <a:pt x="733" y="4633"/>
                    <a:pt x="850" y="4633"/>
                  </a:cubicBezTo>
                  <a:cubicBezTo>
                    <a:pt x="876" y="4633"/>
                    <a:pt x="902" y="4628"/>
                    <a:pt x="926" y="4618"/>
                  </a:cubicBezTo>
                  <a:lnTo>
                    <a:pt x="8207" y="1916"/>
                  </a:lnTo>
                  <a:cubicBezTo>
                    <a:pt x="8325" y="1858"/>
                    <a:pt x="8442" y="1681"/>
                    <a:pt x="8384" y="1491"/>
                  </a:cubicBezTo>
                  <a:lnTo>
                    <a:pt x="7899" y="213"/>
                  </a:lnTo>
                  <a:cubicBezTo>
                    <a:pt x="7855" y="69"/>
                    <a:pt x="7736" y="1"/>
                    <a:pt x="7604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6" name="Google Shape;8684;p73">
              <a:extLst>
                <a:ext uri="{FF2B5EF4-FFF2-40B4-BE49-F238E27FC236}">
                  <a16:creationId xmlns:a16="http://schemas.microsoft.com/office/drawing/2014/main" id="{D343E280-EA74-1713-E8E9-29648F9D030E}"/>
                </a:ext>
              </a:extLst>
            </p:cNvPr>
            <p:cNvSpPr/>
            <p:nvPr/>
          </p:nvSpPr>
          <p:spPr>
            <a:xfrm>
              <a:off x="1496625" y="1154325"/>
              <a:ext cx="47375" cy="93250"/>
            </a:xfrm>
            <a:custGeom>
              <a:avLst/>
              <a:gdLst/>
              <a:ahLst/>
              <a:cxnLst/>
              <a:rect l="l" t="t" r="r" b="b"/>
              <a:pathLst>
                <a:path w="1895" h="3730" extrusionOk="0">
                  <a:moveTo>
                    <a:pt x="309" y="0"/>
                  </a:moveTo>
                  <a:cubicBezTo>
                    <a:pt x="133" y="0"/>
                    <a:pt x="1" y="118"/>
                    <a:pt x="1" y="309"/>
                  </a:cubicBezTo>
                  <a:lnTo>
                    <a:pt x="1" y="3421"/>
                  </a:lnTo>
                  <a:cubicBezTo>
                    <a:pt x="1" y="3612"/>
                    <a:pt x="133" y="3729"/>
                    <a:pt x="309" y="3729"/>
                  </a:cubicBezTo>
                  <a:lnTo>
                    <a:pt x="1601" y="3729"/>
                  </a:lnTo>
                  <a:cubicBezTo>
                    <a:pt x="1777" y="3729"/>
                    <a:pt x="1895" y="3612"/>
                    <a:pt x="1895" y="3421"/>
                  </a:cubicBezTo>
                  <a:lnTo>
                    <a:pt x="1895" y="309"/>
                  </a:lnTo>
                  <a:cubicBezTo>
                    <a:pt x="1895" y="118"/>
                    <a:pt x="1777" y="0"/>
                    <a:pt x="160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44">
          <a:extLst>
            <a:ext uri="{FF2B5EF4-FFF2-40B4-BE49-F238E27FC236}">
              <a16:creationId xmlns:a16="http://schemas.microsoft.com/office/drawing/2014/main" id="{B94BED58-359F-073A-2FD2-4E432855E6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BEA78A-6CC3-60B3-3264-8CFBABFE96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BEA78A-6CC3-60B3-3264-8CFBABFE9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graph of a graph showing the growth of a number of patients&#10;&#10;AI-generated content may be incorrect.">
            <a:extLst>
              <a:ext uri="{FF2B5EF4-FFF2-40B4-BE49-F238E27FC236}">
                <a16:creationId xmlns:a16="http://schemas.microsoft.com/office/drawing/2014/main" id="{3E541A08-AF66-F2DE-36CE-946E88CC23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1400" y="173819"/>
            <a:ext cx="6794137" cy="4795861"/>
          </a:xfrm>
          <a:prstGeom prst="round2DiagRect">
            <a:avLst>
              <a:gd name="adj1" fmla="val 10242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8" name="Callout: Line with Accent Bar 7">
            <a:extLst>
              <a:ext uri="{FF2B5EF4-FFF2-40B4-BE49-F238E27FC236}">
                <a16:creationId xmlns:a16="http://schemas.microsoft.com/office/drawing/2014/main" id="{F8B1B723-D054-95A7-DC07-6552C07C4ED5}"/>
              </a:ext>
            </a:extLst>
          </p:cNvPr>
          <p:cNvSpPr/>
          <p:nvPr/>
        </p:nvSpPr>
        <p:spPr>
          <a:xfrm>
            <a:off x="7789537" y="3287616"/>
            <a:ext cx="756894" cy="523220"/>
          </a:xfrm>
          <a:prstGeom prst="accentCallout1">
            <a:avLst>
              <a:gd name="adj1" fmla="val 97385"/>
              <a:gd name="adj2" fmla="val -566"/>
              <a:gd name="adj3" fmla="val 147722"/>
              <a:gd name="adj4" fmla="val -115745"/>
            </a:avLst>
          </a:prstGeom>
          <a:solidFill>
            <a:srgbClr val="FFFFFF"/>
          </a:solidFill>
          <a:ln w="381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60256E4-EF6F-1251-91BA-59C95A0CF015}"/>
              </a:ext>
            </a:extLst>
          </p:cNvPr>
          <p:cNvSpPr txBox="1"/>
          <p:nvPr/>
        </p:nvSpPr>
        <p:spPr>
          <a:xfrm>
            <a:off x="7878437" y="3287616"/>
            <a:ext cx="7568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solidFill>
                  <a:srgbClr val="FF0000"/>
                </a:solidFill>
                <a:latin typeface="Kumbh Sans" panose="020B0604020202020204" charset="0"/>
                <a:cs typeface="Kumbh Sans" panose="020B0604020202020204" charset="0"/>
              </a:rPr>
              <a:t>3.06 </a:t>
            </a:r>
            <a:r>
              <a:rPr lang="en-IN" b="1" dirty="0" err="1">
                <a:solidFill>
                  <a:srgbClr val="FF0000"/>
                </a:solidFill>
                <a:latin typeface="Kumbh Sans" panose="020B0604020202020204" charset="0"/>
                <a:cs typeface="Kumbh Sans" panose="020B0604020202020204" charset="0"/>
              </a:rPr>
              <a:t>bt</a:t>
            </a:r>
            <a:endParaRPr lang="en-IN" b="1" dirty="0">
              <a:solidFill>
                <a:srgbClr val="FF0000"/>
              </a:solidFill>
              <a:latin typeface="Kumbh Sans" panose="020B0604020202020204" charset="0"/>
              <a:cs typeface="Kumbh Sans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72348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44">
          <a:extLst>
            <a:ext uri="{FF2B5EF4-FFF2-40B4-BE49-F238E27FC236}">
              <a16:creationId xmlns:a16="http://schemas.microsoft.com/office/drawing/2014/main" id="{6B9C060B-33D4-6122-1C77-15E4BDFCA4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12A4E88-3032-18E5-1F3C-C8210E4087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2A4E88-3032-18E5-1F3C-C8210E4087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45" name="Google Shape;3345;p43">
            <a:extLst>
              <a:ext uri="{FF2B5EF4-FFF2-40B4-BE49-F238E27FC236}">
                <a16:creationId xmlns:a16="http://schemas.microsoft.com/office/drawing/2014/main" id="{000F516E-CB71-D0C4-C992-E2670EB342E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72540" y="106826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accent1"/>
                </a:solidFill>
              </a:rPr>
              <a:t>Indian Situation:</a:t>
            </a:r>
            <a:r>
              <a:rPr lang="en" dirty="0"/>
              <a:t> Current Landscape</a:t>
            </a:r>
            <a:endParaRPr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750D03CA-C242-D9E9-30A7-515E1DCF1C17}"/>
              </a:ext>
            </a:extLst>
          </p:cNvPr>
          <p:cNvSpPr>
            <a:spLocks noGrp="1" noChangeArrowheads="1"/>
          </p:cNvSpPr>
          <p:nvPr>
            <p:ph type="subTitle" idx="2"/>
          </p:nvPr>
        </p:nvSpPr>
        <p:spPr bwMode="auto">
          <a:xfrm>
            <a:off x="719999" y="748776"/>
            <a:ext cx="7704001" cy="3831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n-US" altLang="en-US" sz="1800" dirty="0">
                <a:solidFill>
                  <a:schemeClr val="tx1"/>
                </a:solidFill>
                <a:latin typeface="Arial" panose="020B0604020202020204" pitchFamily="34" charset="0"/>
              </a:rPr>
              <a:t>India’s climate policy must balance </a:t>
            </a:r>
            <a:r>
              <a:rPr lang="en-US" altLang="en-US" sz="1800" b="1" dirty="0">
                <a:solidFill>
                  <a:schemeClr val="tx1"/>
                </a:solidFill>
                <a:latin typeface="Arial" panose="020B0604020202020204" pitchFamily="34" charset="0"/>
              </a:rPr>
              <a:t>growth</a:t>
            </a:r>
            <a:r>
              <a:rPr lang="en-US" altLang="en-US" sz="1800" dirty="0">
                <a:solidFill>
                  <a:schemeClr val="tx1"/>
                </a:solidFill>
                <a:latin typeface="Arial" panose="020B0604020202020204" pitchFamily="34" charset="0"/>
              </a:rPr>
              <a:t> and </a:t>
            </a:r>
            <a:r>
              <a:rPr lang="en-US" altLang="en-US" sz="1800" b="1" dirty="0">
                <a:solidFill>
                  <a:schemeClr val="tx1"/>
                </a:solidFill>
                <a:latin typeface="Arial" panose="020B0604020202020204" pitchFamily="34" charset="0"/>
              </a:rPr>
              <a:t>sustainability</a:t>
            </a:r>
            <a:r>
              <a:rPr lang="en-US" altLang="en-US" sz="1800" dirty="0">
                <a:solidFill>
                  <a:schemeClr val="tx1"/>
                </a:solidFill>
                <a:latin typeface="Arial" panose="020B0604020202020204" pitchFamily="34" charset="0"/>
              </a:rPr>
              <a:t>, while learning from global practices like the USA’s use of SCC.</a:t>
            </a: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</a:pPr>
            <a:endParaRPr lang="en-US" altLang="en-US" sz="18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</a:pPr>
            <a:r>
              <a:rPr lang="en-US" altLang="en-US" sz="1800" b="1" dirty="0">
                <a:solidFill>
                  <a:schemeClr val="tx1"/>
                </a:solidFill>
                <a:latin typeface="Arial"/>
              </a:rPr>
              <a:t>Emissions Profile </a:t>
            </a:r>
            <a:r>
              <a:rPr lang="en-US" altLang="en-US" sz="1800" b="1" dirty="0">
                <a:solidFill>
                  <a:schemeClr val="tx1"/>
                </a:solidFill>
                <a:latin typeface="Arial" panose="020B0604020202020204" pitchFamily="34" charset="0"/>
              </a:rPr>
              <a:t>:</a:t>
            </a:r>
            <a:r>
              <a:rPr lang="en-US" altLang="en-US" sz="1800" dirty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Arial"/>
                <a:cs typeface="Arial"/>
              </a:rPr>
              <a:t>India is the 3rd largest emitter, but per capita emissions remain far below USA levels</a:t>
            </a:r>
            <a:endParaRPr lang="en-IN" sz="1800" b="1" dirty="0">
              <a:latin typeface="+mj-lt"/>
            </a:endParaRPr>
          </a:p>
          <a:p>
            <a:pPr marL="285750" lvl="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</a:pPr>
            <a:r>
              <a:rPr lang="en-IN" sz="1800" b="1" dirty="0">
                <a:latin typeface="+mj-lt"/>
              </a:rPr>
              <a:t>Development Priorities: </a:t>
            </a:r>
            <a:r>
              <a:rPr lang="en-US" sz="1800" dirty="0">
                <a:latin typeface="+mj-lt"/>
              </a:rPr>
              <a:t>Growth, poverty reduction, and energy access complicate climate policy.</a:t>
            </a:r>
            <a:r>
              <a:rPr lang="en-IN" sz="1800" dirty="0">
                <a:latin typeface="+mj-lt"/>
              </a:rPr>
              <a:t> </a:t>
            </a:r>
          </a:p>
          <a:p>
            <a:pPr marL="285750" lvl="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</a:pPr>
            <a:r>
              <a:rPr lang="en-US" altLang="en-US" sz="1800" b="1" dirty="0">
                <a:solidFill>
                  <a:schemeClr val="tx1"/>
                </a:solidFill>
                <a:latin typeface="Arial"/>
              </a:rPr>
              <a:t>Energy Dependence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altLang="en-US" sz="1800" dirty="0">
                <a:solidFill>
                  <a:schemeClr val="tx1"/>
                </a:solidFill>
                <a:latin typeface="Arial"/>
              </a:rPr>
              <a:t>Heavy reliance on coal for electricity generation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ternational Standing: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Using SCC strengthens India’s role in global climate negotiations.</a:t>
            </a:r>
          </a:p>
        </p:txBody>
      </p:sp>
    </p:spTree>
    <p:extLst>
      <p:ext uri="{BB962C8B-B14F-4D97-AF65-F5344CB8AC3E}">
        <p14:creationId xmlns:p14="http://schemas.microsoft.com/office/powerpoint/2010/main" val="192367720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44">
          <a:extLst>
            <a:ext uri="{FF2B5EF4-FFF2-40B4-BE49-F238E27FC236}">
              <a16:creationId xmlns:a16="http://schemas.microsoft.com/office/drawing/2014/main" id="{2CE94C6E-7AA4-C79D-203C-9789AE1C81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5F08A8C-1317-6135-0F2F-D9A0354ACC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08A8C-1317-6135-0F2F-D9A0354AC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graph of a graph&#10;&#10;AI-generated content may be incorrect.">
            <a:extLst>
              <a:ext uri="{FF2B5EF4-FFF2-40B4-BE49-F238E27FC236}">
                <a16:creationId xmlns:a16="http://schemas.microsoft.com/office/drawing/2014/main" id="{A8E40582-7870-4CED-867D-7C79CDD240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404" y="198304"/>
            <a:ext cx="5955272" cy="4553133"/>
          </a:xfrm>
          <a:prstGeom prst="round2DiagRect">
            <a:avLst>
              <a:gd name="adj1" fmla="val 83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88950FF-1B0E-9F31-FADE-E4372282926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96263" y="740192"/>
            <a:ext cx="2947737" cy="238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82822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44">
          <a:extLst>
            <a:ext uri="{FF2B5EF4-FFF2-40B4-BE49-F238E27FC236}">
              <a16:creationId xmlns:a16="http://schemas.microsoft.com/office/drawing/2014/main" id="{57291653-51FE-E8F9-8AD7-95824C0E4E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0F2D585-C7B5-2E49-C295-891ED1B251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F2D585-C7B5-2E49-C295-891ED1B251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464C9A36-46C7-E672-01C2-0480198F2C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20731" y="163165"/>
            <a:ext cx="6709717" cy="4736271"/>
          </a:xfrm>
          <a:prstGeom prst="round2DiagRect">
            <a:avLst>
              <a:gd name="adj1" fmla="val 9649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1591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634276E-386B-1614-271D-F15D012C4E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34276E-386B-1614-271D-F15D012C4E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10" name="Google Shape;3310;p42"/>
          <p:cNvSpPr txBox="1">
            <a:spLocks noGrp="1"/>
          </p:cNvSpPr>
          <p:nvPr>
            <p:ph type="title"/>
          </p:nvPr>
        </p:nvSpPr>
        <p:spPr>
          <a:xfrm>
            <a:off x="1342874" y="50742"/>
            <a:ext cx="5444700" cy="105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accent1"/>
                </a:solidFill>
              </a:rPr>
              <a:t>Steps for calculating SSC</a:t>
            </a:r>
            <a:endParaRPr dirty="0"/>
          </a:p>
        </p:txBody>
      </p:sp>
      <p:sp>
        <p:nvSpPr>
          <p:cNvPr id="3312" name="Google Shape;3312;p42"/>
          <p:cNvSpPr txBox="1">
            <a:spLocks noGrp="1"/>
          </p:cNvSpPr>
          <p:nvPr>
            <p:ph type="subTitle" idx="2"/>
          </p:nvPr>
        </p:nvSpPr>
        <p:spPr>
          <a:xfrm>
            <a:off x="801197" y="871339"/>
            <a:ext cx="7108914" cy="350073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/>
            <a:endParaRPr lang="en-US" sz="1800" dirty="0"/>
          </a:p>
          <a:p>
            <a:pPr marL="0" lvl="0" indent="0" algn="l"/>
            <a:r>
              <a:rPr lang="en-US" sz="1800" dirty="0"/>
              <a:t>According to Resource For Future(RFF), estimates of the SCC are calculated in four steps using specialized computer models.</a:t>
            </a:r>
          </a:p>
          <a:p>
            <a:pPr marL="0" lvl="0" indent="0" algn="l"/>
            <a:endParaRPr lang="en-US" sz="1800" dirty="0"/>
          </a:p>
          <a:p>
            <a:pPr marL="0" lvl="0" indent="0" algn="l"/>
            <a:r>
              <a:rPr lang="en-US" sz="1800" dirty="0">
                <a:solidFill>
                  <a:schemeClr val="accent6">
                    <a:lumMod val="75000"/>
                  </a:schemeClr>
                </a:solidFill>
              </a:rPr>
              <a:t>Step 1: </a:t>
            </a:r>
            <a:r>
              <a:rPr lang="en-US" sz="1800" dirty="0"/>
              <a:t>Project future emissions </a:t>
            </a:r>
          </a:p>
          <a:p>
            <a:pPr marL="0" lvl="0" indent="0" algn="l"/>
            <a:endParaRPr lang="en-US" sz="1800" dirty="0"/>
          </a:p>
          <a:p>
            <a:pPr marL="0" lvl="0" indent="0" algn="l"/>
            <a:r>
              <a:rPr lang="en-US" sz="1800" dirty="0">
                <a:solidFill>
                  <a:schemeClr val="accent6">
                    <a:lumMod val="75000"/>
                  </a:schemeClr>
                </a:solidFill>
              </a:rPr>
              <a:t>Step 2:</a:t>
            </a:r>
            <a:r>
              <a:rPr lang="en-US" sz="1800" dirty="0"/>
              <a:t> Model future climate responses</a:t>
            </a:r>
          </a:p>
          <a:p>
            <a:pPr marL="0" lvl="0" indent="0" algn="l"/>
            <a:endParaRPr lang="en-US" sz="1800" dirty="0"/>
          </a:p>
          <a:p>
            <a:pPr marL="0" lvl="0" indent="0" algn="l"/>
            <a:r>
              <a:rPr lang="en-US" sz="1800" dirty="0">
                <a:solidFill>
                  <a:schemeClr val="accent6">
                    <a:lumMod val="75000"/>
                  </a:schemeClr>
                </a:solidFill>
              </a:rPr>
              <a:t>Step 3: </a:t>
            </a:r>
            <a:r>
              <a:rPr lang="en-US" sz="1800" dirty="0"/>
              <a:t>Assess the impacts </a:t>
            </a:r>
          </a:p>
          <a:p>
            <a:pPr marL="0" lvl="0" indent="0" algn="l"/>
            <a:endParaRPr lang="en-US" sz="1800" dirty="0"/>
          </a:p>
          <a:p>
            <a:pPr marL="0" lvl="0" indent="0" algn="l"/>
            <a:r>
              <a:rPr lang="en-US" sz="1800" dirty="0">
                <a:solidFill>
                  <a:schemeClr val="accent6">
                    <a:lumMod val="75000"/>
                  </a:schemeClr>
                </a:solidFill>
              </a:rPr>
              <a:t>Step 4:</a:t>
            </a:r>
            <a:r>
              <a:rPr lang="en-US" sz="1800" dirty="0"/>
              <a:t> Convert future damages into their present-day values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B02B8E5-E196-AF8E-783B-F013668FE629}"/>
              </a:ext>
            </a:extLst>
          </p:cNvPr>
          <p:cNvGrpSpPr/>
          <p:nvPr/>
        </p:nvGrpSpPr>
        <p:grpSpPr>
          <a:xfrm>
            <a:off x="8362500" y="0"/>
            <a:ext cx="781500" cy="781500"/>
            <a:chOff x="5785183" y="1936801"/>
            <a:chExt cx="781500" cy="781500"/>
          </a:xfrm>
        </p:grpSpPr>
        <p:sp>
          <p:nvSpPr>
            <p:cNvPr id="3309" name="Google Shape;3309;p42"/>
            <p:cNvSpPr/>
            <p:nvPr/>
          </p:nvSpPr>
          <p:spPr>
            <a:xfrm>
              <a:off x="5785183" y="1936801"/>
              <a:ext cx="781500" cy="781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3315" name="Google Shape;3315;p42"/>
            <p:cNvGrpSpPr/>
            <p:nvPr/>
          </p:nvGrpSpPr>
          <p:grpSpPr>
            <a:xfrm>
              <a:off x="5947348" y="2098962"/>
              <a:ext cx="457181" cy="457181"/>
              <a:chOff x="4780446" y="4063623"/>
              <a:chExt cx="382163" cy="382163"/>
            </a:xfrm>
          </p:grpSpPr>
          <p:sp>
            <p:nvSpPr>
              <p:cNvPr id="3316" name="Google Shape;3316;p42"/>
              <p:cNvSpPr/>
              <p:nvPr/>
            </p:nvSpPr>
            <p:spPr>
              <a:xfrm>
                <a:off x="4901133" y="4228295"/>
                <a:ext cx="193607" cy="62870"/>
              </a:xfrm>
              <a:custGeom>
                <a:avLst/>
                <a:gdLst/>
                <a:ahLst/>
                <a:cxnLst/>
                <a:rect l="l" t="t" r="r" b="b"/>
                <a:pathLst>
                  <a:path w="7166" h="2327" extrusionOk="0">
                    <a:moveTo>
                      <a:pt x="0" y="1"/>
                    </a:moveTo>
                    <a:lnTo>
                      <a:pt x="0" y="2327"/>
                    </a:lnTo>
                    <a:lnTo>
                      <a:pt x="7165" y="2327"/>
                    </a:lnTo>
                    <a:lnTo>
                      <a:pt x="5607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17" name="Google Shape;3317;p42"/>
              <p:cNvSpPr/>
              <p:nvPr/>
            </p:nvSpPr>
            <p:spPr>
              <a:xfrm>
                <a:off x="4997910" y="4228295"/>
                <a:ext cx="99343" cy="62870"/>
              </a:xfrm>
              <a:custGeom>
                <a:avLst/>
                <a:gdLst/>
                <a:ahLst/>
                <a:cxnLst/>
                <a:rect l="l" t="t" r="r" b="b"/>
                <a:pathLst>
                  <a:path w="3677" h="2327" extrusionOk="0">
                    <a:moveTo>
                      <a:pt x="1" y="1"/>
                    </a:moveTo>
                    <a:lnTo>
                      <a:pt x="1" y="2327"/>
                    </a:lnTo>
                    <a:lnTo>
                      <a:pt x="3676" y="2327"/>
                    </a:lnTo>
                    <a:lnTo>
                      <a:pt x="2025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18" name="Google Shape;3318;p42"/>
              <p:cNvSpPr/>
              <p:nvPr/>
            </p:nvSpPr>
            <p:spPr>
              <a:xfrm>
                <a:off x="4780446" y="4095045"/>
                <a:ext cx="172858" cy="258990"/>
              </a:xfrm>
              <a:custGeom>
                <a:avLst/>
                <a:gdLst/>
                <a:ahLst/>
                <a:cxnLst/>
                <a:rect l="l" t="t" r="r" b="b"/>
                <a:pathLst>
                  <a:path w="6398" h="9586" extrusionOk="0">
                    <a:moveTo>
                      <a:pt x="1745" y="1"/>
                    </a:moveTo>
                    <a:cubicBezTo>
                      <a:pt x="768" y="1"/>
                      <a:pt x="0" y="768"/>
                      <a:pt x="0" y="1745"/>
                    </a:cubicBezTo>
                    <a:lnTo>
                      <a:pt x="0" y="7841"/>
                    </a:lnTo>
                    <a:cubicBezTo>
                      <a:pt x="0" y="8818"/>
                      <a:pt x="768" y="9585"/>
                      <a:pt x="1745" y="9585"/>
                    </a:cubicBezTo>
                    <a:cubicBezTo>
                      <a:pt x="1931" y="9585"/>
                      <a:pt x="2141" y="9399"/>
                      <a:pt x="2234" y="9190"/>
                    </a:cubicBezTo>
                    <a:cubicBezTo>
                      <a:pt x="2234" y="9004"/>
                      <a:pt x="2024" y="8725"/>
                      <a:pt x="1745" y="8725"/>
                    </a:cubicBezTo>
                    <a:cubicBezTo>
                      <a:pt x="1257" y="8725"/>
                      <a:pt x="861" y="8329"/>
                      <a:pt x="861" y="7841"/>
                    </a:cubicBezTo>
                    <a:lnTo>
                      <a:pt x="861" y="1745"/>
                    </a:lnTo>
                    <a:cubicBezTo>
                      <a:pt x="861" y="1257"/>
                      <a:pt x="1257" y="768"/>
                      <a:pt x="1745" y="768"/>
                    </a:cubicBezTo>
                    <a:lnTo>
                      <a:pt x="5909" y="768"/>
                    </a:lnTo>
                    <a:cubicBezTo>
                      <a:pt x="6212" y="768"/>
                      <a:pt x="6398" y="582"/>
                      <a:pt x="6398" y="373"/>
                    </a:cubicBezTo>
                    <a:cubicBezTo>
                      <a:pt x="6305" y="187"/>
                      <a:pt x="6096" y="1"/>
                      <a:pt x="5909" y="1"/>
                    </a:cubicBez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19" name="Google Shape;3319;p42"/>
              <p:cNvSpPr/>
              <p:nvPr/>
            </p:nvSpPr>
            <p:spPr>
              <a:xfrm>
                <a:off x="4830104" y="4207546"/>
                <a:ext cx="332504" cy="201794"/>
              </a:xfrm>
              <a:custGeom>
                <a:avLst/>
                <a:gdLst/>
                <a:ahLst/>
                <a:cxnLst/>
                <a:rect l="l" t="t" r="r" b="b"/>
                <a:pathLst>
                  <a:path w="12307" h="7469" extrusionOk="0">
                    <a:moveTo>
                      <a:pt x="5723" y="769"/>
                    </a:moveTo>
                    <a:lnTo>
                      <a:pt x="5723" y="3002"/>
                    </a:lnTo>
                    <a:lnTo>
                      <a:pt x="3978" y="3002"/>
                    </a:lnTo>
                    <a:cubicBezTo>
                      <a:pt x="3211" y="3002"/>
                      <a:pt x="2722" y="2420"/>
                      <a:pt x="2722" y="1746"/>
                    </a:cubicBezTo>
                    <a:lnTo>
                      <a:pt x="2722" y="1164"/>
                    </a:lnTo>
                    <a:cubicBezTo>
                      <a:pt x="2722" y="955"/>
                      <a:pt x="2908" y="769"/>
                      <a:pt x="3094" y="769"/>
                    </a:cubicBezTo>
                    <a:close/>
                    <a:moveTo>
                      <a:pt x="6979" y="769"/>
                    </a:moveTo>
                    <a:cubicBezTo>
                      <a:pt x="7375" y="769"/>
                      <a:pt x="7747" y="955"/>
                      <a:pt x="7957" y="1257"/>
                    </a:cubicBezTo>
                    <a:lnTo>
                      <a:pt x="9306" y="3002"/>
                    </a:lnTo>
                    <a:lnTo>
                      <a:pt x="6584" y="3002"/>
                    </a:lnTo>
                    <a:lnTo>
                      <a:pt x="6584" y="769"/>
                    </a:lnTo>
                    <a:close/>
                    <a:moveTo>
                      <a:pt x="3001" y="1"/>
                    </a:moveTo>
                    <a:cubicBezTo>
                      <a:pt x="2327" y="1"/>
                      <a:pt x="1652" y="373"/>
                      <a:pt x="1257" y="955"/>
                    </a:cubicBezTo>
                    <a:lnTo>
                      <a:pt x="303" y="2513"/>
                    </a:lnTo>
                    <a:cubicBezTo>
                      <a:pt x="93" y="2816"/>
                      <a:pt x="0" y="3188"/>
                      <a:pt x="0" y="3583"/>
                    </a:cubicBezTo>
                    <a:lnTo>
                      <a:pt x="0" y="5421"/>
                    </a:lnTo>
                    <a:cubicBezTo>
                      <a:pt x="0" y="6003"/>
                      <a:pt x="186" y="6491"/>
                      <a:pt x="582" y="6887"/>
                    </a:cubicBezTo>
                    <a:cubicBezTo>
                      <a:pt x="977" y="7259"/>
                      <a:pt x="1559" y="7468"/>
                      <a:pt x="2048" y="7468"/>
                    </a:cubicBezTo>
                    <a:lnTo>
                      <a:pt x="11051" y="7468"/>
                    </a:lnTo>
                    <a:cubicBezTo>
                      <a:pt x="11725" y="7468"/>
                      <a:pt x="12307" y="6980"/>
                      <a:pt x="12307" y="6305"/>
                    </a:cubicBezTo>
                    <a:lnTo>
                      <a:pt x="12307" y="5235"/>
                    </a:lnTo>
                    <a:cubicBezTo>
                      <a:pt x="12307" y="4072"/>
                      <a:pt x="11446" y="3095"/>
                      <a:pt x="10376" y="3002"/>
                    </a:cubicBezTo>
                    <a:lnTo>
                      <a:pt x="8631" y="769"/>
                    </a:lnTo>
                    <a:cubicBezTo>
                      <a:pt x="8236" y="280"/>
                      <a:pt x="7654" y="1"/>
                      <a:pt x="6979" y="1"/>
                    </a:cubicBezTo>
                    <a:close/>
                  </a:path>
                </a:pathLst>
              </a:custGeom>
              <a:solidFill>
                <a:srgbClr val="8AC93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0" name="Google Shape;3320;p42"/>
              <p:cNvSpPr/>
              <p:nvPr/>
            </p:nvSpPr>
            <p:spPr>
              <a:xfrm>
                <a:off x="4997910" y="4207546"/>
                <a:ext cx="164699" cy="201794"/>
              </a:xfrm>
              <a:custGeom>
                <a:avLst/>
                <a:gdLst/>
                <a:ahLst/>
                <a:cxnLst/>
                <a:rect l="l" t="t" r="r" b="b"/>
                <a:pathLst>
                  <a:path w="6096" h="7469" extrusionOk="0">
                    <a:moveTo>
                      <a:pt x="768" y="769"/>
                    </a:moveTo>
                    <a:cubicBezTo>
                      <a:pt x="1164" y="769"/>
                      <a:pt x="1536" y="955"/>
                      <a:pt x="1746" y="1257"/>
                    </a:cubicBezTo>
                    <a:lnTo>
                      <a:pt x="3095" y="3002"/>
                    </a:lnTo>
                    <a:lnTo>
                      <a:pt x="373" y="3002"/>
                    </a:lnTo>
                    <a:lnTo>
                      <a:pt x="373" y="769"/>
                    </a:lnTo>
                    <a:close/>
                    <a:moveTo>
                      <a:pt x="1" y="1"/>
                    </a:moveTo>
                    <a:lnTo>
                      <a:pt x="1" y="7468"/>
                    </a:lnTo>
                    <a:lnTo>
                      <a:pt x="4840" y="7468"/>
                    </a:lnTo>
                    <a:cubicBezTo>
                      <a:pt x="5514" y="7468"/>
                      <a:pt x="6096" y="6980"/>
                      <a:pt x="6096" y="6305"/>
                    </a:cubicBezTo>
                    <a:lnTo>
                      <a:pt x="6096" y="5235"/>
                    </a:lnTo>
                    <a:cubicBezTo>
                      <a:pt x="6096" y="4072"/>
                      <a:pt x="5235" y="3095"/>
                      <a:pt x="4165" y="3002"/>
                    </a:cubicBezTo>
                    <a:lnTo>
                      <a:pt x="2420" y="769"/>
                    </a:lnTo>
                    <a:cubicBezTo>
                      <a:pt x="2025" y="280"/>
                      <a:pt x="1443" y="1"/>
                      <a:pt x="768" y="1"/>
                    </a:cubicBezTo>
                    <a:close/>
                  </a:path>
                </a:pathLst>
              </a:custGeom>
              <a:solidFill>
                <a:srgbClr val="00B44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1" name="Google Shape;3321;p42"/>
              <p:cNvSpPr/>
              <p:nvPr/>
            </p:nvSpPr>
            <p:spPr>
              <a:xfrm>
                <a:off x="4987238" y="4071161"/>
                <a:ext cx="47173" cy="23910"/>
              </a:xfrm>
              <a:custGeom>
                <a:avLst/>
                <a:gdLst/>
                <a:ahLst/>
                <a:cxnLst/>
                <a:rect l="l" t="t" r="r" b="b"/>
                <a:pathLst>
                  <a:path w="1746" h="885" extrusionOk="0">
                    <a:moveTo>
                      <a:pt x="396" y="1"/>
                    </a:moveTo>
                    <a:cubicBezTo>
                      <a:pt x="186" y="1"/>
                      <a:pt x="0" y="303"/>
                      <a:pt x="0" y="489"/>
                    </a:cubicBezTo>
                    <a:cubicBezTo>
                      <a:pt x="0" y="675"/>
                      <a:pt x="186" y="885"/>
                      <a:pt x="396" y="885"/>
                    </a:cubicBezTo>
                    <a:lnTo>
                      <a:pt x="1350" y="885"/>
                    </a:lnTo>
                    <a:cubicBezTo>
                      <a:pt x="1559" y="885"/>
                      <a:pt x="1745" y="675"/>
                      <a:pt x="1745" y="396"/>
                    </a:cubicBezTo>
                    <a:cubicBezTo>
                      <a:pt x="1745" y="187"/>
                      <a:pt x="1559" y="1"/>
                      <a:pt x="1257" y="1"/>
                    </a:cubicBez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2" name="Google Shape;3322;p42"/>
              <p:cNvSpPr/>
              <p:nvPr/>
            </p:nvSpPr>
            <p:spPr>
              <a:xfrm>
                <a:off x="4987238" y="4115794"/>
                <a:ext cx="47173" cy="23289"/>
              </a:xfrm>
              <a:custGeom>
                <a:avLst/>
                <a:gdLst/>
                <a:ahLst/>
                <a:cxnLst/>
                <a:rect l="l" t="t" r="r" b="b"/>
                <a:pathLst>
                  <a:path w="1746" h="862" extrusionOk="0">
                    <a:moveTo>
                      <a:pt x="396" y="0"/>
                    </a:moveTo>
                    <a:cubicBezTo>
                      <a:pt x="186" y="0"/>
                      <a:pt x="0" y="280"/>
                      <a:pt x="0" y="489"/>
                    </a:cubicBezTo>
                    <a:cubicBezTo>
                      <a:pt x="0" y="675"/>
                      <a:pt x="186" y="861"/>
                      <a:pt x="396" y="861"/>
                    </a:cubicBezTo>
                    <a:lnTo>
                      <a:pt x="1350" y="861"/>
                    </a:lnTo>
                    <a:cubicBezTo>
                      <a:pt x="1559" y="861"/>
                      <a:pt x="1745" y="675"/>
                      <a:pt x="1745" y="396"/>
                    </a:cubicBezTo>
                    <a:cubicBezTo>
                      <a:pt x="1745" y="186"/>
                      <a:pt x="1559" y="0"/>
                      <a:pt x="1257" y="0"/>
                    </a:cubicBez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3" name="Google Shape;3323;p42"/>
              <p:cNvSpPr/>
              <p:nvPr/>
            </p:nvSpPr>
            <p:spPr>
              <a:xfrm>
                <a:off x="4929393" y="4063623"/>
                <a:ext cx="68543" cy="83619"/>
              </a:xfrm>
              <a:custGeom>
                <a:avLst/>
                <a:gdLst/>
                <a:ahLst/>
                <a:cxnLst/>
                <a:rect l="l" t="t" r="r" b="b"/>
                <a:pathLst>
                  <a:path w="2537" h="3095" extrusionOk="0">
                    <a:moveTo>
                      <a:pt x="1653" y="0"/>
                    </a:moveTo>
                    <a:cubicBezTo>
                      <a:pt x="699" y="0"/>
                      <a:pt x="1" y="768"/>
                      <a:pt x="117" y="1745"/>
                    </a:cubicBezTo>
                    <a:cubicBezTo>
                      <a:pt x="117" y="2513"/>
                      <a:pt x="792" y="3095"/>
                      <a:pt x="1653" y="3095"/>
                    </a:cubicBezTo>
                    <a:lnTo>
                      <a:pt x="2048" y="3095"/>
                    </a:lnTo>
                    <a:cubicBezTo>
                      <a:pt x="2327" y="3095"/>
                      <a:pt x="2537" y="2908"/>
                      <a:pt x="2537" y="2699"/>
                    </a:cubicBezTo>
                    <a:lnTo>
                      <a:pt x="2537" y="466"/>
                    </a:lnTo>
                    <a:cubicBezTo>
                      <a:pt x="2537" y="187"/>
                      <a:pt x="2327" y="0"/>
                      <a:pt x="204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4" name="Google Shape;3324;p42"/>
              <p:cNvSpPr/>
              <p:nvPr/>
            </p:nvSpPr>
            <p:spPr>
              <a:xfrm>
                <a:off x="4877249" y="4367192"/>
                <a:ext cx="71029" cy="70435"/>
              </a:xfrm>
              <a:custGeom>
                <a:avLst/>
                <a:gdLst/>
                <a:ahLst/>
                <a:cxnLst/>
                <a:rect l="l" t="t" r="r" b="b"/>
                <a:pathLst>
                  <a:path w="2629" h="2607" extrusionOk="0">
                    <a:moveTo>
                      <a:pt x="489" y="489"/>
                    </a:moveTo>
                    <a:cubicBezTo>
                      <a:pt x="884" y="1"/>
                      <a:pt x="1652" y="1"/>
                      <a:pt x="2140" y="489"/>
                    </a:cubicBezTo>
                    <a:cubicBezTo>
                      <a:pt x="2629" y="862"/>
                      <a:pt x="2629" y="1653"/>
                      <a:pt x="2140" y="2141"/>
                    </a:cubicBezTo>
                    <a:cubicBezTo>
                      <a:pt x="1652" y="2606"/>
                      <a:pt x="884" y="2606"/>
                      <a:pt x="489" y="2141"/>
                    </a:cubicBezTo>
                    <a:cubicBezTo>
                      <a:pt x="0" y="1653"/>
                      <a:pt x="0" y="862"/>
                      <a:pt x="489" y="489"/>
                    </a:cubicBezTo>
                    <a:close/>
                  </a:path>
                </a:pathLst>
              </a:custGeom>
              <a:solidFill>
                <a:srgbClr val="A1E1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5" name="Google Shape;3325;p42"/>
              <p:cNvSpPr/>
              <p:nvPr/>
            </p:nvSpPr>
            <p:spPr>
              <a:xfrm>
                <a:off x="4869685" y="4359033"/>
                <a:ext cx="86159" cy="86753"/>
              </a:xfrm>
              <a:custGeom>
                <a:avLst/>
                <a:gdLst/>
                <a:ahLst/>
                <a:cxnLst/>
                <a:rect l="l" t="t" r="r" b="b"/>
                <a:pathLst>
                  <a:path w="3189" h="3211" extrusionOk="0">
                    <a:moveTo>
                      <a:pt x="1536" y="791"/>
                    </a:moveTo>
                    <a:cubicBezTo>
                      <a:pt x="2025" y="791"/>
                      <a:pt x="2327" y="1164"/>
                      <a:pt x="2327" y="1559"/>
                    </a:cubicBezTo>
                    <a:cubicBezTo>
                      <a:pt x="2327" y="2048"/>
                      <a:pt x="2025" y="2327"/>
                      <a:pt x="1536" y="2327"/>
                    </a:cubicBezTo>
                    <a:cubicBezTo>
                      <a:pt x="1164" y="2327"/>
                      <a:pt x="769" y="2048"/>
                      <a:pt x="769" y="1559"/>
                    </a:cubicBezTo>
                    <a:cubicBezTo>
                      <a:pt x="769" y="1164"/>
                      <a:pt x="1164" y="791"/>
                      <a:pt x="1536" y="791"/>
                    </a:cubicBezTo>
                    <a:close/>
                    <a:moveTo>
                      <a:pt x="1536" y="0"/>
                    </a:moveTo>
                    <a:cubicBezTo>
                      <a:pt x="676" y="0"/>
                      <a:pt x="1" y="698"/>
                      <a:pt x="1" y="1559"/>
                    </a:cubicBezTo>
                    <a:cubicBezTo>
                      <a:pt x="1" y="2443"/>
                      <a:pt x="676" y="3211"/>
                      <a:pt x="1536" y="3211"/>
                    </a:cubicBezTo>
                    <a:cubicBezTo>
                      <a:pt x="2420" y="3211"/>
                      <a:pt x="3188" y="2443"/>
                      <a:pt x="3188" y="1559"/>
                    </a:cubicBezTo>
                    <a:cubicBezTo>
                      <a:pt x="3188" y="698"/>
                      <a:pt x="2420" y="0"/>
                      <a:pt x="153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6" name="Google Shape;3326;p42"/>
              <p:cNvSpPr/>
              <p:nvPr/>
            </p:nvSpPr>
            <p:spPr>
              <a:xfrm>
                <a:off x="5045055" y="4367192"/>
                <a:ext cx="70435" cy="70435"/>
              </a:xfrm>
              <a:custGeom>
                <a:avLst/>
                <a:gdLst/>
                <a:ahLst/>
                <a:cxnLst/>
                <a:rect l="l" t="t" r="r" b="b"/>
                <a:pathLst>
                  <a:path w="2607" h="2607" extrusionOk="0">
                    <a:moveTo>
                      <a:pt x="489" y="489"/>
                    </a:moveTo>
                    <a:cubicBezTo>
                      <a:pt x="954" y="1"/>
                      <a:pt x="1745" y="1"/>
                      <a:pt x="2118" y="489"/>
                    </a:cubicBezTo>
                    <a:cubicBezTo>
                      <a:pt x="2606" y="862"/>
                      <a:pt x="2606" y="1653"/>
                      <a:pt x="2118" y="2141"/>
                    </a:cubicBezTo>
                    <a:cubicBezTo>
                      <a:pt x="1745" y="2606"/>
                      <a:pt x="954" y="2606"/>
                      <a:pt x="489" y="2141"/>
                    </a:cubicBezTo>
                    <a:cubicBezTo>
                      <a:pt x="1" y="1653"/>
                      <a:pt x="1" y="862"/>
                      <a:pt x="489" y="489"/>
                    </a:cubicBezTo>
                    <a:close/>
                  </a:path>
                </a:pathLst>
              </a:custGeom>
              <a:solidFill>
                <a:srgbClr val="A1E1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7" name="Google Shape;3327;p42"/>
              <p:cNvSpPr/>
              <p:nvPr/>
            </p:nvSpPr>
            <p:spPr>
              <a:xfrm>
                <a:off x="5036896" y="4359033"/>
                <a:ext cx="86753" cy="86753"/>
              </a:xfrm>
              <a:custGeom>
                <a:avLst/>
                <a:gdLst/>
                <a:ahLst/>
                <a:cxnLst/>
                <a:rect l="l" t="t" r="r" b="b"/>
                <a:pathLst>
                  <a:path w="3211" h="3211" extrusionOk="0">
                    <a:moveTo>
                      <a:pt x="1652" y="791"/>
                    </a:moveTo>
                    <a:cubicBezTo>
                      <a:pt x="2047" y="791"/>
                      <a:pt x="2420" y="1164"/>
                      <a:pt x="2420" y="1559"/>
                    </a:cubicBezTo>
                    <a:cubicBezTo>
                      <a:pt x="2420" y="2048"/>
                      <a:pt x="2047" y="2327"/>
                      <a:pt x="1652" y="2327"/>
                    </a:cubicBezTo>
                    <a:cubicBezTo>
                      <a:pt x="1163" y="2327"/>
                      <a:pt x="884" y="2048"/>
                      <a:pt x="884" y="1559"/>
                    </a:cubicBezTo>
                    <a:cubicBezTo>
                      <a:pt x="884" y="1164"/>
                      <a:pt x="1163" y="791"/>
                      <a:pt x="1652" y="791"/>
                    </a:cubicBezTo>
                    <a:close/>
                    <a:moveTo>
                      <a:pt x="1652" y="0"/>
                    </a:moveTo>
                    <a:cubicBezTo>
                      <a:pt x="791" y="0"/>
                      <a:pt x="0" y="698"/>
                      <a:pt x="0" y="1559"/>
                    </a:cubicBezTo>
                    <a:cubicBezTo>
                      <a:pt x="0" y="2443"/>
                      <a:pt x="791" y="3211"/>
                      <a:pt x="1652" y="3211"/>
                    </a:cubicBezTo>
                    <a:cubicBezTo>
                      <a:pt x="2536" y="3211"/>
                      <a:pt x="3211" y="2443"/>
                      <a:pt x="3211" y="1559"/>
                    </a:cubicBezTo>
                    <a:cubicBezTo>
                      <a:pt x="3211" y="698"/>
                      <a:pt x="2536" y="0"/>
                      <a:pt x="165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8" name="Google Shape;3328;p42"/>
              <p:cNvSpPr/>
              <p:nvPr/>
            </p:nvSpPr>
            <p:spPr>
              <a:xfrm>
                <a:off x="5133673" y="4327611"/>
                <a:ext cx="28936" cy="21398"/>
              </a:xfrm>
              <a:custGeom>
                <a:avLst/>
                <a:gdLst/>
                <a:ahLst/>
                <a:cxnLst/>
                <a:rect l="l" t="t" r="r" b="b"/>
                <a:pathLst>
                  <a:path w="1071" h="792" extrusionOk="0">
                    <a:moveTo>
                      <a:pt x="396" y="0"/>
                    </a:moveTo>
                    <a:cubicBezTo>
                      <a:pt x="210" y="0"/>
                      <a:pt x="1" y="210"/>
                      <a:pt x="1" y="396"/>
                    </a:cubicBezTo>
                    <a:cubicBezTo>
                      <a:pt x="1" y="582"/>
                      <a:pt x="210" y="791"/>
                      <a:pt x="396" y="791"/>
                    </a:cubicBezTo>
                    <a:lnTo>
                      <a:pt x="1071" y="791"/>
                    </a:lnTo>
                    <a:lnTo>
                      <a:pt x="1071" y="698"/>
                    </a:lnTo>
                    <a:cubicBezTo>
                      <a:pt x="1071" y="489"/>
                      <a:pt x="1071" y="210"/>
                      <a:pt x="978" y="0"/>
                    </a:cubicBez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9" name="Google Shape;3329;p42"/>
              <p:cNvSpPr/>
              <p:nvPr/>
            </p:nvSpPr>
            <p:spPr>
              <a:xfrm>
                <a:off x="4830104" y="4327611"/>
                <a:ext cx="31448" cy="21398"/>
              </a:xfrm>
              <a:custGeom>
                <a:avLst/>
                <a:gdLst/>
                <a:ahLst/>
                <a:cxnLst/>
                <a:rect l="l" t="t" r="r" b="b"/>
                <a:pathLst>
                  <a:path w="1164" h="792" extrusionOk="0">
                    <a:moveTo>
                      <a:pt x="0" y="0"/>
                    </a:moveTo>
                    <a:lnTo>
                      <a:pt x="0" y="791"/>
                    </a:lnTo>
                    <a:lnTo>
                      <a:pt x="675" y="791"/>
                    </a:lnTo>
                    <a:cubicBezTo>
                      <a:pt x="884" y="791"/>
                      <a:pt x="1070" y="698"/>
                      <a:pt x="1163" y="489"/>
                    </a:cubicBezTo>
                    <a:cubicBezTo>
                      <a:pt x="1163" y="210"/>
                      <a:pt x="977" y="0"/>
                      <a:pt x="675" y="0"/>
                    </a:cubicBezTo>
                    <a:close/>
                  </a:path>
                </a:pathLst>
              </a:custGeom>
              <a:solidFill>
                <a:srgbClr val="B3766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25B04FC-BB73-CD0A-6229-CE9CAFDE2F69}"/>
              </a:ext>
            </a:extLst>
          </p:cNvPr>
          <p:cNvGrpSpPr/>
          <p:nvPr/>
        </p:nvGrpSpPr>
        <p:grpSpPr>
          <a:xfrm>
            <a:off x="0" y="4362000"/>
            <a:ext cx="781500" cy="781500"/>
            <a:chOff x="2577308" y="1936801"/>
            <a:chExt cx="781500" cy="781500"/>
          </a:xfrm>
        </p:grpSpPr>
        <p:sp>
          <p:nvSpPr>
            <p:cNvPr id="3308" name="Google Shape;3308;p42"/>
            <p:cNvSpPr/>
            <p:nvPr/>
          </p:nvSpPr>
          <p:spPr>
            <a:xfrm>
              <a:off x="2577308" y="1936801"/>
              <a:ext cx="781500" cy="781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3330" name="Google Shape;3330;p42"/>
            <p:cNvGrpSpPr/>
            <p:nvPr/>
          </p:nvGrpSpPr>
          <p:grpSpPr>
            <a:xfrm>
              <a:off x="2798193" y="2106939"/>
              <a:ext cx="457207" cy="464811"/>
              <a:chOff x="1527782" y="4063623"/>
              <a:chExt cx="379677" cy="383603"/>
            </a:xfrm>
          </p:grpSpPr>
          <p:sp>
            <p:nvSpPr>
              <p:cNvPr id="3331" name="Google Shape;3331;p42"/>
              <p:cNvSpPr/>
              <p:nvPr/>
            </p:nvSpPr>
            <p:spPr>
              <a:xfrm>
                <a:off x="1527782" y="4063623"/>
                <a:ext cx="123227" cy="57223"/>
              </a:xfrm>
              <a:custGeom>
                <a:avLst/>
                <a:gdLst/>
                <a:ahLst/>
                <a:cxnLst/>
                <a:rect l="l" t="t" r="r" b="b"/>
                <a:pathLst>
                  <a:path w="4561" h="2118" extrusionOk="0">
                    <a:moveTo>
                      <a:pt x="396" y="0"/>
                    </a:moveTo>
                    <a:cubicBezTo>
                      <a:pt x="187" y="0"/>
                      <a:pt x="1" y="187"/>
                      <a:pt x="1" y="466"/>
                    </a:cubicBezTo>
                    <a:lnTo>
                      <a:pt x="1" y="1745"/>
                    </a:lnTo>
                    <a:cubicBezTo>
                      <a:pt x="1" y="2024"/>
                      <a:pt x="187" y="2117"/>
                      <a:pt x="396" y="2117"/>
                    </a:cubicBezTo>
                    <a:lnTo>
                      <a:pt x="3491" y="2117"/>
                    </a:lnTo>
                    <a:cubicBezTo>
                      <a:pt x="3677" y="2117"/>
                      <a:pt x="3770" y="2117"/>
                      <a:pt x="3770" y="2024"/>
                    </a:cubicBezTo>
                    <a:lnTo>
                      <a:pt x="4351" y="1443"/>
                    </a:lnTo>
                    <a:cubicBezTo>
                      <a:pt x="4561" y="1257"/>
                      <a:pt x="4561" y="1047"/>
                      <a:pt x="4468" y="861"/>
                    </a:cubicBezTo>
                    <a:lnTo>
                      <a:pt x="3886" y="187"/>
                    </a:lnTo>
                    <a:cubicBezTo>
                      <a:pt x="3770" y="94"/>
                      <a:pt x="3677" y="0"/>
                      <a:pt x="3491" y="0"/>
                    </a:cubicBezTo>
                    <a:close/>
                  </a:path>
                </a:pathLst>
              </a:custGeom>
              <a:solidFill>
                <a:srgbClr val="00B44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2" name="Google Shape;3332;p42"/>
              <p:cNvSpPr/>
              <p:nvPr/>
            </p:nvSpPr>
            <p:spPr>
              <a:xfrm>
                <a:off x="1527782" y="4144703"/>
                <a:ext cx="191122" cy="57223"/>
              </a:xfrm>
              <a:custGeom>
                <a:avLst/>
                <a:gdLst/>
                <a:ahLst/>
                <a:cxnLst/>
                <a:rect l="l" t="t" r="r" b="b"/>
                <a:pathLst>
                  <a:path w="7074" h="2118" extrusionOk="0">
                    <a:moveTo>
                      <a:pt x="396" y="1"/>
                    </a:moveTo>
                    <a:cubicBezTo>
                      <a:pt x="187" y="1"/>
                      <a:pt x="1" y="187"/>
                      <a:pt x="1" y="373"/>
                    </a:cubicBezTo>
                    <a:lnTo>
                      <a:pt x="1" y="1745"/>
                    </a:lnTo>
                    <a:cubicBezTo>
                      <a:pt x="1" y="1931"/>
                      <a:pt x="187" y="2117"/>
                      <a:pt x="396" y="2117"/>
                    </a:cubicBezTo>
                    <a:lnTo>
                      <a:pt x="6003" y="2117"/>
                    </a:lnTo>
                    <a:cubicBezTo>
                      <a:pt x="6212" y="2117"/>
                      <a:pt x="6305" y="2117"/>
                      <a:pt x="6399" y="2024"/>
                    </a:cubicBezTo>
                    <a:lnTo>
                      <a:pt x="6887" y="1350"/>
                    </a:lnTo>
                    <a:cubicBezTo>
                      <a:pt x="7073" y="1257"/>
                      <a:pt x="7073" y="954"/>
                      <a:pt x="6980" y="861"/>
                    </a:cubicBezTo>
                    <a:lnTo>
                      <a:pt x="6399" y="187"/>
                    </a:lnTo>
                    <a:cubicBezTo>
                      <a:pt x="6305" y="94"/>
                      <a:pt x="6212" y="1"/>
                      <a:pt x="6003" y="1"/>
                    </a:cubicBezTo>
                    <a:close/>
                  </a:path>
                </a:pathLst>
              </a:custGeom>
              <a:solidFill>
                <a:srgbClr val="8AC93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3" name="Google Shape;3333;p42"/>
              <p:cNvSpPr/>
              <p:nvPr/>
            </p:nvSpPr>
            <p:spPr>
              <a:xfrm>
                <a:off x="1527782" y="4225782"/>
                <a:ext cx="253964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9400" h="2141" extrusionOk="0">
                    <a:moveTo>
                      <a:pt x="396" y="1"/>
                    </a:moveTo>
                    <a:cubicBezTo>
                      <a:pt x="187" y="1"/>
                      <a:pt x="1" y="187"/>
                      <a:pt x="1" y="396"/>
                    </a:cubicBezTo>
                    <a:lnTo>
                      <a:pt x="1" y="1745"/>
                    </a:lnTo>
                    <a:cubicBezTo>
                      <a:pt x="1" y="1931"/>
                      <a:pt x="187" y="2141"/>
                      <a:pt x="396" y="2141"/>
                    </a:cubicBezTo>
                    <a:lnTo>
                      <a:pt x="8329" y="2141"/>
                    </a:lnTo>
                    <a:cubicBezTo>
                      <a:pt x="8539" y="2141"/>
                      <a:pt x="8632" y="2141"/>
                      <a:pt x="8725" y="2024"/>
                    </a:cubicBezTo>
                    <a:lnTo>
                      <a:pt x="9307" y="1350"/>
                    </a:lnTo>
                    <a:cubicBezTo>
                      <a:pt x="9400" y="1257"/>
                      <a:pt x="9400" y="978"/>
                      <a:pt x="9307" y="861"/>
                    </a:cubicBezTo>
                    <a:lnTo>
                      <a:pt x="8725" y="187"/>
                    </a:lnTo>
                    <a:cubicBezTo>
                      <a:pt x="8632" y="94"/>
                      <a:pt x="8539" y="1"/>
                      <a:pt x="8329" y="1"/>
                    </a:cubicBezTo>
                    <a:close/>
                  </a:path>
                </a:pathLst>
              </a:custGeom>
              <a:solidFill>
                <a:srgbClr val="FFD65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4" name="Google Shape;3334;p42"/>
              <p:cNvSpPr/>
              <p:nvPr/>
            </p:nvSpPr>
            <p:spPr>
              <a:xfrm>
                <a:off x="1527782" y="4306862"/>
                <a:ext cx="314295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11633" h="2141" extrusionOk="0">
                    <a:moveTo>
                      <a:pt x="396" y="1"/>
                    </a:moveTo>
                    <a:cubicBezTo>
                      <a:pt x="187" y="1"/>
                      <a:pt x="1" y="187"/>
                      <a:pt x="1" y="396"/>
                    </a:cubicBezTo>
                    <a:lnTo>
                      <a:pt x="1" y="1745"/>
                    </a:lnTo>
                    <a:cubicBezTo>
                      <a:pt x="1" y="1931"/>
                      <a:pt x="187" y="2141"/>
                      <a:pt x="396" y="2141"/>
                    </a:cubicBezTo>
                    <a:lnTo>
                      <a:pt x="10563" y="2141"/>
                    </a:lnTo>
                    <a:cubicBezTo>
                      <a:pt x="10749" y="2141"/>
                      <a:pt x="10865" y="2048"/>
                      <a:pt x="10958" y="2048"/>
                    </a:cubicBezTo>
                    <a:lnTo>
                      <a:pt x="11447" y="1350"/>
                    </a:lnTo>
                    <a:cubicBezTo>
                      <a:pt x="11633" y="1164"/>
                      <a:pt x="11633" y="978"/>
                      <a:pt x="11540" y="768"/>
                    </a:cubicBezTo>
                    <a:lnTo>
                      <a:pt x="10958" y="94"/>
                    </a:lnTo>
                    <a:cubicBezTo>
                      <a:pt x="10865" y="1"/>
                      <a:pt x="10749" y="1"/>
                      <a:pt x="10563" y="1"/>
                    </a:cubicBezTo>
                    <a:close/>
                  </a:path>
                </a:pathLst>
              </a:custGeom>
              <a:solidFill>
                <a:srgbClr val="A1E1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5" name="Google Shape;3335;p42"/>
              <p:cNvSpPr/>
              <p:nvPr/>
            </p:nvSpPr>
            <p:spPr>
              <a:xfrm>
                <a:off x="1527782" y="4387941"/>
                <a:ext cx="379677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14053" h="2141" extrusionOk="0">
                    <a:moveTo>
                      <a:pt x="396" y="1"/>
                    </a:moveTo>
                    <a:cubicBezTo>
                      <a:pt x="187" y="1"/>
                      <a:pt x="1" y="94"/>
                      <a:pt x="1" y="396"/>
                    </a:cubicBezTo>
                    <a:lnTo>
                      <a:pt x="1" y="1652"/>
                    </a:lnTo>
                    <a:cubicBezTo>
                      <a:pt x="1" y="1955"/>
                      <a:pt x="187" y="2141"/>
                      <a:pt x="396" y="2141"/>
                    </a:cubicBezTo>
                    <a:lnTo>
                      <a:pt x="13075" y="2141"/>
                    </a:lnTo>
                    <a:cubicBezTo>
                      <a:pt x="13192" y="2141"/>
                      <a:pt x="13285" y="2048"/>
                      <a:pt x="13378" y="1955"/>
                    </a:cubicBezTo>
                    <a:lnTo>
                      <a:pt x="13959" y="1373"/>
                    </a:lnTo>
                    <a:cubicBezTo>
                      <a:pt x="14052" y="1164"/>
                      <a:pt x="14052" y="978"/>
                      <a:pt x="13959" y="791"/>
                    </a:cubicBezTo>
                    <a:lnTo>
                      <a:pt x="13378" y="94"/>
                    </a:lnTo>
                    <a:cubicBezTo>
                      <a:pt x="13285" y="1"/>
                      <a:pt x="13192" y="1"/>
                      <a:pt x="13075" y="1"/>
                    </a:cubicBez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6" name="Google Shape;3336;p42"/>
              <p:cNvSpPr/>
              <p:nvPr/>
            </p:nvSpPr>
            <p:spPr>
              <a:xfrm>
                <a:off x="1752811" y="4225782"/>
                <a:ext cx="10699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396" h="2141" extrusionOk="0">
                    <a:moveTo>
                      <a:pt x="0" y="1"/>
                    </a:moveTo>
                    <a:cubicBezTo>
                      <a:pt x="210" y="1"/>
                      <a:pt x="303" y="94"/>
                      <a:pt x="396" y="187"/>
                    </a:cubicBezTo>
                    <a:cubicBezTo>
                      <a:pt x="303" y="94"/>
                      <a:pt x="210" y="1"/>
                      <a:pt x="93" y="1"/>
                    </a:cubicBezTo>
                    <a:close/>
                    <a:moveTo>
                      <a:pt x="395" y="2026"/>
                    </a:moveTo>
                    <a:cubicBezTo>
                      <a:pt x="302" y="2141"/>
                      <a:pt x="209" y="2141"/>
                      <a:pt x="0" y="2141"/>
                    </a:cubicBezTo>
                    <a:lnTo>
                      <a:pt x="93" y="2141"/>
                    </a:lnTo>
                    <a:cubicBezTo>
                      <a:pt x="209" y="2141"/>
                      <a:pt x="302" y="2141"/>
                      <a:pt x="395" y="20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7" name="Google Shape;3337;p42"/>
              <p:cNvSpPr/>
              <p:nvPr/>
            </p:nvSpPr>
            <p:spPr>
              <a:xfrm>
                <a:off x="1718877" y="4225782"/>
                <a:ext cx="62870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2327" h="2141" extrusionOk="0">
                    <a:moveTo>
                      <a:pt x="0" y="1"/>
                    </a:moveTo>
                    <a:lnTo>
                      <a:pt x="0" y="2141"/>
                    </a:lnTo>
                    <a:lnTo>
                      <a:pt x="1256" y="2141"/>
                    </a:lnTo>
                    <a:cubicBezTo>
                      <a:pt x="1466" y="2141"/>
                      <a:pt x="1559" y="2141"/>
                      <a:pt x="1652" y="2024"/>
                    </a:cubicBezTo>
                    <a:lnTo>
                      <a:pt x="2234" y="1350"/>
                    </a:lnTo>
                    <a:cubicBezTo>
                      <a:pt x="2327" y="1257"/>
                      <a:pt x="2327" y="978"/>
                      <a:pt x="2234" y="861"/>
                    </a:cubicBezTo>
                    <a:lnTo>
                      <a:pt x="1652" y="187"/>
                    </a:lnTo>
                    <a:cubicBezTo>
                      <a:pt x="1559" y="94"/>
                      <a:pt x="1466" y="1"/>
                      <a:pt x="1256" y="1"/>
                    </a:cubicBezTo>
                    <a:close/>
                  </a:path>
                </a:pathLst>
              </a:custGeom>
              <a:solidFill>
                <a:srgbClr val="FFE69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8" name="Google Shape;3338;p42"/>
              <p:cNvSpPr/>
              <p:nvPr/>
            </p:nvSpPr>
            <p:spPr>
              <a:xfrm>
                <a:off x="1813141" y="4306862"/>
                <a:ext cx="28936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1071" h="2141" extrusionOk="0">
                    <a:moveTo>
                      <a:pt x="1" y="1"/>
                    </a:moveTo>
                    <a:cubicBezTo>
                      <a:pt x="187" y="1"/>
                      <a:pt x="303" y="1"/>
                      <a:pt x="396" y="94"/>
                    </a:cubicBezTo>
                    <a:cubicBezTo>
                      <a:pt x="303" y="1"/>
                      <a:pt x="187" y="1"/>
                      <a:pt x="94" y="1"/>
                    </a:cubicBezTo>
                    <a:close/>
                    <a:moveTo>
                      <a:pt x="979" y="771"/>
                    </a:moveTo>
                    <a:cubicBezTo>
                      <a:pt x="1071" y="979"/>
                      <a:pt x="1070" y="1164"/>
                      <a:pt x="885" y="1350"/>
                    </a:cubicBezTo>
                    <a:lnTo>
                      <a:pt x="396" y="2048"/>
                    </a:lnTo>
                    <a:lnTo>
                      <a:pt x="978" y="1350"/>
                    </a:lnTo>
                    <a:cubicBezTo>
                      <a:pt x="1071" y="1164"/>
                      <a:pt x="1071" y="979"/>
                      <a:pt x="979" y="771"/>
                    </a:cubicBezTo>
                    <a:close/>
                    <a:moveTo>
                      <a:pt x="395" y="2048"/>
                    </a:moveTo>
                    <a:lnTo>
                      <a:pt x="395" y="2048"/>
                    </a:lnTo>
                    <a:cubicBezTo>
                      <a:pt x="302" y="2048"/>
                      <a:pt x="186" y="2141"/>
                      <a:pt x="1" y="2141"/>
                    </a:cubicBezTo>
                    <a:lnTo>
                      <a:pt x="94" y="2141"/>
                    </a:lnTo>
                    <a:cubicBezTo>
                      <a:pt x="187" y="2141"/>
                      <a:pt x="302" y="2048"/>
                      <a:pt x="395" y="2048"/>
                    </a:cubicBezTo>
                    <a:close/>
                  </a:path>
                </a:pathLst>
              </a:custGeom>
              <a:solidFill>
                <a:srgbClr val="DADBD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9" name="Google Shape;3339;p42"/>
              <p:cNvSpPr/>
              <p:nvPr/>
            </p:nvSpPr>
            <p:spPr>
              <a:xfrm>
                <a:off x="1718877" y="4306862"/>
                <a:ext cx="123200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4560" h="2141" extrusionOk="0">
                    <a:moveTo>
                      <a:pt x="0" y="1"/>
                    </a:moveTo>
                    <a:lnTo>
                      <a:pt x="0" y="2141"/>
                    </a:lnTo>
                    <a:lnTo>
                      <a:pt x="3490" y="2141"/>
                    </a:lnTo>
                    <a:cubicBezTo>
                      <a:pt x="3676" y="2141"/>
                      <a:pt x="3792" y="2048"/>
                      <a:pt x="3885" y="2048"/>
                    </a:cubicBezTo>
                    <a:lnTo>
                      <a:pt x="4374" y="1350"/>
                    </a:lnTo>
                    <a:cubicBezTo>
                      <a:pt x="4560" y="1164"/>
                      <a:pt x="4560" y="978"/>
                      <a:pt x="4467" y="768"/>
                    </a:cubicBezTo>
                    <a:lnTo>
                      <a:pt x="3885" y="94"/>
                    </a:lnTo>
                    <a:cubicBezTo>
                      <a:pt x="3792" y="1"/>
                      <a:pt x="3676" y="1"/>
                      <a:pt x="3490" y="1"/>
                    </a:cubicBezTo>
                    <a:close/>
                  </a:path>
                </a:pathLst>
              </a:custGeom>
              <a:solidFill>
                <a:srgbClr val="A5CAD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40" name="Google Shape;3340;p42"/>
              <p:cNvSpPr/>
              <p:nvPr/>
            </p:nvSpPr>
            <p:spPr>
              <a:xfrm>
                <a:off x="1718877" y="4389382"/>
                <a:ext cx="188582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6980" h="2141" extrusionOk="0">
                    <a:moveTo>
                      <a:pt x="0" y="1"/>
                    </a:moveTo>
                    <a:lnTo>
                      <a:pt x="0" y="2141"/>
                    </a:lnTo>
                    <a:lnTo>
                      <a:pt x="6002" y="2141"/>
                    </a:lnTo>
                    <a:cubicBezTo>
                      <a:pt x="6119" y="2141"/>
                      <a:pt x="6212" y="2048"/>
                      <a:pt x="6305" y="1955"/>
                    </a:cubicBezTo>
                    <a:lnTo>
                      <a:pt x="6886" y="1373"/>
                    </a:lnTo>
                    <a:cubicBezTo>
                      <a:pt x="6979" y="1164"/>
                      <a:pt x="6979" y="978"/>
                      <a:pt x="6886" y="791"/>
                    </a:cubicBezTo>
                    <a:lnTo>
                      <a:pt x="6305" y="94"/>
                    </a:lnTo>
                    <a:cubicBezTo>
                      <a:pt x="6212" y="1"/>
                      <a:pt x="6119" y="1"/>
                      <a:pt x="6002" y="1"/>
                    </a:cubicBezTo>
                    <a:close/>
                  </a:path>
                </a:pathLst>
              </a:custGeom>
              <a:solidFill>
                <a:srgbClr val="BA847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454752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44">
          <a:extLst>
            <a:ext uri="{FF2B5EF4-FFF2-40B4-BE49-F238E27FC236}">
              <a16:creationId xmlns:a16="http://schemas.microsoft.com/office/drawing/2014/main" id="{0045236F-2EBA-A9E2-510A-69DD65D87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CDA365D-66F2-43F3-663D-65FAD6BB6F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DA365D-66F2-43F3-663D-65FAD6BB6F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1">
            <a:extLst>
              <a:ext uri="{FF2B5EF4-FFF2-40B4-BE49-F238E27FC236}">
                <a16:creationId xmlns:a16="http://schemas.microsoft.com/office/drawing/2014/main" id="{5BC78610-309F-20F8-3AC1-E2039C086DB7}"/>
              </a:ext>
            </a:extLst>
          </p:cNvPr>
          <p:cNvSpPr>
            <a:spLocks noGrp="1" noChangeArrowheads="1"/>
          </p:cNvSpPr>
          <p:nvPr>
            <p:ph type="subTitle" idx="2"/>
          </p:nvPr>
        </p:nvSpPr>
        <p:spPr bwMode="auto">
          <a:xfrm>
            <a:off x="1261420" y="136800"/>
            <a:ext cx="7704001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lvl="0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n-US" altLang="en-US" sz="1800" b="1" dirty="0">
                <a:solidFill>
                  <a:schemeClr val="tx1"/>
                </a:solidFill>
                <a:latin typeface="Arial"/>
              </a:rPr>
              <a:t>Energy Dependence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altLang="en-US" sz="1800" dirty="0">
                <a:solidFill>
                  <a:schemeClr val="tx1"/>
                </a:solidFill>
                <a:latin typeface="Arial"/>
              </a:rPr>
              <a:t>Heavy reliance on coal for electricity generation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F1643D-2519-2D8B-63EB-C6027BE347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6289" y="834190"/>
            <a:ext cx="6696075" cy="407670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5665733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46" name="Google Shape;4746;p52"/>
          <p:cNvSpPr/>
          <p:nvPr/>
        </p:nvSpPr>
        <p:spPr>
          <a:xfrm>
            <a:off x="4572000" y="2951150"/>
            <a:ext cx="3060000" cy="3305700"/>
          </a:xfrm>
          <a:prstGeom prst="round2DiagRect">
            <a:avLst>
              <a:gd name="adj1" fmla="val 16667"/>
              <a:gd name="adj2" fmla="val 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47" name="Google Shape;4747;p52"/>
          <p:cNvSpPr txBox="1">
            <a:spLocks noGrp="1"/>
          </p:cNvSpPr>
          <p:nvPr>
            <p:ph type="title"/>
          </p:nvPr>
        </p:nvSpPr>
        <p:spPr>
          <a:xfrm>
            <a:off x="625642" y="679314"/>
            <a:ext cx="7485330" cy="213151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n-IN" dirty="0">
                <a:solidFill>
                  <a:srgbClr val="00B0F0"/>
                </a:solidFill>
              </a:rPr>
              <a:t>US$80-130/tCO</a:t>
            </a:r>
            <a:r>
              <a:rPr lang="en-IN" baseline="-25000" dirty="0">
                <a:solidFill>
                  <a:srgbClr val="00B0F0"/>
                </a:solidFill>
              </a:rPr>
              <a:t>2</a:t>
            </a:r>
            <a:endParaRPr baseline="-25000" dirty="0">
              <a:solidFill>
                <a:srgbClr val="00B0F0"/>
              </a:solidFill>
            </a:endParaRPr>
          </a:p>
        </p:txBody>
      </p:sp>
      <p:sp>
        <p:nvSpPr>
          <p:cNvPr id="4748" name="Google Shape;4748;p52"/>
          <p:cNvSpPr txBox="1">
            <a:spLocks noGrp="1"/>
          </p:cNvSpPr>
          <p:nvPr>
            <p:ph type="subTitle" idx="1"/>
          </p:nvPr>
        </p:nvSpPr>
        <p:spPr>
          <a:xfrm>
            <a:off x="165062" y="182214"/>
            <a:ext cx="8810495" cy="497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/>
            <a:r>
              <a:rPr lang="en-US" sz="2200">
                <a:solidFill>
                  <a:srgbClr val="FFD65D"/>
                </a:solidFill>
              </a:rPr>
              <a:t>Estimate by National Bureau of Economic Research (NBER), United States (US) for India-</a:t>
            </a:r>
            <a:endParaRPr sz="2200">
              <a:solidFill>
                <a:srgbClr val="FFD65D"/>
              </a:solidFill>
            </a:endParaRPr>
          </a:p>
        </p:txBody>
      </p:sp>
      <p:grpSp>
        <p:nvGrpSpPr>
          <p:cNvPr id="4749" name="Google Shape;4749;p52"/>
          <p:cNvGrpSpPr/>
          <p:nvPr/>
        </p:nvGrpSpPr>
        <p:grpSpPr>
          <a:xfrm>
            <a:off x="1925052" y="3011991"/>
            <a:ext cx="5267733" cy="2131509"/>
            <a:chOff x="1913843" y="2627298"/>
            <a:chExt cx="5273020" cy="1976701"/>
          </a:xfrm>
        </p:grpSpPr>
        <p:sp>
          <p:nvSpPr>
            <p:cNvPr id="4750" name="Google Shape;4750;p52"/>
            <p:cNvSpPr/>
            <p:nvPr/>
          </p:nvSpPr>
          <p:spPr>
            <a:xfrm>
              <a:off x="2845242" y="3257506"/>
              <a:ext cx="557406" cy="242622"/>
            </a:xfrm>
            <a:custGeom>
              <a:avLst/>
              <a:gdLst/>
              <a:ahLst/>
              <a:cxnLst/>
              <a:rect l="l" t="t" r="r" b="b"/>
              <a:pathLst>
                <a:path w="17063" h="7427" extrusionOk="0">
                  <a:moveTo>
                    <a:pt x="8100" y="0"/>
                  </a:moveTo>
                  <a:cubicBezTo>
                    <a:pt x="6746" y="0"/>
                    <a:pt x="5613" y="977"/>
                    <a:pt x="5373" y="2269"/>
                  </a:cubicBezTo>
                  <a:cubicBezTo>
                    <a:pt x="5279" y="2243"/>
                    <a:pt x="5172" y="2243"/>
                    <a:pt x="5075" y="2243"/>
                  </a:cubicBezTo>
                  <a:cubicBezTo>
                    <a:pt x="5057" y="2242"/>
                    <a:pt x="5039" y="2242"/>
                    <a:pt x="5021" y="2242"/>
                  </a:cubicBezTo>
                  <a:cubicBezTo>
                    <a:pt x="3860" y="2242"/>
                    <a:pt x="2916" y="3165"/>
                    <a:pt x="2862" y="4336"/>
                  </a:cubicBezTo>
                  <a:cubicBezTo>
                    <a:pt x="1485" y="4686"/>
                    <a:pt x="377" y="5778"/>
                    <a:pt x="1" y="7155"/>
                  </a:cubicBezTo>
                  <a:lnTo>
                    <a:pt x="17063" y="7427"/>
                  </a:lnTo>
                  <a:cubicBezTo>
                    <a:pt x="16645" y="5684"/>
                    <a:pt x="15673" y="4375"/>
                    <a:pt x="13810" y="4349"/>
                  </a:cubicBezTo>
                  <a:lnTo>
                    <a:pt x="13648" y="4349"/>
                  </a:lnTo>
                  <a:cubicBezTo>
                    <a:pt x="13677" y="3024"/>
                    <a:pt x="12624" y="1932"/>
                    <a:pt x="11299" y="1919"/>
                  </a:cubicBezTo>
                  <a:cubicBezTo>
                    <a:pt x="11124" y="1919"/>
                    <a:pt x="10949" y="1932"/>
                    <a:pt x="10787" y="1958"/>
                  </a:cubicBezTo>
                  <a:cubicBezTo>
                    <a:pt x="10437" y="837"/>
                    <a:pt x="9397" y="14"/>
                    <a:pt x="8153" y="1"/>
                  </a:cubicBezTo>
                  <a:cubicBezTo>
                    <a:pt x="8135" y="1"/>
                    <a:pt x="8117" y="0"/>
                    <a:pt x="8100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1" name="Google Shape;4751;p52"/>
            <p:cNvSpPr/>
            <p:nvPr/>
          </p:nvSpPr>
          <p:spPr>
            <a:xfrm>
              <a:off x="3021586" y="3332447"/>
              <a:ext cx="61415" cy="122274"/>
            </a:xfrm>
            <a:custGeom>
              <a:avLst/>
              <a:gdLst/>
              <a:ahLst/>
              <a:cxnLst/>
              <a:rect l="l" t="t" r="r" b="b"/>
              <a:pathLst>
                <a:path w="1880" h="3743" extrusionOk="0">
                  <a:moveTo>
                    <a:pt x="1" y="1"/>
                  </a:moveTo>
                  <a:cubicBezTo>
                    <a:pt x="1" y="1"/>
                    <a:pt x="1501" y="474"/>
                    <a:pt x="1420" y="1864"/>
                  </a:cubicBezTo>
                  <a:cubicBezTo>
                    <a:pt x="1339" y="3403"/>
                    <a:pt x="1" y="3743"/>
                    <a:pt x="1" y="3743"/>
                  </a:cubicBezTo>
                  <a:cubicBezTo>
                    <a:pt x="1041" y="3743"/>
                    <a:pt x="1880" y="2904"/>
                    <a:pt x="1880" y="1864"/>
                  </a:cubicBezTo>
                  <a:cubicBezTo>
                    <a:pt x="1880" y="840"/>
                    <a:pt x="1041" y="1"/>
                    <a:pt x="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2" name="Google Shape;4752;p52"/>
            <p:cNvSpPr/>
            <p:nvPr/>
          </p:nvSpPr>
          <p:spPr>
            <a:xfrm>
              <a:off x="3334777" y="3406539"/>
              <a:ext cx="68830" cy="89150"/>
            </a:xfrm>
            <a:custGeom>
              <a:avLst/>
              <a:gdLst/>
              <a:ahLst/>
              <a:cxnLst/>
              <a:rect l="l" t="t" r="r" b="b"/>
              <a:pathLst>
                <a:path w="2107" h="2729" extrusionOk="0">
                  <a:moveTo>
                    <a:pt x="1" y="1"/>
                  </a:moveTo>
                  <a:lnTo>
                    <a:pt x="1" y="1"/>
                  </a:lnTo>
                  <a:cubicBezTo>
                    <a:pt x="905" y="367"/>
                    <a:pt x="1511" y="1164"/>
                    <a:pt x="1864" y="2149"/>
                  </a:cubicBezTo>
                  <a:cubicBezTo>
                    <a:pt x="2026" y="2486"/>
                    <a:pt x="2094" y="2729"/>
                    <a:pt x="2094" y="2729"/>
                  </a:cubicBezTo>
                  <a:cubicBezTo>
                    <a:pt x="2107" y="1420"/>
                    <a:pt x="1216" y="312"/>
                    <a:pt x="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3" name="Google Shape;4753;p52"/>
            <p:cNvSpPr/>
            <p:nvPr/>
          </p:nvSpPr>
          <p:spPr>
            <a:xfrm>
              <a:off x="3222267" y="3403893"/>
              <a:ext cx="173399" cy="89150"/>
            </a:xfrm>
            <a:custGeom>
              <a:avLst/>
              <a:gdLst/>
              <a:ahLst/>
              <a:cxnLst/>
              <a:rect l="l" t="t" r="r" b="b"/>
              <a:pathLst>
                <a:path w="5308" h="2729" extrusionOk="0">
                  <a:moveTo>
                    <a:pt x="2755" y="1"/>
                  </a:moveTo>
                  <a:cubicBezTo>
                    <a:pt x="1258" y="1"/>
                    <a:pt x="14" y="1216"/>
                    <a:pt x="1" y="2729"/>
                  </a:cubicBezTo>
                  <a:cubicBezTo>
                    <a:pt x="1" y="2729"/>
                    <a:pt x="691" y="542"/>
                    <a:pt x="2606" y="542"/>
                  </a:cubicBezTo>
                  <a:lnTo>
                    <a:pt x="2784" y="542"/>
                  </a:lnTo>
                  <a:cubicBezTo>
                    <a:pt x="4281" y="649"/>
                    <a:pt x="4997" y="1595"/>
                    <a:pt x="5308" y="2230"/>
                  </a:cubicBezTo>
                  <a:cubicBezTo>
                    <a:pt x="4955" y="1245"/>
                    <a:pt x="4349" y="448"/>
                    <a:pt x="3445" y="82"/>
                  </a:cubicBezTo>
                  <a:cubicBezTo>
                    <a:pt x="3241" y="43"/>
                    <a:pt x="3027" y="1"/>
                    <a:pt x="2810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4" name="Google Shape;4754;p52"/>
            <p:cNvSpPr/>
            <p:nvPr/>
          </p:nvSpPr>
          <p:spPr>
            <a:xfrm>
              <a:off x="3270845" y="2959342"/>
              <a:ext cx="596247" cy="216586"/>
            </a:xfrm>
            <a:custGeom>
              <a:avLst/>
              <a:gdLst/>
              <a:ahLst/>
              <a:cxnLst/>
              <a:rect l="l" t="t" r="r" b="b"/>
              <a:pathLst>
                <a:path w="18252" h="6630" extrusionOk="0">
                  <a:moveTo>
                    <a:pt x="7803" y="1"/>
                  </a:moveTo>
                  <a:cubicBezTo>
                    <a:pt x="5778" y="1"/>
                    <a:pt x="4051" y="1245"/>
                    <a:pt x="3335" y="2998"/>
                  </a:cubicBezTo>
                  <a:cubicBezTo>
                    <a:pt x="3212" y="2985"/>
                    <a:pt x="3092" y="2985"/>
                    <a:pt x="2969" y="2985"/>
                  </a:cubicBezTo>
                  <a:cubicBezTo>
                    <a:pt x="1323" y="2985"/>
                    <a:pt x="1" y="4310"/>
                    <a:pt x="1" y="5956"/>
                  </a:cubicBezTo>
                  <a:cubicBezTo>
                    <a:pt x="1" y="6186"/>
                    <a:pt x="27" y="6416"/>
                    <a:pt x="66" y="6630"/>
                  </a:cubicBezTo>
                  <a:lnTo>
                    <a:pt x="14756" y="6630"/>
                  </a:lnTo>
                  <a:cubicBezTo>
                    <a:pt x="14795" y="6604"/>
                    <a:pt x="14824" y="6578"/>
                    <a:pt x="14863" y="6549"/>
                  </a:cubicBezTo>
                  <a:cubicBezTo>
                    <a:pt x="14863" y="6578"/>
                    <a:pt x="14876" y="6604"/>
                    <a:pt x="14889" y="6630"/>
                  </a:cubicBezTo>
                  <a:lnTo>
                    <a:pt x="18116" y="6630"/>
                  </a:lnTo>
                  <a:cubicBezTo>
                    <a:pt x="18197" y="6429"/>
                    <a:pt x="18252" y="6199"/>
                    <a:pt x="18252" y="5956"/>
                  </a:cubicBezTo>
                  <a:cubicBezTo>
                    <a:pt x="18252" y="4997"/>
                    <a:pt x="17468" y="4213"/>
                    <a:pt x="16496" y="4213"/>
                  </a:cubicBezTo>
                  <a:cubicBezTo>
                    <a:pt x="16159" y="4213"/>
                    <a:pt x="15848" y="4310"/>
                    <a:pt x="15579" y="4485"/>
                  </a:cubicBezTo>
                  <a:cubicBezTo>
                    <a:pt x="15404" y="3364"/>
                    <a:pt x="14445" y="2512"/>
                    <a:pt x="13269" y="2512"/>
                  </a:cubicBezTo>
                  <a:cubicBezTo>
                    <a:pt x="12880" y="2512"/>
                    <a:pt x="12501" y="2609"/>
                    <a:pt x="12177" y="2784"/>
                  </a:cubicBezTo>
                  <a:cubicBezTo>
                    <a:pt x="11393" y="1151"/>
                    <a:pt x="9734" y="1"/>
                    <a:pt x="7803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5" name="Google Shape;4755;p52"/>
            <p:cNvSpPr/>
            <p:nvPr/>
          </p:nvSpPr>
          <p:spPr>
            <a:xfrm>
              <a:off x="3842155" y="2785378"/>
              <a:ext cx="330791" cy="120380"/>
            </a:xfrm>
            <a:custGeom>
              <a:avLst/>
              <a:gdLst/>
              <a:ahLst/>
              <a:cxnLst/>
              <a:rect l="l" t="t" r="r" b="b"/>
              <a:pathLst>
                <a:path w="10126" h="3685" extrusionOk="0">
                  <a:moveTo>
                    <a:pt x="5791" y="1"/>
                  </a:moveTo>
                  <a:cubicBezTo>
                    <a:pt x="4712" y="1"/>
                    <a:pt x="3795" y="636"/>
                    <a:pt x="3361" y="1553"/>
                  </a:cubicBezTo>
                  <a:cubicBezTo>
                    <a:pt x="3186" y="1446"/>
                    <a:pt x="2972" y="1391"/>
                    <a:pt x="2755" y="1391"/>
                  </a:cubicBezTo>
                  <a:cubicBezTo>
                    <a:pt x="2107" y="1391"/>
                    <a:pt x="1579" y="1864"/>
                    <a:pt x="1472" y="2483"/>
                  </a:cubicBezTo>
                  <a:cubicBezTo>
                    <a:pt x="1323" y="2389"/>
                    <a:pt x="1148" y="2337"/>
                    <a:pt x="960" y="2337"/>
                  </a:cubicBezTo>
                  <a:cubicBezTo>
                    <a:pt x="432" y="2337"/>
                    <a:pt x="1" y="2768"/>
                    <a:pt x="1" y="3309"/>
                  </a:cubicBezTo>
                  <a:cubicBezTo>
                    <a:pt x="1" y="3442"/>
                    <a:pt x="27" y="3565"/>
                    <a:pt x="69" y="3685"/>
                  </a:cubicBezTo>
                  <a:lnTo>
                    <a:pt x="1851" y="3685"/>
                  </a:lnTo>
                  <a:cubicBezTo>
                    <a:pt x="1864" y="3659"/>
                    <a:pt x="1864" y="3646"/>
                    <a:pt x="1877" y="3633"/>
                  </a:cubicBezTo>
                  <a:cubicBezTo>
                    <a:pt x="1890" y="3646"/>
                    <a:pt x="1919" y="3659"/>
                    <a:pt x="1932" y="3685"/>
                  </a:cubicBezTo>
                  <a:lnTo>
                    <a:pt x="10071" y="3685"/>
                  </a:lnTo>
                  <a:cubicBezTo>
                    <a:pt x="10100" y="3565"/>
                    <a:pt x="10126" y="3429"/>
                    <a:pt x="10126" y="3309"/>
                  </a:cubicBezTo>
                  <a:cubicBezTo>
                    <a:pt x="10126" y="2389"/>
                    <a:pt x="9384" y="1660"/>
                    <a:pt x="8464" y="1660"/>
                  </a:cubicBezTo>
                  <a:cubicBezTo>
                    <a:pt x="8399" y="1660"/>
                    <a:pt x="8331" y="1660"/>
                    <a:pt x="8263" y="1673"/>
                  </a:cubicBezTo>
                  <a:cubicBezTo>
                    <a:pt x="7871" y="688"/>
                    <a:pt x="6912" y="1"/>
                    <a:pt x="579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6" name="Google Shape;4756;p52"/>
            <p:cNvSpPr/>
            <p:nvPr/>
          </p:nvSpPr>
          <p:spPr>
            <a:xfrm>
              <a:off x="5641785" y="3396902"/>
              <a:ext cx="291949" cy="143345"/>
            </a:xfrm>
            <a:custGeom>
              <a:avLst/>
              <a:gdLst/>
              <a:ahLst/>
              <a:cxnLst/>
              <a:rect l="l" t="t" r="r" b="b"/>
              <a:pathLst>
                <a:path w="8937" h="4388" extrusionOk="0">
                  <a:moveTo>
                    <a:pt x="3915" y="1"/>
                  </a:moveTo>
                  <a:cubicBezTo>
                    <a:pt x="2333" y="1"/>
                    <a:pt x="1037" y="1242"/>
                    <a:pt x="944" y="2794"/>
                  </a:cubicBezTo>
                  <a:cubicBezTo>
                    <a:pt x="406" y="2917"/>
                    <a:pt x="1" y="3390"/>
                    <a:pt x="1" y="3970"/>
                  </a:cubicBezTo>
                  <a:cubicBezTo>
                    <a:pt x="1" y="4119"/>
                    <a:pt x="27" y="4252"/>
                    <a:pt x="65" y="4388"/>
                  </a:cubicBezTo>
                  <a:lnTo>
                    <a:pt x="8937" y="4388"/>
                  </a:lnTo>
                  <a:lnTo>
                    <a:pt x="8937" y="4281"/>
                  </a:lnTo>
                  <a:cubicBezTo>
                    <a:pt x="8937" y="3429"/>
                    <a:pt x="8263" y="2755"/>
                    <a:pt x="7411" y="2755"/>
                  </a:cubicBezTo>
                  <a:cubicBezTo>
                    <a:pt x="7236" y="2755"/>
                    <a:pt x="7061" y="2781"/>
                    <a:pt x="6899" y="2836"/>
                  </a:cubicBezTo>
                  <a:cubicBezTo>
                    <a:pt x="6818" y="1255"/>
                    <a:pt x="5522" y="1"/>
                    <a:pt x="391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7" name="Google Shape;4757;p52"/>
            <p:cNvSpPr/>
            <p:nvPr/>
          </p:nvSpPr>
          <p:spPr>
            <a:xfrm>
              <a:off x="4585976" y="3466976"/>
              <a:ext cx="546821" cy="885191"/>
            </a:xfrm>
            <a:custGeom>
              <a:avLst/>
              <a:gdLst/>
              <a:ahLst/>
              <a:cxnLst/>
              <a:rect l="l" t="t" r="r" b="b"/>
              <a:pathLst>
                <a:path w="16739" h="27097" extrusionOk="0">
                  <a:moveTo>
                    <a:pt x="1" y="1"/>
                  </a:moveTo>
                  <a:lnTo>
                    <a:pt x="1" y="27097"/>
                  </a:lnTo>
                  <a:lnTo>
                    <a:pt x="16739" y="27097"/>
                  </a:lnTo>
                  <a:lnTo>
                    <a:pt x="16739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8" name="Google Shape;4758;p52"/>
            <p:cNvSpPr/>
            <p:nvPr/>
          </p:nvSpPr>
          <p:spPr>
            <a:xfrm>
              <a:off x="4585976" y="3784937"/>
              <a:ext cx="546821" cy="45016"/>
            </a:xfrm>
            <a:custGeom>
              <a:avLst/>
              <a:gdLst/>
              <a:ahLst/>
              <a:cxnLst/>
              <a:rect l="l" t="t" r="r" b="b"/>
              <a:pathLst>
                <a:path w="16739" h="1378" extrusionOk="0">
                  <a:moveTo>
                    <a:pt x="1" y="1"/>
                  </a:moveTo>
                  <a:lnTo>
                    <a:pt x="1" y="1378"/>
                  </a:lnTo>
                  <a:lnTo>
                    <a:pt x="16739" y="1378"/>
                  </a:lnTo>
                  <a:lnTo>
                    <a:pt x="1673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9" name="Google Shape;4759;p52"/>
            <p:cNvSpPr/>
            <p:nvPr/>
          </p:nvSpPr>
          <p:spPr>
            <a:xfrm>
              <a:off x="4585976" y="3950795"/>
              <a:ext cx="546821" cy="154354"/>
            </a:xfrm>
            <a:custGeom>
              <a:avLst/>
              <a:gdLst/>
              <a:ahLst/>
              <a:cxnLst/>
              <a:rect l="l" t="t" r="r" b="b"/>
              <a:pathLst>
                <a:path w="16739" h="4725" extrusionOk="0">
                  <a:moveTo>
                    <a:pt x="1" y="1"/>
                  </a:moveTo>
                  <a:lnTo>
                    <a:pt x="1" y="4725"/>
                  </a:lnTo>
                  <a:lnTo>
                    <a:pt x="16739" y="4725"/>
                  </a:lnTo>
                  <a:lnTo>
                    <a:pt x="1673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0" name="Google Shape;4760;p52"/>
            <p:cNvSpPr/>
            <p:nvPr/>
          </p:nvSpPr>
          <p:spPr>
            <a:xfrm>
              <a:off x="5155321" y="3314872"/>
              <a:ext cx="317561" cy="1037291"/>
            </a:xfrm>
            <a:custGeom>
              <a:avLst/>
              <a:gdLst/>
              <a:ahLst/>
              <a:cxnLst/>
              <a:rect l="l" t="t" r="r" b="b"/>
              <a:pathLst>
                <a:path w="9721" h="31753" extrusionOk="0">
                  <a:moveTo>
                    <a:pt x="2632" y="1"/>
                  </a:moveTo>
                  <a:lnTo>
                    <a:pt x="1" y="31685"/>
                  </a:lnTo>
                  <a:lnTo>
                    <a:pt x="9721" y="31753"/>
                  </a:lnTo>
                  <a:lnTo>
                    <a:pt x="8476" y="27"/>
                  </a:lnTo>
                  <a:lnTo>
                    <a:pt x="2632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1" name="Google Shape;4761;p52"/>
            <p:cNvSpPr/>
            <p:nvPr/>
          </p:nvSpPr>
          <p:spPr>
            <a:xfrm>
              <a:off x="5155321" y="4349937"/>
              <a:ext cx="158797" cy="2254"/>
            </a:xfrm>
            <a:custGeom>
              <a:avLst/>
              <a:gdLst/>
              <a:ahLst/>
              <a:cxnLst/>
              <a:rect l="l" t="t" r="r" b="b"/>
              <a:pathLst>
                <a:path w="4861" h="69" extrusionOk="0">
                  <a:moveTo>
                    <a:pt x="1" y="1"/>
                  </a:moveTo>
                  <a:lnTo>
                    <a:pt x="1" y="27"/>
                  </a:lnTo>
                  <a:lnTo>
                    <a:pt x="4861" y="69"/>
                  </a:lnTo>
                  <a:lnTo>
                    <a:pt x="4861" y="2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C9C9C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2" name="Google Shape;4762;p52"/>
            <p:cNvSpPr/>
            <p:nvPr/>
          </p:nvSpPr>
          <p:spPr>
            <a:xfrm>
              <a:off x="5155321" y="3315721"/>
              <a:ext cx="181239" cy="1035070"/>
            </a:xfrm>
            <a:custGeom>
              <a:avLst/>
              <a:gdLst/>
              <a:ahLst/>
              <a:cxnLst/>
              <a:rect l="l" t="t" r="r" b="b"/>
              <a:pathLst>
                <a:path w="5548" h="31685" extrusionOk="0">
                  <a:moveTo>
                    <a:pt x="2632" y="1"/>
                  </a:moveTo>
                  <a:lnTo>
                    <a:pt x="1" y="31659"/>
                  </a:lnTo>
                  <a:lnTo>
                    <a:pt x="4861" y="31685"/>
                  </a:lnTo>
                  <a:lnTo>
                    <a:pt x="5548" y="14"/>
                  </a:lnTo>
                  <a:lnTo>
                    <a:pt x="2632" y="1"/>
                  </a:lnTo>
                  <a:close/>
                </a:path>
              </a:pathLst>
            </a:custGeom>
            <a:solidFill>
              <a:srgbClr val="92939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3" name="Google Shape;4763;p52"/>
            <p:cNvSpPr/>
            <p:nvPr/>
          </p:nvSpPr>
          <p:spPr>
            <a:xfrm>
              <a:off x="5216606" y="3564458"/>
              <a:ext cx="226745" cy="61742"/>
            </a:xfrm>
            <a:custGeom>
              <a:avLst/>
              <a:gdLst/>
              <a:ahLst/>
              <a:cxnLst/>
              <a:rect l="l" t="t" r="r" b="b"/>
              <a:pathLst>
                <a:path w="6941" h="1890" extrusionOk="0">
                  <a:moveTo>
                    <a:pt x="150" y="1"/>
                  </a:moveTo>
                  <a:lnTo>
                    <a:pt x="1" y="1838"/>
                  </a:lnTo>
                  <a:lnTo>
                    <a:pt x="3471" y="1864"/>
                  </a:lnTo>
                  <a:lnTo>
                    <a:pt x="6941" y="1890"/>
                  </a:lnTo>
                  <a:lnTo>
                    <a:pt x="6873" y="43"/>
                  </a:lnTo>
                  <a:lnTo>
                    <a:pt x="3510" y="27"/>
                  </a:lnTo>
                  <a:lnTo>
                    <a:pt x="15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4" name="Google Shape;4764;p52"/>
            <p:cNvSpPr/>
            <p:nvPr/>
          </p:nvSpPr>
          <p:spPr>
            <a:xfrm>
              <a:off x="5202526" y="3705129"/>
              <a:ext cx="247391" cy="89150"/>
            </a:xfrm>
            <a:custGeom>
              <a:avLst/>
              <a:gdLst/>
              <a:ahLst/>
              <a:cxnLst/>
              <a:rect l="l" t="t" r="r" b="b"/>
              <a:pathLst>
                <a:path w="7573" h="2729" extrusionOk="0">
                  <a:moveTo>
                    <a:pt x="215" y="1"/>
                  </a:moveTo>
                  <a:lnTo>
                    <a:pt x="1" y="2687"/>
                  </a:lnTo>
                  <a:lnTo>
                    <a:pt x="3792" y="2716"/>
                  </a:lnTo>
                  <a:lnTo>
                    <a:pt x="7573" y="2729"/>
                  </a:lnTo>
                  <a:lnTo>
                    <a:pt x="7479" y="43"/>
                  </a:lnTo>
                  <a:lnTo>
                    <a:pt x="3847" y="14"/>
                  </a:lnTo>
                  <a:lnTo>
                    <a:pt x="215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5" name="Google Shape;4765;p52"/>
            <p:cNvSpPr/>
            <p:nvPr/>
          </p:nvSpPr>
          <p:spPr>
            <a:xfrm>
              <a:off x="4266218" y="3014447"/>
              <a:ext cx="317561" cy="253532"/>
            </a:xfrm>
            <a:custGeom>
              <a:avLst/>
              <a:gdLst/>
              <a:ahLst/>
              <a:cxnLst/>
              <a:rect l="l" t="t" r="r" b="b"/>
              <a:pathLst>
                <a:path w="9721" h="7761" extrusionOk="0">
                  <a:moveTo>
                    <a:pt x="9154" y="1"/>
                  </a:moveTo>
                  <a:cubicBezTo>
                    <a:pt x="6792" y="1"/>
                    <a:pt x="4767" y="1443"/>
                    <a:pt x="3915" y="3510"/>
                  </a:cubicBezTo>
                  <a:cubicBezTo>
                    <a:pt x="3779" y="3497"/>
                    <a:pt x="3633" y="3484"/>
                    <a:pt x="3497" y="3484"/>
                  </a:cubicBezTo>
                  <a:cubicBezTo>
                    <a:pt x="1566" y="3484"/>
                    <a:pt x="1" y="5049"/>
                    <a:pt x="1" y="6967"/>
                  </a:cubicBezTo>
                  <a:lnTo>
                    <a:pt x="1" y="6980"/>
                  </a:lnTo>
                  <a:cubicBezTo>
                    <a:pt x="1" y="7249"/>
                    <a:pt x="40" y="7518"/>
                    <a:pt x="95" y="7761"/>
                  </a:cubicBezTo>
                  <a:lnTo>
                    <a:pt x="9721" y="7761"/>
                  </a:lnTo>
                  <a:lnTo>
                    <a:pt x="9721" y="5574"/>
                  </a:lnTo>
                  <a:lnTo>
                    <a:pt x="9721" y="40"/>
                  </a:lnTo>
                  <a:lnTo>
                    <a:pt x="9721" y="27"/>
                  </a:lnTo>
                  <a:cubicBezTo>
                    <a:pt x="9530" y="14"/>
                    <a:pt x="9342" y="1"/>
                    <a:pt x="9154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6" name="Google Shape;4766;p52"/>
            <p:cNvSpPr/>
            <p:nvPr/>
          </p:nvSpPr>
          <p:spPr>
            <a:xfrm>
              <a:off x="4579736" y="3013500"/>
              <a:ext cx="385509" cy="255427"/>
            </a:xfrm>
            <a:custGeom>
              <a:avLst/>
              <a:gdLst/>
              <a:ahLst/>
              <a:cxnLst/>
              <a:rect l="l" t="t" r="r" b="b"/>
              <a:pathLst>
                <a:path w="11801" h="7819" extrusionOk="0">
                  <a:moveTo>
                    <a:pt x="1" y="1"/>
                  </a:moveTo>
                  <a:lnTo>
                    <a:pt x="1" y="14"/>
                  </a:lnTo>
                  <a:lnTo>
                    <a:pt x="1" y="5603"/>
                  </a:lnTo>
                  <a:lnTo>
                    <a:pt x="1" y="7819"/>
                  </a:lnTo>
                  <a:lnTo>
                    <a:pt x="7670" y="7819"/>
                  </a:lnTo>
                  <a:cubicBezTo>
                    <a:pt x="7709" y="7790"/>
                    <a:pt x="7751" y="7751"/>
                    <a:pt x="7790" y="7725"/>
                  </a:cubicBezTo>
                  <a:cubicBezTo>
                    <a:pt x="7806" y="7751"/>
                    <a:pt x="7819" y="7790"/>
                    <a:pt x="7832" y="7819"/>
                  </a:cubicBezTo>
                  <a:lnTo>
                    <a:pt x="11639" y="7819"/>
                  </a:lnTo>
                  <a:cubicBezTo>
                    <a:pt x="11746" y="7576"/>
                    <a:pt x="11801" y="7304"/>
                    <a:pt x="11801" y="7022"/>
                  </a:cubicBezTo>
                  <a:cubicBezTo>
                    <a:pt x="11801" y="5875"/>
                    <a:pt x="10884" y="4955"/>
                    <a:pt x="9734" y="4955"/>
                  </a:cubicBezTo>
                  <a:cubicBezTo>
                    <a:pt x="9329" y="4955"/>
                    <a:pt x="8953" y="5065"/>
                    <a:pt x="8642" y="5266"/>
                  </a:cubicBezTo>
                  <a:cubicBezTo>
                    <a:pt x="8438" y="3944"/>
                    <a:pt x="7291" y="2930"/>
                    <a:pt x="5914" y="2930"/>
                  </a:cubicBezTo>
                  <a:cubicBezTo>
                    <a:pt x="5441" y="2930"/>
                    <a:pt x="4997" y="3053"/>
                    <a:pt x="4605" y="3254"/>
                  </a:cubicBezTo>
                  <a:cubicBezTo>
                    <a:pt x="3769" y="1488"/>
                    <a:pt x="2039" y="205"/>
                    <a:pt x="1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7" name="Google Shape;4767;p52"/>
            <p:cNvSpPr/>
            <p:nvPr/>
          </p:nvSpPr>
          <p:spPr>
            <a:xfrm>
              <a:off x="5532776" y="3777950"/>
              <a:ext cx="760420" cy="572857"/>
            </a:xfrm>
            <a:custGeom>
              <a:avLst/>
              <a:gdLst/>
              <a:ahLst/>
              <a:cxnLst/>
              <a:rect l="l" t="t" r="r" b="b"/>
              <a:pathLst>
                <a:path w="18903" h="17536" extrusionOk="0">
                  <a:moveTo>
                    <a:pt x="0" y="1"/>
                  </a:moveTo>
                  <a:lnTo>
                    <a:pt x="0" y="17536"/>
                  </a:lnTo>
                  <a:lnTo>
                    <a:pt x="18903" y="17536"/>
                  </a:lnTo>
                  <a:lnTo>
                    <a:pt x="18903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8" name="Google Shape;4768;p52"/>
            <p:cNvSpPr/>
            <p:nvPr/>
          </p:nvSpPr>
          <p:spPr>
            <a:xfrm>
              <a:off x="5506832" y="3765565"/>
              <a:ext cx="668116" cy="24697"/>
            </a:xfrm>
            <a:custGeom>
              <a:avLst/>
              <a:gdLst/>
              <a:ahLst/>
              <a:cxnLst/>
              <a:rect l="l" t="t" r="r" b="b"/>
              <a:pathLst>
                <a:path w="20452" h="756" extrusionOk="0">
                  <a:moveTo>
                    <a:pt x="377" y="1"/>
                  </a:moveTo>
                  <a:cubicBezTo>
                    <a:pt x="163" y="1"/>
                    <a:pt x="1" y="176"/>
                    <a:pt x="1" y="380"/>
                  </a:cubicBezTo>
                  <a:cubicBezTo>
                    <a:pt x="1" y="581"/>
                    <a:pt x="163" y="756"/>
                    <a:pt x="377" y="756"/>
                  </a:cubicBezTo>
                  <a:lnTo>
                    <a:pt x="20072" y="756"/>
                  </a:lnTo>
                  <a:cubicBezTo>
                    <a:pt x="20289" y="756"/>
                    <a:pt x="20451" y="581"/>
                    <a:pt x="20451" y="380"/>
                  </a:cubicBezTo>
                  <a:cubicBezTo>
                    <a:pt x="20451" y="176"/>
                    <a:pt x="20289" y="1"/>
                    <a:pt x="20072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9" name="Google Shape;4769;p52"/>
            <p:cNvSpPr/>
            <p:nvPr/>
          </p:nvSpPr>
          <p:spPr>
            <a:xfrm>
              <a:off x="6254338" y="3888660"/>
              <a:ext cx="38874" cy="57299"/>
            </a:xfrm>
            <a:custGeom>
              <a:avLst/>
              <a:gdLst/>
              <a:ahLst/>
              <a:cxnLst/>
              <a:rect l="l" t="t" r="r" b="b"/>
              <a:pathLst>
                <a:path w="1190" h="1754" extrusionOk="0">
                  <a:moveTo>
                    <a:pt x="0" y="1"/>
                  </a:moveTo>
                  <a:lnTo>
                    <a:pt x="0" y="1754"/>
                  </a:lnTo>
                  <a:lnTo>
                    <a:pt x="1190" y="1754"/>
                  </a:lnTo>
                  <a:lnTo>
                    <a:pt x="119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0" name="Google Shape;4770;p52"/>
            <p:cNvSpPr/>
            <p:nvPr/>
          </p:nvSpPr>
          <p:spPr>
            <a:xfrm>
              <a:off x="5998491" y="3888660"/>
              <a:ext cx="38874" cy="57299"/>
            </a:xfrm>
            <a:custGeom>
              <a:avLst/>
              <a:gdLst/>
              <a:ahLst/>
              <a:cxnLst/>
              <a:rect l="l" t="t" r="r" b="b"/>
              <a:pathLst>
                <a:path w="1190" h="1754" extrusionOk="0">
                  <a:moveTo>
                    <a:pt x="0" y="1"/>
                  </a:moveTo>
                  <a:lnTo>
                    <a:pt x="0" y="1754"/>
                  </a:lnTo>
                  <a:lnTo>
                    <a:pt x="1189" y="1754"/>
                  </a:lnTo>
                  <a:lnTo>
                    <a:pt x="1189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1" name="Google Shape;4771;p52"/>
            <p:cNvSpPr/>
            <p:nvPr/>
          </p:nvSpPr>
          <p:spPr>
            <a:xfrm>
              <a:off x="5928418" y="3888660"/>
              <a:ext cx="38352" cy="57299"/>
            </a:xfrm>
            <a:custGeom>
              <a:avLst/>
              <a:gdLst/>
              <a:ahLst/>
              <a:cxnLst/>
              <a:rect l="l" t="t" r="r" b="b"/>
              <a:pathLst>
                <a:path w="1174" h="1754" extrusionOk="0">
                  <a:moveTo>
                    <a:pt x="1" y="1"/>
                  </a:moveTo>
                  <a:lnTo>
                    <a:pt x="1" y="1754"/>
                  </a:lnTo>
                  <a:lnTo>
                    <a:pt x="1173" y="1754"/>
                  </a:lnTo>
                  <a:lnTo>
                    <a:pt x="1173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2" name="Google Shape;4772;p52"/>
            <p:cNvSpPr/>
            <p:nvPr/>
          </p:nvSpPr>
          <p:spPr>
            <a:xfrm>
              <a:off x="5857821" y="3888660"/>
              <a:ext cx="38450" cy="57299"/>
            </a:xfrm>
            <a:custGeom>
              <a:avLst/>
              <a:gdLst/>
              <a:ahLst/>
              <a:cxnLst/>
              <a:rect l="l" t="t" r="r" b="b"/>
              <a:pathLst>
                <a:path w="1177" h="1754" extrusionOk="0">
                  <a:moveTo>
                    <a:pt x="0" y="1"/>
                  </a:moveTo>
                  <a:lnTo>
                    <a:pt x="0" y="1754"/>
                  </a:lnTo>
                  <a:lnTo>
                    <a:pt x="1177" y="1754"/>
                  </a:lnTo>
                  <a:lnTo>
                    <a:pt x="117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3" name="Google Shape;4773;p52"/>
            <p:cNvSpPr/>
            <p:nvPr/>
          </p:nvSpPr>
          <p:spPr>
            <a:xfrm>
              <a:off x="5787323" y="3888660"/>
              <a:ext cx="38352" cy="57299"/>
            </a:xfrm>
            <a:custGeom>
              <a:avLst/>
              <a:gdLst/>
              <a:ahLst/>
              <a:cxnLst/>
              <a:rect l="l" t="t" r="r" b="b"/>
              <a:pathLst>
                <a:path w="1174" h="1754" extrusionOk="0">
                  <a:moveTo>
                    <a:pt x="1" y="1"/>
                  </a:moveTo>
                  <a:lnTo>
                    <a:pt x="1" y="1754"/>
                  </a:lnTo>
                  <a:lnTo>
                    <a:pt x="1174" y="1754"/>
                  </a:lnTo>
                  <a:lnTo>
                    <a:pt x="1174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4" name="Google Shape;4774;p52"/>
            <p:cNvSpPr/>
            <p:nvPr/>
          </p:nvSpPr>
          <p:spPr>
            <a:xfrm>
              <a:off x="5716727" y="3888660"/>
              <a:ext cx="38352" cy="57299"/>
            </a:xfrm>
            <a:custGeom>
              <a:avLst/>
              <a:gdLst/>
              <a:ahLst/>
              <a:cxnLst/>
              <a:rect l="l" t="t" r="r" b="b"/>
              <a:pathLst>
                <a:path w="1174" h="1754" extrusionOk="0">
                  <a:moveTo>
                    <a:pt x="1" y="1"/>
                  </a:moveTo>
                  <a:lnTo>
                    <a:pt x="1" y="1754"/>
                  </a:lnTo>
                  <a:lnTo>
                    <a:pt x="1173" y="1754"/>
                  </a:lnTo>
                  <a:lnTo>
                    <a:pt x="1173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5" name="Google Shape;4775;p52"/>
            <p:cNvSpPr/>
            <p:nvPr/>
          </p:nvSpPr>
          <p:spPr>
            <a:xfrm>
              <a:off x="5646130" y="3888660"/>
              <a:ext cx="38874" cy="57299"/>
            </a:xfrm>
            <a:custGeom>
              <a:avLst/>
              <a:gdLst/>
              <a:ahLst/>
              <a:cxnLst/>
              <a:rect l="l" t="t" r="r" b="b"/>
              <a:pathLst>
                <a:path w="1190" h="1754" extrusionOk="0">
                  <a:moveTo>
                    <a:pt x="1" y="1"/>
                  </a:moveTo>
                  <a:lnTo>
                    <a:pt x="1" y="1754"/>
                  </a:lnTo>
                  <a:lnTo>
                    <a:pt x="1190" y="1754"/>
                  </a:lnTo>
                  <a:lnTo>
                    <a:pt x="119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6" name="Google Shape;4776;p52"/>
            <p:cNvSpPr/>
            <p:nvPr/>
          </p:nvSpPr>
          <p:spPr>
            <a:xfrm>
              <a:off x="5575632" y="3888660"/>
              <a:ext cx="38776" cy="57299"/>
            </a:xfrm>
            <a:custGeom>
              <a:avLst/>
              <a:gdLst/>
              <a:ahLst/>
              <a:cxnLst/>
              <a:rect l="l" t="t" r="r" b="b"/>
              <a:pathLst>
                <a:path w="1187" h="1754" extrusionOk="0">
                  <a:moveTo>
                    <a:pt x="1" y="1"/>
                  </a:moveTo>
                  <a:lnTo>
                    <a:pt x="1" y="1754"/>
                  </a:lnTo>
                  <a:lnTo>
                    <a:pt x="1187" y="1754"/>
                  </a:lnTo>
                  <a:lnTo>
                    <a:pt x="118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7" name="Google Shape;4777;p52"/>
            <p:cNvSpPr/>
            <p:nvPr/>
          </p:nvSpPr>
          <p:spPr>
            <a:xfrm>
              <a:off x="6254338" y="3998850"/>
              <a:ext cx="38874" cy="57397"/>
            </a:xfrm>
            <a:custGeom>
              <a:avLst/>
              <a:gdLst/>
              <a:ahLst/>
              <a:cxnLst/>
              <a:rect l="l" t="t" r="r" b="b"/>
              <a:pathLst>
                <a:path w="1190" h="1757" extrusionOk="0">
                  <a:moveTo>
                    <a:pt x="0" y="1"/>
                  </a:moveTo>
                  <a:lnTo>
                    <a:pt x="0" y="1757"/>
                  </a:lnTo>
                  <a:lnTo>
                    <a:pt x="1190" y="1757"/>
                  </a:lnTo>
                  <a:lnTo>
                    <a:pt x="119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8" name="Google Shape;4778;p52"/>
            <p:cNvSpPr/>
            <p:nvPr/>
          </p:nvSpPr>
          <p:spPr>
            <a:xfrm>
              <a:off x="5998491" y="3998850"/>
              <a:ext cx="38874" cy="57397"/>
            </a:xfrm>
            <a:custGeom>
              <a:avLst/>
              <a:gdLst/>
              <a:ahLst/>
              <a:cxnLst/>
              <a:rect l="l" t="t" r="r" b="b"/>
              <a:pathLst>
                <a:path w="1190" h="1757" extrusionOk="0">
                  <a:moveTo>
                    <a:pt x="0" y="1"/>
                  </a:moveTo>
                  <a:lnTo>
                    <a:pt x="0" y="1757"/>
                  </a:lnTo>
                  <a:lnTo>
                    <a:pt x="1189" y="1757"/>
                  </a:lnTo>
                  <a:lnTo>
                    <a:pt x="1189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9" name="Google Shape;4779;p52"/>
            <p:cNvSpPr/>
            <p:nvPr/>
          </p:nvSpPr>
          <p:spPr>
            <a:xfrm>
              <a:off x="5928418" y="3998850"/>
              <a:ext cx="38352" cy="57397"/>
            </a:xfrm>
            <a:custGeom>
              <a:avLst/>
              <a:gdLst/>
              <a:ahLst/>
              <a:cxnLst/>
              <a:rect l="l" t="t" r="r" b="b"/>
              <a:pathLst>
                <a:path w="1174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73" y="1757"/>
                  </a:lnTo>
                  <a:lnTo>
                    <a:pt x="1173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0" name="Google Shape;4780;p52"/>
            <p:cNvSpPr/>
            <p:nvPr/>
          </p:nvSpPr>
          <p:spPr>
            <a:xfrm>
              <a:off x="5857821" y="3998850"/>
              <a:ext cx="38450" cy="57397"/>
            </a:xfrm>
            <a:custGeom>
              <a:avLst/>
              <a:gdLst/>
              <a:ahLst/>
              <a:cxnLst/>
              <a:rect l="l" t="t" r="r" b="b"/>
              <a:pathLst>
                <a:path w="1177" h="1757" extrusionOk="0">
                  <a:moveTo>
                    <a:pt x="0" y="1"/>
                  </a:moveTo>
                  <a:lnTo>
                    <a:pt x="0" y="1757"/>
                  </a:lnTo>
                  <a:lnTo>
                    <a:pt x="1177" y="1757"/>
                  </a:lnTo>
                  <a:lnTo>
                    <a:pt x="117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1" name="Google Shape;4781;p52"/>
            <p:cNvSpPr/>
            <p:nvPr/>
          </p:nvSpPr>
          <p:spPr>
            <a:xfrm>
              <a:off x="5787323" y="3998850"/>
              <a:ext cx="38352" cy="57397"/>
            </a:xfrm>
            <a:custGeom>
              <a:avLst/>
              <a:gdLst/>
              <a:ahLst/>
              <a:cxnLst/>
              <a:rect l="l" t="t" r="r" b="b"/>
              <a:pathLst>
                <a:path w="1174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74" y="1757"/>
                  </a:lnTo>
                  <a:lnTo>
                    <a:pt x="1174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2" name="Google Shape;4782;p52"/>
            <p:cNvSpPr/>
            <p:nvPr/>
          </p:nvSpPr>
          <p:spPr>
            <a:xfrm>
              <a:off x="5716727" y="3998850"/>
              <a:ext cx="38352" cy="57397"/>
            </a:xfrm>
            <a:custGeom>
              <a:avLst/>
              <a:gdLst/>
              <a:ahLst/>
              <a:cxnLst/>
              <a:rect l="l" t="t" r="r" b="b"/>
              <a:pathLst>
                <a:path w="1174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73" y="1757"/>
                  </a:lnTo>
                  <a:lnTo>
                    <a:pt x="1173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3" name="Google Shape;4783;p52"/>
            <p:cNvSpPr/>
            <p:nvPr/>
          </p:nvSpPr>
          <p:spPr>
            <a:xfrm>
              <a:off x="5646130" y="3998850"/>
              <a:ext cx="38874" cy="57397"/>
            </a:xfrm>
            <a:custGeom>
              <a:avLst/>
              <a:gdLst/>
              <a:ahLst/>
              <a:cxnLst/>
              <a:rect l="l" t="t" r="r" b="b"/>
              <a:pathLst>
                <a:path w="1190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90" y="1757"/>
                  </a:lnTo>
                  <a:lnTo>
                    <a:pt x="119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4" name="Google Shape;4784;p52"/>
            <p:cNvSpPr/>
            <p:nvPr/>
          </p:nvSpPr>
          <p:spPr>
            <a:xfrm>
              <a:off x="5575632" y="3998850"/>
              <a:ext cx="38776" cy="57397"/>
            </a:xfrm>
            <a:custGeom>
              <a:avLst/>
              <a:gdLst/>
              <a:ahLst/>
              <a:cxnLst/>
              <a:rect l="l" t="t" r="r" b="b"/>
              <a:pathLst>
                <a:path w="1187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87" y="1757"/>
                  </a:lnTo>
                  <a:lnTo>
                    <a:pt x="118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5" name="Google Shape;4785;p52"/>
            <p:cNvSpPr/>
            <p:nvPr/>
          </p:nvSpPr>
          <p:spPr>
            <a:xfrm>
              <a:off x="6254338" y="4109139"/>
              <a:ext cx="38874" cy="57397"/>
            </a:xfrm>
            <a:custGeom>
              <a:avLst/>
              <a:gdLst/>
              <a:ahLst/>
              <a:cxnLst/>
              <a:rect l="l" t="t" r="r" b="b"/>
              <a:pathLst>
                <a:path w="1190" h="1757" extrusionOk="0">
                  <a:moveTo>
                    <a:pt x="0" y="1"/>
                  </a:moveTo>
                  <a:lnTo>
                    <a:pt x="0" y="1757"/>
                  </a:lnTo>
                  <a:lnTo>
                    <a:pt x="1190" y="1757"/>
                  </a:lnTo>
                  <a:lnTo>
                    <a:pt x="119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6" name="Google Shape;4786;p52"/>
            <p:cNvSpPr/>
            <p:nvPr/>
          </p:nvSpPr>
          <p:spPr>
            <a:xfrm>
              <a:off x="5998491" y="4109139"/>
              <a:ext cx="38874" cy="57397"/>
            </a:xfrm>
            <a:custGeom>
              <a:avLst/>
              <a:gdLst/>
              <a:ahLst/>
              <a:cxnLst/>
              <a:rect l="l" t="t" r="r" b="b"/>
              <a:pathLst>
                <a:path w="1190" h="1757" extrusionOk="0">
                  <a:moveTo>
                    <a:pt x="0" y="1"/>
                  </a:moveTo>
                  <a:lnTo>
                    <a:pt x="0" y="1757"/>
                  </a:lnTo>
                  <a:lnTo>
                    <a:pt x="1189" y="1757"/>
                  </a:lnTo>
                  <a:lnTo>
                    <a:pt x="1189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7" name="Google Shape;4787;p52"/>
            <p:cNvSpPr/>
            <p:nvPr/>
          </p:nvSpPr>
          <p:spPr>
            <a:xfrm>
              <a:off x="5928418" y="4109139"/>
              <a:ext cx="38352" cy="57397"/>
            </a:xfrm>
            <a:custGeom>
              <a:avLst/>
              <a:gdLst/>
              <a:ahLst/>
              <a:cxnLst/>
              <a:rect l="l" t="t" r="r" b="b"/>
              <a:pathLst>
                <a:path w="1174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73" y="1757"/>
                  </a:lnTo>
                  <a:lnTo>
                    <a:pt x="1173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8" name="Google Shape;4788;p52"/>
            <p:cNvSpPr/>
            <p:nvPr/>
          </p:nvSpPr>
          <p:spPr>
            <a:xfrm>
              <a:off x="5857821" y="4109139"/>
              <a:ext cx="38450" cy="57397"/>
            </a:xfrm>
            <a:custGeom>
              <a:avLst/>
              <a:gdLst/>
              <a:ahLst/>
              <a:cxnLst/>
              <a:rect l="l" t="t" r="r" b="b"/>
              <a:pathLst>
                <a:path w="1177" h="1757" extrusionOk="0">
                  <a:moveTo>
                    <a:pt x="0" y="1"/>
                  </a:moveTo>
                  <a:lnTo>
                    <a:pt x="0" y="1757"/>
                  </a:lnTo>
                  <a:lnTo>
                    <a:pt x="1177" y="1757"/>
                  </a:lnTo>
                  <a:lnTo>
                    <a:pt x="117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9" name="Google Shape;4789;p52"/>
            <p:cNvSpPr/>
            <p:nvPr/>
          </p:nvSpPr>
          <p:spPr>
            <a:xfrm>
              <a:off x="5787323" y="4109139"/>
              <a:ext cx="38352" cy="57397"/>
            </a:xfrm>
            <a:custGeom>
              <a:avLst/>
              <a:gdLst/>
              <a:ahLst/>
              <a:cxnLst/>
              <a:rect l="l" t="t" r="r" b="b"/>
              <a:pathLst>
                <a:path w="1174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74" y="1757"/>
                  </a:lnTo>
                  <a:lnTo>
                    <a:pt x="1174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0" name="Google Shape;4790;p52"/>
            <p:cNvSpPr/>
            <p:nvPr/>
          </p:nvSpPr>
          <p:spPr>
            <a:xfrm>
              <a:off x="5716727" y="4109139"/>
              <a:ext cx="38352" cy="57397"/>
            </a:xfrm>
            <a:custGeom>
              <a:avLst/>
              <a:gdLst/>
              <a:ahLst/>
              <a:cxnLst/>
              <a:rect l="l" t="t" r="r" b="b"/>
              <a:pathLst>
                <a:path w="1174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73" y="1757"/>
                  </a:lnTo>
                  <a:lnTo>
                    <a:pt x="1173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1" name="Google Shape;4791;p52"/>
            <p:cNvSpPr/>
            <p:nvPr/>
          </p:nvSpPr>
          <p:spPr>
            <a:xfrm>
              <a:off x="5646130" y="4109139"/>
              <a:ext cx="38874" cy="57397"/>
            </a:xfrm>
            <a:custGeom>
              <a:avLst/>
              <a:gdLst/>
              <a:ahLst/>
              <a:cxnLst/>
              <a:rect l="l" t="t" r="r" b="b"/>
              <a:pathLst>
                <a:path w="1190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90" y="1757"/>
                  </a:lnTo>
                  <a:lnTo>
                    <a:pt x="119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2" name="Google Shape;4792;p52"/>
            <p:cNvSpPr/>
            <p:nvPr/>
          </p:nvSpPr>
          <p:spPr>
            <a:xfrm>
              <a:off x="5575632" y="4109139"/>
              <a:ext cx="38776" cy="57397"/>
            </a:xfrm>
            <a:custGeom>
              <a:avLst/>
              <a:gdLst/>
              <a:ahLst/>
              <a:cxnLst/>
              <a:rect l="l" t="t" r="r" b="b"/>
              <a:pathLst>
                <a:path w="1187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87" y="1757"/>
                  </a:lnTo>
                  <a:lnTo>
                    <a:pt x="118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3" name="Google Shape;4793;p52"/>
            <p:cNvSpPr/>
            <p:nvPr/>
          </p:nvSpPr>
          <p:spPr>
            <a:xfrm>
              <a:off x="5133198" y="4308875"/>
              <a:ext cx="1350024" cy="37075"/>
            </a:xfrm>
            <a:custGeom>
              <a:avLst/>
              <a:gdLst/>
              <a:ahLst/>
              <a:cxnLst/>
              <a:rect l="l" t="t" r="r" b="b"/>
              <a:pathLst>
                <a:path w="28581" h="1135" extrusionOk="0">
                  <a:moveTo>
                    <a:pt x="1" y="1"/>
                  </a:moveTo>
                  <a:lnTo>
                    <a:pt x="1" y="1135"/>
                  </a:lnTo>
                  <a:lnTo>
                    <a:pt x="28580" y="1135"/>
                  </a:lnTo>
                  <a:lnTo>
                    <a:pt x="2858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4" name="Google Shape;4794;p52"/>
            <p:cNvSpPr/>
            <p:nvPr/>
          </p:nvSpPr>
          <p:spPr>
            <a:xfrm>
              <a:off x="6069108" y="3601929"/>
              <a:ext cx="512520" cy="750242"/>
            </a:xfrm>
            <a:custGeom>
              <a:avLst/>
              <a:gdLst/>
              <a:ahLst/>
              <a:cxnLst/>
              <a:rect l="l" t="t" r="r" b="b"/>
              <a:pathLst>
                <a:path w="15689" h="22966" extrusionOk="0">
                  <a:moveTo>
                    <a:pt x="3121" y="1"/>
                  </a:moveTo>
                  <a:cubicBezTo>
                    <a:pt x="3121" y="1"/>
                    <a:pt x="2149" y="20400"/>
                    <a:pt x="1" y="22966"/>
                  </a:cubicBezTo>
                  <a:lnTo>
                    <a:pt x="15689" y="22966"/>
                  </a:lnTo>
                  <a:cubicBezTo>
                    <a:pt x="15689" y="22966"/>
                    <a:pt x="12474" y="16013"/>
                    <a:pt x="11950" y="1"/>
                  </a:cubicBez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5" name="Google Shape;4795;p52"/>
            <p:cNvSpPr/>
            <p:nvPr/>
          </p:nvSpPr>
          <p:spPr>
            <a:xfrm>
              <a:off x="6325359" y="3601929"/>
              <a:ext cx="256277" cy="750242"/>
            </a:xfrm>
            <a:custGeom>
              <a:avLst/>
              <a:gdLst/>
              <a:ahLst/>
              <a:cxnLst/>
              <a:rect l="l" t="t" r="r" b="b"/>
              <a:pathLst>
                <a:path w="7845" h="22966" extrusionOk="0">
                  <a:moveTo>
                    <a:pt x="1" y="1"/>
                  </a:moveTo>
                  <a:lnTo>
                    <a:pt x="1" y="22966"/>
                  </a:lnTo>
                  <a:lnTo>
                    <a:pt x="7845" y="22966"/>
                  </a:lnTo>
                  <a:cubicBezTo>
                    <a:pt x="7845" y="22966"/>
                    <a:pt x="4630" y="16013"/>
                    <a:pt x="4106" y="1"/>
                  </a:cubicBezTo>
                  <a:close/>
                </a:path>
              </a:pathLst>
            </a:custGeom>
            <a:solidFill>
              <a:srgbClr val="A9645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6" name="Google Shape;4796;p52"/>
            <p:cNvSpPr/>
            <p:nvPr/>
          </p:nvSpPr>
          <p:spPr>
            <a:xfrm>
              <a:off x="6154634" y="3809275"/>
              <a:ext cx="320730" cy="37927"/>
            </a:xfrm>
            <a:custGeom>
              <a:avLst/>
              <a:gdLst/>
              <a:ahLst/>
              <a:cxnLst/>
              <a:rect l="l" t="t" r="r" b="b"/>
              <a:pathLst>
                <a:path w="9818" h="1161" extrusionOk="0">
                  <a:moveTo>
                    <a:pt x="98" y="1"/>
                  </a:moveTo>
                  <a:lnTo>
                    <a:pt x="0" y="1161"/>
                  </a:lnTo>
                  <a:lnTo>
                    <a:pt x="9818" y="1161"/>
                  </a:lnTo>
                  <a:lnTo>
                    <a:pt x="9707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7" name="Google Shape;4797;p52"/>
            <p:cNvSpPr/>
            <p:nvPr/>
          </p:nvSpPr>
          <p:spPr>
            <a:xfrm>
              <a:off x="6141403" y="3957884"/>
              <a:ext cx="352482" cy="37927"/>
            </a:xfrm>
            <a:custGeom>
              <a:avLst/>
              <a:gdLst/>
              <a:ahLst/>
              <a:cxnLst/>
              <a:rect l="l" t="t" r="r" b="b"/>
              <a:pathLst>
                <a:path w="10790" h="1161" extrusionOk="0">
                  <a:moveTo>
                    <a:pt x="111" y="1"/>
                  </a:moveTo>
                  <a:lnTo>
                    <a:pt x="0" y="1161"/>
                  </a:lnTo>
                  <a:lnTo>
                    <a:pt x="10790" y="1161"/>
                  </a:lnTo>
                  <a:lnTo>
                    <a:pt x="1061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8" name="Google Shape;4798;p52"/>
            <p:cNvSpPr/>
            <p:nvPr/>
          </p:nvSpPr>
          <p:spPr>
            <a:xfrm>
              <a:off x="6171883" y="3601929"/>
              <a:ext cx="289303" cy="42370"/>
            </a:xfrm>
            <a:custGeom>
              <a:avLst/>
              <a:gdLst/>
              <a:ahLst/>
              <a:cxnLst/>
              <a:rect l="l" t="t" r="r" b="b"/>
              <a:pathLst>
                <a:path w="8856" h="1297" extrusionOk="0">
                  <a:moveTo>
                    <a:pt x="69" y="1"/>
                  </a:moveTo>
                  <a:lnTo>
                    <a:pt x="1" y="1284"/>
                  </a:lnTo>
                  <a:lnTo>
                    <a:pt x="8855" y="1297"/>
                  </a:lnTo>
                  <a:lnTo>
                    <a:pt x="880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9" name="Google Shape;4799;p52"/>
            <p:cNvSpPr/>
            <p:nvPr/>
          </p:nvSpPr>
          <p:spPr>
            <a:xfrm>
              <a:off x="5304354" y="3177697"/>
              <a:ext cx="73273" cy="73273"/>
            </a:xfrm>
            <a:custGeom>
              <a:avLst/>
              <a:gdLst/>
              <a:ahLst/>
              <a:cxnLst/>
              <a:rect l="l" t="t" r="r" b="b"/>
              <a:pathLst>
                <a:path w="2243" h="2243" extrusionOk="0">
                  <a:moveTo>
                    <a:pt x="1122" y="1"/>
                  </a:moveTo>
                  <a:cubicBezTo>
                    <a:pt x="513" y="1"/>
                    <a:pt x="1" y="500"/>
                    <a:pt x="1" y="1122"/>
                  </a:cubicBezTo>
                  <a:cubicBezTo>
                    <a:pt x="1" y="1741"/>
                    <a:pt x="513" y="2243"/>
                    <a:pt x="1122" y="2243"/>
                  </a:cubicBezTo>
                  <a:cubicBezTo>
                    <a:pt x="1744" y="2243"/>
                    <a:pt x="2243" y="1741"/>
                    <a:pt x="2243" y="1122"/>
                  </a:cubicBezTo>
                  <a:cubicBezTo>
                    <a:pt x="2243" y="500"/>
                    <a:pt x="1744" y="1"/>
                    <a:pt x="1122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0" name="Google Shape;4800;p52"/>
            <p:cNvSpPr/>
            <p:nvPr/>
          </p:nvSpPr>
          <p:spPr>
            <a:xfrm>
              <a:off x="5449930" y="2996861"/>
              <a:ext cx="141646" cy="141548"/>
            </a:xfrm>
            <a:custGeom>
              <a:avLst/>
              <a:gdLst/>
              <a:ahLst/>
              <a:cxnLst/>
              <a:rect l="l" t="t" r="r" b="b"/>
              <a:pathLst>
                <a:path w="4336" h="4333" extrusionOk="0">
                  <a:moveTo>
                    <a:pt x="2175" y="1"/>
                  </a:moveTo>
                  <a:cubicBezTo>
                    <a:pt x="973" y="1"/>
                    <a:pt x="1" y="973"/>
                    <a:pt x="1" y="2159"/>
                  </a:cubicBezTo>
                  <a:cubicBezTo>
                    <a:pt x="1" y="3361"/>
                    <a:pt x="973" y="4333"/>
                    <a:pt x="2175" y="4333"/>
                  </a:cubicBezTo>
                  <a:cubicBezTo>
                    <a:pt x="3364" y="4333"/>
                    <a:pt x="4336" y="3361"/>
                    <a:pt x="4336" y="2159"/>
                  </a:cubicBezTo>
                  <a:cubicBezTo>
                    <a:pt x="4336" y="973"/>
                    <a:pt x="3364" y="1"/>
                    <a:pt x="217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1" name="Google Shape;4801;p52"/>
            <p:cNvSpPr/>
            <p:nvPr/>
          </p:nvSpPr>
          <p:spPr>
            <a:xfrm>
              <a:off x="6267127" y="3174009"/>
              <a:ext cx="539406" cy="235108"/>
            </a:xfrm>
            <a:custGeom>
              <a:avLst/>
              <a:gdLst/>
              <a:ahLst/>
              <a:cxnLst/>
              <a:rect l="l" t="t" r="r" b="b"/>
              <a:pathLst>
                <a:path w="16512" h="7197" extrusionOk="0">
                  <a:moveTo>
                    <a:pt x="7713" y="0"/>
                  </a:moveTo>
                  <a:cubicBezTo>
                    <a:pt x="7693" y="0"/>
                    <a:pt x="7673" y="0"/>
                    <a:pt x="7653" y="1"/>
                  </a:cubicBezTo>
                  <a:cubicBezTo>
                    <a:pt x="6319" y="27"/>
                    <a:pt x="5223" y="1015"/>
                    <a:pt x="5023" y="2282"/>
                  </a:cubicBezTo>
                  <a:cubicBezTo>
                    <a:pt x="4942" y="2269"/>
                    <a:pt x="4848" y="2269"/>
                    <a:pt x="4750" y="2269"/>
                  </a:cubicBezTo>
                  <a:cubicBezTo>
                    <a:pt x="3590" y="2282"/>
                    <a:pt x="2687" y="3228"/>
                    <a:pt x="2674" y="4362"/>
                  </a:cubicBezTo>
                  <a:cubicBezTo>
                    <a:pt x="1348" y="4754"/>
                    <a:pt x="325" y="5846"/>
                    <a:pt x="1" y="7197"/>
                  </a:cubicBezTo>
                  <a:lnTo>
                    <a:pt x="16512" y="6886"/>
                  </a:lnTo>
                  <a:cubicBezTo>
                    <a:pt x="16059" y="5254"/>
                    <a:pt x="15099" y="4024"/>
                    <a:pt x="13344" y="4024"/>
                  </a:cubicBezTo>
                  <a:cubicBezTo>
                    <a:pt x="13315" y="4024"/>
                    <a:pt x="13285" y="4024"/>
                    <a:pt x="13255" y="4025"/>
                  </a:cubicBezTo>
                  <a:lnTo>
                    <a:pt x="13110" y="4025"/>
                  </a:lnTo>
                  <a:cubicBezTo>
                    <a:pt x="13094" y="2760"/>
                    <a:pt x="12057" y="1756"/>
                    <a:pt x="10798" y="1756"/>
                  </a:cubicBezTo>
                  <a:cubicBezTo>
                    <a:pt x="10780" y="1756"/>
                    <a:pt x="10762" y="1757"/>
                    <a:pt x="10744" y="1757"/>
                  </a:cubicBezTo>
                  <a:cubicBezTo>
                    <a:pt x="10582" y="1757"/>
                    <a:pt x="10420" y="1770"/>
                    <a:pt x="10258" y="1809"/>
                  </a:cubicBezTo>
                  <a:cubicBezTo>
                    <a:pt x="9889" y="748"/>
                    <a:pt x="8890" y="0"/>
                    <a:pt x="7713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2" name="Google Shape;4802;p52"/>
            <p:cNvSpPr/>
            <p:nvPr/>
          </p:nvSpPr>
          <p:spPr>
            <a:xfrm>
              <a:off x="6267127" y="3172735"/>
              <a:ext cx="543751" cy="233311"/>
            </a:xfrm>
            <a:custGeom>
              <a:avLst/>
              <a:gdLst/>
              <a:ahLst/>
              <a:cxnLst/>
              <a:rect l="l" t="t" r="r" b="b"/>
              <a:pathLst>
                <a:path w="16645" h="7142" extrusionOk="0">
                  <a:moveTo>
                    <a:pt x="7733" y="1"/>
                  </a:moveTo>
                  <a:cubicBezTo>
                    <a:pt x="7720" y="1"/>
                    <a:pt x="7708" y="1"/>
                    <a:pt x="7696" y="1"/>
                  </a:cubicBezTo>
                  <a:cubicBezTo>
                    <a:pt x="6370" y="14"/>
                    <a:pt x="5266" y="999"/>
                    <a:pt x="5061" y="2269"/>
                  </a:cubicBezTo>
                  <a:cubicBezTo>
                    <a:pt x="4967" y="2253"/>
                    <a:pt x="4874" y="2253"/>
                    <a:pt x="4780" y="2253"/>
                  </a:cubicBezTo>
                  <a:cubicBezTo>
                    <a:pt x="3633" y="2269"/>
                    <a:pt x="2712" y="3199"/>
                    <a:pt x="2687" y="4333"/>
                  </a:cubicBezTo>
                  <a:cubicBezTo>
                    <a:pt x="1365" y="4725"/>
                    <a:pt x="325" y="5804"/>
                    <a:pt x="1" y="7142"/>
                  </a:cubicBezTo>
                  <a:lnTo>
                    <a:pt x="16644" y="6951"/>
                  </a:lnTo>
                  <a:cubicBezTo>
                    <a:pt x="16206" y="5311"/>
                    <a:pt x="15105" y="4063"/>
                    <a:pt x="13346" y="4063"/>
                  </a:cubicBezTo>
                  <a:cubicBezTo>
                    <a:pt x="13325" y="4063"/>
                    <a:pt x="13305" y="4064"/>
                    <a:pt x="13285" y="4064"/>
                  </a:cubicBezTo>
                  <a:lnTo>
                    <a:pt x="13135" y="4064"/>
                  </a:lnTo>
                  <a:cubicBezTo>
                    <a:pt x="13123" y="2791"/>
                    <a:pt x="12086" y="1783"/>
                    <a:pt x="10817" y="1783"/>
                  </a:cubicBezTo>
                  <a:cubicBezTo>
                    <a:pt x="10807" y="1783"/>
                    <a:pt x="10797" y="1783"/>
                    <a:pt x="10787" y="1783"/>
                  </a:cubicBezTo>
                  <a:cubicBezTo>
                    <a:pt x="10625" y="1783"/>
                    <a:pt x="10463" y="1796"/>
                    <a:pt x="10301" y="1835"/>
                  </a:cubicBezTo>
                  <a:cubicBezTo>
                    <a:pt x="9938" y="767"/>
                    <a:pt x="8919" y="1"/>
                    <a:pt x="7733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3" name="Google Shape;4803;p52"/>
            <p:cNvSpPr/>
            <p:nvPr/>
          </p:nvSpPr>
          <p:spPr>
            <a:xfrm>
              <a:off x="6423674" y="3245880"/>
              <a:ext cx="59520" cy="118681"/>
            </a:xfrm>
            <a:custGeom>
              <a:avLst/>
              <a:gdLst/>
              <a:ahLst/>
              <a:cxnLst/>
              <a:rect l="l" t="t" r="r" b="b"/>
              <a:pathLst>
                <a:path w="1822" h="3633" extrusionOk="0">
                  <a:moveTo>
                    <a:pt x="1" y="1"/>
                  </a:moveTo>
                  <a:cubicBezTo>
                    <a:pt x="1" y="1"/>
                    <a:pt x="1446" y="474"/>
                    <a:pt x="1378" y="1812"/>
                  </a:cubicBezTo>
                  <a:cubicBezTo>
                    <a:pt x="1297" y="3296"/>
                    <a:pt x="1" y="3633"/>
                    <a:pt x="1" y="3633"/>
                  </a:cubicBezTo>
                  <a:cubicBezTo>
                    <a:pt x="998" y="3633"/>
                    <a:pt x="1821" y="2823"/>
                    <a:pt x="1821" y="1812"/>
                  </a:cubicBezTo>
                  <a:cubicBezTo>
                    <a:pt x="1821" y="811"/>
                    <a:pt x="998" y="1"/>
                    <a:pt x="1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4" name="Google Shape;4804;p52"/>
            <p:cNvSpPr/>
            <p:nvPr/>
          </p:nvSpPr>
          <p:spPr>
            <a:xfrm>
              <a:off x="6627851" y="3305042"/>
              <a:ext cx="176045" cy="89052"/>
            </a:xfrm>
            <a:custGeom>
              <a:avLst/>
              <a:gdLst/>
              <a:ahLst/>
              <a:cxnLst/>
              <a:rect l="l" t="t" r="r" b="b"/>
              <a:pathLst>
                <a:path w="5389" h="2726" extrusionOk="0">
                  <a:moveTo>
                    <a:pt x="2685" y="1"/>
                  </a:moveTo>
                  <a:cubicBezTo>
                    <a:pt x="1225" y="1"/>
                    <a:pt x="26" y="1171"/>
                    <a:pt x="0" y="2645"/>
                  </a:cubicBezTo>
                  <a:cubicBezTo>
                    <a:pt x="0" y="2645"/>
                    <a:pt x="675" y="520"/>
                    <a:pt x="2528" y="520"/>
                  </a:cubicBezTo>
                  <a:cubicBezTo>
                    <a:pt x="2584" y="520"/>
                    <a:pt x="2641" y="522"/>
                    <a:pt x="2699" y="526"/>
                  </a:cubicBezTo>
                  <a:cubicBezTo>
                    <a:pt x="4903" y="675"/>
                    <a:pt x="5359" y="2726"/>
                    <a:pt x="5359" y="2726"/>
                  </a:cubicBezTo>
                  <a:cubicBezTo>
                    <a:pt x="5389" y="1242"/>
                    <a:pt x="4199" y="27"/>
                    <a:pt x="2716" y="1"/>
                  </a:cubicBezTo>
                  <a:cubicBezTo>
                    <a:pt x="2706" y="1"/>
                    <a:pt x="2696" y="1"/>
                    <a:pt x="2685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5" name="Google Shape;4805;p52"/>
            <p:cNvSpPr/>
            <p:nvPr/>
          </p:nvSpPr>
          <p:spPr>
            <a:xfrm>
              <a:off x="5679728" y="2811529"/>
              <a:ext cx="253532" cy="133610"/>
            </a:xfrm>
            <a:custGeom>
              <a:avLst/>
              <a:gdLst/>
              <a:ahLst/>
              <a:cxnLst/>
              <a:rect l="l" t="t" r="r" b="b"/>
              <a:pathLst>
                <a:path w="7761" h="4090" extrusionOk="0">
                  <a:moveTo>
                    <a:pt x="2039" y="1"/>
                  </a:moveTo>
                  <a:cubicBezTo>
                    <a:pt x="918" y="1"/>
                    <a:pt x="1" y="918"/>
                    <a:pt x="1" y="2039"/>
                  </a:cubicBezTo>
                  <a:cubicBezTo>
                    <a:pt x="1" y="3173"/>
                    <a:pt x="918" y="4090"/>
                    <a:pt x="2039" y="4090"/>
                  </a:cubicBezTo>
                  <a:lnTo>
                    <a:pt x="5723" y="4090"/>
                  </a:lnTo>
                  <a:cubicBezTo>
                    <a:pt x="6844" y="4090"/>
                    <a:pt x="7760" y="3173"/>
                    <a:pt x="7760" y="2039"/>
                  </a:cubicBezTo>
                  <a:cubicBezTo>
                    <a:pt x="7760" y="918"/>
                    <a:pt x="6844" y="1"/>
                    <a:pt x="5723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6" name="Google Shape;4806;p52"/>
            <p:cNvSpPr/>
            <p:nvPr/>
          </p:nvSpPr>
          <p:spPr>
            <a:xfrm>
              <a:off x="5998504" y="2644070"/>
              <a:ext cx="405730" cy="213417"/>
            </a:xfrm>
            <a:custGeom>
              <a:avLst/>
              <a:gdLst/>
              <a:ahLst/>
              <a:cxnLst/>
              <a:rect l="l" t="t" r="r" b="b"/>
              <a:pathLst>
                <a:path w="12420" h="6533" extrusionOk="0">
                  <a:moveTo>
                    <a:pt x="3253" y="1"/>
                  </a:moveTo>
                  <a:cubicBezTo>
                    <a:pt x="1459" y="1"/>
                    <a:pt x="1" y="1472"/>
                    <a:pt x="1" y="3267"/>
                  </a:cubicBezTo>
                  <a:cubicBezTo>
                    <a:pt x="1" y="5062"/>
                    <a:pt x="1459" y="6533"/>
                    <a:pt x="3253" y="6533"/>
                  </a:cubicBezTo>
                  <a:lnTo>
                    <a:pt x="9154" y="6533"/>
                  </a:lnTo>
                  <a:cubicBezTo>
                    <a:pt x="10948" y="6533"/>
                    <a:pt x="12419" y="5062"/>
                    <a:pt x="12419" y="3267"/>
                  </a:cubicBezTo>
                  <a:cubicBezTo>
                    <a:pt x="12419" y="1472"/>
                    <a:pt x="10948" y="1"/>
                    <a:pt x="9154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7" name="Google Shape;4807;p52"/>
            <p:cNvSpPr/>
            <p:nvPr/>
          </p:nvSpPr>
          <p:spPr>
            <a:xfrm>
              <a:off x="2254519" y="4342850"/>
              <a:ext cx="2324419" cy="130637"/>
            </a:xfrm>
            <a:custGeom>
              <a:avLst/>
              <a:gdLst/>
              <a:ahLst/>
              <a:cxnLst/>
              <a:rect l="l" t="t" r="r" b="b"/>
              <a:pathLst>
                <a:path w="64720" h="3999" extrusionOk="0">
                  <a:moveTo>
                    <a:pt x="4064" y="1"/>
                  </a:moveTo>
                  <a:cubicBezTo>
                    <a:pt x="1" y="1"/>
                    <a:pt x="338" y="3999"/>
                    <a:pt x="4064" y="3999"/>
                  </a:cubicBezTo>
                  <a:lnTo>
                    <a:pt x="64720" y="3999"/>
                  </a:lnTo>
                  <a:lnTo>
                    <a:pt x="64720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8" name="Google Shape;4808;p52"/>
            <p:cNvSpPr/>
            <p:nvPr/>
          </p:nvSpPr>
          <p:spPr>
            <a:xfrm>
              <a:off x="2063451" y="4473459"/>
              <a:ext cx="2515487" cy="130539"/>
            </a:xfrm>
            <a:custGeom>
              <a:avLst/>
              <a:gdLst/>
              <a:ahLst/>
              <a:cxnLst/>
              <a:rect l="l" t="t" r="r" b="b"/>
              <a:pathLst>
                <a:path w="70040" h="3996" extrusionOk="0">
                  <a:moveTo>
                    <a:pt x="4064" y="1"/>
                  </a:moveTo>
                  <a:cubicBezTo>
                    <a:pt x="124" y="1"/>
                    <a:pt x="1" y="3996"/>
                    <a:pt x="4064" y="3996"/>
                  </a:cubicBezTo>
                  <a:lnTo>
                    <a:pt x="70040" y="3996"/>
                  </a:lnTo>
                  <a:lnTo>
                    <a:pt x="70040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9" name="Google Shape;4809;p52"/>
            <p:cNvSpPr/>
            <p:nvPr/>
          </p:nvSpPr>
          <p:spPr>
            <a:xfrm>
              <a:off x="4578448" y="4342850"/>
              <a:ext cx="2417256" cy="130637"/>
            </a:xfrm>
            <a:custGeom>
              <a:avLst/>
              <a:gdLst/>
              <a:ahLst/>
              <a:cxnLst/>
              <a:rect l="l" t="t" r="r" b="b"/>
              <a:pathLst>
                <a:path w="64529" h="3999" extrusionOk="0">
                  <a:moveTo>
                    <a:pt x="1" y="1"/>
                  </a:moveTo>
                  <a:lnTo>
                    <a:pt x="1" y="3999"/>
                  </a:lnTo>
                  <a:lnTo>
                    <a:pt x="61156" y="3999"/>
                  </a:lnTo>
                  <a:cubicBezTo>
                    <a:pt x="64528" y="3999"/>
                    <a:pt x="64191" y="1"/>
                    <a:pt x="61156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0" name="Google Shape;4810;p52"/>
            <p:cNvSpPr/>
            <p:nvPr/>
          </p:nvSpPr>
          <p:spPr>
            <a:xfrm>
              <a:off x="4578448" y="4473459"/>
              <a:ext cx="2608415" cy="130539"/>
            </a:xfrm>
            <a:custGeom>
              <a:avLst/>
              <a:gdLst/>
              <a:ahLst/>
              <a:cxnLst/>
              <a:rect l="l" t="t" r="r" b="b"/>
              <a:pathLst>
                <a:path w="69632" h="3996" extrusionOk="0">
                  <a:moveTo>
                    <a:pt x="1" y="1"/>
                  </a:moveTo>
                  <a:lnTo>
                    <a:pt x="1" y="3970"/>
                  </a:lnTo>
                  <a:lnTo>
                    <a:pt x="52152" y="3970"/>
                  </a:lnTo>
                  <a:cubicBezTo>
                    <a:pt x="52271" y="3970"/>
                    <a:pt x="52378" y="3970"/>
                    <a:pt x="52502" y="3996"/>
                  </a:cubicBezTo>
                  <a:lnTo>
                    <a:pt x="67039" y="3996"/>
                  </a:lnTo>
                  <a:cubicBezTo>
                    <a:pt x="69498" y="3996"/>
                    <a:pt x="69631" y="406"/>
                    <a:pt x="67243" y="40"/>
                  </a:cubicBezTo>
                  <a:cubicBezTo>
                    <a:pt x="67107" y="14"/>
                    <a:pt x="66958" y="1"/>
                    <a:pt x="66825" y="1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1" name="Google Shape;4811;p52"/>
            <p:cNvSpPr/>
            <p:nvPr/>
          </p:nvSpPr>
          <p:spPr>
            <a:xfrm>
              <a:off x="4578462" y="4603118"/>
              <a:ext cx="1715109" cy="882"/>
            </a:xfrm>
            <a:custGeom>
              <a:avLst/>
              <a:gdLst/>
              <a:ahLst/>
              <a:cxnLst/>
              <a:rect l="l" t="t" r="r" b="b"/>
              <a:pathLst>
                <a:path w="52502" h="27" extrusionOk="0">
                  <a:moveTo>
                    <a:pt x="1" y="1"/>
                  </a:moveTo>
                  <a:lnTo>
                    <a:pt x="1" y="27"/>
                  </a:lnTo>
                  <a:lnTo>
                    <a:pt x="52502" y="27"/>
                  </a:lnTo>
                  <a:cubicBezTo>
                    <a:pt x="52378" y="1"/>
                    <a:pt x="52271" y="1"/>
                    <a:pt x="52152" y="1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2" name="Google Shape;4812;p52"/>
            <p:cNvSpPr/>
            <p:nvPr/>
          </p:nvSpPr>
          <p:spPr>
            <a:xfrm>
              <a:off x="3671262" y="3530483"/>
              <a:ext cx="914723" cy="811101"/>
            </a:xfrm>
            <a:custGeom>
              <a:avLst/>
              <a:gdLst/>
              <a:ahLst/>
              <a:cxnLst/>
              <a:rect l="l" t="t" r="r" b="b"/>
              <a:pathLst>
                <a:path w="28001" h="24829" extrusionOk="0">
                  <a:moveTo>
                    <a:pt x="14688" y="1"/>
                  </a:moveTo>
                  <a:cubicBezTo>
                    <a:pt x="10032" y="1"/>
                    <a:pt x="1" y="24829"/>
                    <a:pt x="1" y="24829"/>
                  </a:cubicBezTo>
                  <a:lnTo>
                    <a:pt x="28001" y="24829"/>
                  </a:lnTo>
                  <a:cubicBezTo>
                    <a:pt x="28001" y="24829"/>
                    <a:pt x="19360" y="1"/>
                    <a:pt x="14688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3" name="Google Shape;4813;p52"/>
            <p:cNvSpPr/>
            <p:nvPr/>
          </p:nvSpPr>
          <p:spPr>
            <a:xfrm>
              <a:off x="2887155" y="3335616"/>
              <a:ext cx="1151921" cy="1005016"/>
            </a:xfrm>
            <a:custGeom>
              <a:avLst/>
              <a:gdLst/>
              <a:ahLst/>
              <a:cxnLst/>
              <a:rect l="l" t="t" r="r" b="b"/>
              <a:pathLst>
                <a:path w="35262" h="30765" extrusionOk="0">
                  <a:moveTo>
                    <a:pt x="18508" y="1"/>
                  </a:moveTo>
                  <a:cubicBezTo>
                    <a:pt x="12637" y="1"/>
                    <a:pt x="1" y="30765"/>
                    <a:pt x="1" y="30765"/>
                  </a:cubicBezTo>
                  <a:lnTo>
                    <a:pt x="35262" y="30765"/>
                  </a:lnTo>
                  <a:cubicBezTo>
                    <a:pt x="35262" y="30765"/>
                    <a:pt x="24382" y="1"/>
                    <a:pt x="18508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4" name="Google Shape;4814;p52"/>
            <p:cNvSpPr/>
            <p:nvPr/>
          </p:nvSpPr>
          <p:spPr>
            <a:xfrm>
              <a:off x="3900626" y="3526988"/>
              <a:ext cx="471457" cy="580011"/>
            </a:xfrm>
            <a:custGeom>
              <a:avLst/>
              <a:gdLst/>
              <a:ahLst/>
              <a:cxnLst/>
              <a:rect l="l" t="t" r="r" b="b"/>
              <a:pathLst>
                <a:path w="14432" h="17755" extrusionOk="0">
                  <a:moveTo>
                    <a:pt x="7667" y="1"/>
                  </a:moveTo>
                  <a:cubicBezTo>
                    <a:pt x="5684" y="1"/>
                    <a:pt x="2739" y="4495"/>
                    <a:pt x="1" y="9653"/>
                  </a:cubicBezTo>
                  <a:cubicBezTo>
                    <a:pt x="40" y="9815"/>
                    <a:pt x="134" y="9964"/>
                    <a:pt x="309" y="9977"/>
                  </a:cubicBezTo>
                  <a:cubicBezTo>
                    <a:pt x="316" y="9978"/>
                    <a:pt x="324" y="9978"/>
                    <a:pt x="332" y="9978"/>
                  </a:cubicBezTo>
                  <a:cubicBezTo>
                    <a:pt x="774" y="9978"/>
                    <a:pt x="1286" y="8812"/>
                    <a:pt x="1605" y="8506"/>
                  </a:cubicBezTo>
                  <a:cubicBezTo>
                    <a:pt x="1676" y="8436"/>
                    <a:pt x="1900" y="8167"/>
                    <a:pt x="2057" y="8167"/>
                  </a:cubicBezTo>
                  <a:cubicBezTo>
                    <a:pt x="2112" y="8167"/>
                    <a:pt x="2159" y="8201"/>
                    <a:pt x="2188" y="8289"/>
                  </a:cubicBezTo>
                  <a:cubicBezTo>
                    <a:pt x="2376" y="8869"/>
                    <a:pt x="2188" y="9789"/>
                    <a:pt x="2107" y="10382"/>
                  </a:cubicBezTo>
                  <a:cubicBezTo>
                    <a:pt x="1848" y="12028"/>
                    <a:pt x="1903" y="13771"/>
                    <a:pt x="1809" y="15430"/>
                  </a:cubicBezTo>
                  <a:cubicBezTo>
                    <a:pt x="1796" y="15822"/>
                    <a:pt x="1715" y="17672"/>
                    <a:pt x="2269" y="17753"/>
                  </a:cubicBezTo>
                  <a:cubicBezTo>
                    <a:pt x="2276" y="17754"/>
                    <a:pt x="2284" y="17754"/>
                    <a:pt x="2291" y="17754"/>
                  </a:cubicBezTo>
                  <a:cubicBezTo>
                    <a:pt x="2480" y="17754"/>
                    <a:pt x="2608" y="17437"/>
                    <a:pt x="2674" y="17322"/>
                  </a:cubicBezTo>
                  <a:cubicBezTo>
                    <a:pt x="2956" y="16742"/>
                    <a:pt x="3079" y="16240"/>
                    <a:pt x="3241" y="15647"/>
                  </a:cubicBezTo>
                  <a:cubicBezTo>
                    <a:pt x="3766" y="13758"/>
                    <a:pt x="3565" y="11746"/>
                    <a:pt x="3996" y="9857"/>
                  </a:cubicBezTo>
                  <a:cubicBezTo>
                    <a:pt x="4077" y="9504"/>
                    <a:pt x="4550" y="8114"/>
                    <a:pt x="4968" y="8114"/>
                  </a:cubicBezTo>
                  <a:cubicBezTo>
                    <a:pt x="5953" y="8114"/>
                    <a:pt x="5723" y="9546"/>
                    <a:pt x="5804" y="10207"/>
                  </a:cubicBezTo>
                  <a:cubicBezTo>
                    <a:pt x="5833" y="10424"/>
                    <a:pt x="5778" y="11030"/>
                    <a:pt x="6141" y="11030"/>
                  </a:cubicBezTo>
                  <a:cubicBezTo>
                    <a:pt x="6900" y="11030"/>
                    <a:pt x="6621" y="8937"/>
                    <a:pt x="7175" y="8937"/>
                  </a:cubicBezTo>
                  <a:cubicBezTo>
                    <a:pt x="7302" y="8937"/>
                    <a:pt x="7472" y="9047"/>
                    <a:pt x="7709" y="9316"/>
                  </a:cubicBezTo>
                  <a:cubicBezTo>
                    <a:pt x="7910" y="9546"/>
                    <a:pt x="7871" y="9802"/>
                    <a:pt x="7871" y="10100"/>
                  </a:cubicBezTo>
                  <a:cubicBezTo>
                    <a:pt x="7871" y="10518"/>
                    <a:pt x="8046" y="10991"/>
                    <a:pt x="8085" y="11409"/>
                  </a:cubicBezTo>
                  <a:cubicBezTo>
                    <a:pt x="8114" y="11853"/>
                    <a:pt x="7965" y="12394"/>
                    <a:pt x="8114" y="12825"/>
                  </a:cubicBezTo>
                  <a:cubicBezTo>
                    <a:pt x="8182" y="13016"/>
                    <a:pt x="8221" y="13878"/>
                    <a:pt x="8545" y="13878"/>
                  </a:cubicBezTo>
                  <a:cubicBezTo>
                    <a:pt x="9112" y="13878"/>
                    <a:pt x="9018" y="12352"/>
                    <a:pt x="9018" y="12028"/>
                  </a:cubicBezTo>
                  <a:cubicBezTo>
                    <a:pt x="9031" y="11341"/>
                    <a:pt x="9138" y="10651"/>
                    <a:pt x="9180" y="9977"/>
                  </a:cubicBezTo>
                  <a:cubicBezTo>
                    <a:pt x="9261" y="8817"/>
                    <a:pt x="9099" y="7411"/>
                    <a:pt x="10003" y="6536"/>
                  </a:cubicBezTo>
                  <a:cubicBezTo>
                    <a:pt x="10048" y="6486"/>
                    <a:pt x="10118" y="6465"/>
                    <a:pt x="10198" y="6465"/>
                  </a:cubicBezTo>
                  <a:cubicBezTo>
                    <a:pt x="10403" y="6465"/>
                    <a:pt x="10670" y="6605"/>
                    <a:pt x="10719" y="6750"/>
                  </a:cubicBezTo>
                  <a:cubicBezTo>
                    <a:pt x="11017" y="7628"/>
                    <a:pt x="10800" y="8788"/>
                    <a:pt x="11354" y="9546"/>
                  </a:cubicBezTo>
                  <a:cubicBezTo>
                    <a:pt x="11360" y="9554"/>
                    <a:pt x="11367" y="9558"/>
                    <a:pt x="11375" y="9558"/>
                  </a:cubicBezTo>
                  <a:cubicBezTo>
                    <a:pt x="11460" y="9558"/>
                    <a:pt x="11651" y="9149"/>
                    <a:pt x="11678" y="9099"/>
                  </a:cubicBezTo>
                  <a:cubicBezTo>
                    <a:pt x="11798" y="8856"/>
                    <a:pt x="11798" y="7670"/>
                    <a:pt x="12070" y="7573"/>
                  </a:cubicBezTo>
                  <a:cubicBezTo>
                    <a:pt x="12074" y="7571"/>
                    <a:pt x="12079" y="7571"/>
                    <a:pt x="12084" y="7571"/>
                  </a:cubicBezTo>
                  <a:cubicBezTo>
                    <a:pt x="12213" y="7571"/>
                    <a:pt x="12502" y="8037"/>
                    <a:pt x="12527" y="8140"/>
                  </a:cubicBezTo>
                  <a:cubicBezTo>
                    <a:pt x="12744" y="8775"/>
                    <a:pt x="12650" y="9653"/>
                    <a:pt x="13055" y="10220"/>
                  </a:cubicBezTo>
                  <a:cubicBezTo>
                    <a:pt x="13246" y="10477"/>
                    <a:pt x="13490" y="10610"/>
                    <a:pt x="13713" y="10610"/>
                  </a:cubicBezTo>
                  <a:cubicBezTo>
                    <a:pt x="13992" y="10610"/>
                    <a:pt x="14236" y="10400"/>
                    <a:pt x="14296" y="9964"/>
                  </a:cubicBezTo>
                  <a:cubicBezTo>
                    <a:pt x="14351" y="9614"/>
                    <a:pt x="14390" y="9248"/>
                    <a:pt x="14432" y="8869"/>
                  </a:cubicBezTo>
                  <a:cubicBezTo>
                    <a:pt x="12083" y="4051"/>
                    <a:pt x="9559" y="1"/>
                    <a:pt x="766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5" name="Google Shape;4815;p52"/>
            <p:cNvSpPr/>
            <p:nvPr/>
          </p:nvSpPr>
          <p:spPr>
            <a:xfrm>
              <a:off x="4116237" y="3971964"/>
              <a:ext cx="234683" cy="370907"/>
            </a:xfrm>
            <a:custGeom>
              <a:avLst/>
              <a:gdLst/>
              <a:ahLst/>
              <a:cxnLst/>
              <a:rect l="l" t="t" r="r" b="b"/>
              <a:pathLst>
                <a:path w="7184" h="11354" extrusionOk="0">
                  <a:moveTo>
                    <a:pt x="3539" y="1"/>
                  </a:moveTo>
                  <a:lnTo>
                    <a:pt x="1" y="2376"/>
                  </a:lnTo>
                  <a:lnTo>
                    <a:pt x="1" y="11354"/>
                  </a:lnTo>
                  <a:lnTo>
                    <a:pt x="7184" y="11354"/>
                  </a:lnTo>
                  <a:lnTo>
                    <a:pt x="7184" y="2444"/>
                  </a:lnTo>
                  <a:lnTo>
                    <a:pt x="3539" y="1"/>
                  </a:lnTo>
                  <a:close/>
                </a:path>
              </a:pathLst>
            </a:custGeom>
            <a:solidFill>
              <a:srgbClr val="B2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6" name="Google Shape;4816;p52"/>
            <p:cNvSpPr/>
            <p:nvPr/>
          </p:nvSpPr>
          <p:spPr>
            <a:xfrm>
              <a:off x="4240606" y="4091890"/>
              <a:ext cx="67556" cy="80787"/>
            </a:xfrm>
            <a:custGeom>
              <a:avLst/>
              <a:gdLst/>
              <a:ahLst/>
              <a:cxnLst/>
              <a:rect l="l" t="t" r="r" b="b"/>
              <a:pathLst>
                <a:path w="2068" h="2473" extrusionOk="0">
                  <a:moveTo>
                    <a:pt x="1" y="1"/>
                  </a:moveTo>
                  <a:lnTo>
                    <a:pt x="1" y="2473"/>
                  </a:lnTo>
                  <a:lnTo>
                    <a:pt x="2068" y="2473"/>
                  </a:lnTo>
                  <a:lnTo>
                    <a:pt x="206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7" name="Google Shape;4817;p52"/>
            <p:cNvSpPr/>
            <p:nvPr/>
          </p:nvSpPr>
          <p:spPr>
            <a:xfrm>
              <a:off x="4239757" y="4089766"/>
              <a:ext cx="36653" cy="44068"/>
            </a:xfrm>
            <a:custGeom>
              <a:avLst/>
              <a:gdLst/>
              <a:ahLst/>
              <a:cxnLst/>
              <a:rect l="l" t="t" r="r" b="b"/>
              <a:pathLst>
                <a:path w="1122" h="1349" extrusionOk="0">
                  <a:moveTo>
                    <a:pt x="1041" y="95"/>
                  </a:moveTo>
                  <a:lnTo>
                    <a:pt x="1041" y="1229"/>
                  </a:lnTo>
                  <a:lnTo>
                    <a:pt x="69" y="1229"/>
                  </a:lnTo>
                  <a:lnTo>
                    <a:pt x="69" y="95"/>
                  </a:lnTo>
                  <a:close/>
                  <a:moveTo>
                    <a:pt x="1" y="1"/>
                  </a:moveTo>
                  <a:lnTo>
                    <a:pt x="1" y="1349"/>
                  </a:lnTo>
                  <a:lnTo>
                    <a:pt x="69" y="1349"/>
                  </a:lnTo>
                  <a:lnTo>
                    <a:pt x="69" y="1323"/>
                  </a:lnTo>
                  <a:lnTo>
                    <a:pt x="1122" y="1323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8" name="Google Shape;4818;p52"/>
            <p:cNvSpPr/>
            <p:nvPr/>
          </p:nvSpPr>
          <p:spPr>
            <a:xfrm>
              <a:off x="4273732" y="4089766"/>
              <a:ext cx="36555" cy="43219"/>
            </a:xfrm>
            <a:custGeom>
              <a:avLst/>
              <a:gdLst/>
              <a:ahLst/>
              <a:cxnLst/>
              <a:rect l="l" t="t" r="r" b="b"/>
              <a:pathLst>
                <a:path w="1119" h="1323" extrusionOk="0">
                  <a:moveTo>
                    <a:pt x="1054" y="95"/>
                  </a:moveTo>
                  <a:lnTo>
                    <a:pt x="1054" y="1229"/>
                  </a:lnTo>
                  <a:lnTo>
                    <a:pt x="82" y="1229"/>
                  </a:lnTo>
                  <a:lnTo>
                    <a:pt x="82" y="95"/>
                  </a:lnTo>
                  <a:close/>
                  <a:moveTo>
                    <a:pt x="1" y="1"/>
                  </a:moveTo>
                  <a:lnTo>
                    <a:pt x="1" y="1281"/>
                  </a:lnTo>
                  <a:lnTo>
                    <a:pt x="14" y="1323"/>
                  </a:lnTo>
                  <a:lnTo>
                    <a:pt x="1119" y="1323"/>
                  </a:lnTo>
                  <a:lnTo>
                    <a:pt x="111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9" name="Google Shape;4819;p52"/>
            <p:cNvSpPr/>
            <p:nvPr/>
          </p:nvSpPr>
          <p:spPr>
            <a:xfrm>
              <a:off x="4273732" y="4089766"/>
              <a:ext cx="2679" cy="43219"/>
            </a:xfrm>
            <a:custGeom>
              <a:avLst/>
              <a:gdLst/>
              <a:ahLst/>
              <a:cxnLst/>
              <a:rect l="l" t="t" r="r" b="b"/>
              <a:pathLst>
                <a:path w="82" h="1323" extrusionOk="0">
                  <a:moveTo>
                    <a:pt x="1" y="1"/>
                  </a:moveTo>
                  <a:lnTo>
                    <a:pt x="1" y="1281"/>
                  </a:lnTo>
                  <a:lnTo>
                    <a:pt x="1" y="1323"/>
                  </a:lnTo>
                  <a:lnTo>
                    <a:pt x="82" y="1323"/>
                  </a:lnTo>
                  <a:lnTo>
                    <a:pt x="82" y="53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0" name="Google Shape;4820;p52"/>
            <p:cNvSpPr/>
            <p:nvPr/>
          </p:nvSpPr>
          <p:spPr>
            <a:xfrm>
              <a:off x="4239757" y="4130733"/>
              <a:ext cx="36653" cy="43219"/>
            </a:xfrm>
            <a:custGeom>
              <a:avLst/>
              <a:gdLst/>
              <a:ahLst/>
              <a:cxnLst/>
              <a:rect l="l" t="t" r="r" b="b"/>
              <a:pathLst>
                <a:path w="1122" h="1323" extrusionOk="0">
                  <a:moveTo>
                    <a:pt x="1041" y="95"/>
                  </a:moveTo>
                  <a:lnTo>
                    <a:pt x="1041" y="1229"/>
                  </a:lnTo>
                  <a:lnTo>
                    <a:pt x="69" y="1229"/>
                  </a:lnTo>
                  <a:lnTo>
                    <a:pt x="69" y="95"/>
                  </a:lnTo>
                  <a:close/>
                  <a:moveTo>
                    <a:pt x="1" y="1"/>
                  </a:moveTo>
                  <a:lnTo>
                    <a:pt x="1" y="1323"/>
                  </a:lnTo>
                  <a:lnTo>
                    <a:pt x="1122" y="1323"/>
                  </a:lnTo>
                  <a:lnTo>
                    <a:pt x="1122" y="43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1" name="Google Shape;4821;p52"/>
            <p:cNvSpPr/>
            <p:nvPr/>
          </p:nvSpPr>
          <p:spPr>
            <a:xfrm>
              <a:off x="4239757" y="4129883"/>
              <a:ext cx="36653" cy="3953"/>
            </a:xfrm>
            <a:custGeom>
              <a:avLst/>
              <a:gdLst/>
              <a:ahLst/>
              <a:cxnLst/>
              <a:rect l="l" t="t" r="r" b="b"/>
              <a:pathLst>
                <a:path w="112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22" y="121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2" name="Google Shape;4822;p52"/>
            <p:cNvSpPr/>
            <p:nvPr/>
          </p:nvSpPr>
          <p:spPr>
            <a:xfrm>
              <a:off x="4273732" y="4129883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3" name="Google Shape;4823;p52"/>
            <p:cNvSpPr/>
            <p:nvPr/>
          </p:nvSpPr>
          <p:spPr>
            <a:xfrm>
              <a:off x="4274156" y="4129883"/>
              <a:ext cx="36653" cy="44068"/>
            </a:xfrm>
            <a:custGeom>
              <a:avLst/>
              <a:gdLst/>
              <a:ahLst/>
              <a:cxnLst/>
              <a:rect l="l" t="t" r="r" b="b"/>
              <a:pathLst>
                <a:path w="1122" h="1349" extrusionOk="0">
                  <a:moveTo>
                    <a:pt x="1041" y="121"/>
                  </a:moveTo>
                  <a:lnTo>
                    <a:pt x="1041" y="1255"/>
                  </a:lnTo>
                  <a:lnTo>
                    <a:pt x="69" y="1255"/>
                  </a:lnTo>
                  <a:lnTo>
                    <a:pt x="69" y="121"/>
                  </a:lnTo>
                  <a:close/>
                  <a:moveTo>
                    <a:pt x="1041" y="1"/>
                  </a:moveTo>
                  <a:lnTo>
                    <a:pt x="1041" y="27"/>
                  </a:lnTo>
                  <a:lnTo>
                    <a:pt x="1" y="27"/>
                  </a:lnTo>
                  <a:lnTo>
                    <a:pt x="1" y="1349"/>
                  </a:lnTo>
                  <a:lnTo>
                    <a:pt x="1122" y="1349"/>
                  </a:lnTo>
                  <a:lnTo>
                    <a:pt x="1122" y="53"/>
                  </a:lnTo>
                  <a:lnTo>
                    <a:pt x="110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4" name="Google Shape;4824;p52"/>
            <p:cNvSpPr/>
            <p:nvPr/>
          </p:nvSpPr>
          <p:spPr>
            <a:xfrm>
              <a:off x="4274156" y="4129883"/>
              <a:ext cx="36130" cy="3953"/>
            </a:xfrm>
            <a:custGeom>
              <a:avLst/>
              <a:gdLst/>
              <a:ahLst/>
              <a:cxnLst/>
              <a:rect l="l" t="t" r="r" b="b"/>
              <a:pathLst>
                <a:path w="1106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06" y="121"/>
                  </a:lnTo>
                  <a:lnTo>
                    <a:pt x="110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5" name="Google Shape;4825;p52"/>
            <p:cNvSpPr/>
            <p:nvPr/>
          </p:nvSpPr>
          <p:spPr>
            <a:xfrm>
              <a:off x="4273732" y="4130733"/>
              <a:ext cx="2679" cy="43219"/>
            </a:xfrm>
            <a:custGeom>
              <a:avLst/>
              <a:gdLst/>
              <a:ahLst/>
              <a:cxnLst/>
              <a:rect l="l" t="t" r="r" b="b"/>
              <a:pathLst>
                <a:path w="82" h="1323" extrusionOk="0">
                  <a:moveTo>
                    <a:pt x="1" y="1"/>
                  </a:moveTo>
                  <a:lnTo>
                    <a:pt x="1" y="1323"/>
                  </a:lnTo>
                  <a:lnTo>
                    <a:pt x="82" y="1323"/>
                  </a:lnTo>
                  <a:lnTo>
                    <a:pt x="82" y="43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6" name="Google Shape;4826;p52"/>
            <p:cNvSpPr/>
            <p:nvPr/>
          </p:nvSpPr>
          <p:spPr>
            <a:xfrm>
              <a:off x="4273732" y="4129883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7" name="Google Shape;4827;p52"/>
            <p:cNvSpPr/>
            <p:nvPr/>
          </p:nvSpPr>
          <p:spPr>
            <a:xfrm>
              <a:off x="4273732" y="4129883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8" name="Google Shape;4828;p52"/>
            <p:cNvSpPr/>
            <p:nvPr/>
          </p:nvSpPr>
          <p:spPr>
            <a:xfrm>
              <a:off x="4148841" y="4091890"/>
              <a:ext cx="67556" cy="80787"/>
            </a:xfrm>
            <a:custGeom>
              <a:avLst/>
              <a:gdLst/>
              <a:ahLst/>
              <a:cxnLst/>
              <a:rect l="l" t="t" r="r" b="b"/>
              <a:pathLst>
                <a:path w="2068" h="2473" extrusionOk="0">
                  <a:moveTo>
                    <a:pt x="1" y="1"/>
                  </a:moveTo>
                  <a:lnTo>
                    <a:pt x="1" y="2473"/>
                  </a:lnTo>
                  <a:lnTo>
                    <a:pt x="2068" y="2473"/>
                  </a:lnTo>
                  <a:lnTo>
                    <a:pt x="206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9" name="Google Shape;4829;p52"/>
            <p:cNvSpPr/>
            <p:nvPr/>
          </p:nvSpPr>
          <p:spPr>
            <a:xfrm>
              <a:off x="4147991" y="4089766"/>
              <a:ext cx="36653" cy="44068"/>
            </a:xfrm>
            <a:custGeom>
              <a:avLst/>
              <a:gdLst/>
              <a:ahLst/>
              <a:cxnLst/>
              <a:rect l="l" t="t" r="r" b="b"/>
              <a:pathLst>
                <a:path w="1122" h="1349" extrusionOk="0">
                  <a:moveTo>
                    <a:pt x="1054" y="95"/>
                  </a:moveTo>
                  <a:lnTo>
                    <a:pt x="1054" y="1229"/>
                  </a:lnTo>
                  <a:lnTo>
                    <a:pt x="82" y="1229"/>
                  </a:lnTo>
                  <a:lnTo>
                    <a:pt x="82" y="95"/>
                  </a:lnTo>
                  <a:close/>
                  <a:moveTo>
                    <a:pt x="1" y="1"/>
                  </a:moveTo>
                  <a:lnTo>
                    <a:pt x="1" y="1349"/>
                  </a:lnTo>
                  <a:lnTo>
                    <a:pt x="82" y="1349"/>
                  </a:lnTo>
                  <a:lnTo>
                    <a:pt x="82" y="1323"/>
                  </a:lnTo>
                  <a:lnTo>
                    <a:pt x="1122" y="1323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0" name="Google Shape;4830;p52"/>
            <p:cNvSpPr/>
            <p:nvPr/>
          </p:nvSpPr>
          <p:spPr>
            <a:xfrm>
              <a:off x="4182391" y="4089766"/>
              <a:ext cx="36653" cy="43219"/>
            </a:xfrm>
            <a:custGeom>
              <a:avLst/>
              <a:gdLst/>
              <a:ahLst/>
              <a:cxnLst/>
              <a:rect l="l" t="t" r="r" b="b"/>
              <a:pathLst>
                <a:path w="1122" h="1323" extrusionOk="0">
                  <a:moveTo>
                    <a:pt x="1041" y="95"/>
                  </a:moveTo>
                  <a:lnTo>
                    <a:pt x="1041" y="1229"/>
                  </a:lnTo>
                  <a:lnTo>
                    <a:pt x="69" y="1229"/>
                  </a:lnTo>
                  <a:lnTo>
                    <a:pt x="69" y="95"/>
                  </a:lnTo>
                  <a:close/>
                  <a:moveTo>
                    <a:pt x="1" y="1"/>
                  </a:moveTo>
                  <a:lnTo>
                    <a:pt x="1" y="1281"/>
                  </a:lnTo>
                  <a:lnTo>
                    <a:pt x="1" y="1323"/>
                  </a:lnTo>
                  <a:lnTo>
                    <a:pt x="1122" y="1323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1" name="Google Shape;4831;p52"/>
            <p:cNvSpPr/>
            <p:nvPr/>
          </p:nvSpPr>
          <p:spPr>
            <a:xfrm>
              <a:off x="4182391" y="4089766"/>
              <a:ext cx="2254" cy="43219"/>
            </a:xfrm>
            <a:custGeom>
              <a:avLst/>
              <a:gdLst/>
              <a:ahLst/>
              <a:cxnLst/>
              <a:rect l="l" t="t" r="r" b="b"/>
              <a:pathLst>
                <a:path w="69" h="1323" extrusionOk="0">
                  <a:moveTo>
                    <a:pt x="1" y="1"/>
                  </a:moveTo>
                  <a:lnTo>
                    <a:pt x="1" y="1281"/>
                  </a:lnTo>
                  <a:lnTo>
                    <a:pt x="1" y="1323"/>
                  </a:lnTo>
                  <a:lnTo>
                    <a:pt x="69" y="1323"/>
                  </a:lnTo>
                  <a:lnTo>
                    <a:pt x="69" y="53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2" name="Google Shape;4832;p52"/>
            <p:cNvSpPr/>
            <p:nvPr/>
          </p:nvSpPr>
          <p:spPr>
            <a:xfrm>
              <a:off x="4147991" y="4130733"/>
              <a:ext cx="36653" cy="43219"/>
            </a:xfrm>
            <a:custGeom>
              <a:avLst/>
              <a:gdLst/>
              <a:ahLst/>
              <a:cxnLst/>
              <a:rect l="l" t="t" r="r" b="b"/>
              <a:pathLst>
                <a:path w="1122" h="1323" extrusionOk="0">
                  <a:moveTo>
                    <a:pt x="1054" y="95"/>
                  </a:moveTo>
                  <a:lnTo>
                    <a:pt x="1054" y="1229"/>
                  </a:lnTo>
                  <a:lnTo>
                    <a:pt x="82" y="1229"/>
                  </a:lnTo>
                  <a:lnTo>
                    <a:pt x="82" y="95"/>
                  </a:lnTo>
                  <a:close/>
                  <a:moveTo>
                    <a:pt x="1" y="1"/>
                  </a:moveTo>
                  <a:lnTo>
                    <a:pt x="1" y="1323"/>
                  </a:lnTo>
                  <a:lnTo>
                    <a:pt x="1122" y="1323"/>
                  </a:lnTo>
                  <a:lnTo>
                    <a:pt x="1122" y="43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3" name="Google Shape;4833;p52"/>
            <p:cNvSpPr/>
            <p:nvPr/>
          </p:nvSpPr>
          <p:spPr>
            <a:xfrm>
              <a:off x="4147991" y="4129883"/>
              <a:ext cx="36653" cy="3953"/>
            </a:xfrm>
            <a:custGeom>
              <a:avLst/>
              <a:gdLst/>
              <a:ahLst/>
              <a:cxnLst/>
              <a:rect l="l" t="t" r="r" b="b"/>
              <a:pathLst>
                <a:path w="112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22" y="121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4" name="Google Shape;4834;p52"/>
            <p:cNvSpPr/>
            <p:nvPr/>
          </p:nvSpPr>
          <p:spPr>
            <a:xfrm>
              <a:off x="4182391" y="4129883"/>
              <a:ext cx="2254" cy="3953"/>
            </a:xfrm>
            <a:custGeom>
              <a:avLst/>
              <a:gdLst/>
              <a:ahLst/>
              <a:cxnLst/>
              <a:rect l="l" t="t" r="r" b="b"/>
              <a:pathLst>
                <a:path w="69" h="121" extrusionOk="0">
                  <a:moveTo>
                    <a:pt x="1" y="1"/>
                  </a:moveTo>
                  <a:lnTo>
                    <a:pt x="1" y="121"/>
                  </a:lnTo>
                  <a:lnTo>
                    <a:pt x="69" y="121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5" name="Google Shape;4835;p52"/>
            <p:cNvSpPr/>
            <p:nvPr/>
          </p:nvSpPr>
          <p:spPr>
            <a:xfrm>
              <a:off x="4182391" y="4129883"/>
              <a:ext cx="36653" cy="44068"/>
            </a:xfrm>
            <a:custGeom>
              <a:avLst/>
              <a:gdLst/>
              <a:ahLst/>
              <a:cxnLst/>
              <a:rect l="l" t="t" r="r" b="b"/>
              <a:pathLst>
                <a:path w="1122" h="1349" extrusionOk="0">
                  <a:moveTo>
                    <a:pt x="1041" y="121"/>
                  </a:moveTo>
                  <a:lnTo>
                    <a:pt x="1041" y="1255"/>
                  </a:lnTo>
                  <a:lnTo>
                    <a:pt x="82" y="1255"/>
                  </a:lnTo>
                  <a:lnTo>
                    <a:pt x="82" y="121"/>
                  </a:lnTo>
                  <a:close/>
                  <a:moveTo>
                    <a:pt x="1041" y="1"/>
                  </a:moveTo>
                  <a:lnTo>
                    <a:pt x="1041" y="27"/>
                  </a:lnTo>
                  <a:lnTo>
                    <a:pt x="1" y="27"/>
                  </a:lnTo>
                  <a:lnTo>
                    <a:pt x="1" y="1349"/>
                  </a:lnTo>
                  <a:lnTo>
                    <a:pt x="1122" y="1349"/>
                  </a:lnTo>
                  <a:lnTo>
                    <a:pt x="1122" y="53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6" name="Google Shape;4836;p52"/>
            <p:cNvSpPr/>
            <p:nvPr/>
          </p:nvSpPr>
          <p:spPr>
            <a:xfrm>
              <a:off x="4182391" y="4129883"/>
              <a:ext cx="36653" cy="3953"/>
            </a:xfrm>
            <a:custGeom>
              <a:avLst/>
              <a:gdLst/>
              <a:ahLst/>
              <a:cxnLst/>
              <a:rect l="l" t="t" r="r" b="b"/>
              <a:pathLst>
                <a:path w="112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22" y="121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7" name="Google Shape;4837;p52"/>
            <p:cNvSpPr/>
            <p:nvPr/>
          </p:nvSpPr>
          <p:spPr>
            <a:xfrm>
              <a:off x="4182391" y="4130733"/>
              <a:ext cx="2679" cy="43219"/>
            </a:xfrm>
            <a:custGeom>
              <a:avLst/>
              <a:gdLst/>
              <a:ahLst/>
              <a:cxnLst/>
              <a:rect l="l" t="t" r="r" b="b"/>
              <a:pathLst>
                <a:path w="82" h="1323" extrusionOk="0">
                  <a:moveTo>
                    <a:pt x="1" y="1"/>
                  </a:moveTo>
                  <a:lnTo>
                    <a:pt x="1" y="1323"/>
                  </a:lnTo>
                  <a:lnTo>
                    <a:pt x="82" y="1323"/>
                  </a:lnTo>
                  <a:lnTo>
                    <a:pt x="82" y="43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8" name="Google Shape;4838;p52"/>
            <p:cNvSpPr/>
            <p:nvPr/>
          </p:nvSpPr>
          <p:spPr>
            <a:xfrm>
              <a:off x="4182391" y="4129883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9" name="Google Shape;4839;p52"/>
            <p:cNvSpPr/>
            <p:nvPr/>
          </p:nvSpPr>
          <p:spPr>
            <a:xfrm>
              <a:off x="4182391" y="4129883"/>
              <a:ext cx="2254" cy="3953"/>
            </a:xfrm>
            <a:custGeom>
              <a:avLst/>
              <a:gdLst/>
              <a:ahLst/>
              <a:cxnLst/>
              <a:rect l="l" t="t" r="r" b="b"/>
              <a:pathLst>
                <a:path w="69" h="121" extrusionOk="0">
                  <a:moveTo>
                    <a:pt x="1" y="1"/>
                  </a:moveTo>
                  <a:lnTo>
                    <a:pt x="1" y="121"/>
                  </a:lnTo>
                  <a:lnTo>
                    <a:pt x="69" y="121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0" name="Google Shape;4840;p52"/>
            <p:cNvSpPr/>
            <p:nvPr/>
          </p:nvSpPr>
          <p:spPr>
            <a:xfrm>
              <a:off x="4240606" y="4129458"/>
              <a:ext cx="67556" cy="80264"/>
            </a:xfrm>
            <a:custGeom>
              <a:avLst/>
              <a:gdLst/>
              <a:ahLst/>
              <a:cxnLst/>
              <a:rect l="l" t="t" r="r" b="b"/>
              <a:pathLst>
                <a:path w="2068" h="2457" extrusionOk="0">
                  <a:moveTo>
                    <a:pt x="1" y="1"/>
                  </a:moveTo>
                  <a:lnTo>
                    <a:pt x="1" y="2457"/>
                  </a:lnTo>
                  <a:lnTo>
                    <a:pt x="2068" y="2457"/>
                  </a:lnTo>
                  <a:lnTo>
                    <a:pt x="206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1" name="Google Shape;4841;p52"/>
            <p:cNvSpPr/>
            <p:nvPr/>
          </p:nvSpPr>
          <p:spPr>
            <a:xfrm>
              <a:off x="4239757" y="4127237"/>
              <a:ext cx="36653" cy="43644"/>
            </a:xfrm>
            <a:custGeom>
              <a:avLst/>
              <a:gdLst/>
              <a:ahLst/>
              <a:cxnLst/>
              <a:rect l="l" t="t" r="r" b="b"/>
              <a:pathLst>
                <a:path w="1122" h="1336" extrusionOk="0">
                  <a:moveTo>
                    <a:pt x="1041" y="82"/>
                  </a:moveTo>
                  <a:lnTo>
                    <a:pt x="1041" y="1216"/>
                  </a:lnTo>
                  <a:lnTo>
                    <a:pt x="69" y="1216"/>
                  </a:lnTo>
                  <a:lnTo>
                    <a:pt x="69" y="82"/>
                  </a:lnTo>
                  <a:close/>
                  <a:moveTo>
                    <a:pt x="1" y="1"/>
                  </a:moveTo>
                  <a:lnTo>
                    <a:pt x="1" y="1336"/>
                  </a:lnTo>
                  <a:lnTo>
                    <a:pt x="69" y="1336"/>
                  </a:lnTo>
                  <a:lnTo>
                    <a:pt x="69" y="1310"/>
                  </a:lnTo>
                  <a:lnTo>
                    <a:pt x="1122" y="1310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2" name="Google Shape;4842;p52"/>
            <p:cNvSpPr/>
            <p:nvPr/>
          </p:nvSpPr>
          <p:spPr>
            <a:xfrm>
              <a:off x="4273732" y="4127237"/>
              <a:ext cx="36555" cy="42794"/>
            </a:xfrm>
            <a:custGeom>
              <a:avLst/>
              <a:gdLst/>
              <a:ahLst/>
              <a:cxnLst/>
              <a:rect l="l" t="t" r="r" b="b"/>
              <a:pathLst>
                <a:path w="1119" h="1310" extrusionOk="0">
                  <a:moveTo>
                    <a:pt x="1054" y="82"/>
                  </a:moveTo>
                  <a:lnTo>
                    <a:pt x="1054" y="1216"/>
                  </a:lnTo>
                  <a:lnTo>
                    <a:pt x="82" y="1216"/>
                  </a:lnTo>
                  <a:lnTo>
                    <a:pt x="82" y="82"/>
                  </a:lnTo>
                  <a:close/>
                  <a:moveTo>
                    <a:pt x="1" y="1"/>
                  </a:moveTo>
                  <a:lnTo>
                    <a:pt x="1" y="1268"/>
                  </a:lnTo>
                  <a:lnTo>
                    <a:pt x="14" y="1310"/>
                  </a:lnTo>
                  <a:lnTo>
                    <a:pt x="1119" y="1310"/>
                  </a:lnTo>
                  <a:lnTo>
                    <a:pt x="111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3" name="Google Shape;4843;p52"/>
            <p:cNvSpPr/>
            <p:nvPr/>
          </p:nvSpPr>
          <p:spPr>
            <a:xfrm>
              <a:off x="4273732" y="4127237"/>
              <a:ext cx="2679" cy="42794"/>
            </a:xfrm>
            <a:custGeom>
              <a:avLst/>
              <a:gdLst/>
              <a:ahLst/>
              <a:cxnLst/>
              <a:rect l="l" t="t" r="r" b="b"/>
              <a:pathLst>
                <a:path w="82" h="1310" extrusionOk="0">
                  <a:moveTo>
                    <a:pt x="1" y="1"/>
                  </a:moveTo>
                  <a:lnTo>
                    <a:pt x="1" y="1268"/>
                  </a:lnTo>
                  <a:lnTo>
                    <a:pt x="1" y="1310"/>
                  </a:lnTo>
                  <a:lnTo>
                    <a:pt x="82" y="1310"/>
                  </a:lnTo>
                  <a:lnTo>
                    <a:pt x="82" y="40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4" name="Google Shape;4844;p52"/>
            <p:cNvSpPr/>
            <p:nvPr/>
          </p:nvSpPr>
          <p:spPr>
            <a:xfrm>
              <a:off x="4239757" y="4167778"/>
              <a:ext cx="36653" cy="43219"/>
            </a:xfrm>
            <a:custGeom>
              <a:avLst/>
              <a:gdLst/>
              <a:ahLst/>
              <a:cxnLst/>
              <a:rect l="l" t="t" r="r" b="b"/>
              <a:pathLst>
                <a:path w="1122" h="1323" extrusionOk="0">
                  <a:moveTo>
                    <a:pt x="1041" y="95"/>
                  </a:moveTo>
                  <a:lnTo>
                    <a:pt x="1041" y="1229"/>
                  </a:lnTo>
                  <a:lnTo>
                    <a:pt x="69" y="1229"/>
                  </a:lnTo>
                  <a:lnTo>
                    <a:pt x="69" y="95"/>
                  </a:lnTo>
                  <a:close/>
                  <a:moveTo>
                    <a:pt x="1" y="1"/>
                  </a:moveTo>
                  <a:lnTo>
                    <a:pt x="1" y="1323"/>
                  </a:lnTo>
                  <a:lnTo>
                    <a:pt x="1122" y="1323"/>
                  </a:lnTo>
                  <a:lnTo>
                    <a:pt x="1122" y="56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5" name="Google Shape;4845;p52"/>
            <p:cNvSpPr/>
            <p:nvPr/>
          </p:nvSpPr>
          <p:spPr>
            <a:xfrm>
              <a:off x="4239757" y="4166929"/>
              <a:ext cx="36653" cy="3953"/>
            </a:xfrm>
            <a:custGeom>
              <a:avLst/>
              <a:gdLst/>
              <a:ahLst/>
              <a:cxnLst/>
              <a:rect l="l" t="t" r="r" b="b"/>
              <a:pathLst>
                <a:path w="112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22" y="121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6" name="Google Shape;4846;p52"/>
            <p:cNvSpPr/>
            <p:nvPr/>
          </p:nvSpPr>
          <p:spPr>
            <a:xfrm>
              <a:off x="4273732" y="4166929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7" name="Google Shape;4847;p52"/>
            <p:cNvSpPr/>
            <p:nvPr/>
          </p:nvSpPr>
          <p:spPr>
            <a:xfrm>
              <a:off x="4274156" y="4166929"/>
              <a:ext cx="36653" cy="44068"/>
            </a:xfrm>
            <a:custGeom>
              <a:avLst/>
              <a:gdLst/>
              <a:ahLst/>
              <a:cxnLst/>
              <a:rect l="l" t="t" r="r" b="b"/>
              <a:pathLst>
                <a:path w="1122" h="1349" extrusionOk="0">
                  <a:moveTo>
                    <a:pt x="1041" y="121"/>
                  </a:moveTo>
                  <a:lnTo>
                    <a:pt x="1041" y="1255"/>
                  </a:lnTo>
                  <a:lnTo>
                    <a:pt x="69" y="1255"/>
                  </a:lnTo>
                  <a:lnTo>
                    <a:pt x="69" y="121"/>
                  </a:lnTo>
                  <a:close/>
                  <a:moveTo>
                    <a:pt x="1041" y="1"/>
                  </a:moveTo>
                  <a:lnTo>
                    <a:pt x="1041" y="27"/>
                  </a:lnTo>
                  <a:lnTo>
                    <a:pt x="1" y="27"/>
                  </a:lnTo>
                  <a:lnTo>
                    <a:pt x="1" y="1349"/>
                  </a:lnTo>
                  <a:lnTo>
                    <a:pt x="1122" y="1349"/>
                  </a:lnTo>
                  <a:lnTo>
                    <a:pt x="1122" y="53"/>
                  </a:lnTo>
                  <a:lnTo>
                    <a:pt x="110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8" name="Google Shape;4848;p52"/>
            <p:cNvSpPr/>
            <p:nvPr/>
          </p:nvSpPr>
          <p:spPr>
            <a:xfrm>
              <a:off x="4274156" y="4166929"/>
              <a:ext cx="36130" cy="3953"/>
            </a:xfrm>
            <a:custGeom>
              <a:avLst/>
              <a:gdLst/>
              <a:ahLst/>
              <a:cxnLst/>
              <a:rect l="l" t="t" r="r" b="b"/>
              <a:pathLst>
                <a:path w="1106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06" y="121"/>
                  </a:lnTo>
                  <a:lnTo>
                    <a:pt x="110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9" name="Google Shape;4849;p52"/>
            <p:cNvSpPr/>
            <p:nvPr/>
          </p:nvSpPr>
          <p:spPr>
            <a:xfrm>
              <a:off x="4273732" y="4167778"/>
              <a:ext cx="2679" cy="43219"/>
            </a:xfrm>
            <a:custGeom>
              <a:avLst/>
              <a:gdLst/>
              <a:ahLst/>
              <a:cxnLst/>
              <a:rect l="l" t="t" r="r" b="b"/>
              <a:pathLst>
                <a:path w="82" h="1323" extrusionOk="0">
                  <a:moveTo>
                    <a:pt x="1" y="1"/>
                  </a:moveTo>
                  <a:lnTo>
                    <a:pt x="1" y="1323"/>
                  </a:lnTo>
                  <a:lnTo>
                    <a:pt x="82" y="1323"/>
                  </a:lnTo>
                  <a:lnTo>
                    <a:pt x="82" y="56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0" name="Google Shape;4850;p52"/>
            <p:cNvSpPr/>
            <p:nvPr/>
          </p:nvSpPr>
          <p:spPr>
            <a:xfrm>
              <a:off x="4273732" y="4166929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1" name="Google Shape;4851;p52"/>
            <p:cNvSpPr/>
            <p:nvPr/>
          </p:nvSpPr>
          <p:spPr>
            <a:xfrm>
              <a:off x="4273732" y="4166929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2" name="Google Shape;4852;p52"/>
            <p:cNvSpPr/>
            <p:nvPr/>
          </p:nvSpPr>
          <p:spPr>
            <a:xfrm>
              <a:off x="4148841" y="4129458"/>
              <a:ext cx="67556" cy="80264"/>
            </a:xfrm>
            <a:custGeom>
              <a:avLst/>
              <a:gdLst/>
              <a:ahLst/>
              <a:cxnLst/>
              <a:rect l="l" t="t" r="r" b="b"/>
              <a:pathLst>
                <a:path w="2068" h="2457" extrusionOk="0">
                  <a:moveTo>
                    <a:pt x="1" y="1"/>
                  </a:moveTo>
                  <a:lnTo>
                    <a:pt x="1" y="2457"/>
                  </a:lnTo>
                  <a:lnTo>
                    <a:pt x="2068" y="2457"/>
                  </a:lnTo>
                  <a:lnTo>
                    <a:pt x="206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3" name="Google Shape;4853;p52"/>
            <p:cNvSpPr/>
            <p:nvPr/>
          </p:nvSpPr>
          <p:spPr>
            <a:xfrm>
              <a:off x="4147991" y="4127237"/>
              <a:ext cx="36653" cy="43644"/>
            </a:xfrm>
            <a:custGeom>
              <a:avLst/>
              <a:gdLst/>
              <a:ahLst/>
              <a:cxnLst/>
              <a:rect l="l" t="t" r="r" b="b"/>
              <a:pathLst>
                <a:path w="1122" h="1336" extrusionOk="0">
                  <a:moveTo>
                    <a:pt x="1054" y="82"/>
                  </a:moveTo>
                  <a:lnTo>
                    <a:pt x="1054" y="1216"/>
                  </a:lnTo>
                  <a:lnTo>
                    <a:pt x="82" y="1216"/>
                  </a:lnTo>
                  <a:lnTo>
                    <a:pt x="82" y="82"/>
                  </a:lnTo>
                  <a:close/>
                  <a:moveTo>
                    <a:pt x="1" y="1"/>
                  </a:moveTo>
                  <a:lnTo>
                    <a:pt x="1" y="1336"/>
                  </a:lnTo>
                  <a:lnTo>
                    <a:pt x="82" y="1336"/>
                  </a:lnTo>
                  <a:lnTo>
                    <a:pt x="82" y="1310"/>
                  </a:lnTo>
                  <a:lnTo>
                    <a:pt x="1122" y="1310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4" name="Google Shape;4854;p52"/>
            <p:cNvSpPr/>
            <p:nvPr/>
          </p:nvSpPr>
          <p:spPr>
            <a:xfrm>
              <a:off x="4182391" y="4127237"/>
              <a:ext cx="36653" cy="42794"/>
            </a:xfrm>
            <a:custGeom>
              <a:avLst/>
              <a:gdLst/>
              <a:ahLst/>
              <a:cxnLst/>
              <a:rect l="l" t="t" r="r" b="b"/>
              <a:pathLst>
                <a:path w="1122" h="1310" extrusionOk="0">
                  <a:moveTo>
                    <a:pt x="1041" y="82"/>
                  </a:moveTo>
                  <a:lnTo>
                    <a:pt x="1041" y="1216"/>
                  </a:lnTo>
                  <a:lnTo>
                    <a:pt x="69" y="1216"/>
                  </a:lnTo>
                  <a:lnTo>
                    <a:pt x="69" y="82"/>
                  </a:lnTo>
                  <a:close/>
                  <a:moveTo>
                    <a:pt x="1" y="1"/>
                  </a:moveTo>
                  <a:lnTo>
                    <a:pt x="1" y="1268"/>
                  </a:lnTo>
                  <a:lnTo>
                    <a:pt x="1" y="1310"/>
                  </a:lnTo>
                  <a:lnTo>
                    <a:pt x="1122" y="1310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5" name="Google Shape;4855;p52"/>
            <p:cNvSpPr/>
            <p:nvPr/>
          </p:nvSpPr>
          <p:spPr>
            <a:xfrm>
              <a:off x="4182391" y="4127237"/>
              <a:ext cx="2254" cy="42794"/>
            </a:xfrm>
            <a:custGeom>
              <a:avLst/>
              <a:gdLst/>
              <a:ahLst/>
              <a:cxnLst/>
              <a:rect l="l" t="t" r="r" b="b"/>
              <a:pathLst>
                <a:path w="69" h="1310" extrusionOk="0">
                  <a:moveTo>
                    <a:pt x="1" y="1"/>
                  </a:moveTo>
                  <a:lnTo>
                    <a:pt x="1" y="1268"/>
                  </a:lnTo>
                  <a:lnTo>
                    <a:pt x="1" y="1310"/>
                  </a:lnTo>
                  <a:lnTo>
                    <a:pt x="69" y="1310"/>
                  </a:lnTo>
                  <a:lnTo>
                    <a:pt x="69" y="40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6" name="Google Shape;4856;p52"/>
            <p:cNvSpPr/>
            <p:nvPr/>
          </p:nvSpPr>
          <p:spPr>
            <a:xfrm>
              <a:off x="4147991" y="4167778"/>
              <a:ext cx="36653" cy="43219"/>
            </a:xfrm>
            <a:custGeom>
              <a:avLst/>
              <a:gdLst/>
              <a:ahLst/>
              <a:cxnLst/>
              <a:rect l="l" t="t" r="r" b="b"/>
              <a:pathLst>
                <a:path w="1122" h="1323" extrusionOk="0">
                  <a:moveTo>
                    <a:pt x="1054" y="95"/>
                  </a:moveTo>
                  <a:lnTo>
                    <a:pt x="1054" y="1229"/>
                  </a:lnTo>
                  <a:lnTo>
                    <a:pt x="82" y="1229"/>
                  </a:lnTo>
                  <a:lnTo>
                    <a:pt x="82" y="95"/>
                  </a:lnTo>
                  <a:close/>
                  <a:moveTo>
                    <a:pt x="1" y="1"/>
                  </a:moveTo>
                  <a:lnTo>
                    <a:pt x="1" y="1323"/>
                  </a:lnTo>
                  <a:lnTo>
                    <a:pt x="1122" y="1323"/>
                  </a:lnTo>
                  <a:lnTo>
                    <a:pt x="1122" y="56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7" name="Google Shape;4857;p52"/>
            <p:cNvSpPr/>
            <p:nvPr/>
          </p:nvSpPr>
          <p:spPr>
            <a:xfrm>
              <a:off x="4147991" y="4166929"/>
              <a:ext cx="36653" cy="3953"/>
            </a:xfrm>
            <a:custGeom>
              <a:avLst/>
              <a:gdLst/>
              <a:ahLst/>
              <a:cxnLst/>
              <a:rect l="l" t="t" r="r" b="b"/>
              <a:pathLst>
                <a:path w="112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22" y="121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8" name="Google Shape;4858;p52"/>
            <p:cNvSpPr/>
            <p:nvPr/>
          </p:nvSpPr>
          <p:spPr>
            <a:xfrm>
              <a:off x="4182391" y="4166929"/>
              <a:ext cx="2254" cy="3953"/>
            </a:xfrm>
            <a:custGeom>
              <a:avLst/>
              <a:gdLst/>
              <a:ahLst/>
              <a:cxnLst/>
              <a:rect l="l" t="t" r="r" b="b"/>
              <a:pathLst>
                <a:path w="69" h="121" extrusionOk="0">
                  <a:moveTo>
                    <a:pt x="1" y="1"/>
                  </a:moveTo>
                  <a:lnTo>
                    <a:pt x="1" y="121"/>
                  </a:lnTo>
                  <a:lnTo>
                    <a:pt x="69" y="121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9" name="Google Shape;4859;p52"/>
            <p:cNvSpPr/>
            <p:nvPr/>
          </p:nvSpPr>
          <p:spPr>
            <a:xfrm>
              <a:off x="4182391" y="4166929"/>
              <a:ext cx="36653" cy="44068"/>
            </a:xfrm>
            <a:custGeom>
              <a:avLst/>
              <a:gdLst/>
              <a:ahLst/>
              <a:cxnLst/>
              <a:rect l="l" t="t" r="r" b="b"/>
              <a:pathLst>
                <a:path w="1122" h="1349" extrusionOk="0">
                  <a:moveTo>
                    <a:pt x="1041" y="121"/>
                  </a:moveTo>
                  <a:lnTo>
                    <a:pt x="1041" y="1255"/>
                  </a:lnTo>
                  <a:lnTo>
                    <a:pt x="82" y="1255"/>
                  </a:lnTo>
                  <a:lnTo>
                    <a:pt x="82" y="121"/>
                  </a:lnTo>
                  <a:close/>
                  <a:moveTo>
                    <a:pt x="1041" y="1"/>
                  </a:moveTo>
                  <a:lnTo>
                    <a:pt x="1041" y="27"/>
                  </a:lnTo>
                  <a:lnTo>
                    <a:pt x="1" y="27"/>
                  </a:lnTo>
                  <a:lnTo>
                    <a:pt x="1" y="1349"/>
                  </a:lnTo>
                  <a:lnTo>
                    <a:pt x="1122" y="1349"/>
                  </a:lnTo>
                  <a:lnTo>
                    <a:pt x="1122" y="53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0" name="Google Shape;4860;p52"/>
            <p:cNvSpPr/>
            <p:nvPr/>
          </p:nvSpPr>
          <p:spPr>
            <a:xfrm>
              <a:off x="4182391" y="4166929"/>
              <a:ext cx="36653" cy="3953"/>
            </a:xfrm>
            <a:custGeom>
              <a:avLst/>
              <a:gdLst/>
              <a:ahLst/>
              <a:cxnLst/>
              <a:rect l="l" t="t" r="r" b="b"/>
              <a:pathLst>
                <a:path w="112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22" y="121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1" name="Google Shape;4861;p52"/>
            <p:cNvSpPr/>
            <p:nvPr/>
          </p:nvSpPr>
          <p:spPr>
            <a:xfrm>
              <a:off x="4182391" y="4167778"/>
              <a:ext cx="2679" cy="43219"/>
            </a:xfrm>
            <a:custGeom>
              <a:avLst/>
              <a:gdLst/>
              <a:ahLst/>
              <a:cxnLst/>
              <a:rect l="l" t="t" r="r" b="b"/>
              <a:pathLst>
                <a:path w="82" h="1323" extrusionOk="0">
                  <a:moveTo>
                    <a:pt x="1" y="1"/>
                  </a:moveTo>
                  <a:lnTo>
                    <a:pt x="1" y="1323"/>
                  </a:lnTo>
                  <a:lnTo>
                    <a:pt x="82" y="1323"/>
                  </a:lnTo>
                  <a:lnTo>
                    <a:pt x="82" y="56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2" name="Google Shape;4862;p52"/>
            <p:cNvSpPr/>
            <p:nvPr/>
          </p:nvSpPr>
          <p:spPr>
            <a:xfrm>
              <a:off x="4182391" y="4166929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3" name="Google Shape;4863;p52"/>
            <p:cNvSpPr/>
            <p:nvPr/>
          </p:nvSpPr>
          <p:spPr>
            <a:xfrm>
              <a:off x="4182391" y="4166929"/>
              <a:ext cx="2254" cy="3953"/>
            </a:xfrm>
            <a:custGeom>
              <a:avLst/>
              <a:gdLst/>
              <a:ahLst/>
              <a:cxnLst/>
              <a:rect l="l" t="t" r="r" b="b"/>
              <a:pathLst>
                <a:path w="69" h="121" extrusionOk="0">
                  <a:moveTo>
                    <a:pt x="1" y="1"/>
                  </a:moveTo>
                  <a:lnTo>
                    <a:pt x="1" y="121"/>
                  </a:lnTo>
                  <a:lnTo>
                    <a:pt x="69" y="121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4" name="Google Shape;4864;p52"/>
            <p:cNvSpPr/>
            <p:nvPr/>
          </p:nvSpPr>
          <p:spPr>
            <a:xfrm>
              <a:off x="4074749" y="3940635"/>
              <a:ext cx="309198" cy="130637"/>
            </a:xfrm>
            <a:custGeom>
              <a:avLst/>
              <a:gdLst/>
              <a:ahLst/>
              <a:cxnLst/>
              <a:rect l="l" t="t" r="r" b="b"/>
              <a:pathLst>
                <a:path w="9465" h="3999" extrusionOk="0">
                  <a:moveTo>
                    <a:pt x="4715" y="1"/>
                  </a:moveTo>
                  <a:lnTo>
                    <a:pt x="4132" y="487"/>
                  </a:lnTo>
                  <a:lnTo>
                    <a:pt x="1" y="3970"/>
                  </a:lnTo>
                  <a:lnTo>
                    <a:pt x="1070" y="3999"/>
                  </a:lnTo>
                  <a:lnTo>
                    <a:pt x="4728" y="986"/>
                  </a:lnTo>
                  <a:lnTo>
                    <a:pt x="8386" y="3999"/>
                  </a:lnTo>
                  <a:lnTo>
                    <a:pt x="9465" y="3970"/>
                  </a:lnTo>
                  <a:lnTo>
                    <a:pt x="5334" y="487"/>
                  </a:lnTo>
                  <a:lnTo>
                    <a:pt x="475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5" name="Google Shape;4865;p52"/>
            <p:cNvSpPr/>
            <p:nvPr/>
          </p:nvSpPr>
          <p:spPr>
            <a:xfrm>
              <a:off x="3761655" y="4038542"/>
              <a:ext cx="260719" cy="299986"/>
            </a:xfrm>
            <a:custGeom>
              <a:avLst/>
              <a:gdLst/>
              <a:ahLst/>
              <a:cxnLst/>
              <a:rect l="l" t="t" r="r" b="b"/>
              <a:pathLst>
                <a:path w="7981" h="9183" extrusionOk="0">
                  <a:moveTo>
                    <a:pt x="3944" y="1"/>
                  </a:moveTo>
                  <a:lnTo>
                    <a:pt x="1" y="3241"/>
                  </a:lnTo>
                  <a:lnTo>
                    <a:pt x="1" y="9183"/>
                  </a:lnTo>
                  <a:lnTo>
                    <a:pt x="7981" y="9183"/>
                  </a:lnTo>
                  <a:lnTo>
                    <a:pt x="7981" y="3335"/>
                  </a:lnTo>
                  <a:lnTo>
                    <a:pt x="394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6" name="Google Shape;4866;p52"/>
            <p:cNvSpPr/>
            <p:nvPr/>
          </p:nvSpPr>
          <p:spPr>
            <a:xfrm>
              <a:off x="3893537" y="4227366"/>
              <a:ext cx="33582" cy="31263"/>
            </a:xfrm>
            <a:custGeom>
              <a:avLst/>
              <a:gdLst/>
              <a:ahLst/>
              <a:cxnLst/>
              <a:rect l="l" t="t" r="r" b="b"/>
              <a:pathLst>
                <a:path w="1028" h="957" extrusionOk="0">
                  <a:moveTo>
                    <a:pt x="1" y="1"/>
                  </a:moveTo>
                  <a:lnTo>
                    <a:pt x="1" y="957"/>
                  </a:lnTo>
                  <a:lnTo>
                    <a:pt x="1028" y="957"/>
                  </a:lnTo>
                  <a:lnTo>
                    <a:pt x="1028" y="513"/>
                  </a:lnTo>
                  <a:cubicBezTo>
                    <a:pt x="947" y="296"/>
                    <a:pt x="798" y="121"/>
                    <a:pt x="607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7" name="Google Shape;4867;p52"/>
            <p:cNvSpPr/>
            <p:nvPr/>
          </p:nvSpPr>
          <p:spPr>
            <a:xfrm>
              <a:off x="3876811" y="4220701"/>
              <a:ext cx="14112" cy="3103"/>
            </a:xfrm>
            <a:custGeom>
              <a:avLst/>
              <a:gdLst/>
              <a:ahLst/>
              <a:cxnLst/>
              <a:rect l="l" t="t" r="r" b="b"/>
              <a:pathLst>
                <a:path w="432" h="95" extrusionOk="0">
                  <a:moveTo>
                    <a:pt x="432" y="1"/>
                  </a:moveTo>
                  <a:cubicBezTo>
                    <a:pt x="283" y="1"/>
                    <a:pt x="134" y="43"/>
                    <a:pt x="1" y="95"/>
                  </a:cubicBezTo>
                  <a:lnTo>
                    <a:pt x="432" y="95"/>
                  </a:lnTo>
                  <a:lnTo>
                    <a:pt x="432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8" name="Google Shape;4868;p52"/>
            <p:cNvSpPr/>
            <p:nvPr/>
          </p:nvSpPr>
          <p:spPr>
            <a:xfrm>
              <a:off x="3893537" y="4297439"/>
              <a:ext cx="33582" cy="33158"/>
            </a:xfrm>
            <a:custGeom>
              <a:avLst/>
              <a:gdLst/>
              <a:ahLst/>
              <a:cxnLst/>
              <a:rect l="l" t="t" r="r" b="b"/>
              <a:pathLst>
                <a:path w="1028" h="1015" extrusionOk="0">
                  <a:moveTo>
                    <a:pt x="1" y="1"/>
                  </a:moveTo>
                  <a:lnTo>
                    <a:pt x="1" y="1015"/>
                  </a:lnTo>
                  <a:lnTo>
                    <a:pt x="1028" y="1015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9" name="Google Shape;4869;p52"/>
            <p:cNvSpPr/>
            <p:nvPr/>
          </p:nvSpPr>
          <p:spPr>
            <a:xfrm>
              <a:off x="3857341" y="4297439"/>
              <a:ext cx="33582" cy="33158"/>
            </a:xfrm>
            <a:custGeom>
              <a:avLst/>
              <a:gdLst/>
              <a:ahLst/>
              <a:cxnLst/>
              <a:rect l="l" t="t" r="r" b="b"/>
              <a:pathLst>
                <a:path w="1028" h="1015" extrusionOk="0">
                  <a:moveTo>
                    <a:pt x="1" y="1"/>
                  </a:moveTo>
                  <a:lnTo>
                    <a:pt x="1" y="1015"/>
                  </a:lnTo>
                  <a:lnTo>
                    <a:pt x="1028" y="1015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0" name="Google Shape;4870;p52"/>
            <p:cNvSpPr/>
            <p:nvPr/>
          </p:nvSpPr>
          <p:spPr>
            <a:xfrm>
              <a:off x="3857341" y="4227366"/>
              <a:ext cx="33582" cy="31263"/>
            </a:xfrm>
            <a:custGeom>
              <a:avLst/>
              <a:gdLst/>
              <a:ahLst/>
              <a:cxnLst/>
              <a:rect l="l" t="t" r="r" b="b"/>
              <a:pathLst>
                <a:path w="1028" h="957" extrusionOk="0">
                  <a:moveTo>
                    <a:pt x="419" y="1"/>
                  </a:moveTo>
                  <a:cubicBezTo>
                    <a:pt x="231" y="121"/>
                    <a:pt x="82" y="296"/>
                    <a:pt x="1" y="500"/>
                  </a:cubicBezTo>
                  <a:lnTo>
                    <a:pt x="1" y="957"/>
                  </a:lnTo>
                  <a:lnTo>
                    <a:pt x="1028" y="957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1" name="Google Shape;4871;p52"/>
            <p:cNvSpPr/>
            <p:nvPr/>
          </p:nvSpPr>
          <p:spPr>
            <a:xfrm>
              <a:off x="3893537" y="4262615"/>
              <a:ext cx="33582" cy="31785"/>
            </a:xfrm>
            <a:custGeom>
              <a:avLst/>
              <a:gdLst/>
              <a:ahLst/>
              <a:cxnLst/>
              <a:rect l="l" t="t" r="r" b="b"/>
              <a:pathLst>
                <a:path w="1028" h="973" extrusionOk="0">
                  <a:moveTo>
                    <a:pt x="1" y="1"/>
                  </a:moveTo>
                  <a:lnTo>
                    <a:pt x="1" y="973"/>
                  </a:lnTo>
                  <a:lnTo>
                    <a:pt x="1028" y="973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2" name="Google Shape;4872;p52"/>
            <p:cNvSpPr/>
            <p:nvPr/>
          </p:nvSpPr>
          <p:spPr>
            <a:xfrm>
              <a:off x="3857341" y="4262615"/>
              <a:ext cx="33582" cy="31785"/>
            </a:xfrm>
            <a:custGeom>
              <a:avLst/>
              <a:gdLst/>
              <a:ahLst/>
              <a:cxnLst/>
              <a:rect l="l" t="t" r="r" b="b"/>
              <a:pathLst>
                <a:path w="1028" h="973" extrusionOk="0">
                  <a:moveTo>
                    <a:pt x="1" y="1"/>
                  </a:moveTo>
                  <a:lnTo>
                    <a:pt x="1" y="973"/>
                  </a:lnTo>
                  <a:lnTo>
                    <a:pt x="1028" y="973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3" name="Google Shape;4873;p52"/>
            <p:cNvSpPr/>
            <p:nvPr/>
          </p:nvSpPr>
          <p:spPr>
            <a:xfrm>
              <a:off x="3893537" y="4220701"/>
              <a:ext cx="14112" cy="3103"/>
            </a:xfrm>
            <a:custGeom>
              <a:avLst/>
              <a:gdLst/>
              <a:ahLst/>
              <a:cxnLst/>
              <a:rect l="l" t="t" r="r" b="b"/>
              <a:pathLst>
                <a:path w="432" h="95" extrusionOk="0">
                  <a:moveTo>
                    <a:pt x="1" y="1"/>
                  </a:moveTo>
                  <a:lnTo>
                    <a:pt x="1" y="95"/>
                  </a:lnTo>
                  <a:lnTo>
                    <a:pt x="432" y="95"/>
                  </a:lnTo>
                  <a:cubicBezTo>
                    <a:pt x="299" y="43"/>
                    <a:pt x="150" y="1"/>
                    <a:pt x="1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4" name="Google Shape;4874;p52"/>
            <p:cNvSpPr/>
            <p:nvPr/>
          </p:nvSpPr>
          <p:spPr>
            <a:xfrm>
              <a:off x="3854270" y="4253827"/>
              <a:ext cx="457" cy="77193"/>
            </a:xfrm>
            <a:custGeom>
              <a:avLst/>
              <a:gdLst/>
              <a:ahLst/>
              <a:cxnLst/>
              <a:rect l="l" t="t" r="r" b="b"/>
              <a:pathLst>
                <a:path w="14" h="2363" extrusionOk="0">
                  <a:moveTo>
                    <a:pt x="14" y="1"/>
                  </a:moveTo>
                  <a:cubicBezTo>
                    <a:pt x="1" y="53"/>
                    <a:pt x="1" y="108"/>
                    <a:pt x="1" y="163"/>
                  </a:cubicBezTo>
                  <a:lnTo>
                    <a:pt x="14" y="163"/>
                  </a:lnTo>
                  <a:lnTo>
                    <a:pt x="14" y="1"/>
                  </a:lnTo>
                  <a:close/>
                  <a:moveTo>
                    <a:pt x="1" y="1349"/>
                  </a:moveTo>
                  <a:lnTo>
                    <a:pt x="1" y="2363"/>
                  </a:lnTo>
                  <a:lnTo>
                    <a:pt x="14" y="2363"/>
                  </a:lnTo>
                  <a:lnTo>
                    <a:pt x="14" y="1349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5" name="Google Shape;4875;p52"/>
            <p:cNvSpPr/>
            <p:nvPr/>
          </p:nvSpPr>
          <p:spPr>
            <a:xfrm>
              <a:off x="3929734" y="4254252"/>
              <a:ext cx="457" cy="76769"/>
            </a:xfrm>
            <a:custGeom>
              <a:avLst/>
              <a:gdLst/>
              <a:ahLst/>
              <a:cxnLst/>
              <a:rect l="l" t="t" r="r" b="b"/>
              <a:pathLst>
                <a:path w="14" h="2350" extrusionOk="0">
                  <a:moveTo>
                    <a:pt x="1" y="1"/>
                  </a:moveTo>
                  <a:lnTo>
                    <a:pt x="1" y="283"/>
                  </a:lnTo>
                  <a:lnTo>
                    <a:pt x="1" y="1242"/>
                  </a:lnTo>
                  <a:lnTo>
                    <a:pt x="1" y="1284"/>
                  </a:lnTo>
                  <a:lnTo>
                    <a:pt x="1" y="2350"/>
                  </a:lnTo>
                  <a:lnTo>
                    <a:pt x="14" y="2350"/>
                  </a:lnTo>
                  <a:lnTo>
                    <a:pt x="14" y="150"/>
                  </a:lnTo>
                  <a:cubicBezTo>
                    <a:pt x="14" y="95"/>
                    <a:pt x="1" y="53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6" name="Google Shape;4876;p52"/>
            <p:cNvSpPr/>
            <p:nvPr/>
          </p:nvSpPr>
          <p:spPr>
            <a:xfrm>
              <a:off x="3890466" y="4221126"/>
              <a:ext cx="457" cy="3103"/>
            </a:xfrm>
            <a:custGeom>
              <a:avLst/>
              <a:gdLst/>
              <a:ahLst/>
              <a:cxnLst/>
              <a:rect l="l" t="t" r="r" b="b"/>
              <a:pathLst>
                <a:path w="14" h="95" extrusionOk="0">
                  <a:moveTo>
                    <a:pt x="1" y="1"/>
                  </a:moveTo>
                  <a:lnTo>
                    <a:pt x="1" y="95"/>
                  </a:lnTo>
                  <a:lnTo>
                    <a:pt x="14" y="95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7" name="Google Shape;4877;p52"/>
            <p:cNvSpPr/>
            <p:nvPr/>
          </p:nvSpPr>
          <p:spPr>
            <a:xfrm>
              <a:off x="3893112" y="4221126"/>
              <a:ext cx="457" cy="3103"/>
            </a:xfrm>
            <a:custGeom>
              <a:avLst/>
              <a:gdLst/>
              <a:ahLst/>
              <a:cxnLst/>
              <a:rect l="l" t="t" r="r" b="b"/>
              <a:pathLst>
                <a:path w="14" h="95" extrusionOk="0">
                  <a:moveTo>
                    <a:pt x="1" y="1"/>
                  </a:moveTo>
                  <a:lnTo>
                    <a:pt x="1" y="95"/>
                  </a:lnTo>
                  <a:lnTo>
                    <a:pt x="14" y="95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8" name="Google Shape;4878;p52"/>
            <p:cNvSpPr/>
            <p:nvPr/>
          </p:nvSpPr>
          <p:spPr>
            <a:xfrm>
              <a:off x="3890891" y="4221126"/>
              <a:ext cx="2254" cy="3103"/>
            </a:xfrm>
            <a:custGeom>
              <a:avLst/>
              <a:gdLst/>
              <a:ahLst/>
              <a:cxnLst/>
              <a:rect l="l" t="t" r="r" b="b"/>
              <a:pathLst>
                <a:path w="69" h="95" extrusionOk="0">
                  <a:moveTo>
                    <a:pt x="1" y="1"/>
                  </a:moveTo>
                  <a:lnTo>
                    <a:pt x="1" y="95"/>
                  </a:lnTo>
                  <a:lnTo>
                    <a:pt x="69" y="95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9" name="Google Shape;4879;p52"/>
            <p:cNvSpPr/>
            <p:nvPr/>
          </p:nvSpPr>
          <p:spPr>
            <a:xfrm>
              <a:off x="3856916" y="4261765"/>
              <a:ext cx="33582" cy="1731"/>
            </a:xfrm>
            <a:custGeom>
              <a:avLst/>
              <a:gdLst/>
              <a:ahLst/>
              <a:cxnLst/>
              <a:rect l="l" t="t" r="r" b="b"/>
              <a:pathLst>
                <a:path w="1028" h="53" extrusionOk="0">
                  <a:moveTo>
                    <a:pt x="1" y="1"/>
                  </a:moveTo>
                  <a:lnTo>
                    <a:pt x="1" y="53"/>
                  </a:lnTo>
                  <a:lnTo>
                    <a:pt x="1028" y="53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0" name="Google Shape;4880;p52"/>
            <p:cNvSpPr/>
            <p:nvPr/>
          </p:nvSpPr>
          <p:spPr>
            <a:xfrm>
              <a:off x="3854694" y="4244092"/>
              <a:ext cx="2254" cy="15060"/>
            </a:xfrm>
            <a:custGeom>
              <a:avLst/>
              <a:gdLst/>
              <a:ahLst/>
              <a:cxnLst/>
              <a:rect l="l" t="t" r="r" b="b"/>
              <a:pathLst>
                <a:path w="69" h="461" extrusionOk="0">
                  <a:moveTo>
                    <a:pt x="69" y="1"/>
                  </a:moveTo>
                  <a:cubicBezTo>
                    <a:pt x="43" y="95"/>
                    <a:pt x="14" y="202"/>
                    <a:pt x="1" y="299"/>
                  </a:cubicBezTo>
                  <a:lnTo>
                    <a:pt x="1" y="461"/>
                  </a:lnTo>
                  <a:lnTo>
                    <a:pt x="69" y="461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1" name="Google Shape;4881;p52"/>
            <p:cNvSpPr/>
            <p:nvPr/>
          </p:nvSpPr>
          <p:spPr>
            <a:xfrm>
              <a:off x="3875439" y="4224197"/>
              <a:ext cx="15060" cy="980"/>
            </a:xfrm>
            <a:custGeom>
              <a:avLst/>
              <a:gdLst/>
              <a:ahLst/>
              <a:cxnLst/>
              <a:rect l="l" t="t" r="r" b="b"/>
              <a:pathLst>
                <a:path w="461" h="30" extrusionOk="0">
                  <a:moveTo>
                    <a:pt x="43" y="1"/>
                  </a:moveTo>
                  <a:cubicBezTo>
                    <a:pt x="27" y="17"/>
                    <a:pt x="14" y="17"/>
                    <a:pt x="1" y="30"/>
                  </a:cubicBezTo>
                  <a:lnTo>
                    <a:pt x="461" y="30"/>
                  </a:lnTo>
                  <a:lnTo>
                    <a:pt x="46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2" name="Google Shape;4882;p52"/>
            <p:cNvSpPr/>
            <p:nvPr/>
          </p:nvSpPr>
          <p:spPr>
            <a:xfrm>
              <a:off x="3870571" y="4226843"/>
              <a:ext cx="19927" cy="980"/>
            </a:xfrm>
            <a:custGeom>
              <a:avLst/>
              <a:gdLst/>
              <a:ahLst/>
              <a:cxnLst/>
              <a:rect l="l" t="t" r="r" b="b"/>
              <a:pathLst>
                <a:path w="610" h="30" extrusionOk="0">
                  <a:moveTo>
                    <a:pt x="43" y="1"/>
                  </a:moveTo>
                  <a:cubicBezTo>
                    <a:pt x="30" y="17"/>
                    <a:pt x="14" y="17"/>
                    <a:pt x="1" y="30"/>
                  </a:cubicBezTo>
                  <a:lnTo>
                    <a:pt x="610" y="30"/>
                  </a:lnTo>
                  <a:lnTo>
                    <a:pt x="61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3" name="Google Shape;4883;p52"/>
            <p:cNvSpPr/>
            <p:nvPr/>
          </p:nvSpPr>
          <p:spPr>
            <a:xfrm>
              <a:off x="3871943" y="4225144"/>
              <a:ext cx="18555" cy="1731"/>
            </a:xfrm>
            <a:custGeom>
              <a:avLst/>
              <a:gdLst/>
              <a:ahLst/>
              <a:cxnLst/>
              <a:rect l="l" t="t" r="r" b="b"/>
              <a:pathLst>
                <a:path w="568" h="53" extrusionOk="0">
                  <a:moveTo>
                    <a:pt x="108" y="1"/>
                  </a:moveTo>
                  <a:cubicBezTo>
                    <a:pt x="69" y="14"/>
                    <a:pt x="27" y="40"/>
                    <a:pt x="1" y="53"/>
                  </a:cubicBezTo>
                  <a:lnTo>
                    <a:pt x="568" y="53"/>
                  </a:lnTo>
                  <a:lnTo>
                    <a:pt x="568" y="14"/>
                  </a:lnTo>
                  <a:lnTo>
                    <a:pt x="56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4" name="Google Shape;4884;p52"/>
            <p:cNvSpPr/>
            <p:nvPr/>
          </p:nvSpPr>
          <p:spPr>
            <a:xfrm>
              <a:off x="3890466" y="4224197"/>
              <a:ext cx="457" cy="980"/>
            </a:xfrm>
            <a:custGeom>
              <a:avLst/>
              <a:gdLst/>
              <a:ahLst/>
              <a:cxnLst/>
              <a:rect l="l" t="t" r="r" b="b"/>
              <a:pathLst>
                <a:path w="14" h="30" extrusionOk="0">
                  <a:moveTo>
                    <a:pt x="1" y="1"/>
                  </a:moveTo>
                  <a:lnTo>
                    <a:pt x="1" y="30"/>
                  </a:lnTo>
                  <a:lnTo>
                    <a:pt x="14" y="30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5" name="Google Shape;4885;p52"/>
            <p:cNvSpPr/>
            <p:nvPr/>
          </p:nvSpPr>
          <p:spPr>
            <a:xfrm>
              <a:off x="3890466" y="4226843"/>
              <a:ext cx="457" cy="980"/>
            </a:xfrm>
            <a:custGeom>
              <a:avLst/>
              <a:gdLst/>
              <a:ahLst/>
              <a:cxnLst/>
              <a:rect l="l" t="t" r="r" b="b"/>
              <a:pathLst>
                <a:path w="14" h="30" extrusionOk="0">
                  <a:moveTo>
                    <a:pt x="1" y="1"/>
                  </a:moveTo>
                  <a:lnTo>
                    <a:pt x="1" y="30"/>
                  </a:lnTo>
                  <a:lnTo>
                    <a:pt x="14" y="30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6" name="Google Shape;4886;p52"/>
            <p:cNvSpPr/>
            <p:nvPr/>
          </p:nvSpPr>
          <p:spPr>
            <a:xfrm>
              <a:off x="3890466" y="4225569"/>
              <a:ext cx="457" cy="1307"/>
            </a:xfrm>
            <a:custGeom>
              <a:avLst/>
              <a:gdLst/>
              <a:ahLst/>
              <a:cxnLst/>
              <a:rect l="l" t="t" r="r" b="b"/>
              <a:pathLst>
                <a:path w="14" h="40" extrusionOk="0">
                  <a:moveTo>
                    <a:pt x="1" y="1"/>
                  </a:moveTo>
                  <a:lnTo>
                    <a:pt x="1" y="40"/>
                  </a:lnTo>
                  <a:lnTo>
                    <a:pt x="14" y="4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7" name="Google Shape;4887;p52"/>
            <p:cNvSpPr/>
            <p:nvPr/>
          </p:nvSpPr>
          <p:spPr>
            <a:xfrm>
              <a:off x="3890466" y="4225144"/>
              <a:ext cx="457" cy="1731"/>
            </a:xfrm>
            <a:custGeom>
              <a:avLst/>
              <a:gdLst/>
              <a:ahLst/>
              <a:cxnLst/>
              <a:rect l="l" t="t" r="r" b="b"/>
              <a:pathLst>
                <a:path w="14" h="53" extrusionOk="0">
                  <a:moveTo>
                    <a:pt x="1" y="1"/>
                  </a:moveTo>
                  <a:lnTo>
                    <a:pt x="1" y="14"/>
                  </a:lnTo>
                  <a:lnTo>
                    <a:pt x="14" y="53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8" name="Google Shape;4888;p52"/>
            <p:cNvSpPr/>
            <p:nvPr/>
          </p:nvSpPr>
          <p:spPr>
            <a:xfrm>
              <a:off x="3893537" y="4261765"/>
              <a:ext cx="33582" cy="1731"/>
            </a:xfrm>
            <a:custGeom>
              <a:avLst/>
              <a:gdLst/>
              <a:ahLst/>
              <a:cxnLst/>
              <a:rect l="l" t="t" r="r" b="b"/>
              <a:pathLst>
                <a:path w="1028" h="53" extrusionOk="0">
                  <a:moveTo>
                    <a:pt x="1" y="1"/>
                  </a:moveTo>
                  <a:lnTo>
                    <a:pt x="1" y="53"/>
                  </a:lnTo>
                  <a:lnTo>
                    <a:pt x="1028" y="53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9" name="Google Shape;4889;p52"/>
            <p:cNvSpPr/>
            <p:nvPr/>
          </p:nvSpPr>
          <p:spPr>
            <a:xfrm>
              <a:off x="3927088" y="4244517"/>
              <a:ext cx="2679" cy="14635"/>
            </a:xfrm>
            <a:custGeom>
              <a:avLst/>
              <a:gdLst/>
              <a:ahLst/>
              <a:cxnLst/>
              <a:rect l="l" t="t" r="r" b="b"/>
              <a:pathLst>
                <a:path w="82" h="448" extrusionOk="0">
                  <a:moveTo>
                    <a:pt x="1" y="1"/>
                  </a:moveTo>
                  <a:lnTo>
                    <a:pt x="1" y="448"/>
                  </a:lnTo>
                  <a:lnTo>
                    <a:pt x="82" y="448"/>
                  </a:lnTo>
                  <a:lnTo>
                    <a:pt x="82" y="299"/>
                  </a:lnTo>
                  <a:cubicBezTo>
                    <a:pt x="66" y="189"/>
                    <a:pt x="40" y="95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0" name="Google Shape;4890;p52"/>
            <p:cNvSpPr/>
            <p:nvPr/>
          </p:nvSpPr>
          <p:spPr>
            <a:xfrm>
              <a:off x="3893537" y="4224197"/>
              <a:ext cx="15484" cy="980"/>
            </a:xfrm>
            <a:custGeom>
              <a:avLst/>
              <a:gdLst/>
              <a:ahLst/>
              <a:cxnLst/>
              <a:rect l="l" t="t" r="r" b="b"/>
              <a:pathLst>
                <a:path w="474" h="30" extrusionOk="0">
                  <a:moveTo>
                    <a:pt x="1" y="1"/>
                  </a:moveTo>
                  <a:lnTo>
                    <a:pt x="1" y="30"/>
                  </a:lnTo>
                  <a:lnTo>
                    <a:pt x="474" y="30"/>
                  </a:lnTo>
                  <a:cubicBezTo>
                    <a:pt x="461" y="17"/>
                    <a:pt x="432" y="17"/>
                    <a:pt x="41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1" name="Google Shape;4891;p52"/>
            <p:cNvSpPr/>
            <p:nvPr/>
          </p:nvSpPr>
          <p:spPr>
            <a:xfrm>
              <a:off x="3893537" y="4226843"/>
              <a:ext cx="19829" cy="980"/>
            </a:xfrm>
            <a:custGeom>
              <a:avLst/>
              <a:gdLst/>
              <a:ahLst/>
              <a:cxnLst/>
              <a:rect l="l" t="t" r="r" b="b"/>
              <a:pathLst>
                <a:path w="607" h="30" extrusionOk="0">
                  <a:moveTo>
                    <a:pt x="1" y="1"/>
                  </a:moveTo>
                  <a:lnTo>
                    <a:pt x="1" y="30"/>
                  </a:lnTo>
                  <a:lnTo>
                    <a:pt x="607" y="30"/>
                  </a:lnTo>
                  <a:cubicBezTo>
                    <a:pt x="594" y="17"/>
                    <a:pt x="581" y="17"/>
                    <a:pt x="568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2" name="Google Shape;4892;p52"/>
            <p:cNvSpPr/>
            <p:nvPr/>
          </p:nvSpPr>
          <p:spPr>
            <a:xfrm>
              <a:off x="3893537" y="4225144"/>
              <a:ext cx="18555" cy="1731"/>
            </a:xfrm>
            <a:custGeom>
              <a:avLst/>
              <a:gdLst/>
              <a:ahLst/>
              <a:cxnLst/>
              <a:rect l="l" t="t" r="r" b="b"/>
              <a:pathLst>
                <a:path w="568" h="53" extrusionOk="0">
                  <a:moveTo>
                    <a:pt x="1" y="1"/>
                  </a:moveTo>
                  <a:lnTo>
                    <a:pt x="1" y="27"/>
                  </a:lnTo>
                  <a:lnTo>
                    <a:pt x="1" y="40"/>
                  </a:lnTo>
                  <a:lnTo>
                    <a:pt x="1" y="53"/>
                  </a:lnTo>
                  <a:lnTo>
                    <a:pt x="568" y="53"/>
                  </a:lnTo>
                  <a:cubicBezTo>
                    <a:pt x="542" y="40"/>
                    <a:pt x="500" y="14"/>
                    <a:pt x="47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3" name="Google Shape;4893;p52"/>
            <p:cNvSpPr/>
            <p:nvPr/>
          </p:nvSpPr>
          <p:spPr>
            <a:xfrm>
              <a:off x="3890891" y="4227790"/>
              <a:ext cx="33" cy="31361"/>
            </a:xfrm>
            <a:custGeom>
              <a:avLst/>
              <a:gdLst/>
              <a:ahLst/>
              <a:cxnLst/>
              <a:rect l="l" t="t" r="r" b="b"/>
              <a:pathLst>
                <a:path w="1" h="960" extrusionOk="0">
                  <a:moveTo>
                    <a:pt x="1" y="1"/>
                  </a:moveTo>
                  <a:lnTo>
                    <a:pt x="1" y="960"/>
                  </a:lnTo>
                  <a:lnTo>
                    <a:pt x="1" y="960"/>
                  </a:lnTo>
                  <a:lnTo>
                    <a:pt x="1" y="96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4" name="Google Shape;4894;p52"/>
            <p:cNvSpPr/>
            <p:nvPr/>
          </p:nvSpPr>
          <p:spPr>
            <a:xfrm>
              <a:off x="3893537" y="4227790"/>
              <a:ext cx="33" cy="31361"/>
            </a:xfrm>
            <a:custGeom>
              <a:avLst/>
              <a:gdLst/>
              <a:ahLst/>
              <a:cxnLst/>
              <a:rect l="l" t="t" r="r" b="b"/>
              <a:pathLst>
                <a:path w="1" h="960" extrusionOk="0">
                  <a:moveTo>
                    <a:pt x="1" y="1"/>
                  </a:moveTo>
                  <a:lnTo>
                    <a:pt x="1" y="960"/>
                  </a:lnTo>
                  <a:lnTo>
                    <a:pt x="1" y="96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5" name="Google Shape;4895;p52"/>
            <p:cNvSpPr/>
            <p:nvPr/>
          </p:nvSpPr>
          <p:spPr>
            <a:xfrm>
              <a:off x="3893537" y="4261765"/>
              <a:ext cx="33" cy="1731"/>
            </a:xfrm>
            <a:custGeom>
              <a:avLst/>
              <a:gdLst/>
              <a:ahLst/>
              <a:cxnLst/>
              <a:rect l="l" t="t" r="r" b="b"/>
              <a:pathLst>
                <a:path w="1" h="53" extrusionOk="0">
                  <a:moveTo>
                    <a:pt x="1" y="53"/>
                  </a:moveTo>
                  <a:lnTo>
                    <a:pt x="1" y="53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6" name="Google Shape;4896;p52"/>
            <p:cNvSpPr/>
            <p:nvPr/>
          </p:nvSpPr>
          <p:spPr>
            <a:xfrm>
              <a:off x="3890891" y="4227790"/>
              <a:ext cx="2679" cy="31361"/>
            </a:xfrm>
            <a:custGeom>
              <a:avLst/>
              <a:gdLst/>
              <a:ahLst/>
              <a:cxnLst/>
              <a:rect l="l" t="t" r="r" b="b"/>
              <a:pathLst>
                <a:path w="82" h="960" extrusionOk="0">
                  <a:moveTo>
                    <a:pt x="1" y="1"/>
                  </a:moveTo>
                  <a:lnTo>
                    <a:pt x="1" y="960"/>
                  </a:lnTo>
                  <a:lnTo>
                    <a:pt x="82" y="960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7" name="Google Shape;4897;p52"/>
            <p:cNvSpPr/>
            <p:nvPr/>
          </p:nvSpPr>
          <p:spPr>
            <a:xfrm>
              <a:off x="3893537" y="4226843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8" name="Google Shape;4898;p52"/>
            <p:cNvSpPr/>
            <p:nvPr/>
          </p:nvSpPr>
          <p:spPr>
            <a:xfrm>
              <a:off x="3893537" y="4225994"/>
              <a:ext cx="33" cy="882"/>
            </a:xfrm>
            <a:custGeom>
              <a:avLst/>
              <a:gdLst/>
              <a:ahLst/>
              <a:cxnLst/>
              <a:rect l="l" t="t" r="r" b="b"/>
              <a:pathLst>
                <a:path w="1" h="27" extrusionOk="0">
                  <a:moveTo>
                    <a:pt x="1" y="27"/>
                  </a:moveTo>
                  <a:lnTo>
                    <a:pt x="1" y="27"/>
                  </a:lnTo>
                  <a:lnTo>
                    <a:pt x="1" y="1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9" name="Google Shape;4899;p52"/>
            <p:cNvSpPr/>
            <p:nvPr/>
          </p:nvSpPr>
          <p:spPr>
            <a:xfrm>
              <a:off x="3893537" y="4224197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3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0" name="Google Shape;4900;p52"/>
            <p:cNvSpPr/>
            <p:nvPr/>
          </p:nvSpPr>
          <p:spPr>
            <a:xfrm>
              <a:off x="3893537" y="4224197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3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1" name="Google Shape;4901;p52"/>
            <p:cNvSpPr/>
            <p:nvPr/>
          </p:nvSpPr>
          <p:spPr>
            <a:xfrm>
              <a:off x="3893537" y="4225144"/>
              <a:ext cx="33" cy="882"/>
            </a:xfrm>
            <a:custGeom>
              <a:avLst/>
              <a:gdLst/>
              <a:ahLst/>
              <a:cxnLst/>
              <a:rect l="l" t="t" r="r" b="b"/>
              <a:pathLst>
                <a:path w="1" h="27" extrusionOk="0">
                  <a:moveTo>
                    <a:pt x="1" y="1"/>
                  </a:moveTo>
                  <a:lnTo>
                    <a:pt x="1" y="14"/>
                  </a:lnTo>
                  <a:lnTo>
                    <a:pt x="1" y="27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2" name="Google Shape;4902;p52"/>
            <p:cNvSpPr/>
            <p:nvPr/>
          </p:nvSpPr>
          <p:spPr>
            <a:xfrm>
              <a:off x="3893537" y="4225144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"/>
                  </a:moveTo>
                  <a:lnTo>
                    <a:pt x="1" y="1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3" name="Google Shape;4903;p52"/>
            <p:cNvSpPr/>
            <p:nvPr/>
          </p:nvSpPr>
          <p:spPr>
            <a:xfrm>
              <a:off x="3893537" y="4226843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1"/>
                  </a:moveTo>
                  <a:lnTo>
                    <a:pt x="1" y="1"/>
                  </a:lnTo>
                  <a:lnTo>
                    <a:pt x="1" y="30"/>
                  </a:lnTo>
                  <a:lnTo>
                    <a:pt x="1" y="3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4" name="Google Shape;4904;p52"/>
            <p:cNvSpPr/>
            <p:nvPr/>
          </p:nvSpPr>
          <p:spPr>
            <a:xfrm>
              <a:off x="3893537" y="4225569"/>
              <a:ext cx="33" cy="1307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1"/>
                  </a:moveTo>
                  <a:lnTo>
                    <a:pt x="1" y="40"/>
                  </a:lnTo>
                  <a:lnTo>
                    <a:pt x="1" y="40"/>
                  </a:lnTo>
                  <a:lnTo>
                    <a:pt x="1" y="14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5" name="Google Shape;4905;p52"/>
            <p:cNvSpPr/>
            <p:nvPr/>
          </p:nvSpPr>
          <p:spPr>
            <a:xfrm>
              <a:off x="3893537" y="4225144"/>
              <a:ext cx="33" cy="1731"/>
            </a:xfrm>
            <a:custGeom>
              <a:avLst/>
              <a:gdLst/>
              <a:ahLst/>
              <a:cxnLst/>
              <a:rect l="l" t="t" r="r" b="b"/>
              <a:pathLst>
                <a:path w="1" h="53" extrusionOk="0">
                  <a:moveTo>
                    <a:pt x="1" y="53"/>
                  </a:moveTo>
                  <a:lnTo>
                    <a:pt x="1" y="53"/>
                  </a:lnTo>
                  <a:lnTo>
                    <a:pt x="1" y="1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6" name="Google Shape;4906;p52"/>
            <p:cNvSpPr/>
            <p:nvPr/>
          </p:nvSpPr>
          <p:spPr>
            <a:xfrm>
              <a:off x="3890891" y="4224197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3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7" name="Google Shape;4907;p52"/>
            <p:cNvSpPr/>
            <p:nvPr/>
          </p:nvSpPr>
          <p:spPr>
            <a:xfrm>
              <a:off x="3890891" y="4226843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3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8" name="Google Shape;4908;p52"/>
            <p:cNvSpPr/>
            <p:nvPr/>
          </p:nvSpPr>
          <p:spPr>
            <a:xfrm>
              <a:off x="3890891" y="4225144"/>
              <a:ext cx="33" cy="1731"/>
            </a:xfrm>
            <a:custGeom>
              <a:avLst/>
              <a:gdLst/>
              <a:ahLst/>
              <a:cxnLst/>
              <a:rect l="l" t="t" r="r" b="b"/>
              <a:pathLst>
                <a:path w="1" h="53" extrusionOk="0">
                  <a:moveTo>
                    <a:pt x="1" y="53"/>
                  </a:moveTo>
                  <a:lnTo>
                    <a:pt x="1" y="53"/>
                  </a:lnTo>
                  <a:lnTo>
                    <a:pt x="1" y="1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9" name="Google Shape;4909;p52"/>
            <p:cNvSpPr/>
            <p:nvPr/>
          </p:nvSpPr>
          <p:spPr>
            <a:xfrm>
              <a:off x="3890891" y="4224197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3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0" name="Google Shape;4910;p52"/>
            <p:cNvSpPr/>
            <p:nvPr/>
          </p:nvSpPr>
          <p:spPr>
            <a:xfrm>
              <a:off x="3893112" y="4224197"/>
              <a:ext cx="457" cy="980"/>
            </a:xfrm>
            <a:custGeom>
              <a:avLst/>
              <a:gdLst/>
              <a:ahLst/>
              <a:cxnLst/>
              <a:rect l="l" t="t" r="r" b="b"/>
              <a:pathLst>
                <a:path w="14" h="30" extrusionOk="0">
                  <a:moveTo>
                    <a:pt x="1" y="1"/>
                  </a:moveTo>
                  <a:lnTo>
                    <a:pt x="1" y="30"/>
                  </a:lnTo>
                  <a:lnTo>
                    <a:pt x="14" y="30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1" name="Google Shape;4911;p52"/>
            <p:cNvSpPr/>
            <p:nvPr/>
          </p:nvSpPr>
          <p:spPr>
            <a:xfrm>
              <a:off x="3893112" y="4224197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3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2" name="Google Shape;4912;p52"/>
            <p:cNvSpPr/>
            <p:nvPr/>
          </p:nvSpPr>
          <p:spPr>
            <a:xfrm>
              <a:off x="3890891" y="4224197"/>
              <a:ext cx="2254" cy="980"/>
            </a:xfrm>
            <a:custGeom>
              <a:avLst/>
              <a:gdLst/>
              <a:ahLst/>
              <a:cxnLst/>
              <a:rect l="l" t="t" r="r" b="b"/>
              <a:pathLst>
                <a:path w="69" h="30" extrusionOk="0">
                  <a:moveTo>
                    <a:pt x="1" y="1"/>
                  </a:moveTo>
                  <a:lnTo>
                    <a:pt x="1" y="30"/>
                  </a:lnTo>
                  <a:lnTo>
                    <a:pt x="69" y="30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3" name="Google Shape;4913;p52"/>
            <p:cNvSpPr/>
            <p:nvPr/>
          </p:nvSpPr>
          <p:spPr>
            <a:xfrm>
              <a:off x="3893537" y="4225144"/>
              <a:ext cx="33" cy="33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4" name="Google Shape;4914;p52"/>
            <p:cNvSpPr/>
            <p:nvPr/>
          </p:nvSpPr>
          <p:spPr>
            <a:xfrm>
              <a:off x="3890891" y="4226843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3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5" name="Google Shape;4915;p52"/>
            <p:cNvSpPr/>
            <p:nvPr/>
          </p:nvSpPr>
          <p:spPr>
            <a:xfrm>
              <a:off x="3890891" y="4225569"/>
              <a:ext cx="33" cy="1307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40"/>
                  </a:moveTo>
                  <a:lnTo>
                    <a:pt x="1" y="4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6" name="Google Shape;4916;p52"/>
            <p:cNvSpPr/>
            <p:nvPr/>
          </p:nvSpPr>
          <p:spPr>
            <a:xfrm>
              <a:off x="3890891" y="4225144"/>
              <a:ext cx="33" cy="1731"/>
            </a:xfrm>
            <a:custGeom>
              <a:avLst/>
              <a:gdLst/>
              <a:ahLst/>
              <a:cxnLst/>
              <a:rect l="l" t="t" r="r" b="b"/>
              <a:pathLst>
                <a:path w="1" h="53" extrusionOk="0">
                  <a:moveTo>
                    <a:pt x="1" y="14"/>
                  </a:moveTo>
                  <a:lnTo>
                    <a:pt x="1" y="53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7" name="Google Shape;4917;p52"/>
            <p:cNvSpPr/>
            <p:nvPr/>
          </p:nvSpPr>
          <p:spPr>
            <a:xfrm>
              <a:off x="3893537" y="4226843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1"/>
                  </a:moveTo>
                  <a:lnTo>
                    <a:pt x="1" y="30"/>
                  </a:lnTo>
                  <a:lnTo>
                    <a:pt x="1" y="3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8" name="Google Shape;4918;p52"/>
            <p:cNvSpPr/>
            <p:nvPr/>
          </p:nvSpPr>
          <p:spPr>
            <a:xfrm>
              <a:off x="3893112" y="4225144"/>
              <a:ext cx="457" cy="1307"/>
            </a:xfrm>
            <a:custGeom>
              <a:avLst/>
              <a:gdLst/>
              <a:ahLst/>
              <a:cxnLst/>
              <a:rect l="l" t="t" r="r" b="b"/>
              <a:pathLst>
                <a:path w="14" h="40" extrusionOk="0">
                  <a:moveTo>
                    <a:pt x="1" y="1"/>
                  </a:moveTo>
                  <a:lnTo>
                    <a:pt x="1" y="14"/>
                  </a:lnTo>
                  <a:lnTo>
                    <a:pt x="14" y="40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9" name="Google Shape;4919;p52"/>
            <p:cNvSpPr/>
            <p:nvPr/>
          </p:nvSpPr>
          <p:spPr>
            <a:xfrm>
              <a:off x="3893537" y="4226843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0" name="Google Shape;4920;p52"/>
            <p:cNvSpPr/>
            <p:nvPr/>
          </p:nvSpPr>
          <p:spPr>
            <a:xfrm>
              <a:off x="3893112" y="4225569"/>
              <a:ext cx="457" cy="1307"/>
            </a:xfrm>
            <a:custGeom>
              <a:avLst/>
              <a:gdLst/>
              <a:ahLst/>
              <a:cxnLst/>
              <a:rect l="l" t="t" r="r" b="b"/>
              <a:pathLst>
                <a:path w="14" h="40" extrusionOk="0">
                  <a:moveTo>
                    <a:pt x="1" y="1"/>
                  </a:moveTo>
                  <a:lnTo>
                    <a:pt x="14" y="40"/>
                  </a:lnTo>
                  <a:lnTo>
                    <a:pt x="14" y="2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1" name="Google Shape;4921;p52"/>
            <p:cNvSpPr/>
            <p:nvPr/>
          </p:nvSpPr>
          <p:spPr>
            <a:xfrm>
              <a:off x="3893112" y="4225144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"/>
                  </a:moveTo>
                  <a:lnTo>
                    <a:pt x="1" y="14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2" name="Google Shape;4922;p52"/>
            <p:cNvSpPr/>
            <p:nvPr/>
          </p:nvSpPr>
          <p:spPr>
            <a:xfrm>
              <a:off x="3893112" y="4226843"/>
              <a:ext cx="457" cy="980"/>
            </a:xfrm>
            <a:custGeom>
              <a:avLst/>
              <a:gdLst/>
              <a:ahLst/>
              <a:cxnLst/>
              <a:rect l="l" t="t" r="r" b="b"/>
              <a:pathLst>
                <a:path w="14" h="30" extrusionOk="0">
                  <a:moveTo>
                    <a:pt x="1" y="1"/>
                  </a:moveTo>
                  <a:lnTo>
                    <a:pt x="1" y="30"/>
                  </a:lnTo>
                  <a:lnTo>
                    <a:pt x="14" y="30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3" name="Google Shape;4923;p52"/>
            <p:cNvSpPr/>
            <p:nvPr/>
          </p:nvSpPr>
          <p:spPr>
            <a:xfrm>
              <a:off x="3893112" y="4225569"/>
              <a:ext cx="457" cy="1307"/>
            </a:xfrm>
            <a:custGeom>
              <a:avLst/>
              <a:gdLst/>
              <a:ahLst/>
              <a:cxnLst/>
              <a:rect l="l" t="t" r="r" b="b"/>
              <a:pathLst>
                <a:path w="14" h="40" extrusionOk="0">
                  <a:moveTo>
                    <a:pt x="1" y="1"/>
                  </a:moveTo>
                  <a:lnTo>
                    <a:pt x="1" y="40"/>
                  </a:lnTo>
                  <a:lnTo>
                    <a:pt x="14" y="4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4" name="Google Shape;4924;p52"/>
            <p:cNvSpPr/>
            <p:nvPr/>
          </p:nvSpPr>
          <p:spPr>
            <a:xfrm>
              <a:off x="3890891" y="4226843"/>
              <a:ext cx="2254" cy="980"/>
            </a:xfrm>
            <a:custGeom>
              <a:avLst/>
              <a:gdLst/>
              <a:ahLst/>
              <a:cxnLst/>
              <a:rect l="l" t="t" r="r" b="b"/>
              <a:pathLst>
                <a:path w="69" h="30" extrusionOk="0">
                  <a:moveTo>
                    <a:pt x="1" y="1"/>
                  </a:moveTo>
                  <a:lnTo>
                    <a:pt x="1" y="30"/>
                  </a:lnTo>
                  <a:lnTo>
                    <a:pt x="69" y="30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5" name="Google Shape;4925;p52"/>
            <p:cNvSpPr/>
            <p:nvPr/>
          </p:nvSpPr>
          <p:spPr>
            <a:xfrm>
              <a:off x="3890891" y="4225144"/>
              <a:ext cx="2254" cy="1731"/>
            </a:xfrm>
            <a:custGeom>
              <a:avLst/>
              <a:gdLst/>
              <a:ahLst/>
              <a:cxnLst/>
              <a:rect l="l" t="t" r="r" b="b"/>
              <a:pathLst>
                <a:path w="69" h="53" extrusionOk="0">
                  <a:moveTo>
                    <a:pt x="1" y="1"/>
                  </a:moveTo>
                  <a:lnTo>
                    <a:pt x="1" y="53"/>
                  </a:lnTo>
                  <a:lnTo>
                    <a:pt x="69" y="53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6" name="Google Shape;4926;p52"/>
            <p:cNvSpPr/>
            <p:nvPr/>
          </p:nvSpPr>
          <p:spPr>
            <a:xfrm>
              <a:off x="3856916" y="4259119"/>
              <a:ext cx="33582" cy="1731"/>
            </a:xfrm>
            <a:custGeom>
              <a:avLst/>
              <a:gdLst/>
              <a:ahLst/>
              <a:cxnLst/>
              <a:rect l="l" t="t" r="r" b="b"/>
              <a:pathLst>
                <a:path w="1028" h="53" extrusionOk="0">
                  <a:moveTo>
                    <a:pt x="1" y="1"/>
                  </a:moveTo>
                  <a:lnTo>
                    <a:pt x="1" y="53"/>
                  </a:lnTo>
                  <a:lnTo>
                    <a:pt x="1028" y="53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7" name="Google Shape;4927;p52"/>
            <p:cNvSpPr/>
            <p:nvPr/>
          </p:nvSpPr>
          <p:spPr>
            <a:xfrm>
              <a:off x="3854270" y="4259119"/>
              <a:ext cx="2679" cy="38776"/>
            </a:xfrm>
            <a:custGeom>
              <a:avLst/>
              <a:gdLst/>
              <a:ahLst/>
              <a:cxnLst/>
              <a:rect l="l" t="t" r="r" b="b"/>
              <a:pathLst>
                <a:path w="82" h="1187" extrusionOk="0">
                  <a:moveTo>
                    <a:pt x="1" y="1"/>
                  </a:moveTo>
                  <a:lnTo>
                    <a:pt x="1" y="1187"/>
                  </a:lnTo>
                  <a:lnTo>
                    <a:pt x="14" y="1187"/>
                  </a:lnTo>
                  <a:lnTo>
                    <a:pt x="14" y="1106"/>
                  </a:lnTo>
                  <a:lnTo>
                    <a:pt x="14" y="1093"/>
                  </a:lnTo>
                  <a:lnTo>
                    <a:pt x="82" y="1093"/>
                  </a:lnTo>
                  <a:lnTo>
                    <a:pt x="82" y="134"/>
                  </a:lnTo>
                  <a:lnTo>
                    <a:pt x="14" y="134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8" name="Google Shape;4928;p52"/>
            <p:cNvSpPr/>
            <p:nvPr/>
          </p:nvSpPr>
          <p:spPr>
            <a:xfrm>
              <a:off x="3854694" y="4259119"/>
              <a:ext cx="35804" cy="4377"/>
            </a:xfrm>
            <a:custGeom>
              <a:avLst/>
              <a:gdLst/>
              <a:ahLst/>
              <a:cxnLst/>
              <a:rect l="l" t="t" r="r" b="b"/>
              <a:pathLst>
                <a:path w="1096" h="134" extrusionOk="0">
                  <a:moveTo>
                    <a:pt x="1" y="1"/>
                  </a:moveTo>
                  <a:lnTo>
                    <a:pt x="1" y="134"/>
                  </a:lnTo>
                  <a:lnTo>
                    <a:pt x="69" y="134"/>
                  </a:lnTo>
                  <a:lnTo>
                    <a:pt x="69" y="82"/>
                  </a:lnTo>
                  <a:lnTo>
                    <a:pt x="1096" y="82"/>
                  </a:lnTo>
                  <a:lnTo>
                    <a:pt x="1096" y="53"/>
                  </a:lnTo>
                  <a:lnTo>
                    <a:pt x="69" y="53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9" name="Google Shape;4929;p52"/>
            <p:cNvSpPr/>
            <p:nvPr/>
          </p:nvSpPr>
          <p:spPr>
            <a:xfrm>
              <a:off x="3893537" y="4259119"/>
              <a:ext cx="33582" cy="1731"/>
            </a:xfrm>
            <a:custGeom>
              <a:avLst/>
              <a:gdLst/>
              <a:ahLst/>
              <a:cxnLst/>
              <a:rect l="l" t="t" r="r" b="b"/>
              <a:pathLst>
                <a:path w="1028" h="53" extrusionOk="0">
                  <a:moveTo>
                    <a:pt x="1" y="1"/>
                  </a:moveTo>
                  <a:lnTo>
                    <a:pt x="1" y="53"/>
                  </a:lnTo>
                  <a:lnTo>
                    <a:pt x="1028" y="53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0" name="Google Shape;4930;p52"/>
            <p:cNvSpPr/>
            <p:nvPr/>
          </p:nvSpPr>
          <p:spPr>
            <a:xfrm>
              <a:off x="3927088" y="4263464"/>
              <a:ext cx="2679" cy="31361"/>
            </a:xfrm>
            <a:custGeom>
              <a:avLst/>
              <a:gdLst/>
              <a:ahLst/>
              <a:cxnLst/>
              <a:rect l="l" t="t" r="r" b="b"/>
              <a:pathLst>
                <a:path w="82" h="960" extrusionOk="0">
                  <a:moveTo>
                    <a:pt x="1" y="1"/>
                  </a:moveTo>
                  <a:lnTo>
                    <a:pt x="1" y="960"/>
                  </a:lnTo>
                  <a:lnTo>
                    <a:pt x="82" y="960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1" name="Google Shape;4931;p52"/>
            <p:cNvSpPr/>
            <p:nvPr/>
          </p:nvSpPr>
          <p:spPr>
            <a:xfrm>
              <a:off x="3893537" y="4259119"/>
              <a:ext cx="36228" cy="4377"/>
            </a:xfrm>
            <a:custGeom>
              <a:avLst/>
              <a:gdLst/>
              <a:ahLst/>
              <a:cxnLst/>
              <a:rect l="l" t="t" r="r" b="b"/>
              <a:pathLst>
                <a:path w="1109" h="134" extrusionOk="0">
                  <a:moveTo>
                    <a:pt x="1028" y="1"/>
                  </a:moveTo>
                  <a:lnTo>
                    <a:pt x="1028" y="53"/>
                  </a:lnTo>
                  <a:lnTo>
                    <a:pt x="1" y="53"/>
                  </a:lnTo>
                  <a:lnTo>
                    <a:pt x="1" y="82"/>
                  </a:lnTo>
                  <a:lnTo>
                    <a:pt x="1028" y="82"/>
                  </a:lnTo>
                  <a:lnTo>
                    <a:pt x="1028" y="134"/>
                  </a:lnTo>
                  <a:lnTo>
                    <a:pt x="1109" y="134"/>
                  </a:lnTo>
                  <a:lnTo>
                    <a:pt x="110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2" name="Google Shape;4932;p52"/>
            <p:cNvSpPr/>
            <p:nvPr/>
          </p:nvSpPr>
          <p:spPr>
            <a:xfrm>
              <a:off x="3893537" y="4259119"/>
              <a:ext cx="33" cy="2679"/>
            </a:xfrm>
            <a:custGeom>
              <a:avLst/>
              <a:gdLst/>
              <a:ahLst/>
              <a:cxnLst/>
              <a:rect l="l" t="t" r="r" b="b"/>
              <a:pathLst>
                <a:path w="1" h="82" extrusionOk="0">
                  <a:moveTo>
                    <a:pt x="1" y="27"/>
                  </a:moveTo>
                  <a:lnTo>
                    <a:pt x="1" y="40"/>
                  </a:lnTo>
                  <a:lnTo>
                    <a:pt x="1" y="82"/>
                  </a:lnTo>
                  <a:lnTo>
                    <a:pt x="1" y="82"/>
                  </a:lnTo>
                  <a:lnTo>
                    <a:pt x="1" y="53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3" name="Google Shape;4933;p52"/>
            <p:cNvSpPr/>
            <p:nvPr/>
          </p:nvSpPr>
          <p:spPr>
            <a:xfrm>
              <a:off x="3893112" y="4259119"/>
              <a:ext cx="457" cy="882"/>
            </a:xfrm>
            <a:custGeom>
              <a:avLst/>
              <a:gdLst/>
              <a:ahLst/>
              <a:cxnLst/>
              <a:rect l="l" t="t" r="r" b="b"/>
              <a:pathLst>
                <a:path w="14" h="27" extrusionOk="0">
                  <a:moveTo>
                    <a:pt x="1" y="1"/>
                  </a:moveTo>
                  <a:lnTo>
                    <a:pt x="14" y="27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4" name="Google Shape;4934;p52"/>
            <p:cNvSpPr/>
            <p:nvPr/>
          </p:nvSpPr>
          <p:spPr>
            <a:xfrm>
              <a:off x="3890466" y="4263464"/>
              <a:ext cx="457" cy="31361"/>
            </a:xfrm>
            <a:custGeom>
              <a:avLst/>
              <a:gdLst/>
              <a:ahLst/>
              <a:cxnLst/>
              <a:rect l="l" t="t" r="r" b="b"/>
              <a:pathLst>
                <a:path w="14" h="960" extrusionOk="0">
                  <a:moveTo>
                    <a:pt x="1" y="1"/>
                  </a:moveTo>
                  <a:lnTo>
                    <a:pt x="1" y="960"/>
                  </a:lnTo>
                  <a:lnTo>
                    <a:pt x="14" y="960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5" name="Google Shape;4935;p52"/>
            <p:cNvSpPr/>
            <p:nvPr/>
          </p:nvSpPr>
          <p:spPr>
            <a:xfrm>
              <a:off x="3890466" y="4259119"/>
              <a:ext cx="457" cy="1731"/>
            </a:xfrm>
            <a:custGeom>
              <a:avLst/>
              <a:gdLst/>
              <a:ahLst/>
              <a:cxnLst/>
              <a:rect l="l" t="t" r="r" b="b"/>
              <a:pathLst>
                <a:path w="14" h="53" extrusionOk="0">
                  <a:moveTo>
                    <a:pt x="1" y="1"/>
                  </a:moveTo>
                  <a:lnTo>
                    <a:pt x="1" y="53"/>
                  </a:lnTo>
                  <a:lnTo>
                    <a:pt x="14" y="53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6" name="Google Shape;4936;p52"/>
            <p:cNvSpPr/>
            <p:nvPr/>
          </p:nvSpPr>
          <p:spPr>
            <a:xfrm>
              <a:off x="3890466" y="4260818"/>
              <a:ext cx="457" cy="2679"/>
            </a:xfrm>
            <a:custGeom>
              <a:avLst/>
              <a:gdLst/>
              <a:ahLst/>
              <a:cxnLst/>
              <a:rect l="l" t="t" r="r" b="b"/>
              <a:pathLst>
                <a:path w="14" h="82" extrusionOk="0">
                  <a:moveTo>
                    <a:pt x="1" y="1"/>
                  </a:moveTo>
                  <a:lnTo>
                    <a:pt x="1" y="30"/>
                  </a:lnTo>
                  <a:lnTo>
                    <a:pt x="1" y="82"/>
                  </a:lnTo>
                  <a:lnTo>
                    <a:pt x="14" y="82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7" name="Google Shape;4937;p52"/>
            <p:cNvSpPr/>
            <p:nvPr/>
          </p:nvSpPr>
          <p:spPr>
            <a:xfrm>
              <a:off x="3890891" y="4259119"/>
              <a:ext cx="33" cy="4377"/>
            </a:xfrm>
            <a:custGeom>
              <a:avLst/>
              <a:gdLst/>
              <a:ahLst/>
              <a:cxnLst/>
              <a:rect l="l" t="t" r="r" b="b"/>
              <a:pathLst>
                <a:path w="1" h="134" extrusionOk="0">
                  <a:moveTo>
                    <a:pt x="1" y="53"/>
                  </a:moveTo>
                  <a:lnTo>
                    <a:pt x="1" y="134"/>
                  </a:lnTo>
                  <a:lnTo>
                    <a:pt x="1" y="13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8" name="Google Shape;4938;p52"/>
            <p:cNvSpPr/>
            <p:nvPr/>
          </p:nvSpPr>
          <p:spPr>
            <a:xfrm>
              <a:off x="3893112" y="4263464"/>
              <a:ext cx="457" cy="31361"/>
            </a:xfrm>
            <a:custGeom>
              <a:avLst/>
              <a:gdLst/>
              <a:ahLst/>
              <a:cxnLst/>
              <a:rect l="l" t="t" r="r" b="b"/>
              <a:pathLst>
                <a:path w="14" h="960" extrusionOk="0">
                  <a:moveTo>
                    <a:pt x="1" y="1"/>
                  </a:moveTo>
                  <a:lnTo>
                    <a:pt x="1" y="960"/>
                  </a:lnTo>
                  <a:lnTo>
                    <a:pt x="14" y="960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9" name="Google Shape;4939;p52"/>
            <p:cNvSpPr/>
            <p:nvPr/>
          </p:nvSpPr>
          <p:spPr>
            <a:xfrm>
              <a:off x="3893537" y="4259969"/>
              <a:ext cx="33" cy="3528"/>
            </a:xfrm>
            <a:custGeom>
              <a:avLst/>
              <a:gdLst/>
              <a:ahLst/>
              <a:cxnLst/>
              <a:rect l="l" t="t" r="r" b="b"/>
              <a:pathLst>
                <a:path w="1" h="108" extrusionOk="0">
                  <a:moveTo>
                    <a:pt x="1" y="108"/>
                  </a:moveTo>
                  <a:lnTo>
                    <a:pt x="1" y="108"/>
                  </a:lnTo>
                  <a:lnTo>
                    <a:pt x="1" y="56"/>
                  </a:lnTo>
                  <a:lnTo>
                    <a:pt x="1" y="1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0" name="Google Shape;4940;p52"/>
            <p:cNvSpPr/>
            <p:nvPr/>
          </p:nvSpPr>
          <p:spPr>
            <a:xfrm>
              <a:off x="3893112" y="4259119"/>
              <a:ext cx="457" cy="4377"/>
            </a:xfrm>
            <a:custGeom>
              <a:avLst/>
              <a:gdLst/>
              <a:ahLst/>
              <a:cxnLst/>
              <a:rect l="l" t="t" r="r" b="b"/>
              <a:pathLst>
                <a:path w="14" h="134" extrusionOk="0">
                  <a:moveTo>
                    <a:pt x="1" y="1"/>
                  </a:moveTo>
                  <a:lnTo>
                    <a:pt x="1" y="134"/>
                  </a:lnTo>
                  <a:lnTo>
                    <a:pt x="14" y="134"/>
                  </a:lnTo>
                  <a:lnTo>
                    <a:pt x="14" y="2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1" name="Google Shape;4941;p52"/>
            <p:cNvSpPr/>
            <p:nvPr/>
          </p:nvSpPr>
          <p:spPr>
            <a:xfrm>
              <a:off x="3890891" y="4263464"/>
              <a:ext cx="2254" cy="31361"/>
            </a:xfrm>
            <a:custGeom>
              <a:avLst/>
              <a:gdLst/>
              <a:ahLst/>
              <a:cxnLst/>
              <a:rect l="l" t="t" r="r" b="b"/>
              <a:pathLst>
                <a:path w="69" h="960" extrusionOk="0">
                  <a:moveTo>
                    <a:pt x="1" y="1"/>
                  </a:moveTo>
                  <a:lnTo>
                    <a:pt x="1" y="960"/>
                  </a:lnTo>
                  <a:lnTo>
                    <a:pt x="69" y="960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2" name="Google Shape;4942;p52"/>
            <p:cNvSpPr/>
            <p:nvPr/>
          </p:nvSpPr>
          <p:spPr>
            <a:xfrm>
              <a:off x="3890891" y="4259119"/>
              <a:ext cx="33" cy="4377"/>
            </a:xfrm>
            <a:custGeom>
              <a:avLst/>
              <a:gdLst/>
              <a:ahLst/>
              <a:cxnLst/>
              <a:rect l="l" t="t" r="r" b="b"/>
              <a:pathLst>
                <a:path w="1" h="134" extrusionOk="0">
                  <a:moveTo>
                    <a:pt x="1" y="134"/>
                  </a:moveTo>
                  <a:lnTo>
                    <a:pt x="1" y="13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3" name="Google Shape;4943;p52"/>
            <p:cNvSpPr/>
            <p:nvPr/>
          </p:nvSpPr>
          <p:spPr>
            <a:xfrm>
              <a:off x="3890891" y="4259119"/>
              <a:ext cx="2254" cy="4377"/>
            </a:xfrm>
            <a:custGeom>
              <a:avLst/>
              <a:gdLst/>
              <a:ahLst/>
              <a:cxnLst/>
              <a:rect l="l" t="t" r="r" b="b"/>
              <a:pathLst>
                <a:path w="69" h="134" extrusionOk="0">
                  <a:moveTo>
                    <a:pt x="1" y="1"/>
                  </a:moveTo>
                  <a:lnTo>
                    <a:pt x="1" y="134"/>
                  </a:lnTo>
                  <a:lnTo>
                    <a:pt x="69" y="134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4" name="Google Shape;4944;p52"/>
            <p:cNvSpPr/>
            <p:nvPr/>
          </p:nvSpPr>
          <p:spPr>
            <a:xfrm>
              <a:off x="3854694" y="4330990"/>
              <a:ext cx="36228" cy="2679"/>
            </a:xfrm>
            <a:custGeom>
              <a:avLst/>
              <a:gdLst/>
              <a:ahLst/>
              <a:cxnLst/>
              <a:rect l="l" t="t" r="r" b="b"/>
              <a:pathLst>
                <a:path w="1109" h="82" extrusionOk="0">
                  <a:moveTo>
                    <a:pt x="1" y="1"/>
                  </a:moveTo>
                  <a:lnTo>
                    <a:pt x="1" y="82"/>
                  </a:lnTo>
                  <a:lnTo>
                    <a:pt x="1109" y="82"/>
                  </a:lnTo>
                  <a:lnTo>
                    <a:pt x="110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5" name="Google Shape;4945;p52"/>
            <p:cNvSpPr/>
            <p:nvPr/>
          </p:nvSpPr>
          <p:spPr>
            <a:xfrm>
              <a:off x="3854694" y="4297864"/>
              <a:ext cx="2254" cy="33158"/>
            </a:xfrm>
            <a:custGeom>
              <a:avLst/>
              <a:gdLst/>
              <a:ahLst/>
              <a:cxnLst/>
              <a:rect l="l" t="t" r="r" b="b"/>
              <a:pathLst>
                <a:path w="69" h="1015" extrusionOk="0">
                  <a:moveTo>
                    <a:pt x="1" y="1"/>
                  </a:moveTo>
                  <a:lnTo>
                    <a:pt x="1" y="1015"/>
                  </a:lnTo>
                  <a:lnTo>
                    <a:pt x="69" y="1015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6" name="Google Shape;4946;p52"/>
            <p:cNvSpPr/>
            <p:nvPr/>
          </p:nvSpPr>
          <p:spPr>
            <a:xfrm>
              <a:off x="3854694" y="4294793"/>
              <a:ext cx="35804" cy="457"/>
            </a:xfrm>
            <a:custGeom>
              <a:avLst/>
              <a:gdLst/>
              <a:ahLst/>
              <a:cxnLst/>
              <a:rect l="l" t="t" r="r" b="b"/>
              <a:pathLst>
                <a:path w="1096" h="14" extrusionOk="0">
                  <a:moveTo>
                    <a:pt x="1" y="1"/>
                  </a:moveTo>
                  <a:lnTo>
                    <a:pt x="1" y="14"/>
                  </a:lnTo>
                  <a:lnTo>
                    <a:pt x="1096" y="14"/>
                  </a:lnTo>
                  <a:lnTo>
                    <a:pt x="1096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7" name="Google Shape;4947;p52"/>
            <p:cNvSpPr/>
            <p:nvPr/>
          </p:nvSpPr>
          <p:spPr>
            <a:xfrm>
              <a:off x="3856916" y="4297439"/>
              <a:ext cx="33582" cy="457"/>
            </a:xfrm>
            <a:custGeom>
              <a:avLst/>
              <a:gdLst/>
              <a:ahLst/>
              <a:cxnLst/>
              <a:rect l="l" t="t" r="r" b="b"/>
              <a:pathLst>
                <a:path w="1028" h="14" extrusionOk="0">
                  <a:moveTo>
                    <a:pt x="1" y="1"/>
                  </a:moveTo>
                  <a:lnTo>
                    <a:pt x="1" y="14"/>
                  </a:lnTo>
                  <a:lnTo>
                    <a:pt x="1028" y="14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8" name="Google Shape;4948;p52"/>
            <p:cNvSpPr/>
            <p:nvPr/>
          </p:nvSpPr>
          <p:spPr>
            <a:xfrm>
              <a:off x="3854694" y="4295218"/>
              <a:ext cx="35804" cy="2679"/>
            </a:xfrm>
            <a:custGeom>
              <a:avLst/>
              <a:gdLst/>
              <a:ahLst/>
              <a:cxnLst/>
              <a:rect l="l" t="t" r="r" b="b"/>
              <a:pathLst>
                <a:path w="1096" h="82" extrusionOk="0">
                  <a:moveTo>
                    <a:pt x="1" y="1"/>
                  </a:moveTo>
                  <a:lnTo>
                    <a:pt x="1" y="82"/>
                  </a:lnTo>
                  <a:lnTo>
                    <a:pt x="69" y="82"/>
                  </a:lnTo>
                  <a:lnTo>
                    <a:pt x="69" y="69"/>
                  </a:lnTo>
                  <a:lnTo>
                    <a:pt x="1096" y="69"/>
                  </a:lnTo>
                  <a:lnTo>
                    <a:pt x="1096" y="30"/>
                  </a:lnTo>
                  <a:lnTo>
                    <a:pt x="1096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9" name="Google Shape;4949;p52"/>
            <p:cNvSpPr/>
            <p:nvPr/>
          </p:nvSpPr>
          <p:spPr>
            <a:xfrm>
              <a:off x="3890466" y="4294793"/>
              <a:ext cx="457" cy="457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1" y="1"/>
                  </a:moveTo>
                  <a:lnTo>
                    <a:pt x="1" y="14"/>
                  </a:lnTo>
                  <a:lnTo>
                    <a:pt x="14" y="14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0" name="Google Shape;4950;p52"/>
            <p:cNvSpPr/>
            <p:nvPr/>
          </p:nvSpPr>
          <p:spPr>
            <a:xfrm>
              <a:off x="3890466" y="4297439"/>
              <a:ext cx="457" cy="457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1" y="1"/>
                  </a:moveTo>
                  <a:lnTo>
                    <a:pt x="1" y="14"/>
                  </a:lnTo>
                  <a:lnTo>
                    <a:pt x="14" y="14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1" name="Google Shape;4951;p52"/>
            <p:cNvSpPr/>
            <p:nvPr/>
          </p:nvSpPr>
          <p:spPr>
            <a:xfrm>
              <a:off x="3890466" y="4296165"/>
              <a:ext cx="457" cy="1307"/>
            </a:xfrm>
            <a:custGeom>
              <a:avLst/>
              <a:gdLst/>
              <a:ahLst/>
              <a:cxnLst/>
              <a:rect l="l" t="t" r="r" b="b"/>
              <a:pathLst>
                <a:path w="14" h="40" extrusionOk="0">
                  <a:moveTo>
                    <a:pt x="1" y="1"/>
                  </a:moveTo>
                  <a:lnTo>
                    <a:pt x="1" y="40"/>
                  </a:lnTo>
                  <a:lnTo>
                    <a:pt x="14" y="4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2" name="Google Shape;4952;p52"/>
            <p:cNvSpPr/>
            <p:nvPr/>
          </p:nvSpPr>
          <p:spPr>
            <a:xfrm>
              <a:off x="3890466" y="4295218"/>
              <a:ext cx="457" cy="2254"/>
            </a:xfrm>
            <a:custGeom>
              <a:avLst/>
              <a:gdLst/>
              <a:ahLst/>
              <a:cxnLst/>
              <a:rect l="l" t="t" r="r" b="b"/>
              <a:pathLst>
                <a:path w="14" h="69" extrusionOk="0">
                  <a:moveTo>
                    <a:pt x="1" y="1"/>
                  </a:moveTo>
                  <a:lnTo>
                    <a:pt x="1" y="30"/>
                  </a:lnTo>
                  <a:lnTo>
                    <a:pt x="14" y="69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3" name="Google Shape;4953;p52"/>
            <p:cNvSpPr/>
            <p:nvPr/>
          </p:nvSpPr>
          <p:spPr>
            <a:xfrm>
              <a:off x="3893537" y="4330990"/>
              <a:ext cx="36228" cy="2679"/>
            </a:xfrm>
            <a:custGeom>
              <a:avLst/>
              <a:gdLst/>
              <a:ahLst/>
              <a:cxnLst/>
              <a:rect l="l" t="t" r="r" b="b"/>
              <a:pathLst>
                <a:path w="1109" h="82" extrusionOk="0">
                  <a:moveTo>
                    <a:pt x="1" y="1"/>
                  </a:moveTo>
                  <a:lnTo>
                    <a:pt x="1" y="82"/>
                  </a:lnTo>
                  <a:lnTo>
                    <a:pt x="1109" y="82"/>
                  </a:lnTo>
                  <a:lnTo>
                    <a:pt x="110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4" name="Google Shape;4954;p52"/>
            <p:cNvSpPr/>
            <p:nvPr/>
          </p:nvSpPr>
          <p:spPr>
            <a:xfrm>
              <a:off x="3927088" y="4297864"/>
              <a:ext cx="2679" cy="33158"/>
            </a:xfrm>
            <a:custGeom>
              <a:avLst/>
              <a:gdLst/>
              <a:ahLst/>
              <a:cxnLst/>
              <a:rect l="l" t="t" r="r" b="b"/>
              <a:pathLst>
                <a:path w="82" h="1015" extrusionOk="0">
                  <a:moveTo>
                    <a:pt x="1" y="1"/>
                  </a:moveTo>
                  <a:lnTo>
                    <a:pt x="1" y="1015"/>
                  </a:lnTo>
                  <a:lnTo>
                    <a:pt x="82" y="1015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5" name="Google Shape;4955;p52"/>
            <p:cNvSpPr/>
            <p:nvPr/>
          </p:nvSpPr>
          <p:spPr>
            <a:xfrm>
              <a:off x="3893537" y="4294793"/>
              <a:ext cx="33582" cy="457"/>
            </a:xfrm>
            <a:custGeom>
              <a:avLst/>
              <a:gdLst/>
              <a:ahLst/>
              <a:cxnLst/>
              <a:rect l="l" t="t" r="r" b="b"/>
              <a:pathLst>
                <a:path w="1028" h="14" extrusionOk="0">
                  <a:moveTo>
                    <a:pt x="1" y="1"/>
                  </a:moveTo>
                  <a:lnTo>
                    <a:pt x="1" y="14"/>
                  </a:lnTo>
                  <a:lnTo>
                    <a:pt x="1028" y="14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6" name="Google Shape;4956;p52"/>
            <p:cNvSpPr/>
            <p:nvPr/>
          </p:nvSpPr>
          <p:spPr>
            <a:xfrm>
              <a:off x="3893537" y="4297439"/>
              <a:ext cx="36228" cy="457"/>
            </a:xfrm>
            <a:custGeom>
              <a:avLst/>
              <a:gdLst/>
              <a:ahLst/>
              <a:cxnLst/>
              <a:rect l="l" t="t" r="r" b="b"/>
              <a:pathLst>
                <a:path w="1109" h="14" extrusionOk="0">
                  <a:moveTo>
                    <a:pt x="1" y="1"/>
                  </a:moveTo>
                  <a:lnTo>
                    <a:pt x="1" y="14"/>
                  </a:lnTo>
                  <a:lnTo>
                    <a:pt x="1109" y="14"/>
                  </a:lnTo>
                  <a:lnTo>
                    <a:pt x="110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7" name="Google Shape;4957;p52"/>
            <p:cNvSpPr/>
            <p:nvPr/>
          </p:nvSpPr>
          <p:spPr>
            <a:xfrm>
              <a:off x="3893537" y="4294793"/>
              <a:ext cx="36228" cy="2679"/>
            </a:xfrm>
            <a:custGeom>
              <a:avLst/>
              <a:gdLst/>
              <a:ahLst/>
              <a:cxnLst/>
              <a:rect l="l" t="t" r="r" b="b"/>
              <a:pathLst>
                <a:path w="1109" h="82" extrusionOk="0">
                  <a:moveTo>
                    <a:pt x="1028" y="1"/>
                  </a:moveTo>
                  <a:lnTo>
                    <a:pt x="1028" y="14"/>
                  </a:lnTo>
                  <a:lnTo>
                    <a:pt x="1" y="14"/>
                  </a:lnTo>
                  <a:lnTo>
                    <a:pt x="1" y="56"/>
                  </a:lnTo>
                  <a:lnTo>
                    <a:pt x="1" y="82"/>
                  </a:lnTo>
                  <a:lnTo>
                    <a:pt x="1109" y="82"/>
                  </a:lnTo>
                  <a:lnTo>
                    <a:pt x="110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8" name="Google Shape;4958;p52"/>
            <p:cNvSpPr/>
            <p:nvPr/>
          </p:nvSpPr>
          <p:spPr>
            <a:xfrm>
              <a:off x="3890891" y="4330990"/>
              <a:ext cx="33" cy="2679"/>
            </a:xfrm>
            <a:custGeom>
              <a:avLst/>
              <a:gdLst/>
              <a:ahLst/>
              <a:cxnLst/>
              <a:rect l="l" t="t" r="r" b="b"/>
              <a:pathLst>
                <a:path w="1" h="82" extrusionOk="0">
                  <a:moveTo>
                    <a:pt x="1" y="82"/>
                  </a:moveTo>
                  <a:lnTo>
                    <a:pt x="1" y="82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9" name="Google Shape;4959;p52"/>
            <p:cNvSpPr/>
            <p:nvPr/>
          </p:nvSpPr>
          <p:spPr>
            <a:xfrm>
              <a:off x="3890891" y="4297864"/>
              <a:ext cx="33" cy="33158"/>
            </a:xfrm>
            <a:custGeom>
              <a:avLst/>
              <a:gdLst/>
              <a:ahLst/>
              <a:cxnLst/>
              <a:rect l="l" t="t" r="r" b="b"/>
              <a:pathLst>
                <a:path w="1" h="1015" extrusionOk="0">
                  <a:moveTo>
                    <a:pt x="1" y="1"/>
                  </a:moveTo>
                  <a:lnTo>
                    <a:pt x="1" y="1015"/>
                  </a:lnTo>
                  <a:lnTo>
                    <a:pt x="1" y="1015"/>
                  </a:lnTo>
                  <a:lnTo>
                    <a:pt x="1" y="101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0" name="Google Shape;4960;p52"/>
            <p:cNvSpPr/>
            <p:nvPr/>
          </p:nvSpPr>
          <p:spPr>
            <a:xfrm>
              <a:off x="3893537" y="4330990"/>
              <a:ext cx="33" cy="2679"/>
            </a:xfrm>
            <a:custGeom>
              <a:avLst/>
              <a:gdLst/>
              <a:ahLst/>
              <a:cxnLst/>
              <a:rect l="l" t="t" r="r" b="b"/>
              <a:pathLst>
                <a:path w="1" h="82" extrusionOk="0">
                  <a:moveTo>
                    <a:pt x="1" y="82"/>
                  </a:moveTo>
                  <a:lnTo>
                    <a:pt x="1" y="82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1" name="Google Shape;4961;p52"/>
            <p:cNvSpPr/>
            <p:nvPr/>
          </p:nvSpPr>
          <p:spPr>
            <a:xfrm>
              <a:off x="3893537" y="4297864"/>
              <a:ext cx="33" cy="33158"/>
            </a:xfrm>
            <a:custGeom>
              <a:avLst/>
              <a:gdLst/>
              <a:ahLst/>
              <a:cxnLst/>
              <a:rect l="l" t="t" r="r" b="b"/>
              <a:pathLst>
                <a:path w="1" h="1015" extrusionOk="0">
                  <a:moveTo>
                    <a:pt x="1" y="1"/>
                  </a:moveTo>
                  <a:lnTo>
                    <a:pt x="1" y="1015"/>
                  </a:lnTo>
                  <a:lnTo>
                    <a:pt x="1" y="1015"/>
                  </a:lnTo>
                  <a:lnTo>
                    <a:pt x="1" y="101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2" name="Google Shape;4962;p52"/>
            <p:cNvSpPr/>
            <p:nvPr/>
          </p:nvSpPr>
          <p:spPr>
            <a:xfrm>
              <a:off x="3890891" y="4330990"/>
              <a:ext cx="2679" cy="2679"/>
            </a:xfrm>
            <a:custGeom>
              <a:avLst/>
              <a:gdLst/>
              <a:ahLst/>
              <a:cxnLst/>
              <a:rect l="l" t="t" r="r" b="b"/>
              <a:pathLst>
                <a:path w="82" h="82" extrusionOk="0">
                  <a:moveTo>
                    <a:pt x="1" y="1"/>
                  </a:moveTo>
                  <a:lnTo>
                    <a:pt x="1" y="82"/>
                  </a:lnTo>
                  <a:lnTo>
                    <a:pt x="82" y="82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3" name="Google Shape;4963;p52"/>
            <p:cNvSpPr/>
            <p:nvPr/>
          </p:nvSpPr>
          <p:spPr>
            <a:xfrm>
              <a:off x="3890891" y="4297864"/>
              <a:ext cx="2679" cy="33158"/>
            </a:xfrm>
            <a:custGeom>
              <a:avLst/>
              <a:gdLst/>
              <a:ahLst/>
              <a:cxnLst/>
              <a:rect l="l" t="t" r="r" b="b"/>
              <a:pathLst>
                <a:path w="82" h="1015" extrusionOk="0">
                  <a:moveTo>
                    <a:pt x="1" y="1"/>
                  </a:moveTo>
                  <a:lnTo>
                    <a:pt x="1" y="1015"/>
                  </a:lnTo>
                  <a:lnTo>
                    <a:pt x="82" y="1015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4" name="Google Shape;4964;p52"/>
            <p:cNvSpPr/>
            <p:nvPr/>
          </p:nvSpPr>
          <p:spPr>
            <a:xfrm>
              <a:off x="3893537" y="4297439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5" name="Google Shape;4965;p52"/>
            <p:cNvSpPr/>
            <p:nvPr/>
          </p:nvSpPr>
          <p:spPr>
            <a:xfrm>
              <a:off x="3893537" y="4296590"/>
              <a:ext cx="33" cy="882"/>
            </a:xfrm>
            <a:custGeom>
              <a:avLst/>
              <a:gdLst/>
              <a:ahLst/>
              <a:cxnLst/>
              <a:rect l="l" t="t" r="r" b="b"/>
              <a:pathLst>
                <a:path w="1" h="27" extrusionOk="0">
                  <a:moveTo>
                    <a:pt x="1" y="27"/>
                  </a:moveTo>
                  <a:lnTo>
                    <a:pt x="1" y="27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6" name="Google Shape;4966;p52"/>
            <p:cNvSpPr/>
            <p:nvPr/>
          </p:nvSpPr>
          <p:spPr>
            <a:xfrm>
              <a:off x="3893537" y="4294793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7" name="Google Shape;4967;p52"/>
            <p:cNvSpPr/>
            <p:nvPr/>
          </p:nvSpPr>
          <p:spPr>
            <a:xfrm>
              <a:off x="3893537" y="4294793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8" name="Google Shape;4968;p52"/>
            <p:cNvSpPr/>
            <p:nvPr/>
          </p:nvSpPr>
          <p:spPr>
            <a:xfrm>
              <a:off x="3893537" y="4295218"/>
              <a:ext cx="33" cy="1405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1"/>
                  </a:moveTo>
                  <a:lnTo>
                    <a:pt x="1" y="30"/>
                  </a:lnTo>
                  <a:lnTo>
                    <a:pt x="1" y="43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9" name="Google Shape;4969;p52"/>
            <p:cNvSpPr/>
            <p:nvPr/>
          </p:nvSpPr>
          <p:spPr>
            <a:xfrm>
              <a:off x="3893537" y="4295218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14"/>
                  </a:moveTo>
                  <a:lnTo>
                    <a:pt x="1" y="3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0" name="Google Shape;4970;p52"/>
            <p:cNvSpPr/>
            <p:nvPr/>
          </p:nvSpPr>
          <p:spPr>
            <a:xfrm>
              <a:off x="3893537" y="4297439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"/>
                  </a:moveTo>
                  <a:lnTo>
                    <a:pt x="1" y="1"/>
                  </a:ln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1" name="Google Shape;4971;p52"/>
            <p:cNvSpPr/>
            <p:nvPr/>
          </p:nvSpPr>
          <p:spPr>
            <a:xfrm>
              <a:off x="3893537" y="4296165"/>
              <a:ext cx="33" cy="1307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1"/>
                  </a:moveTo>
                  <a:lnTo>
                    <a:pt x="1" y="40"/>
                  </a:lnTo>
                  <a:lnTo>
                    <a:pt x="1" y="40"/>
                  </a:lnTo>
                  <a:lnTo>
                    <a:pt x="1" y="14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2" name="Google Shape;4972;p52"/>
            <p:cNvSpPr/>
            <p:nvPr/>
          </p:nvSpPr>
          <p:spPr>
            <a:xfrm>
              <a:off x="3893537" y="4295643"/>
              <a:ext cx="33" cy="1829"/>
            </a:xfrm>
            <a:custGeom>
              <a:avLst/>
              <a:gdLst/>
              <a:ahLst/>
              <a:cxnLst/>
              <a:rect l="l" t="t" r="r" b="b"/>
              <a:pathLst>
                <a:path w="1" h="56" extrusionOk="0">
                  <a:moveTo>
                    <a:pt x="1" y="56"/>
                  </a:moveTo>
                  <a:lnTo>
                    <a:pt x="1" y="56"/>
                  </a:lnTo>
                  <a:lnTo>
                    <a:pt x="1" y="1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3" name="Google Shape;4973;p52"/>
            <p:cNvSpPr/>
            <p:nvPr/>
          </p:nvSpPr>
          <p:spPr>
            <a:xfrm>
              <a:off x="3890891" y="4294793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4" name="Google Shape;4974;p52"/>
            <p:cNvSpPr/>
            <p:nvPr/>
          </p:nvSpPr>
          <p:spPr>
            <a:xfrm>
              <a:off x="3890891" y="4297439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5" name="Google Shape;4975;p52"/>
            <p:cNvSpPr/>
            <p:nvPr/>
          </p:nvSpPr>
          <p:spPr>
            <a:xfrm>
              <a:off x="3890891" y="4295218"/>
              <a:ext cx="33" cy="2254"/>
            </a:xfrm>
            <a:custGeom>
              <a:avLst/>
              <a:gdLst/>
              <a:ahLst/>
              <a:cxnLst/>
              <a:rect l="l" t="t" r="r" b="b"/>
              <a:pathLst>
                <a:path w="1" h="69" extrusionOk="0">
                  <a:moveTo>
                    <a:pt x="1" y="69"/>
                  </a:moveTo>
                  <a:lnTo>
                    <a:pt x="1" y="69"/>
                  </a:lnTo>
                  <a:lnTo>
                    <a:pt x="1" y="3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6" name="Google Shape;4976;p52"/>
            <p:cNvSpPr/>
            <p:nvPr/>
          </p:nvSpPr>
          <p:spPr>
            <a:xfrm>
              <a:off x="3890891" y="4294793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7" name="Google Shape;4977;p52"/>
            <p:cNvSpPr/>
            <p:nvPr/>
          </p:nvSpPr>
          <p:spPr>
            <a:xfrm>
              <a:off x="3893112" y="4294793"/>
              <a:ext cx="457" cy="457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1" y="1"/>
                  </a:moveTo>
                  <a:lnTo>
                    <a:pt x="1" y="14"/>
                  </a:lnTo>
                  <a:lnTo>
                    <a:pt x="14" y="14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8" name="Google Shape;4978;p52"/>
            <p:cNvSpPr/>
            <p:nvPr/>
          </p:nvSpPr>
          <p:spPr>
            <a:xfrm>
              <a:off x="3893112" y="4294793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9" name="Google Shape;4979;p52"/>
            <p:cNvSpPr/>
            <p:nvPr/>
          </p:nvSpPr>
          <p:spPr>
            <a:xfrm>
              <a:off x="3890891" y="4294793"/>
              <a:ext cx="2254" cy="457"/>
            </a:xfrm>
            <a:custGeom>
              <a:avLst/>
              <a:gdLst/>
              <a:ahLst/>
              <a:cxnLst/>
              <a:rect l="l" t="t" r="r" b="b"/>
              <a:pathLst>
                <a:path w="69" h="14" extrusionOk="0">
                  <a:moveTo>
                    <a:pt x="1" y="1"/>
                  </a:moveTo>
                  <a:lnTo>
                    <a:pt x="1" y="14"/>
                  </a:lnTo>
                  <a:lnTo>
                    <a:pt x="69" y="14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0" name="Google Shape;4980;p52"/>
            <p:cNvSpPr/>
            <p:nvPr/>
          </p:nvSpPr>
          <p:spPr>
            <a:xfrm>
              <a:off x="3893537" y="4295218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"/>
                  </a:moveTo>
                  <a:lnTo>
                    <a:pt x="1" y="14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1" name="Google Shape;4981;p52"/>
            <p:cNvSpPr/>
            <p:nvPr/>
          </p:nvSpPr>
          <p:spPr>
            <a:xfrm>
              <a:off x="3890891" y="4297439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2" name="Google Shape;4982;p52"/>
            <p:cNvSpPr/>
            <p:nvPr/>
          </p:nvSpPr>
          <p:spPr>
            <a:xfrm>
              <a:off x="3890891" y="4296165"/>
              <a:ext cx="33" cy="1307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40"/>
                  </a:moveTo>
                  <a:lnTo>
                    <a:pt x="1" y="4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3" name="Google Shape;4983;p52"/>
            <p:cNvSpPr/>
            <p:nvPr/>
          </p:nvSpPr>
          <p:spPr>
            <a:xfrm>
              <a:off x="3890891" y="4295218"/>
              <a:ext cx="33" cy="2254"/>
            </a:xfrm>
            <a:custGeom>
              <a:avLst/>
              <a:gdLst/>
              <a:ahLst/>
              <a:cxnLst/>
              <a:rect l="l" t="t" r="r" b="b"/>
              <a:pathLst>
                <a:path w="1" h="69" extrusionOk="0">
                  <a:moveTo>
                    <a:pt x="1" y="30"/>
                  </a:moveTo>
                  <a:lnTo>
                    <a:pt x="1" y="69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4" name="Google Shape;4984;p52"/>
            <p:cNvSpPr/>
            <p:nvPr/>
          </p:nvSpPr>
          <p:spPr>
            <a:xfrm>
              <a:off x="3893537" y="4297439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5" name="Google Shape;4985;p52"/>
            <p:cNvSpPr/>
            <p:nvPr/>
          </p:nvSpPr>
          <p:spPr>
            <a:xfrm>
              <a:off x="3893112" y="4295218"/>
              <a:ext cx="457" cy="1405"/>
            </a:xfrm>
            <a:custGeom>
              <a:avLst/>
              <a:gdLst/>
              <a:ahLst/>
              <a:cxnLst/>
              <a:rect l="l" t="t" r="r" b="b"/>
              <a:pathLst>
                <a:path w="14" h="43" extrusionOk="0">
                  <a:moveTo>
                    <a:pt x="1" y="1"/>
                  </a:moveTo>
                  <a:lnTo>
                    <a:pt x="1" y="14"/>
                  </a:lnTo>
                  <a:lnTo>
                    <a:pt x="14" y="43"/>
                  </a:lnTo>
                  <a:lnTo>
                    <a:pt x="14" y="14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6" name="Google Shape;4986;p52"/>
            <p:cNvSpPr/>
            <p:nvPr/>
          </p:nvSpPr>
          <p:spPr>
            <a:xfrm>
              <a:off x="3893537" y="4297439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7" name="Google Shape;4987;p52"/>
            <p:cNvSpPr/>
            <p:nvPr/>
          </p:nvSpPr>
          <p:spPr>
            <a:xfrm>
              <a:off x="3893112" y="4295643"/>
              <a:ext cx="457" cy="1829"/>
            </a:xfrm>
            <a:custGeom>
              <a:avLst/>
              <a:gdLst/>
              <a:ahLst/>
              <a:cxnLst/>
              <a:rect l="l" t="t" r="r" b="b"/>
              <a:pathLst>
                <a:path w="14" h="56" extrusionOk="0">
                  <a:moveTo>
                    <a:pt x="1" y="1"/>
                  </a:moveTo>
                  <a:lnTo>
                    <a:pt x="14" y="56"/>
                  </a:lnTo>
                  <a:lnTo>
                    <a:pt x="14" y="3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8" name="Google Shape;4988;p52"/>
            <p:cNvSpPr/>
            <p:nvPr/>
          </p:nvSpPr>
          <p:spPr>
            <a:xfrm>
              <a:off x="3893112" y="4295218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"/>
                  </a:moveTo>
                  <a:lnTo>
                    <a:pt x="1" y="14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9" name="Google Shape;4989;p52"/>
            <p:cNvSpPr/>
            <p:nvPr/>
          </p:nvSpPr>
          <p:spPr>
            <a:xfrm>
              <a:off x="3893112" y="4297439"/>
              <a:ext cx="457" cy="457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1" y="1"/>
                  </a:moveTo>
                  <a:lnTo>
                    <a:pt x="1" y="14"/>
                  </a:lnTo>
                  <a:lnTo>
                    <a:pt x="14" y="14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0" name="Google Shape;4990;p52"/>
            <p:cNvSpPr/>
            <p:nvPr/>
          </p:nvSpPr>
          <p:spPr>
            <a:xfrm>
              <a:off x="3893112" y="4295643"/>
              <a:ext cx="457" cy="1829"/>
            </a:xfrm>
            <a:custGeom>
              <a:avLst/>
              <a:gdLst/>
              <a:ahLst/>
              <a:cxnLst/>
              <a:rect l="l" t="t" r="r" b="b"/>
              <a:pathLst>
                <a:path w="14" h="56" extrusionOk="0">
                  <a:moveTo>
                    <a:pt x="1" y="1"/>
                  </a:moveTo>
                  <a:lnTo>
                    <a:pt x="1" y="56"/>
                  </a:lnTo>
                  <a:lnTo>
                    <a:pt x="14" y="56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1" name="Google Shape;4991;p52"/>
            <p:cNvSpPr/>
            <p:nvPr/>
          </p:nvSpPr>
          <p:spPr>
            <a:xfrm>
              <a:off x="3890891" y="4297439"/>
              <a:ext cx="2254" cy="457"/>
            </a:xfrm>
            <a:custGeom>
              <a:avLst/>
              <a:gdLst/>
              <a:ahLst/>
              <a:cxnLst/>
              <a:rect l="l" t="t" r="r" b="b"/>
              <a:pathLst>
                <a:path w="69" h="14" extrusionOk="0">
                  <a:moveTo>
                    <a:pt x="1" y="1"/>
                  </a:moveTo>
                  <a:lnTo>
                    <a:pt x="1" y="14"/>
                  </a:lnTo>
                  <a:lnTo>
                    <a:pt x="69" y="14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2" name="Google Shape;4992;p52"/>
            <p:cNvSpPr/>
            <p:nvPr/>
          </p:nvSpPr>
          <p:spPr>
            <a:xfrm>
              <a:off x="3890891" y="4295218"/>
              <a:ext cx="2254" cy="2254"/>
            </a:xfrm>
            <a:custGeom>
              <a:avLst/>
              <a:gdLst/>
              <a:ahLst/>
              <a:cxnLst/>
              <a:rect l="l" t="t" r="r" b="b"/>
              <a:pathLst>
                <a:path w="69" h="69" extrusionOk="0">
                  <a:moveTo>
                    <a:pt x="1" y="1"/>
                  </a:moveTo>
                  <a:lnTo>
                    <a:pt x="1" y="69"/>
                  </a:lnTo>
                  <a:lnTo>
                    <a:pt x="69" y="69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3" name="Google Shape;4993;p52"/>
            <p:cNvSpPr/>
            <p:nvPr/>
          </p:nvSpPr>
          <p:spPr>
            <a:xfrm>
              <a:off x="3852473" y="4221126"/>
              <a:ext cx="79415" cy="113389"/>
            </a:xfrm>
            <a:custGeom>
              <a:avLst/>
              <a:gdLst/>
              <a:ahLst/>
              <a:cxnLst/>
              <a:rect l="l" t="t" r="r" b="b"/>
              <a:pathLst>
                <a:path w="2431" h="3471" extrusionOk="0">
                  <a:moveTo>
                    <a:pt x="1216" y="111"/>
                  </a:moveTo>
                  <a:cubicBezTo>
                    <a:pt x="1825" y="111"/>
                    <a:pt x="2324" y="610"/>
                    <a:pt x="2324" y="1216"/>
                  </a:cubicBezTo>
                  <a:lnTo>
                    <a:pt x="2324" y="3364"/>
                  </a:lnTo>
                  <a:lnTo>
                    <a:pt x="111" y="3364"/>
                  </a:lnTo>
                  <a:lnTo>
                    <a:pt x="111" y="1216"/>
                  </a:lnTo>
                  <a:cubicBezTo>
                    <a:pt x="111" y="610"/>
                    <a:pt x="597" y="111"/>
                    <a:pt x="1216" y="111"/>
                  </a:cubicBezTo>
                  <a:close/>
                  <a:moveTo>
                    <a:pt x="1216" y="1"/>
                  </a:moveTo>
                  <a:cubicBezTo>
                    <a:pt x="542" y="1"/>
                    <a:pt x="1" y="542"/>
                    <a:pt x="1" y="1216"/>
                  </a:cubicBezTo>
                  <a:lnTo>
                    <a:pt x="1" y="3471"/>
                  </a:lnTo>
                  <a:lnTo>
                    <a:pt x="2431" y="3471"/>
                  </a:lnTo>
                  <a:lnTo>
                    <a:pt x="2431" y="1216"/>
                  </a:lnTo>
                  <a:cubicBezTo>
                    <a:pt x="2431" y="542"/>
                    <a:pt x="1880" y="1"/>
                    <a:pt x="1216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4" name="Google Shape;4994;p52"/>
            <p:cNvSpPr/>
            <p:nvPr/>
          </p:nvSpPr>
          <p:spPr>
            <a:xfrm>
              <a:off x="3720689" y="4003718"/>
              <a:ext cx="343074" cy="144717"/>
            </a:xfrm>
            <a:custGeom>
              <a:avLst/>
              <a:gdLst/>
              <a:ahLst/>
              <a:cxnLst/>
              <a:rect l="l" t="t" r="r" b="b"/>
              <a:pathLst>
                <a:path w="10502" h="4430" extrusionOk="0">
                  <a:moveTo>
                    <a:pt x="5224" y="1"/>
                  </a:moveTo>
                  <a:lnTo>
                    <a:pt x="4589" y="542"/>
                  </a:lnTo>
                  <a:lnTo>
                    <a:pt x="1" y="4401"/>
                  </a:lnTo>
                  <a:lnTo>
                    <a:pt x="1187" y="4430"/>
                  </a:lnTo>
                  <a:lnTo>
                    <a:pt x="5250" y="1080"/>
                  </a:lnTo>
                  <a:lnTo>
                    <a:pt x="9316" y="4430"/>
                  </a:lnTo>
                  <a:lnTo>
                    <a:pt x="10502" y="4401"/>
                  </a:lnTo>
                  <a:lnTo>
                    <a:pt x="5914" y="542"/>
                  </a:lnTo>
                  <a:lnTo>
                    <a:pt x="5266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5" name="Google Shape;4995;p52"/>
            <p:cNvSpPr/>
            <p:nvPr/>
          </p:nvSpPr>
          <p:spPr>
            <a:xfrm>
              <a:off x="3546468" y="3808328"/>
              <a:ext cx="274276" cy="470608"/>
            </a:xfrm>
            <a:custGeom>
              <a:avLst/>
              <a:gdLst/>
              <a:ahLst/>
              <a:cxnLst/>
              <a:rect l="l" t="t" r="r" b="b"/>
              <a:pathLst>
                <a:path w="8396" h="14406" extrusionOk="0">
                  <a:moveTo>
                    <a:pt x="4145" y="150"/>
                  </a:moveTo>
                  <a:cubicBezTo>
                    <a:pt x="2431" y="1"/>
                    <a:pt x="1511" y="4498"/>
                    <a:pt x="879" y="7158"/>
                  </a:cubicBezTo>
                  <a:cubicBezTo>
                    <a:pt x="1" y="10910"/>
                    <a:pt x="27" y="14406"/>
                    <a:pt x="3429" y="14312"/>
                  </a:cubicBezTo>
                  <a:cubicBezTo>
                    <a:pt x="5522" y="14244"/>
                    <a:pt x="8396" y="14299"/>
                    <a:pt x="6912" y="7385"/>
                  </a:cubicBezTo>
                  <a:cubicBezTo>
                    <a:pt x="6290" y="4456"/>
                    <a:pt x="5927" y="312"/>
                    <a:pt x="4145" y="15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6" name="Google Shape;4996;p52"/>
            <p:cNvSpPr/>
            <p:nvPr/>
          </p:nvSpPr>
          <p:spPr>
            <a:xfrm>
              <a:off x="3669040" y="4171797"/>
              <a:ext cx="6174" cy="25971"/>
            </a:xfrm>
            <a:custGeom>
              <a:avLst/>
              <a:gdLst/>
              <a:ahLst/>
              <a:cxnLst/>
              <a:rect l="l" t="t" r="r" b="b"/>
              <a:pathLst>
                <a:path w="189" h="795" extrusionOk="0">
                  <a:moveTo>
                    <a:pt x="124" y="108"/>
                  </a:moveTo>
                  <a:lnTo>
                    <a:pt x="176" y="202"/>
                  </a:lnTo>
                  <a:cubicBezTo>
                    <a:pt x="189" y="688"/>
                    <a:pt x="189" y="539"/>
                    <a:pt x="163" y="688"/>
                  </a:cubicBezTo>
                  <a:lnTo>
                    <a:pt x="82" y="795"/>
                  </a:lnTo>
                  <a:lnTo>
                    <a:pt x="1" y="581"/>
                  </a:lnTo>
                  <a:cubicBezTo>
                    <a:pt x="14" y="1"/>
                    <a:pt x="95" y="82"/>
                    <a:pt x="124" y="10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7" name="Google Shape;4997;p52"/>
            <p:cNvSpPr/>
            <p:nvPr/>
          </p:nvSpPr>
          <p:spPr>
            <a:xfrm>
              <a:off x="3708732" y="4167778"/>
              <a:ext cx="8396" cy="27865"/>
            </a:xfrm>
            <a:custGeom>
              <a:avLst/>
              <a:gdLst/>
              <a:ahLst/>
              <a:cxnLst/>
              <a:rect l="l" t="t" r="r" b="b"/>
              <a:pathLst>
                <a:path w="257" h="853" extrusionOk="0">
                  <a:moveTo>
                    <a:pt x="189" y="1"/>
                  </a:moveTo>
                  <a:lnTo>
                    <a:pt x="257" y="82"/>
                  </a:lnTo>
                  <a:cubicBezTo>
                    <a:pt x="244" y="205"/>
                    <a:pt x="244" y="351"/>
                    <a:pt x="244" y="351"/>
                  </a:cubicBezTo>
                  <a:cubicBezTo>
                    <a:pt x="231" y="500"/>
                    <a:pt x="205" y="675"/>
                    <a:pt x="205" y="675"/>
                  </a:cubicBezTo>
                  <a:cubicBezTo>
                    <a:pt x="189" y="730"/>
                    <a:pt x="150" y="798"/>
                    <a:pt x="150" y="798"/>
                  </a:cubicBezTo>
                  <a:lnTo>
                    <a:pt x="82" y="853"/>
                  </a:lnTo>
                  <a:lnTo>
                    <a:pt x="43" y="756"/>
                  </a:lnTo>
                  <a:cubicBezTo>
                    <a:pt x="1" y="542"/>
                    <a:pt x="56" y="351"/>
                    <a:pt x="82" y="95"/>
                  </a:cubicBezTo>
                  <a:lnTo>
                    <a:pt x="16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8" name="Google Shape;4998;p52"/>
            <p:cNvSpPr/>
            <p:nvPr/>
          </p:nvSpPr>
          <p:spPr>
            <a:xfrm>
              <a:off x="3614843" y="4165132"/>
              <a:ext cx="3953" cy="19927"/>
            </a:xfrm>
            <a:custGeom>
              <a:avLst/>
              <a:gdLst/>
              <a:ahLst/>
              <a:cxnLst/>
              <a:rect l="l" t="t" r="r" b="b"/>
              <a:pathLst>
                <a:path w="121" h="610" extrusionOk="0">
                  <a:moveTo>
                    <a:pt x="95" y="43"/>
                  </a:moveTo>
                  <a:lnTo>
                    <a:pt x="121" y="176"/>
                  </a:lnTo>
                  <a:lnTo>
                    <a:pt x="121" y="393"/>
                  </a:lnTo>
                  <a:cubicBezTo>
                    <a:pt x="121" y="461"/>
                    <a:pt x="108" y="555"/>
                    <a:pt x="108" y="555"/>
                  </a:cubicBezTo>
                  <a:lnTo>
                    <a:pt x="53" y="610"/>
                  </a:lnTo>
                  <a:lnTo>
                    <a:pt x="1" y="555"/>
                  </a:lnTo>
                  <a:cubicBezTo>
                    <a:pt x="14" y="69"/>
                    <a:pt x="1" y="189"/>
                    <a:pt x="53" y="69"/>
                  </a:cubicBezTo>
                  <a:cubicBezTo>
                    <a:pt x="53" y="69"/>
                    <a:pt x="66" y="1"/>
                    <a:pt x="95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9" name="Google Shape;4999;p52"/>
            <p:cNvSpPr/>
            <p:nvPr/>
          </p:nvSpPr>
          <p:spPr>
            <a:xfrm>
              <a:off x="3570284" y="4159840"/>
              <a:ext cx="6174" cy="24697"/>
            </a:xfrm>
            <a:custGeom>
              <a:avLst/>
              <a:gdLst/>
              <a:ahLst/>
              <a:cxnLst/>
              <a:rect l="l" t="t" r="r" b="b"/>
              <a:pathLst>
                <a:path w="189" h="756" extrusionOk="0">
                  <a:moveTo>
                    <a:pt x="95" y="43"/>
                  </a:moveTo>
                  <a:lnTo>
                    <a:pt x="150" y="150"/>
                  </a:lnTo>
                  <a:cubicBezTo>
                    <a:pt x="150" y="325"/>
                    <a:pt x="163" y="500"/>
                    <a:pt x="189" y="675"/>
                  </a:cubicBezTo>
                  <a:lnTo>
                    <a:pt x="150" y="756"/>
                  </a:lnTo>
                  <a:cubicBezTo>
                    <a:pt x="150" y="756"/>
                    <a:pt x="95" y="717"/>
                    <a:pt x="82" y="704"/>
                  </a:cubicBezTo>
                  <a:cubicBezTo>
                    <a:pt x="1" y="432"/>
                    <a:pt x="1" y="176"/>
                    <a:pt x="1" y="150"/>
                  </a:cubicBezTo>
                  <a:cubicBezTo>
                    <a:pt x="14" y="108"/>
                    <a:pt x="1" y="137"/>
                    <a:pt x="40" y="82"/>
                  </a:cubicBezTo>
                  <a:cubicBezTo>
                    <a:pt x="40" y="82"/>
                    <a:pt x="53" y="1"/>
                    <a:pt x="95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0" name="Google Shape;5000;p52"/>
            <p:cNvSpPr/>
            <p:nvPr/>
          </p:nvSpPr>
          <p:spPr>
            <a:xfrm>
              <a:off x="3643951" y="4139096"/>
              <a:ext cx="6174" cy="19927"/>
            </a:xfrm>
            <a:custGeom>
              <a:avLst/>
              <a:gdLst/>
              <a:ahLst/>
              <a:cxnLst/>
              <a:rect l="l" t="t" r="r" b="b"/>
              <a:pathLst>
                <a:path w="189" h="610" extrusionOk="0">
                  <a:moveTo>
                    <a:pt x="82" y="14"/>
                  </a:moveTo>
                  <a:lnTo>
                    <a:pt x="163" y="14"/>
                  </a:lnTo>
                  <a:lnTo>
                    <a:pt x="189" y="205"/>
                  </a:lnTo>
                  <a:cubicBezTo>
                    <a:pt x="163" y="448"/>
                    <a:pt x="134" y="487"/>
                    <a:pt x="134" y="487"/>
                  </a:cubicBezTo>
                  <a:lnTo>
                    <a:pt x="66" y="610"/>
                  </a:lnTo>
                  <a:lnTo>
                    <a:pt x="1" y="367"/>
                  </a:lnTo>
                  <a:cubicBezTo>
                    <a:pt x="14" y="231"/>
                    <a:pt x="27" y="30"/>
                    <a:pt x="27" y="30"/>
                  </a:cubicBezTo>
                  <a:cubicBezTo>
                    <a:pt x="27" y="30"/>
                    <a:pt x="53" y="1"/>
                    <a:pt x="82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1" name="Google Shape;5001;p52"/>
            <p:cNvSpPr/>
            <p:nvPr/>
          </p:nvSpPr>
          <p:spPr>
            <a:xfrm>
              <a:off x="3685766" y="4134228"/>
              <a:ext cx="6272" cy="19502"/>
            </a:xfrm>
            <a:custGeom>
              <a:avLst/>
              <a:gdLst/>
              <a:ahLst/>
              <a:cxnLst/>
              <a:rect l="l" t="t" r="r" b="b"/>
              <a:pathLst>
                <a:path w="192" h="597" extrusionOk="0">
                  <a:moveTo>
                    <a:pt x="124" y="1"/>
                  </a:moveTo>
                  <a:lnTo>
                    <a:pt x="192" y="69"/>
                  </a:lnTo>
                  <a:cubicBezTo>
                    <a:pt x="192" y="286"/>
                    <a:pt x="150" y="542"/>
                    <a:pt x="150" y="542"/>
                  </a:cubicBezTo>
                  <a:lnTo>
                    <a:pt x="82" y="597"/>
                  </a:lnTo>
                  <a:lnTo>
                    <a:pt x="30" y="529"/>
                  </a:lnTo>
                  <a:cubicBezTo>
                    <a:pt x="1" y="487"/>
                    <a:pt x="1" y="474"/>
                    <a:pt x="1" y="474"/>
                  </a:cubicBezTo>
                  <a:cubicBezTo>
                    <a:pt x="30" y="273"/>
                    <a:pt x="69" y="30"/>
                    <a:pt x="69" y="30"/>
                  </a:cubicBezTo>
                  <a:cubicBezTo>
                    <a:pt x="69" y="30"/>
                    <a:pt x="98" y="1"/>
                    <a:pt x="12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2" name="Google Shape;5002;p52"/>
            <p:cNvSpPr/>
            <p:nvPr/>
          </p:nvSpPr>
          <p:spPr>
            <a:xfrm>
              <a:off x="3585736" y="4132529"/>
              <a:ext cx="5325" cy="21201"/>
            </a:xfrm>
            <a:custGeom>
              <a:avLst/>
              <a:gdLst/>
              <a:ahLst/>
              <a:cxnLst/>
              <a:rect l="l" t="t" r="r" b="b"/>
              <a:pathLst>
                <a:path w="163" h="649" extrusionOk="0">
                  <a:moveTo>
                    <a:pt x="121" y="1"/>
                  </a:moveTo>
                  <a:lnTo>
                    <a:pt x="163" y="95"/>
                  </a:lnTo>
                  <a:lnTo>
                    <a:pt x="163" y="189"/>
                  </a:lnTo>
                  <a:cubicBezTo>
                    <a:pt x="163" y="244"/>
                    <a:pt x="163" y="296"/>
                    <a:pt x="147" y="338"/>
                  </a:cubicBezTo>
                  <a:cubicBezTo>
                    <a:pt x="147" y="445"/>
                    <a:pt x="121" y="526"/>
                    <a:pt x="108" y="607"/>
                  </a:cubicBezTo>
                  <a:lnTo>
                    <a:pt x="53" y="649"/>
                  </a:lnTo>
                  <a:lnTo>
                    <a:pt x="1" y="458"/>
                  </a:lnTo>
                  <a:cubicBezTo>
                    <a:pt x="14" y="364"/>
                    <a:pt x="27" y="244"/>
                    <a:pt x="27" y="244"/>
                  </a:cubicBezTo>
                  <a:lnTo>
                    <a:pt x="27" y="150"/>
                  </a:lnTo>
                  <a:cubicBezTo>
                    <a:pt x="40" y="27"/>
                    <a:pt x="53" y="27"/>
                    <a:pt x="53" y="27"/>
                  </a:cubicBezTo>
                  <a:cubicBezTo>
                    <a:pt x="53" y="27"/>
                    <a:pt x="82" y="1"/>
                    <a:pt x="12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3" name="Google Shape;5003;p52"/>
            <p:cNvSpPr/>
            <p:nvPr/>
          </p:nvSpPr>
          <p:spPr>
            <a:xfrm>
              <a:off x="3711803" y="4118874"/>
              <a:ext cx="6697" cy="25121"/>
            </a:xfrm>
            <a:custGeom>
              <a:avLst/>
              <a:gdLst/>
              <a:ahLst/>
              <a:cxnLst/>
              <a:rect l="l" t="t" r="r" b="b"/>
              <a:pathLst>
                <a:path w="205" h="769" extrusionOk="0">
                  <a:moveTo>
                    <a:pt x="137" y="40"/>
                  </a:moveTo>
                  <a:cubicBezTo>
                    <a:pt x="137" y="40"/>
                    <a:pt x="205" y="163"/>
                    <a:pt x="205" y="338"/>
                  </a:cubicBezTo>
                  <a:lnTo>
                    <a:pt x="192" y="487"/>
                  </a:lnTo>
                  <a:cubicBezTo>
                    <a:pt x="192" y="581"/>
                    <a:pt x="163" y="675"/>
                    <a:pt x="82" y="769"/>
                  </a:cubicBezTo>
                  <a:lnTo>
                    <a:pt x="43" y="701"/>
                  </a:lnTo>
                  <a:cubicBezTo>
                    <a:pt x="1" y="552"/>
                    <a:pt x="1" y="688"/>
                    <a:pt x="14" y="487"/>
                  </a:cubicBezTo>
                  <a:cubicBezTo>
                    <a:pt x="14" y="487"/>
                    <a:pt x="30" y="257"/>
                    <a:pt x="56" y="95"/>
                  </a:cubicBezTo>
                  <a:cubicBezTo>
                    <a:pt x="56" y="95"/>
                    <a:pt x="111" y="1"/>
                    <a:pt x="137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4" name="Google Shape;5004;p52"/>
            <p:cNvSpPr/>
            <p:nvPr/>
          </p:nvSpPr>
          <p:spPr>
            <a:xfrm>
              <a:off x="3614321" y="4108714"/>
              <a:ext cx="7971" cy="28715"/>
            </a:xfrm>
            <a:custGeom>
              <a:avLst/>
              <a:gdLst/>
              <a:ahLst/>
              <a:cxnLst/>
              <a:rect l="l" t="t" r="r" b="b"/>
              <a:pathLst>
                <a:path w="244" h="879" extrusionOk="0">
                  <a:moveTo>
                    <a:pt x="179" y="53"/>
                  </a:moveTo>
                  <a:cubicBezTo>
                    <a:pt x="244" y="82"/>
                    <a:pt x="218" y="121"/>
                    <a:pt x="218" y="121"/>
                  </a:cubicBezTo>
                  <a:cubicBezTo>
                    <a:pt x="218" y="150"/>
                    <a:pt x="205" y="189"/>
                    <a:pt x="205" y="215"/>
                  </a:cubicBezTo>
                  <a:cubicBezTo>
                    <a:pt x="192" y="377"/>
                    <a:pt x="163" y="620"/>
                    <a:pt x="163" y="620"/>
                  </a:cubicBezTo>
                  <a:cubicBezTo>
                    <a:pt x="69" y="879"/>
                    <a:pt x="1" y="688"/>
                    <a:pt x="1" y="688"/>
                  </a:cubicBezTo>
                  <a:cubicBezTo>
                    <a:pt x="1" y="568"/>
                    <a:pt x="43" y="364"/>
                    <a:pt x="43" y="364"/>
                  </a:cubicBezTo>
                  <a:cubicBezTo>
                    <a:pt x="69" y="257"/>
                    <a:pt x="98" y="95"/>
                    <a:pt x="98" y="95"/>
                  </a:cubicBezTo>
                  <a:cubicBezTo>
                    <a:pt x="150" y="1"/>
                    <a:pt x="111" y="40"/>
                    <a:pt x="179" y="5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5" name="Google Shape;5005;p52"/>
            <p:cNvSpPr/>
            <p:nvPr/>
          </p:nvSpPr>
          <p:spPr>
            <a:xfrm>
              <a:off x="3661526" y="4102050"/>
              <a:ext cx="5749" cy="20777"/>
            </a:xfrm>
            <a:custGeom>
              <a:avLst/>
              <a:gdLst/>
              <a:ahLst/>
              <a:cxnLst/>
              <a:rect l="l" t="t" r="r" b="b"/>
              <a:pathLst>
                <a:path w="176" h="636" extrusionOk="0">
                  <a:moveTo>
                    <a:pt x="137" y="1"/>
                  </a:moveTo>
                  <a:lnTo>
                    <a:pt x="176" y="69"/>
                  </a:lnTo>
                  <a:lnTo>
                    <a:pt x="176" y="500"/>
                  </a:lnTo>
                  <a:cubicBezTo>
                    <a:pt x="150" y="581"/>
                    <a:pt x="124" y="581"/>
                    <a:pt x="124" y="581"/>
                  </a:cubicBezTo>
                  <a:lnTo>
                    <a:pt x="69" y="636"/>
                  </a:lnTo>
                  <a:lnTo>
                    <a:pt x="14" y="542"/>
                  </a:lnTo>
                  <a:cubicBezTo>
                    <a:pt x="1" y="393"/>
                    <a:pt x="43" y="231"/>
                    <a:pt x="56" y="69"/>
                  </a:cubicBezTo>
                  <a:cubicBezTo>
                    <a:pt x="56" y="69"/>
                    <a:pt x="82" y="1"/>
                    <a:pt x="13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6" name="Google Shape;5006;p52"/>
            <p:cNvSpPr/>
            <p:nvPr/>
          </p:nvSpPr>
          <p:spPr>
            <a:xfrm>
              <a:off x="3571558" y="4094111"/>
              <a:ext cx="4475" cy="20777"/>
            </a:xfrm>
            <a:custGeom>
              <a:avLst/>
              <a:gdLst/>
              <a:ahLst/>
              <a:cxnLst/>
              <a:rect l="l" t="t" r="r" b="b"/>
              <a:pathLst>
                <a:path w="137" h="636" extrusionOk="0">
                  <a:moveTo>
                    <a:pt x="137" y="30"/>
                  </a:moveTo>
                  <a:lnTo>
                    <a:pt x="111" y="529"/>
                  </a:lnTo>
                  <a:cubicBezTo>
                    <a:pt x="95" y="568"/>
                    <a:pt x="95" y="597"/>
                    <a:pt x="95" y="597"/>
                  </a:cubicBezTo>
                  <a:lnTo>
                    <a:pt x="43" y="636"/>
                  </a:lnTo>
                  <a:lnTo>
                    <a:pt x="1" y="500"/>
                  </a:lnTo>
                  <a:cubicBezTo>
                    <a:pt x="14" y="354"/>
                    <a:pt x="56" y="124"/>
                    <a:pt x="56" y="124"/>
                  </a:cubicBezTo>
                  <a:cubicBezTo>
                    <a:pt x="82" y="56"/>
                    <a:pt x="82" y="69"/>
                    <a:pt x="82" y="69"/>
                  </a:cubicBezTo>
                  <a:cubicBezTo>
                    <a:pt x="82" y="69"/>
                    <a:pt x="111" y="1"/>
                    <a:pt x="137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7" name="Google Shape;5007;p52"/>
            <p:cNvSpPr/>
            <p:nvPr/>
          </p:nvSpPr>
          <p:spPr>
            <a:xfrm>
              <a:off x="3730326" y="4091890"/>
              <a:ext cx="7546" cy="19502"/>
            </a:xfrm>
            <a:custGeom>
              <a:avLst/>
              <a:gdLst/>
              <a:ahLst/>
              <a:cxnLst/>
              <a:rect l="l" t="t" r="r" b="b"/>
              <a:pathLst>
                <a:path w="231" h="597" extrusionOk="0">
                  <a:moveTo>
                    <a:pt x="124" y="43"/>
                  </a:moveTo>
                  <a:cubicBezTo>
                    <a:pt x="231" y="179"/>
                    <a:pt x="218" y="1"/>
                    <a:pt x="218" y="273"/>
                  </a:cubicBezTo>
                  <a:lnTo>
                    <a:pt x="176" y="516"/>
                  </a:lnTo>
                  <a:lnTo>
                    <a:pt x="124" y="597"/>
                  </a:lnTo>
                  <a:lnTo>
                    <a:pt x="56" y="516"/>
                  </a:lnTo>
                  <a:lnTo>
                    <a:pt x="30" y="448"/>
                  </a:lnTo>
                  <a:cubicBezTo>
                    <a:pt x="1" y="163"/>
                    <a:pt x="1" y="218"/>
                    <a:pt x="1" y="163"/>
                  </a:cubicBezTo>
                  <a:cubicBezTo>
                    <a:pt x="1" y="163"/>
                    <a:pt x="69" y="1"/>
                    <a:pt x="124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8" name="Google Shape;5008;p52"/>
            <p:cNvSpPr/>
            <p:nvPr/>
          </p:nvSpPr>
          <p:spPr>
            <a:xfrm>
              <a:off x="3695077" y="4087120"/>
              <a:ext cx="6599" cy="25971"/>
            </a:xfrm>
            <a:custGeom>
              <a:avLst/>
              <a:gdLst/>
              <a:ahLst/>
              <a:cxnLst/>
              <a:rect l="l" t="t" r="r" b="b"/>
              <a:pathLst>
                <a:path w="202" h="795" extrusionOk="0">
                  <a:moveTo>
                    <a:pt x="137" y="121"/>
                  </a:moveTo>
                  <a:cubicBezTo>
                    <a:pt x="189" y="134"/>
                    <a:pt x="202" y="176"/>
                    <a:pt x="202" y="176"/>
                  </a:cubicBezTo>
                  <a:cubicBezTo>
                    <a:pt x="189" y="270"/>
                    <a:pt x="137" y="662"/>
                    <a:pt x="137" y="662"/>
                  </a:cubicBezTo>
                  <a:cubicBezTo>
                    <a:pt x="40" y="795"/>
                    <a:pt x="27" y="675"/>
                    <a:pt x="27" y="675"/>
                  </a:cubicBezTo>
                  <a:cubicBezTo>
                    <a:pt x="1" y="607"/>
                    <a:pt x="1" y="675"/>
                    <a:pt x="1" y="568"/>
                  </a:cubicBezTo>
                  <a:cubicBezTo>
                    <a:pt x="1" y="526"/>
                    <a:pt x="14" y="325"/>
                    <a:pt x="14" y="325"/>
                  </a:cubicBezTo>
                  <a:cubicBezTo>
                    <a:pt x="40" y="1"/>
                    <a:pt x="82" y="108"/>
                    <a:pt x="137" y="1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9" name="Google Shape;5009;p52"/>
            <p:cNvSpPr/>
            <p:nvPr/>
          </p:nvSpPr>
          <p:spPr>
            <a:xfrm>
              <a:off x="3594948" y="4079606"/>
              <a:ext cx="6174" cy="26069"/>
            </a:xfrm>
            <a:custGeom>
              <a:avLst/>
              <a:gdLst/>
              <a:ahLst/>
              <a:cxnLst/>
              <a:rect l="l" t="t" r="r" b="b"/>
              <a:pathLst>
                <a:path w="189" h="798" extrusionOk="0">
                  <a:moveTo>
                    <a:pt x="163" y="108"/>
                  </a:moveTo>
                  <a:lnTo>
                    <a:pt x="189" y="377"/>
                  </a:lnTo>
                  <a:cubicBezTo>
                    <a:pt x="189" y="445"/>
                    <a:pt x="163" y="555"/>
                    <a:pt x="163" y="555"/>
                  </a:cubicBezTo>
                  <a:cubicBezTo>
                    <a:pt x="1" y="798"/>
                    <a:pt x="27" y="539"/>
                    <a:pt x="27" y="539"/>
                  </a:cubicBezTo>
                  <a:cubicBezTo>
                    <a:pt x="27" y="487"/>
                    <a:pt x="43" y="445"/>
                    <a:pt x="43" y="393"/>
                  </a:cubicBezTo>
                  <a:cubicBezTo>
                    <a:pt x="95" y="1"/>
                    <a:pt x="108" y="121"/>
                    <a:pt x="137" y="95"/>
                  </a:cubicBezTo>
                  <a:cubicBezTo>
                    <a:pt x="137" y="95"/>
                    <a:pt x="137" y="69"/>
                    <a:pt x="163" y="10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0" name="Google Shape;5010;p52"/>
            <p:cNvSpPr/>
            <p:nvPr/>
          </p:nvSpPr>
          <p:spPr>
            <a:xfrm>
              <a:off x="3627551" y="4069022"/>
              <a:ext cx="5847" cy="21626"/>
            </a:xfrm>
            <a:custGeom>
              <a:avLst/>
              <a:gdLst/>
              <a:ahLst/>
              <a:cxnLst/>
              <a:rect l="l" t="t" r="r" b="b"/>
              <a:pathLst>
                <a:path w="179" h="662" extrusionOk="0">
                  <a:moveTo>
                    <a:pt x="124" y="40"/>
                  </a:moveTo>
                  <a:cubicBezTo>
                    <a:pt x="124" y="40"/>
                    <a:pt x="179" y="163"/>
                    <a:pt x="179" y="176"/>
                  </a:cubicBezTo>
                  <a:cubicBezTo>
                    <a:pt x="179" y="325"/>
                    <a:pt x="150" y="539"/>
                    <a:pt x="150" y="539"/>
                  </a:cubicBezTo>
                  <a:cubicBezTo>
                    <a:pt x="137" y="607"/>
                    <a:pt x="137" y="620"/>
                    <a:pt x="137" y="620"/>
                  </a:cubicBezTo>
                  <a:lnTo>
                    <a:pt x="98" y="662"/>
                  </a:lnTo>
                  <a:lnTo>
                    <a:pt x="17" y="649"/>
                  </a:lnTo>
                  <a:lnTo>
                    <a:pt x="1" y="513"/>
                  </a:lnTo>
                  <a:cubicBezTo>
                    <a:pt x="30" y="325"/>
                    <a:pt x="56" y="82"/>
                    <a:pt x="56" y="82"/>
                  </a:cubicBezTo>
                  <a:cubicBezTo>
                    <a:pt x="56" y="82"/>
                    <a:pt x="98" y="1"/>
                    <a:pt x="124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1" name="Google Shape;5011;p52"/>
            <p:cNvSpPr/>
            <p:nvPr/>
          </p:nvSpPr>
          <p:spPr>
            <a:xfrm>
              <a:off x="3711378" y="4060659"/>
              <a:ext cx="7122" cy="22475"/>
            </a:xfrm>
            <a:custGeom>
              <a:avLst/>
              <a:gdLst/>
              <a:ahLst/>
              <a:cxnLst/>
              <a:rect l="l" t="t" r="r" b="b"/>
              <a:pathLst>
                <a:path w="218" h="688" extrusionOk="0">
                  <a:moveTo>
                    <a:pt x="137" y="14"/>
                  </a:moveTo>
                  <a:lnTo>
                    <a:pt x="205" y="40"/>
                  </a:lnTo>
                  <a:lnTo>
                    <a:pt x="218" y="526"/>
                  </a:lnTo>
                  <a:lnTo>
                    <a:pt x="124" y="688"/>
                  </a:lnTo>
                  <a:cubicBezTo>
                    <a:pt x="14" y="539"/>
                    <a:pt x="27" y="568"/>
                    <a:pt x="27" y="568"/>
                  </a:cubicBezTo>
                  <a:lnTo>
                    <a:pt x="14" y="445"/>
                  </a:lnTo>
                  <a:cubicBezTo>
                    <a:pt x="1" y="283"/>
                    <a:pt x="14" y="53"/>
                    <a:pt x="14" y="53"/>
                  </a:cubicBezTo>
                  <a:cubicBezTo>
                    <a:pt x="82" y="1"/>
                    <a:pt x="108" y="14"/>
                    <a:pt x="137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2" name="Google Shape;5012;p52"/>
            <p:cNvSpPr/>
            <p:nvPr/>
          </p:nvSpPr>
          <p:spPr>
            <a:xfrm>
              <a:off x="3655385" y="4053994"/>
              <a:ext cx="7122" cy="22573"/>
            </a:xfrm>
            <a:custGeom>
              <a:avLst/>
              <a:gdLst/>
              <a:ahLst/>
              <a:cxnLst/>
              <a:rect l="l" t="t" r="r" b="b"/>
              <a:pathLst>
                <a:path w="218" h="691" extrusionOk="0">
                  <a:moveTo>
                    <a:pt x="163" y="56"/>
                  </a:moveTo>
                  <a:lnTo>
                    <a:pt x="218" y="244"/>
                  </a:lnTo>
                  <a:cubicBezTo>
                    <a:pt x="176" y="636"/>
                    <a:pt x="189" y="529"/>
                    <a:pt x="150" y="594"/>
                  </a:cubicBezTo>
                  <a:lnTo>
                    <a:pt x="69" y="691"/>
                  </a:lnTo>
                  <a:lnTo>
                    <a:pt x="27" y="623"/>
                  </a:lnTo>
                  <a:cubicBezTo>
                    <a:pt x="1" y="542"/>
                    <a:pt x="1" y="529"/>
                    <a:pt x="1" y="529"/>
                  </a:cubicBezTo>
                  <a:cubicBezTo>
                    <a:pt x="14" y="406"/>
                    <a:pt x="1" y="338"/>
                    <a:pt x="56" y="150"/>
                  </a:cubicBezTo>
                  <a:cubicBezTo>
                    <a:pt x="56" y="150"/>
                    <a:pt x="121" y="1"/>
                    <a:pt x="163" y="5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3" name="Google Shape;5013;p52"/>
            <p:cNvSpPr/>
            <p:nvPr/>
          </p:nvSpPr>
          <p:spPr>
            <a:xfrm>
              <a:off x="3591877" y="4037693"/>
              <a:ext cx="6174" cy="19829"/>
            </a:xfrm>
            <a:custGeom>
              <a:avLst/>
              <a:gdLst/>
              <a:ahLst/>
              <a:cxnLst/>
              <a:rect l="l" t="t" r="r" b="b"/>
              <a:pathLst>
                <a:path w="189" h="607" extrusionOk="0">
                  <a:moveTo>
                    <a:pt x="163" y="40"/>
                  </a:moveTo>
                  <a:lnTo>
                    <a:pt x="189" y="163"/>
                  </a:lnTo>
                  <a:cubicBezTo>
                    <a:pt x="163" y="338"/>
                    <a:pt x="108" y="555"/>
                    <a:pt x="108" y="555"/>
                  </a:cubicBezTo>
                  <a:lnTo>
                    <a:pt x="40" y="607"/>
                  </a:lnTo>
                  <a:cubicBezTo>
                    <a:pt x="40" y="607"/>
                    <a:pt x="1" y="445"/>
                    <a:pt x="1" y="419"/>
                  </a:cubicBezTo>
                  <a:cubicBezTo>
                    <a:pt x="1" y="393"/>
                    <a:pt x="1" y="364"/>
                    <a:pt x="14" y="338"/>
                  </a:cubicBezTo>
                  <a:cubicBezTo>
                    <a:pt x="40" y="218"/>
                    <a:pt x="82" y="95"/>
                    <a:pt x="82" y="95"/>
                  </a:cubicBezTo>
                  <a:cubicBezTo>
                    <a:pt x="82" y="95"/>
                    <a:pt x="137" y="1"/>
                    <a:pt x="163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4" name="Google Shape;5014;p52"/>
            <p:cNvSpPr/>
            <p:nvPr/>
          </p:nvSpPr>
          <p:spPr>
            <a:xfrm>
              <a:off x="3687563" y="4031029"/>
              <a:ext cx="6697" cy="21724"/>
            </a:xfrm>
            <a:custGeom>
              <a:avLst/>
              <a:gdLst/>
              <a:ahLst/>
              <a:cxnLst/>
              <a:rect l="l" t="t" r="r" b="b"/>
              <a:pathLst>
                <a:path w="205" h="665" extrusionOk="0">
                  <a:moveTo>
                    <a:pt x="124" y="30"/>
                  </a:moveTo>
                  <a:cubicBezTo>
                    <a:pt x="124" y="30"/>
                    <a:pt x="205" y="163"/>
                    <a:pt x="205" y="299"/>
                  </a:cubicBezTo>
                  <a:cubicBezTo>
                    <a:pt x="189" y="354"/>
                    <a:pt x="176" y="516"/>
                    <a:pt x="150" y="610"/>
                  </a:cubicBezTo>
                  <a:lnTo>
                    <a:pt x="108" y="665"/>
                  </a:lnTo>
                  <a:lnTo>
                    <a:pt x="43" y="555"/>
                  </a:lnTo>
                  <a:cubicBezTo>
                    <a:pt x="1" y="393"/>
                    <a:pt x="14" y="111"/>
                    <a:pt x="56" y="69"/>
                  </a:cubicBezTo>
                  <a:cubicBezTo>
                    <a:pt x="56" y="69"/>
                    <a:pt x="82" y="1"/>
                    <a:pt x="124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5" name="Google Shape;5015;p52"/>
            <p:cNvSpPr/>
            <p:nvPr/>
          </p:nvSpPr>
          <p:spPr>
            <a:xfrm>
              <a:off x="3729052" y="4025736"/>
              <a:ext cx="7546" cy="22998"/>
            </a:xfrm>
            <a:custGeom>
              <a:avLst/>
              <a:gdLst/>
              <a:ahLst/>
              <a:cxnLst/>
              <a:rect l="l" t="t" r="r" b="b"/>
              <a:pathLst>
                <a:path w="231" h="704" extrusionOk="0">
                  <a:moveTo>
                    <a:pt x="150" y="17"/>
                  </a:moveTo>
                  <a:lnTo>
                    <a:pt x="202" y="56"/>
                  </a:lnTo>
                  <a:cubicBezTo>
                    <a:pt x="215" y="273"/>
                    <a:pt x="231" y="529"/>
                    <a:pt x="231" y="529"/>
                  </a:cubicBezTo>
                  <a:cubicBezTo>
                    <a:pt x="215" y="584"/>
                    <a:pt x="202" y="610"/>
                    <a:pt x="202" y="610"/>
                  </a:cubicBezTo>
                  <a:lnTo>
                    <a:pt x="150" y="704"/>
                  </a:lnTo>
                  <a:lnTo>
                    <a:pt x="82" y="623"/>
                  </a:lnTo>
                  <a:cubicBezTo>
                    <a:pt x="40" y="555"/>
                    <a:pt x="27" y="516"/>
                    <a:pt x="27" y="516"/>
                  </a:cubicBezTo>
                  <a:cubicBezTo>
                    <a:pt x="14" y="367"/>
                    <a:pt x="1" y="150"/>
                    <a:pt x="1" y="150"/>
                  </a:cubicBezTo>
                  <a:cubicBezTo>
                    <a:pt x="1" y="56"/>
                    <a:pt x="14" y="1"/>
                    <a:pt x="150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6" name="Google Shape;5016;p52"/>
            <p:cNvSpPr/>
            <p:nvPr/>
          </p:nvSpPr>
          <p:spPr>
            <a:xfrm>
              <a:off x="3621834" y="4025736"/>
              <a:ext cx="7546" cy="16432"/>
            </a:xfrm>
            <a:custGeom>
              <a:avLst/>
              <a:gdLst/>
              <a:ahLst/>
              <a:cxnLst/>
              <a:rect l="l" t="t" r="r" b="b"/>
              <a:pathLst>
                <a:path w="231" h="503" extrusionOk="0">
                  <a:moveTo>
                    <a:pt x="192" y="1"/>
                  </a:moveTo>
                  <a:cubicBezTo>
                    <a:pt x="192" y="1"/>
                    <a:pt x="231" y="163"/>
                    <a:pt x="192" y="380"/>
                  </a:cubicBezTo>
                  <a:lnTo>
                    <a:pt x="124" y="503"/>
                  </a:lnTo>
                  <a:lnTo>
                    <a:pt x="30" y="448"/>
                  </a:lnTo>
                  <a:cubicBezTo>
                    <a:pt x="1" y="273"/>
                    <a:pt x="56" y="192"/>
                    <a:pt x="95" y="56"/>
                  </a:cubicBezTo>
                  <a:cubicBezTo>
                    <a:pt x="95" y="56"/>
                    <a:pt x="150" y="1"/>
                    <a:pt x="19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7" name="Google Shape;5017;p52"/>
            <p:cNvSpPr/>
            <p:nvPr/>
          </p:nvSpPr>
          <p:spPr>
            <a:xfrm>
              <a:off x="3651889" y="4010807"/>
              <a:ext cx="10617" cy="15484"/>
            </a:xfrm>
            <a:custGeom>
              <a:avLst/>
              <a:gdLst/>
              <a:ahLst/>
              <a:cxnLst/>
              <a:rect l="l" t="t" r="r" b="b"/>
              <a:pathLst>
                <a:path w="325" h="474" extrusionOk="0">
                  <a:moveTo>
                    <a:pt x="257" y="27"/>
                  </a:moveTo>
                  <a:cubicBezTo>
                    <a:pt x="296" y="108"/>
                    <a:pt x="283" y="53"/>
                    <a:pt x="325" y="134"/>
                  </a:cubicBezTo>
                  <a:lnTo>
                    <a:pt x="296" y="377"/>
                  </a:lnTo>
                  <a:lnTo>
                    <a:pt x="270" y="406"/>
                  </a:lnTo>
                  <a:lnTo>
                    <a:pt x="228" y="474"/>
                  </a:lnTo>
                  <a:cubicBezTo>
                    <a:pt x="1" y="283"/>
                    <a:pt x="66" y="445"/>
                    <a:pt x="121" y="163"/>
                  </a:cubicBezTo>
                  <a:lnTo>
                    <a:pt x="176" y="82"/>
                  </a:lnTo>
                  <a:lnTo>
                    <a:pt x="228" y="27"/>
                  </a:lnTo>
                  <a:cubicBezTo>
                    <a:pt x="228" y="27"/>
                    <a:pt x="228" y="1"/>
                    <a:pt x="257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8" name="Google Shape;5018;p52"/>
            <p:cNvSpPr/>
            <p:nvPr/>
          </p:nvSpPr>
          <p:spPr>
            <a:xfrm>
              <a:off x="3594524" y="4003718"/>
              <a:ext cx="5749" cy="18980"/>
            </a:xfrm>
            <a:custGeom>
              <a:avLst/>
              <a:gdLst/>
              <a:ahLst/>
              <a:cxnLst/>
              <a:rect l="l" t="t" r="r" b="b"/>
              <a:pathLst>
                <a:path w="176" h="581" extrusionOk="0">
                  <a:moveTo>
                    <a:pt x="95" y="27"/>
                  </a:moveTo>
                  <a:lnTo>
                    <a:pt x="163" y="150"/>
                  </a:lnTo>
                  <a:cubicBezTo>
                    <a:pt x="176" y="299"/>
                    <a:pt x="163" y="351"/>
                    <a:pt x="163" y="351"/>
                  </a:cubicBezTo>
                  <a:cubicBezTo>
                    <a:pt x="163" y="419"/>
                    <a:pt x="150" y="513"/>
                    <a:pt x="150" y="513"/>
                  </a:cubicBezTo>
                  <a:lnTo>
                    <a:pt x="82" y="581"/>
                  </a:lnTo>
                  <a:cubicBezTo>
                    <a:pt x="82" y="581"/>
                    <a:pt x="40" y="529"/>
                    <a:pt x="14" y="231"/>
                  </a:cubicBezTo>
                  <a:cubicBezTo>
                    <a:pt x="1" y="82"/>
                    <a:pt x="27" y="95"/>
                    <a:pt x="27" y="95"/>
                  </a:cubicBezTo>
                  <a:cubicBezTo>
                    <a:pt x="27" y="95"/>
                    <a:pt x="56" y="1"/>
                    <a:pt x="95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9" name="Google Shape;5019;p52"/>
            <p:cNvSpPr/>
            <p:nvPr/>
          </p:nvSpPr>
          <p:spPr>
            <a:xfrm>
              <a:off x="3707458" y="4001496"/>
              <a:ext cx="6599" cy="19502"/>
            </a:xfrm>
            <a:custGeom>
              <a:avLst/>
              <a:gdLst/>
              <a:ahLst/>
              <a:cxnLst/>
              <a:rect l="l" t="t" r="r" b="b"/>
              <a:pathLst>
                <a:path w="202" h="597" extrusionOk="0">
                  <a:moveTo>
                    <a:pt x="108" y="30"/>
                  </a:moveTo>
                  <a:cubicBezTo>
                    <a:pt x="176" y="111"/>
                    <a:pt x="189" y="111"/>
                    <a:pt x="189" y="111"/>
                  </a:cubicBezTo>
                  <a:cubicBezTo>
                    <a:pt x="189" y="124"/>
                    <a:pt x="202" y="435"/>
                    <a:pt x="202" y="435"/>
                  </a:cubicBezTo>
                  <a:cubicBezTo>
                    <a:pt x="189" y="487"/>
                    <a:pt x="176" y="529"/>
                    <a:pt x="176" y="529"/>
                  </a:cubicBezTo>
                  <a:lnTo>
                    <a:pt x="121" y="597"/>
                  </a:lnTo>
                  <a:lnTo>
                    <a:pt x="14" y="448"/>
                  </a:lnTo>
                  <a:cubicBezTo>
                    <a:pt x="14" y="354"/>
                    <a:pt x="1" y="325"/>
                    <a:pt x="14" y="150"/>
                  </a:cubicBezTo>
                  <a:lnTo>
                    <a:pt x="53" y="56"/>
                  </a:lnTo>
                  <a:cubicBezTo>
                    <a:pt x="95" y="30"/>
                    <a:pt x="82" y="1"/>
                    <a:pt x="108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0" name="Google Shape;5020;p52"/>
            <p:cNvSpPr/>
            <p:nvPr/>
          </p:nvSpPr>
          <p:spPr>
            <a:xfrm>
              <a:off x="3616117" y="3982124"/>
              <a:ext cx="6697" cy="23847"/>
            </a:xfrm>
            <a:custGeom>
              <a:avLst/>
              <a:gdLst/>
              <a:ahLst/>
              <a:cxnLst/>
              <a:rect l="l" t="t" r="r" b="b"/>
              <a:pathLst>
                <a:path w="205" h="730" extrusionOk="0">
                  <a:moveTo>
                    <a:pt x="137" y="27"/>
                  </a:moveTo>
                  <a:cubicBezTo>
                    <a:pt x="137" y="27"/>
                    <a:pt x="205" y="176"/>
                    <a:pt x="176" y="406"/>
                  </a:cubicBezTo>
                  <a:lnTo>
                    <a:pt x="124" y="607"/>
                  </a:lnTo>
                  <a:lnTo>
                    <a:pt x="43" y="730"/>
                  </a:lnTo>
                  <a:lnTo>
                    <a:pt x="1" y="474"/>
                  </a:lnTo>
                  <a:cubicBezTo>
                    <a:pt x="56" y="14"/>
                    <a:pt x="108" y="1"/>
                    <a:pt x="137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1" name="Google Shape;5021;p52"/>
            <p:cNvSpPr/>
            <p:nvPr/>
          </p:nvSpPr>
          <p:spPr>
            <a:xfrm>
              <a:off x="3678351" y="3975982"/>
              <a:ext cx="9670" cy="19829"/>
            </a:xfrm>
            <a:custGeom>
              <a:avLst/>
              <a:gdLst/>
              <a:ahLst/>
              <a:cxnLst/>
              <a:rect l="l" t="t" r="r" b="b"/>
              <a:pathLst>
                <a:path w="296" h="607" extrusionOk="0">
                  <a:moveTo>
                    <a:pt x="134" y="95"/>
                  </a:moveTo>
                  <a:cubicBezTo>
                    <a:pt x="296" y="147"/>
                    <a:pt x="215" y="53"/>
                    <a:pt x="215" y="419"/>
                  </a:cubicBezTo>
                  <a:lnTo>
                    <a:pt x="215" y="526"/>
                  </a:lnTo>
                  <a:cubicBezTo>
                    <a:pt x="202" y="581"/>
                    <a:pt x="176" y="607"/>
                    <a:pt x="176" y="607"/>
                  </a:cubicBezTo>
                  <a:lnTo>
                    <a:pt x="82" y="607"/>
                  </a:lnTo>
                  <a:lnTo>
                    <a:pt x="27" y="471"/>
                  </a:lnTo>
                  <a:cubicBezTo>
                    <a:pt x="14" y="1"/>
                    <a:pt x="1" y="176"/>
                    <a:pt x="53" y="108"/>
                  </a:cubicBezTo>
                  <a:cubicBezTo>
                    <a:pt x="53" y="108"/>
                    <a:pt x="108" y="95"/>
                    <a:pt x="134" y="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2" name="Google Shape;5022;p52"/>
            <p:cNvSpPr/>
            <p:nvPr/>
          </p:nvSpPr>
          <p:spPr>
            <a:xfrm>
              <a:off x="3713600" y="3965822"/>
              <a:ext cx="11466" cy="20254"/>
            </a:xfrm>
            <a:custGeom>
              <a:avLst/>
              <a:gdLst/>
              <a:ahLst/>
              <a:cxnLst/>
              <a:rect l="l" t="t" r="r" b="b"/>
              <a:pathLst>
                <a:path w="351" h="620" extrusionOk="0">
                  <a:moveTo>
                    <a:pt x="312" y="40"/>
                  </a:moveTo>
                  <a:cubicBezTo>
                    <a:pt x="351" y="296"/>
                    <a:pt x="338" y="325"/>
                    <a:pt x="338" y="393"/>
                  </a:cubicBezTo>
                  <a:cubicBezTo>
                    <a:pt x="351" y="594"/>
                    <a:pt x="338" y="581"/>
                    <a:pt x="338" y="581"/>
                  </a:cubicBezTo>
                  <a:lnTo>
                    <a:pt x="312" y="620"/>
                  </a:lnTo>
                  <a:lnTo>
                    <a:pt x="176" y="594"/>
                  </a:lnTo>
                  <a:cubicBezTo>
                    <a:pt x="176" y="594"/>
                    <a:pt x="150" y="296"/>
                    <a:pt x="121" y="82"/>
                  </a:cubicBezTo>
                  <a:cubicBezTo>
                    <a:pt x="121" y="82"/>
                    <a:pt x="1" y="1"/>
                    <a:pt x="312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3" name="Google Shape;5023;p52"/>
            <p:cNvSpPr/>
            <p:nvPr/>
          </p:nvSpPr>
          <p:spPr>
            <a:xfrm>
              <a:off x="3646597" y="3955663"/>
              <a:ext cx="7024" cy="21626"/>
            </a:xfrm>
            <a:custGeom>
              <a:avLst/>
              <a:gdLst/>
              <a:ahLst/>
              <a:cxnLst/>
              <a:rect l="l" t="t" r="r" b="b"/>
              <a:pathLst>
                <a:path w="215" h="662" extrusionOk="0">
                  <a:moveTo>
                    <a:pt x="163" y="40"/>
                  </a:moveTo>
                  <a:lnTo>
                    <a:pt x="215" y="202"/>
                  </a:lnTo>
                  <a:cubicBezTo>
                    <a:pt x="215" y="283"/>
                    <a:pt x="215" y="218"/>
                    <a:pt x="202" y="338"/>
                  </a:cubicBezTo>
                  <a:lnTo>
                    <a:pt x="189" y="487"/>
                  </a:lnTo>
                  <a:cubicBezTo>
                    <a:pt x="176" y="542"/>
                    <a:pt x="147" y="607"/>
                    <a:pt x="147" y="607"/>
                  </a:cubicBezTo>
                  <a:lnTo>
                    <a:pt x="95" y="662"/>
                  </a:lnTo>
                  <a:lnTo>
                    <a:pt x="27" y="500"/>
                  </a:lnTo>
                  <a:cubicBezTo>
                    <a:pt x="14" y="406"/>
                    <a:pt x="1" y="500"/>
                    <a:pt x="27" y="283"/>
                  </a:cubicBezTo>
                  <a:cubicBezTo>
                    <a:pt x="40" y="121"/>
                    <a:pt x="121" y="1"/>
                    <a:pt x="163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4" name="Google Shape;5024;p52"/>
            <p:cNvSpPr/>
            <p:nvPr/>
          </p:nvSpPr>
          <p:spPr>
            <a:xfrm>
              <a:off x="3693705" y="3941060"/>
              <a:ext cx="7122" cy="22998"/>
            </a:xfrm>
            <a:custGeom>
              <a:avLst/>
              <a:gdLst/>
              <a:ahLst/>
              <a:cxnLst/>
              <a:rect l="l" t="t" r="r" b="b"/>
              <a:pathLst>
                <a:path w="218" h="704" extrusionOk="0">
                  <a:moveTo>
                    <a:pt x="137" y="1"/>
                  </a:moveTo>
                  <a:cubicBezTo>
                    <a:pt x="218" y="43"/>
                    <a:pt x="192" y="69"/>
                    <a:pt x="192" y="69"/>
                  </a:cubicBezTo>
                  <a:lnTo>
                    <a:pt x="192" y="367"/>
                  </a:lnTo>
                  <a:cubicBezTo>
                    <a:pt x="192" y="542"/>
                    <a:pt x="137" y="649"/>
                    <a:pt x="137" y="649"/>
                  </a:cubicBezTo>
                  <a:lnTo>
                    <a:pt x="82" y="704"/>
                  </a:lnTo>
                  <a:lnTo>
                    <a:pt x="30" y="636"/>
                  </a:lnTo>
                  <a:cubicBezTo>
                    <a:pt x="1" y="422"/>
                    <a:pt x="1" y="623"/>
                    <a:pt x="1" y="354"/>
                  </a:cubicBezTo>
                  <a:lnTo>
                    <a:pt x="30" y="69"/>
                  </a:lnTo>
                  <a:lnTo>
                    <a:pt x="43" y="30"/>
                  </a:lnTo>
                  <a:cubicBezTo>
                    <a:pt x="43" y="30"/>
                    <a:pt x="82" y="1"/>
                    <a:pt x="13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5" name="Google Shape;5025;p52"/>
            <p:cNvSpPr/>
            <p:nvPr/>
          </p:nvSpPr>
          <p:spPr>
            <a:xfrm>
              <a:off x="3607330" y="3933644"/>
              <a:ext cx="6599" cy="27343"/>
            </a:xfrm>
            <a:custGeom>
              <a:avLst/>
              <a:gdLst/>
              <a:ahLst/>
              <a:cxnLst/>
              <a:rect l="l" t="t" r="r" b="b"/>
              <a:pathLst>
                <a:path w="202" h="837" extrusionOk="0">
                  <a:moveTo>
                    <a:pt x="202" y="108"/>
                  </a:moveTo>
                  <a:cubicBezTo>
                    <a:pt x="202" y="108"/>
                    <a:pt x="202" y="364"/>
                    <a:pt x="150" y="620"/>
                  </a:cubicBezTo>
                  <a:lnTo>
                    <a:pt x="108" y="782"/>
                  </a:lnTo>
                  <a:lnTo>
                    <a:pt x="53" y="837"/>
                  </a:lnTo>
                  <a:lnTo>
                    <a:pt x="1" y="769"/>
                  </a:lnTo>
                  <a:cubicBezTo>
                    <a:pt x="14" y="552"/>
                    <a:pt x="53" y="338"/>
                    <a:pt x="82" y="121"/>
                  </a:cubicBezTo>
                  <a:cubicBezTo>
                    <a:pt x="82" y="121"/>
                    <a:pt x="121" y="1"/>
                    <a:pt x="202" y="10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6" name="Google Shape;5026;p52"/>
            <p:cNvSpPr/>
            <p:nvPr/>
          </p:nvSpPr>
          <p:spPr>
            <a:xfrm>
              <a:off x="3637711" y="3928352"/>
              <a:ext cx="6697" cy="14112"/>
            </a:xfrm>
            <a:custGeom>
              <a:avLst/>
              <a:gdLst/>
              <a:ahLst/>
              <a:cxnLst/>
              <a:rect l="l" t="t" r="r" b="b"/>
              <a:pathLst>
                <a:path w="205" h="432" extrusionOk="0">
                  <a:moveTo>
                    <a:pt x="124" y="1"/>
                  </a:moveTo>
                  <a:lnTo>
                    <a:pt x="205" y="53"/>
                  </a:lnTo>
                  <a:cubicBezTo>
                    <a:pt x="192" y="189"/>
                    <a:pt x="163" y="338"/>
                    <a:pt x="163" y="338"/>
                  </a:cubicBezTo>
                  <a:cubicBezTo>
                    <a:pt x="137" y="351"/>
                    <a:pt x="124" y="377"/>
                    <a:pt x="124" y="377"/>
                  </a:cubicBezTo>
                  <a:lnTo>
                    <a:pt x="82" y="432"/>
                  </a:lnTo>
                  <a:lnTo>
                    <a:pt x="1" y="309"/>
                  </a:lnTo>
                  <a:cubicBezTo>
                    <a:pt x="14" y="176"/>
                    <a:pt x="1" y="228"/>
                    <a:pt x="30" y="82"/>
                  </a:cubicBezTo>
                  <a:lnTo>
                    <a:pt x="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7" name="Google Shape;5027;p52"/>
            <p:cNvSpPr/>
            <p:nvPr/>
          </p:nvSpPr>
          <p:spPr>
            <a:xfrm>
              <a:off x="3668615" y="3923059"/>
              <a:ext cx="5749" cy="25121"/>
            </a:xfrm>
            <a:custGeom>
              <a:avLst/>
              <a:gdLst/>
              <a:ahLst/>
              <a:cxnLst/>
              <a:rect l="l" t="t" r="r" b="b"/>
              <a:pathLst>
                <a:path w="176" h="769" extrusionOk="0">
                  <a:moveTo>
                    <a:pt x="121" y="1"/>
                  </a:moveTo>
                  <a:lnTo>
                    <a:pt x="163" y="95"/>
                  </a:lnTo>
                  <a:cubicBezTo>
                    <a:pt x="163" y="176"/>
                    <a:pt x="176" y="215"/>
                    <a:pt x="176" y="338"/>
                  </a:cubicBezTo>
                  <a:lnTo>
                    <a:pt x="163" y="445"/>
                  </a:lnTo>
                  <a:cubicBezTo>
                    <a:pt x="1" y="769"/>
                    <a:pt x="14" y="419"/>
                    <a:pt x="14" y="419"/>
                  </a:cubicBezTo>
                  <a:cubicBezTo>
                    <a:pt x="14" y="176"/>
                    <a:pt x="27" y="14"/>
                    <a:pt x="27" y="14"/>
                  </a:cubicBezTo>
                  <a:cubicBezTo>
                    <a:pt x="27" y="14"/>
                    <a:pt x="56" y="1"/>
                    <a:pt x="12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8" name="Google Shape;5028;p52"/>
            <p:cNvSpPr/>
            <p:nvPr/>
          </p:nvSpPr>
          <p:spPr>
            <a:xfrm>
              <a:off x="3714024" y="3909829"/>
              <a:ext cx="5749" cy="23325"/>
            </a:xfrm>
            <a:custGeom>
              <a:avLst/>
              <a:gdLst/>
              <a:ahLst/>
              <a:cxnLst/>
              <a:rect l="l" t="t" r="r" b="b"/>
              <a:pathLst>
                <a:path w="176" h="714" extrusionOk="0">
                  <a:moveTo>
                    <a:pt x="137" y="40"/>
                  </a:moveTo>
                  <a:lnTo>
                    <a:pt x="176" y="568"/>
                  </a:lnTo>
                  <a:cubicBezTo>
                    <a:pt x="163" y="620"/>
                    <a:pt x="137" y="675"/>
                    <a:pt x="108" y="714"/>
                  </a:cubicBezTo>
                  <a:lnTo>
                    <a:pt x="27" y="552"/>
                  </a:lnTo>
                  <a:cubicBezTo>
                    <a:pt x="14" y="325"/>
                    <a:pt x="1" y="228"/>
                    <a:pt x="1" y="95"/>
                  </a:cubicBezTo>
                  <a:lnTo>
                    <a:pt x="82" y="1"/>
                  </a:lnTo>
                  <a:cubicBezTo>
                    <a:pt x="95" y="14"/>
                    <a:pt x="124" y="27"/>
                    <a:pt x="137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9" name="Google Shape;5029;p52"/>
            <p:cNvSpPr/>
            <p:nvPr/>
          </p:nvSpPr>
          <p:spPr>
            <a:xfrm>
              <a:off x="3691059" y="3895651"/>
              <a:ext cx="6697" cy="22998"/>
            </a:xfrm>
            <a:custGeom>
              <a:avLst/>
              <a:gdLst/>
              <a:ahLst/>
              <a:cxnLst/>
              <a:rect l="l" t="t" r="r" b="b"/>
              <a:pathLst>
                <a:path w="205" h="704" extrusionOk="0">
                  <a:moveTo>
                    <a:pt x="111" y="56"/>
                  </a:moveTo>
                  <a:lnTo>
                    <a:pt x="179" y="192"/>
                  </a:lnTo>
                  <a:cubicBezTo>
                    <a:pt x="192" y="325"/>
                    <a:pt x="205" y="419"/>
                    <a:pt x="150" y="581"/>
                  </a:cubicBezTo>
                  <a:cubicBezTo>
                    <a:pt x="150" y="581"/>
                    <a:pt x="124" y="649"/>
                    <a:pt x="69" y="704"/>
                  </a:cubicBezTo>
                  <a:lnTo>
                    <a:pt x="1" y="555"/>
                  </a:lnTo>
                  <a:cubicBezTo>
                    <a:pt x="1" y="393"/>
                    <a:pt x="17" y="192"/>
                    <a:pt x="17" y="192"/>
                  </a:cubicBezTo>
                  <a:lnTo>
                    <a:pt x="30" y="150"/>
                  </a:lnTo>
                  <a:cubicBezTo>
                    <a:pt x="30" y="150"/>
                    <a:pt x="69" y="1"/>
                    <a:pt x="111" y="5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0" name="Google Shape;5030;p52"/>
            <p:cNvSpPr/>
            <p:nvPr/>
          </p:nvSpPr>
          <p:spPr>
            <a:xfrm>
              <a:off x="3627551" y="3890783"/>
              <a:ext cx="6697" cy="21201"/>
            </a:xfrm>
            <a:custGeom>
              <a:avLst/>
              <a:gdLst/>
              <a:ahLst/>
              <a:cxnLst/>
              <a:rect l="l" t="t" r="r" b="b"/>
              <a:pathLst>
                <a:path w="205" h="649" extrusionOk="0">
                  <a:moveTo>
                    <a:pt x="163" y="30"/>
                  </a:moveTo>
                  <a:cubicBezTo>
                    <a:pt x="163" y="30"/>
                    <a:pt x="205" y="111"/>
                    <a:pt x="192" y="244"/>
                  </a:cubicBezTo>
                  <a:lnTo>
                    <a:pt x="163" y="380"/>
                  </a:lnTo>
                  <a:cubicBezTo>
                    <a:pt x="124" y="529"/>
                    <a:pt x="82" y="610"/>
                    <a:pt x="82" y="610"/>
                  </a:cubicBezTo>
                  <a:lnTo>
                    <a:pt x="30" y="649"/>
                  </a:lnTo>
                  <a:cubicBezTo>
                    <a:pt x="30" y="649"/>
                    <a:pt x="1" y="435"/>
                    <a:pt x="1" y="422"/>
                  </a:cubicBezTo>
                  <a:cubicBezTo>
                    <a:pt x="17" y="286"/>
                    <a:pt x="69" y="111"/>
                    <a:pt x="69" y="111"/>
                  </a:cubicBezTo>
                  <a:cubicBezTo>
                    <a:pt x="98" y="17"/>
                    <a:pt x="82" y="82"/>
                    <a:pt x="137" y="30"/>
                  </a:cubicBezTo>
                  <a:cubicBezTo>
                    <a:pt x="137" y="30"/>
                    <a:pt x="137" y="1"/>
                    <a:pt x="163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1" name="Google Shape;5031;p52"/>
            <p:cNvSpPr/>
            <p:nvPr/>
          </p:nvSpPr>
          <p:spPr>
            <a:xfrm>
              <a:off x="3661102" y="3877552"/>
              <a:ext cx="10192" cy="25219"/>
            </a:xfrm>
            <a:custGeom>
              <a:avLst/>
              <a:gdLst/>
              <a:ahLst/>
              <a:cxnLst/>
              <a:rect l="l" t="t" r="r" b="b"/>
              <a:pathLst>
                <a:path w="312" h="772" extrusionOk="0">
                  <a:moveTo>
                    <a:pt x="150" y="137"/>
                  </a:moveTo>
                  <a:cubicBezTo>
                    <a:pt x="257" y="299"/>
                    <a:pt x="312" y="1"/>
                    <a:pt x="189" y="568"/>
                  </a:cubicBezTo>
                  <a:cubicBezTo>
                    <a:pt x="176" y="623"/>
                    <a:pt x="137" y="704"/>
                    <a:pt x="137" y="704"/>
                  </a:cubicBezTo>
                  <a:lnTo>
                    <a:pt x="69" y="772"/>
                  </a:lnTo>
                  <a:lnTo>
                    <a:pt x="1" y="542"/>
                  </a:lnTo>
                  <a:cubicBezTo>
                    <a:pt x="1" y="218"/>
                    <a:pt x="56" y="192"/>
                    <a:pt x="56" y="192"/>
                  </a:cubicBezTo>
                  <a:cubicBezTo>
                    <a:pt x="56" y="192"/>
                    <a:pt x="124" y="111"/>
                    <a:pt x="150" y="13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2" name="Google Shape;5032;p52"/>
            <p:cNvSpPr/>
            <p:nvPr/>
          </p:nvSpPr>
          <p:spPr>
            <a:xfrm>
              <a:off x="3692431" y="3851614"/>
              <a:ext cx="7122" cy="22475"/>
            </a:xfrm>
            <a:custGeom>
              <a:avLst/>
              <a:gdLst/>
              <a:ahLst/>
              <a:cxnLst/>
              <a:rect l="l" t="t" r="r" b="b"/>
              <a:pathLst>
                <a:path w="218" h="688" extrusionOk="0">
                  <a:moveTo>
                    <a:pt x="150" y="53"/>
                  </a:moveTo>
                  <a:lnTo>
                    <a:pt x="202" y="163"/>
                  </a:lnTo>
                  <a:cubicBezTo>
                    <a:pt x="218" y="215"/>
                    <a:pt x="202" y="228"/>
                    <a:pt x="202" y="228"/>
                  </a:cubicBezTo>
                  <a:cubicBezTo>
                    <a:pt x="202" y="228"/>
                    <a:pt x="189" y="445"/>
                    <a:pt x="189" y="633"/>
                  </a:cubicBezTo>
                  <a:lnTo>
                    <a:pt x="163" y="688"/>
                  </a:lnTo>
                  <a:lnTo>
                    <a:pt x="40" y="662"/>
                  </a:lnTo>
                  <a:cubicBezTo>
                    <a:pt x="1" y="487"/>
                    <a:pt x="27" y="432"/>
                    <a:pt x="40" y="283"/>
                  </a:cubicBezTo>
                  <a:cubicBezTo>
                    <a:pt x="40" y="283"/>
                    <a:pt x="108" y="1"/>
                    <a:pt x="150" y="5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3" name="Google Shape;5033;p52"/>
            <p:cNvSpPr/>
            <p:nvPr/>
          </p:nvSpPr>
          <p:spPr>
            <a:xfrm>
              <a:off x="3637711" y="3850666"/>
              <a:ext cx="8918" cy="19927"/>
            </a:xfrm>
            <a:custGeom>
              <a:avLst/>
              <a:gdLst/>
              <a:ahLst/>
              <a:cxnLst/>
              <a:rect l="l" t="t" r="r" b="b"/>
              <a:pathLst>
                <a:path w="273" h="610" extrusionOk="0">
                  <a:moveTo>
                    <a:pt x="257" y="30"/>
                  </a:moveTo>
                  <a:lnTo>
                    <a:pt x="273" y="163"/>
                  </a:lnTo>
                  <a:cubicBezTo>
                    <a:pt x="218" y="325"/>
                    <a:pt x="205" y="393"/>
                    <a:pt x="124" y="542"/>
                  </a:cubicBezTo>
                  <a:lnTo>
                    <a:pt x="43" y="610"/>
                  </a:lnTo>
                  <a:cubicBezTo>
                    <a:pt x="43" y="610"/>
                    <a:pt x="1" y="529"/>
                    <a:pt x="30" y="393"/>
                  </a:cubicBezTo>
                  <a:lnTo>
                    <a:pt x="137" y="111"/>
                  </a:lnTo>
                  <a:cubicBezTo>
                    <a:pt x="176" y="30"/>
                    <a:pt x="192" y="43"/>
                    <a:pt x="192" y="43"/>
                  </a:cubicBezTo>
                  <a:cubicBezTo>
                    <a:pt x="192" y="43"/>
                    <a:pt x="244" y="1"/>
                    <a:pt x="257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4" name="Google Shape;5034;p52"/>
            <p:cNvSpPr/>
            <p:nvPr/>
          </p:nvSpPr>
          <p:spPr>
            <a:xfrm>
              <a:off x="3661951" y="3836162"/>
              <a:ext cx="7546" cy="19404"/>
            </a:xfrm>
            <a:custGeom>
              <a:avLst/>
              <a:gdLst/>
              <a:ahLst/>
              <a:cxnLst/>
              <a:rect l="l" t="t" r="r" b="b"/>
              <a:pathLst>
                <a:path w="231" h="594" extrusionOk="0">
                  <a:moveTo>
                    <a:pt x="231" y="40"/>
                  </a:moveTo>
                  <a:cubicBezTo>
                    <a:pt x="231" y="40"/>
                    <a:pt x="218" y="312"/>
                    <a:pt x="163" y="500"/>
                  </a:cubicBezTo>
                  <a:lnTo>
                    <a:pt x="69" y="594"/>
                  </a:lnTo>
                  <a:lnTo>
                    <a:pt x="30" y="500"/>
                  </a:lnTo>
                  <a:cubicBezTo>
                    <a:pt x="1" y="432"/>
                    <a:pt x="17" y="445"/>
                    <a:pt x="43" y="393"/>
                  </a:cubicBezTo>
                  <a:cubicBezTo>
                    <a:pt x="82" y="231"/>
                    <a:pt x="137" y="69"/>
                    <a:pt x="137" y="69"/>
                  </a:cubicBezTo>
                  <a:cubicBezTo>
                    <a:pt x="137" y="69"/>
                    <a:pt x="218" y="1"/>
                    <a:pt x="231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5" name="Google Shape;5035;p52"/>
            <p:cNvSpPr/>
            <p:nvPr/>
          </p:nvSpPr>
          <p:spPr>
            <a:xfrm>
              <a:off x="3680474" y="3821134"/>
              <a:ext cx="4900" cy="19927"/>
            </a:xfrm>
            <a:custGeom>
              <a:avLst/>
              <a:gdLst/>
              <a:ahLst/>
              <a:cxnLst/>
              <a:rect l="l" t="t" r="r" b="b"/>
              <a:pathLst>
                <a:path w="150" h="610" extrusionOk="0">
                  <a:moveTo>
                    <a:pt x="124" y="27"/>
                  </a:moveTo>
                  <a:lnTo>
                    <a:pt x="150" y="137"/>
                  </a:lnTo>
                  <a:cubicBezTo>
                    <a:pt x="137" y="380"/>
                    <a:pt x="124" y="367"/>
                    <a:pt x="124" y="406"/>
                  </a:cubicBezTo>
                  <a:lnTo>
                    <a:pt x="82" y="568"/>
                  </a:lnTo>
                  <a:lnTo>
                    <a:pt x="56" y="610"/>
                  </a:lnTo>
                  <a:lnTo>
                    <a:pt x="17" y="419"/>
                  </a:lnTo>
                  <a:cubicBezTo>
                    <a:pt x="1" y="218"/>
                    <a:pt x="1" y="312"/>
                    <a:pt x="30" y="124"/>
                  </a:cubicBezTo>
                  <a:cubicBezTo>
                    <a:pt x="43" y="27"/>
                    <a:pt x="69" y="43"/>
                    <a:pt x="69" y="43"/>
                  </a:cubicBezTo>
                  <a:cubicBezTo>
                    <a:pt x="69" y="43"/>
                    <a:pt x="98" y="1"/>
                    <a:pt x="124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6" name="Google Shape;5036;p52"/>
            <p:cNvSpPr/>
            <p:nvPr/>
          </p:nvSpPr>
          <p:spPr>
            <a:xfrm>
              <a:off x="3664173" y="4253304"/>
              <a:ext cx="37078" cy="89999"/>
            </a:xfrm>
            <a:custGeom>
              <a:avLst/>
              <a:gdLst/>
              <a:ahLst/>
              <a:cxnLst/>
              <a:rect l="l" t="t" r="r" b="b"/>
              <a:pathLst>
                <a:path w="1135" h="2755" extrusionOk="0">
                  <a:moveTo>
                    <a:pt x="1" y="2755"/>
                  </a:moveTo>
                  <a:lnTo>
                    <a:pt x="1" y="568"/>
                  </a:lnTo>
                  <a:cubicBezTo>
                    <a:pt x="1" y="260"/>
                    <a:pt x="257" y="1"/>
                    <a:pt x="568" y="1"/>
                  </a:cubicBezTo>
                  <a:cubicBezTo>
                    <a:pt x="879" y="1"/>
                    <a:pt x="1135" y="260"/>
                    <a:pt x="1135" y="568"/>
                  </a:cubicBezTo>
                  <a:lnTo>
                    <a:pt x="1135" y="2674"/>
                  </a:lnTo>
                  <a:lnTo>
                    <a:pt x="1041" y="2674"/>
                  </a:lnTo>
                  <a:cubicBezTo>
                    <a:pt x="743" y="2674"/>
                    <a:pt x="435" y="2703"/>
                    <a:pt x="137" y="2742"/>
                  </a:cubicBezTo>
                  <a:cubicBezTo>
                    <a:pt x="95" y="2742"/>
                    <a:pt x="43" y="2755"/>
                    <a:pt x="1" y="2755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7" name="Google Shape;5037;p52"/>
            <p:cNvSpPr/>
            <p:nvPr/>
          </p:nvSpPr>
          <p:spPr>
            <a:xfrm>
              <a:off x="3650517" y="4248959"/>
              <a:ext cx="51680" cy="27343"/>
            </a:xfrm>
            <a:custGeom>
              <a:avLst/>
              <a:gdLst/>
              <a:ahLst/>
              <a:cxnLst/>
              <a:rect l="l" t="t" r="r" b="b"/>
              <a:pathLst>
                <a:path w="1582" h="837" extrusionOk="0">
                  <a:moveTo>
                    <a:pt x="176" y="432"/>
                  </a:moveTo>
                  <a:cubicBezTo>
                    <a:pt x="124" y="500"/>
                    <a:pt x="69" y="568"/>
                    <a:pt x="27" y="636"/>
                  </a:cubicBezTo>
                  <a:cubicBezTo>
                    <a:pt x="27" y="649"/>
                    <a:pt x="1" y="701"/>
                    <a:pt x="1" y="701"/>
                  </a:cubicBezTo>
                  <a:cubicBezTo>
                    <a:pt x="108" y="756"/>
                    <a:pt x="286" y="636"/>
                    <a:pt x="351" y="581"/>
                  </a:cubicBezTo>
                  <a:cubicBezTo>
                    <a:pt x="380" y="555"/>
                    <a:pt x="406" y="526"/>
                    <a:pt x="432" y="513"/>
                  </a:cubicBezTo>
                  <a:lnTo>
                    <a:pt x="474" y="474"/>
                  </a:lnTo>
                  <a:cubicBezTo>
                    <a:pt x="448" y="513"/>
                    <a:pt x="419" y="555"/>
                    <a:pt x="406" y="594"/>
                  </a:cubicBezTo>
                  <a:cubicBezTo>
                    <a:pt x="380" y="636"/>
                    <a:pt x="299" y="798"/>
                    <a:pt x="406" y="782"/>
                  </a:cubicBezTo>
                  <a:cubicBezTo>
                    <a:pt x="487" y="782"/>
                    <a:pt x="581" y="717"/>
                    <a:pt x="636" y="662"/>
                  </a:cubicBezTo>
                  <a:cubicBezTo>
                    <a:pt x="649" y="636"/>
                    <a:pt x="675" y="607"/>
                    <a:pt x="691" y="594"/>
                  </a:cubicBezTo>
                  <a:cubicBezTo>
                    <a:pt x="704" y="581"/>
                    <a:pt x="704" y="555"/>
                    <a:pt x="730" y="555"/>
                  </a:cubicBezTo>
                  <a:cubicBezTo>
                    <a:pt x="798" y="594"/>
                    <a:pt x="934" y="837"/>
                    <a:pt x="1015" y="688"/>
                  </a:cubicBezTo>
                  <a:cubicBezTo>
                    <a:pt x="1028" y="662"/>
                    <a:pt x="1028" y="649"/>
                    <a:pt x="1028" y="620"/>
                  </a:cubicBezTo>
                  <a:cubicBezTo>
                    <a:pt x="1041" y="594"/>
                    <a:pt x="1041" y="568"/>
                    <a:pt x="1028" y="539"/>
                  </a:cubicBezTo>
                  <a:cubicBezTo>
                    <a:pt x="1028" y="526"/>
                    <a:pt x="1041" y="555"/>
                    <a:pt x="1054" y="555"/>
                  </a:cubicBezTo>
                  <a:cubicBezTo>
                    <a:pt x="1067" y="568"/>
                    <a:pt x="1067" y="581"/>
                    <a:pt x="1080" y="594"/>
                  </a:cubicBezTo>
                  <a:cubicBezTo>
                    <a:pt x="1122" y="620"/>
                    <a:pt x="1148" y="662"/>
                    <a:pt x="1190" y="675"/>
                  </a:cubicBezTo>
                  <a:cubicBezTo>
                    <a:pt x="1310" y="756"/>
                    <a:pt x="1446" y="756"/>
                    <a:pt x="1540" y="649"/>
                  </a:cubicBezTo>
                  <a:cubicBezTo>
                    <a:pt x="1582" y="581"/>
                    <a:pt x="1553" y="500"/>
                    <a:pt x="1527" y="432"/>
                  </a:cubicBezTo>
                  <a:cubicBezTo>
                    <a:pt x="1446" y="270"/>
                    <a:pt x="1258" y="163"/>
                    <a:pt x="1054" y="108"/>
                  </a:cubicBezTo>
                  <a:cubicBezTo>
                    <a:pt x="675" y="1"/>
                    <a:pt x="325" y="176"/>
                    <a:pt x="108" y="432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8" name="Google Shape;5038;p52"/>
            <p:cNvSpPr/>
            <p:nvPr/>
          </p:nvSpPr>
          <p:spPr>
            <a:xfrm>
              <a:off x="3667243" y="4233932"/>
              <a:ext cx="7546" cy="17706"/>
            </a:xfrm>
            <a:custGeom>
              <a:avLst/>
              <a:gdLst/>
              <a:ahLst/>
              <a:cxnLst/>
              <a:rect l="l" t="t" r="r" b="b"/>
              <a:pathLst>
                <a:path w="231" h="542" extrusionOk="0">
                  <a:moveTo>
                    <a:pt x="137" y="27"/>
                  </a:moveTo>
                  <a:lnTo>
                    <a:pt x="205" y="124"/>
                  </a:lnTo>
                  <a:cubicBezTo>
                    <a:pt x="231" y="163"/>
                    <a:pt x="231" y="108"/>
                    <a:pt x="218" y="257"/>
                  </a:cubicBezTo>
                  <a:cubicBezTo>
                    <a:pt x="218" y="257"/>
                    <a:pt x="192" y="448"/>
                    <a:pt x="192" y="474"/>
                  </a:cubicBezTo>
                  <a:lnTo>
                    <a:pt x="137" y="542"/>
                  </a:lnTo>
                  <a:lnTo>
                    <a:pt x="69" y="432"/>
                  </a:lnTo>
                  <a:cubicBezTo>
                    <a:pt x="17" y="231"/>
                    <a:pt x="1" y="286"/>
                    <a:pt x="30" y="150"/>
                  </a:cubicBezTo>
                  <a:cubicBezTo>
                    <a:pt x="30" y="150"/>
                    <a:pt x="98" y="1"/>
                    <a:pt x="137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9" name="Google Shape;5039;p52"/>
            <p:cNvSpPr/>
            <p:nvPr/>
          </p:nvSpPr>
          <p:spPr>
            <a:xfrm>
              <a:off x="3713175" y="4234781"/>
              <a:ext cx="6599" cy="15909"/>
            </a:xfrm>
            <a:custGeom>
              <a:avLst/>
              <a:gdLst/>
              <a:ahLst/>
              <a:cxnLst/>
              <a:rect l="l" t="t" r="r" b="b"/>
              <a:pathLst>
                <a:path w="202" h="487" extrusionOk="0">
                  <a:moveTo>
                    <a:pt x="163" y="69"/>
                  </a:moveTo>
                  <a:lnTo>
                    <a:pt x="202" y="163"/>
                  </a:lnTo>
                  <a:cubicBezTo>
                    <a:pt x="176" y="273"/>
                    <a:pt x="121" y="448"/>
                    <a:pt x="121" y="448"/>
                  </a:cubicBezTo>
                  <a:lnTo>
                    <a:pt x="40" y="487"/>
                  </a:lnTo>
                  <a:cubicBezTo>
                    <a:pt x="40" y="487"/>
                    <a:pt x="14" y="448"/>
                    <a:pt x="1" y="422"/>
                  </a:cubicBezTo>
                  <a:cubicBezTo>
                    <a:pt x="95" y="1"/>
                    <a:pt x="134" y="69"/>
                    <a:pt x="163" y="69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0" name="Google Shape;5040;p52"/>
            <p:cNvSpPr/>
            <p:nvPr/>
          </p:nvSpPr>
          <p:spPr>
            <a:xfrm>
              <a:off x="3622782" y="4223772"/>
              <a:ext cx="12316" cy="23423"/>
            </a:xfrm>
            <a:custGeom>
              <a:avLst/>
              <a:gdLst/>
              <a:ahLst/>
              <a:cxnLst/>
              <a:rect l="l" t="t" r="r" b="b"/>
              <a:pathLst>
                <a:path w="377" h="717" extrusionOk="0">
                  <a:moveTo>
                    <a:pt x="163" y="30"/>
                  </a:moveTo>
                  <a:cubicBezTo>
                    <a:pt x="163" y="30"/>
                    <a:pt x="189" y="111"/>
                    <a:pt x="283" y="354"/>
                  </a:cubicBezTo>
                  <a:lnTo>
                    <a:pt x="351" y="568"/>
                  </a:lnTo>
                  <a:cubicBezTo>
                    <a:pt x="351" y="581"/>
                    <a:pt x="364" y="610"/>
                    <a:pt x="377" y="623"/>
                  </a:cubicBezTo>
                  <a:lnTo>
                    <a:pt x="351" y="717"/>
                  </a:lnTo>
                  <a:cubicBezTo>
                    <a:pt x="351" y="717"/>
                    <a:pt x="270" y="717"/>
                    <a:pt x="134" y="529"/>
                  </a:cubicBezTo>
                  <a:lnTo>
                    <a:pt x="95" y="448"/>
                  </a:lnTo>
                  <a:cubicBezTo>
                    <a:pt x="40" y="312"/>
                    <a:pt x="27" y="231"/>
                    <a:pt x="1" y="82"/>
                  </a:cubicBezTo>
                  <a:lnTo>
                    <a:pt x="40" y="43"/>
                  </a:lnTo>
                  <a:cubicBezTo>
                    <a:pt x="40" y="43"/>
                    <a:pt x="121" y="1"/>
                    <a:pt x="163" y="3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1" name="Google Shape;5041;p52"/>
            <p:cNvSpPr/>
            <p:nvPr/>
          </p:nvSpPr>
          <p:spPr>
            <a:xfrm>
              <a:off x="3732547" y="4216781"/>
              <a:ext cx="10617" cy="28617"/>
            </a:xfrm>
            <a:custGeom>
              <a:avLst/>
              <a:gdLst/>
              <a:ahLst/>
              <a:cxnLst/>
              <a:rect l="l" t="t" r="r" b="b"/>
              <a:pathLst>
                <a:path w="325" h="876" extrusionOk="0">
                  <a:moveTo>
                    <a:pt x="286" y="27"/>
                  </a:moveTo>
                  <a:cubicBezTo>
                    <a:pt x="312" y="121"/>
                    <a:pt x="325" y="66"/>
                    <a:pt x="312" y="147"/>
                  </a:cubicBezTo>
                  <a:lnTo>
                    <a:pt x="257" y="364"/>
                  </a:lnTo>
                  <a:cubicBezTo>
                    <a:pt x="231" y="513"/>
                    <a:pt x="189" y="633"/>
                    <a:pt x="176" y="649"/>
                  </a:cubicBezTo>
                  <a:cubicBezTo>
                    <a:pt x="163" y="688"/>
                    <a:pt x="124" y="756"/>
                    <a:pt x="124" y="756"/>
                  </a:cubicBezTo>
                  <a:lnTo>
                    <a:pt x="27" y="876"/>
                  </a:lnTo>
                  <a:cubicBezTo>
                    <a:pt x="27" y="876"/>
                    <a:pt x="1" y="743"/>
                    <a:pt x="27" y="594"/>
                  </a:cubicBezTo>
                  <a:lnTo>
                    <a:pt x="205" y="53"/>
                  </a:lnTo>
                  <a:cubicBezTo>
                    <a:pt x="205" y="53"/>
                    <a:pt x="257" y="1"/>
                    <a:pt x="286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2" name="Google Shape;5042;p52"/>
            <p:cNvSpPr/>
            <p:nvPr/>
          </p:nvSpPr>
          <p:spPr>
            <a:xfrm>
              <a:off x="3584788" y="4216781"/>
              <a:ext cx="15909" cy="25971"/>
            </a:xfrm>
            <a:custGeom>
              <a:avLst/>
              <a:gdLst/>
              <a:ahLst/>
              <a:cxnLst/>
              <a:rect l="l" t="t" r="r" b="b"/>
              <a:pathLst>
                <a:path w="487" h="795" extrusionOk="0">
                  <a:moveTo>
                    <a:pt x="406" y="782"/>
                  </a:moveTo>
                  <a:cubicBezTo>
                    <a:pt x="312" y="688"/>
                    <a:pt x="192" y="526"/>
                    <a:pt x="176" y="500"/>
                  </a:cubicBezTo>
                  <a:cubicBezTo>
                    <a:pt x="163" y="471"/>
                    <a:pt x="150" y="445"/>
                    <a:pt x="137" y="432"/>
                  </a:cubicBezTo>
                  <a:cubicBezTo>
                    <a:pt x="124" y="390"/>
                    <a:pt x="111" y="364"/>
                    <a:pt x="95" y="338"/>
                  </a:cubicBezTo>
                  <a:cubicBezTo>
                    <a:pt x="43" y="228"/>
                    <a:pt x="1" y="53"/>
                    <a:pt x="1" y="53"/>
                  </a:cubicBezTo>
                  <a:lnTo>
                    <a:pt x="43" y="1"/>
                  </a:lnTo>
                  <a:cubicBezTo>
                    <a:pt x="43" y="1"/>
                    <a:pt x="124" y="1"/>
                    <a:pt x="299" y="351"/>
                  </a:cubicBezTo>
                  <a:cubicBezTo>
                    <a:pt x="461" y="662"/>
                    <a:pt x="312" y="390"/>
                    <a:pt x="487" y="743"/>
                  </a:cubicBezTo>
                  <a:lnTo>
                    <a:pt x="474" y="795"/>
                  </a:lnTo>
                  <a:cubicBezTo>
                    <a:pt x="474" y="795"/>
                    <a:pt x="435" y="795"/>
                    <a:pt x="406" y="782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3" name="Google Shape;5043;p52"/>
            <p:cNvSpPr/>
            <p:nvPr/>
          </p:nvSpPr>
          <p:spPr>
            <a:xfrm>
              <a:off x="3696351" y="4202178"/>
              <a:ext cx="7122" cy="23423"/>
            </a:xfrm>
            <a:custGeom>
              <a:avLst/>
              <a:gdLst/>
              <a:ahLst/>
              <a:cxnLst/>
              <a:rect l="l" t="t" r="r" b="b"/>
              <a:pathLst>
                <a:path w="218" h="717" extrusionOk="0">
                  <a:moveTo>
                    <a:pt x="150" y="27"/>
                  </a:moveTo>
                  <a:lnTo>
                    <a:pt x="218" y="189"/>
                  </a:lnTo>
                  <a:lnTo>
                    <a:pt x="218" y="312"/>
                  </a:lnTo>
                  <a:cubicBezTo>
                    <a:pt x="192" y="649"/>
                    <a:pt x="192" y="581"/>
                    <a:pt x="179" y="610"/>
                  </a:cubicBezTo>
                  <a:lnTo>
                    <a:pt x="98" y="717"/>
                  </a:lnTo>
                  <a:lnTo>
                    <a:pt x="30" y="636"/>
                  </a:lnTo>
                  <a:cubicBezTo>
                    <a:pt x="1" y="419"/>
                    <a:pt x="17" y="529"/>
                    <a:pt x="30" y="325"/>
                  </a:cubicBezTo>
                  <a:lnTo>
                    <a:pt x="30" y="205"/>
                  </a:lnTo>
                  <a:cubicBezTo>
                    <a:pt x="56" y="95"/>
                    <a:pt x="98" y="69"/>
                    <a:pt x="98" y="69"/>
                  </a:cubicBezTo>
                  <a:cubicBezTo>
                    <a:pt x="98" y="69"/>
                    <a:pt x="124" y="1"/>
                    <a:pt x="150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4" name="Google Shape;5044;p52"/>
            <p:cNvSpPr/>
            <p:nvPr/>
          </p:nvSpPr>
          <p:spPr>
            <a:xfrm>
              <a:off x="3642579" y="4191594"/>
              <a:ext cx="9768" cy="35804"/>
            </a:xfrm>
            <a:custGeom>
              <a:avLst/>
              <a:gdLst/>
              <a:ahLst/>
              <a:cxnLst/>
              <a:rect l="l" t="t" r="r" b="b"/>
              <a:pathLst>
                <a:path w="299" h="1096" extrusionOk="0">
                  <a:moveTo>
                    <a:pt x="95" y="27"/>
                  </a:moveTo>
                  <a:lnTo>
                    <a:pt x="163" y="137"/>
                  </a:lnTo>
                  <a:cubicBezTo>
                    <a:pt x="189" y="286"/>
                    <a:pt x="124" y="43"/>
                    <a:pt x="244" y="594"/>
                  </a:cubicBezTo>
                  <a:cubicBezTo>
                    <a:pt x="286" y="743"/>
                    <a:pt x="299" y="905"/>
                    <a:pt x="299" y="905"/>
                  </a:cubicBezTo>
                  <a:cubicBezTo>
                    <a:pt x="257" y="1096"/>
                    <a:pt x="218" y="973"/>
                    <a:pt x="218" y="973"/>
                  </a:cubicBezTo>
                  <a:cubicBezTo>
                    <a:pt x="1" y="772"/>
                    <a:pt x="82" y="918"/>
                    <a:pt x="14" y="286"/>
                  </a:cubicBezTo>
                  <a:cubicBezTo>
                    <a:pt x="1" y="69"/>
                    <a:pt x="43" y="82"/>
                    <a:pt x="43" y="82"/>
                  </a:cubicBezTo>
                  <a:cubicBezTo>
                    <a:pt x="43" y="82"/>
                    <a:pt x="56" y="1"/>
                    <a:pt x="95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5" name="Google Shape;5045;p52"/>
            <p:cNvSpPr/>
            <p:nvPr/>
          </p:nvSpPr>
          <p:spPr>
            <a:xfrm>
              <a:off x="3593674" y="4188523"/>
              <a:ext cx="8396" cy="23847"/>
            </a:xfrm>
            <a:custGeom>
              <a:avLst/>
              <a:gdLst/>
              <a:ahLst/>
              <a:cxnLst/>
              <a:rect l="l" t="t" r="r" b="b"/>
              <a:pathLst>
                <a:path w="257" h="730" extrusionOk="0">
                  <a:moveTo>
                    <a:pt x="134" y="27"/>
                  </a:moveTo>
                  <a:cubicBezTo>
                    <a:pt x="134" y="27"/>
                    <a:pt x="228" y="351"/>
                    <a:pt x="257" y="581"/>
                  </a:cubicBezTo>
                  <a:lnTo>
                    <a:pt x="202" y="730"/>
                  </a:lnTo>
                  <a:lnTo>
                    <a:pt x="134" y="662"/>
                  </a:lnTo>
                  <a:cubicBezTo>
                    <a:pt x="27" y="568"/>
                    <a:pt x="82" y="607"/>
                    <a:pt x="53" y="513"/>
                  </a:cubicBezTo>
                  <a:cubicBezTo>
                    <a:pt x="1" y="283"/>
                    <a:pt x="27" y="27"/>
                    <a:pt x="27" y="27"/>
                  </a:cubicBezTo>
                  <a:cubicBezTo>
                    <a:pt x="27" y="27"/>
                    <a:pt x="82" y="1"/>
                    <a:pt x="134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6" name="Google Shape;5046;p52"/>
            <p:cNvSpPr/>
            <p:nvPr/>
          </p:nvSpPr>
          <p:spPr>
            <a:xfrm>
              <a:off x="3725034" y="4179212"/>
              <a:ext cx="7971" cy="30936"/>
            </a:xfrm>
            <a:custGeom>
              <a:avLst/>
              <a:gdLst/>
              <a:ahLst/>
              <a:cxnLst/>
              <a:rect l="l" t="t" r="r" b="b"/>
              <a:pathLst>
                <a:path w="244" h="947" extrusionOk="0">
                  <a:moveTo>
                    <a:pt x="163" y="17"/>
                  </a:moveTo>
                  <a:cubicBezTo>
                    <a:pt x="244" y="43"/>
                    <a:pt x="205" y="69"/>
                    <a:pt x="205" y="124"/>
                  </a:cubicBezTo>
                  <a:cubicBezTo>
                    <a:pt x="205" y="312"/>
                    <a:pt x="205" y="516"/>
                    <a:pt x="192" y="704"/>
                  </a:cubicBezTo>
                  <a:lnTo>
                    <a:pt x="150" y="879"/>
                  </a:lnTo>
                  <a:lnTo>
                    <a:pt x="82" y="947"/>
                  </a:lnTo>
                  <a:lnTo>
                    <a:pt x="30" y="866"/>
                  </a:lnTo>
                  <a:cubicBezTo>
                    <a:pt x="1" y="584"/>
                    <a:pt x="56" y="367"/>
                    <a:pt x="95" y="56"/>
                  </a:cubicBezTo>
                  <a:cubicBezTo>
                    <a:pt x="95" y="56"/>
                    <a:pt x="124" y="1"/>
                    <a:pt x="163" y="1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7" name="Google Shape;5047;p52"/>
            <p:cNvSpPr/>
            <p:nvPr/>
          </p:nvSpPr>
          <p:spPr>
            <a:xfrm>
              <a:off x="3739212" y="3931423"/>
              <a:ext cx="5325" cy="19404"/>
            </a:xfrm>
            <a:custGeom>
              <a:avLst/>
              <a:gdLst/>
              <a:ahLst/>
              <a:cxnLst/>
              <a:rect l="l" t="t" r="r" b="b"/>
              <a:pathLst>
                <a:path w="163" h="594" extrusionOk="0">
                  <a:moveTo>
                    <a:pt x="108" y="69"/>
                  </a:moveTo>
                  <a:cubicBezTo>
                    <a:pt x="108" y="69"/>
                    <a:pt x="147" y="312"/>
                    <a:pt x="163" y="526"/>
                  </a:cubicBezTo>
                  <a:lnTo>
                    <a:pt x="108" y="594"/>
                  </a:lnTo>
                  <a:cubicBezTo>
                    <a:pt x="108" y="594"/>
                    <a:pt x="14" y="296"/>
                    <a:pt x="14" y="108"/>
                  </a:cubicBezTo>
                  <a:cubicBezTo>
                    <a:pt x="1" y="27"/>
                    <a:pt x="40" y="1"/>
                    <a:pt x="108" y="69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8" name="Google Shape;5048;p52"/>
            <p:cNvSpPr/>
            <p:nvPr/>
          </p:nvSpPr>
          <p:spPr>
            <a:xfrm>
              <a:off x="3727255" y="3881146"/>
              <a:ext cx="9343" cy="22475"/>
            </a:xfrm>
            <a:custGeom>
              <a:avLst/>
              <a:gdLst/>
              <a:ahLst/>
              <a:cxnLst/>
              <a:rect l="l" t="t" r="r" b="b"/>
              <a:pathLst>
                <a:path w="286" h="688" extrusionOk="0">
                  <a:moveTo>
                    <a:pt x="56" y="40"/>
                  </a:moveTo>
                  <a:lnTo>
                    <a:pt x="163" y="150"/>
                  </a:lnTo>
                  <a:cubicBezTo>
                    <a:pt x="218" y="283"/>
                    <a:pt x="270" y="474"/>
                    <a:pt x="270" y="474"/>
                  </a:cubicBezTo>
                  <a:cubicBezTo>
                    <a:pt x="286" y="513"/>
                    <a:pt x="270" y="539"/>
                    <a:pt x="270" y="539"/>
                  </a:cubicBezTo>
                  <a:cubicBezTo>
                    <a:pt x="270" y="539"/>
                    <a:pt x="270" y="688"/>
                    <a:pt x="150" y="526"/>
                  </a:cubicBezTo>
                  <a:lnTo>
                    <a:pt x="1" y="121"/>
                  </a:lnTo>
                  <a:cubicBezTo>
                    <a:pt x="14" y="1"/>
                    <a:pt x="27" y="27"/>
                    <a:pt x="56" y="4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9" name="Google Shape;5049;p52"/>
            <p:cNvSpPr/>
            <p:nvPr/>
          </p:nvSpPr>
          <p:spPr>
            <a:xfrm>
              <a:off x="3427817" y="3948574"/>
              <a:ext cx="202408" cy="347615"/>
            </a:xfrm>
            <a:custGeom>
              <a:avLst/>
              <a:gdLst/>
              <a:ahLst/>
              <a:cxnLst/>
              <a:rect l="l" t="t" r="r" b="b"/>
              <a:pathLst>
                <a:path w="6196" h="10641" extrusionOk="0">
                  <a:moveTo>
                    <a:pt x="3066" y="111"/>
                  </a:moveTo>
                  <a:cubicBezTo>
                    <a:pt x="1796" y="1"/>
                    <a:pt x="1122" y="3322"/>
                    <a:pt x="662" y="5279"/>
                  </a:cubicBezTo>
                  <a:cubicBezTo>
                    <a:pt x="1" y="8049"/>
                    <a:pt x="27" y="10641"/>
                    <a:pt x="2538" y="10560"/>
                  </a:cubicBezTo>
                  <a:cubicBezTo>
                    <a:pt x="4077" y="10505"/>
                    <a:pt x="6196" y="10544"/>
                    <a:pt x="5104" y="5457"/>
                  </a:cubicBezTo>
                  <a:cubicBezTo>
                    <a:pt x="4644" y="3283"/>
                    <a:pt x="4375" y="231"/>
                    <a:pt x="3066" y="11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0" name="Google Shape;5050;p52"/>
            <p:cNvSpPr/>
            <p:nvPr/>
          </p:nvSpPr>
          <p:spPr>
            <a:xfrm>
              <a:off x="3518210" y="4216781"/>
              <a:ext cx="4900" cy="18980"/>
            </a:xfrm>
            <a:custGeom>
              <a:avLst/>
              <a:gdLst/>
              <a:ahLst/>
              <a:cxnLst/>
              <a:rect l="l" t="t" r="r" b="b"/>
              <a:pathLst>
                <a:path w="150" h="581" extrusionOk="0">
                  <a:moveTo>
                    <a:pt x="95" y="82"/>
                  </a:moveTo>
                  <a:lnTo>
                    <a:pt x="150" y="147"/>
                  </a:lnTo>
                  <a:cubicBezTo>
                    <a:pt x="150" y="513"/>
                    <a:pt x="150" y="390"/>
                    <a:pt x="124" y="500"/>
                  </a:cubicBezTo>
                  <a:lnTo>
                    <a:pt x="69" y="581"/>
                  </a:lnTo>
                  <a:lnTo>
                    <a:pt x="1" y="419"/>
                  </a:lnTo>
                  <a:cubicBezTo>
                    <a:pt x="14" y="1"/>
                    <a:pt x="82" y="53"/>
                    <a:pt x="95" y="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1" name="Google Shape;5051;p52"/>
            <p:cNvSpPr/>
            <p:nvPr/>
          </p:nvSpPr>
          <p:spPr>
            <a:xfrm>
              <a:off x="3547742" y="4213612"/>
              <a:ext cx="6272" cy="20777"/>
            </a:xfrm>
            <a:custGeom>
              <a:avLst/>
              <a:gdLst/>
              <a:ahLst/>
              <a:cxnLst/>
              <a:rect l="l" t="t" r="r" b="b"/>
              <a:pathLst>
                <a:path w="192" h="636" extrusionOk="0">
                  <a:moveTo>
                    <a:pt x="137" y="1"/>
                  </a:moveTo>
                  <a:lnTo>
                    <a:pt x="192" y="69"/>
                  </a:lnTo>
                  <a:cubicBezTo>
                    <a:pt x="176" y="150"/>
                    <a:pt x="176" y="273"/>
                    <a:pt x="176" y="273"/>
                  </a:cubicBezTo>
                  <a:cubicBezTo>
                    <a:pt x="163" y="380"/>
                    <a:pt x="150" y="503"/>
                    <a:pt x="150" y="503"/>
                  </a:cubicBezTo>
                  <a:cubicBezTo>
                    <a:pt x="137" y="542"/>
                    <a:pt x="111" y="597"/>
                    <a:pt x="111" y="597"/>
                  </a:cubicBezTo>
                  <a:lnTo>
                    <a:pt x="69" y="636"/>
                  </a:lnTo>
                  <a:lnTo>
                    <a:pt x="30" y="568"/>
                  </a:lnTo>
                  <a:cubicBezTo>
                    <a:pt x="1" y="406"/>
                    <a:pt x="43" y="273"/>
                    <a:pt x="69" y="69"/>
                  </a:cubicBezTo>
                  <a:lnTo>
                    <a:pt x="12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2" name="Google Shape;5052;p52"/>
            <p:cNvSpPr/>
            <p:nvPr/>
          </p:nvSpPr>
          <p:spPr>
            <a:xfrm>
              <a:off x="3478518" y="4211913"/>
              <a:ext cx="3103" cy="14537"/>
            </a:xfrm>
            <a:custGeom>
              <a:avLst/>
              <a:gdLst/>
              <a:ahLst/>
              <a:cxnLst/>
              <a:rect l="l" t="t" r="r" b="b"/>
              <a:pathLst>
                <a:path w="95" h="445" extrusionOk="0">
                  <a:moveTo>
                    <a:pt x="69" y="27"/>
                  </a:moveTo>
                  <a:lnTo>
                    <a:pt x="95" y="134"/>
                  </a:lnTo>
                  <a:cubicBezTo>
                    <a:pt x="95" y="189"/>
                    <a:pt x="95" y="244"/>
                    <a:pt x="82" y="296"/>
                  </a:cubicBezTo>
                  <a:lnTo>
                    <a:pt x="82" y="406"/>
                  </a:lnTo>
                  <a:lnTo>
                    <a:pt x="43" y="445"/>
                  </a:lnTo>
                  <a:lnTo>
                    <a:pt x="1" y="406"/>
                  </a:lnTo>
                  <a:cubicBezTo>
                    <a:pt x="14" y="40"/>
                    <a:pt x="1" y="134"/>
                    <a:pt x="43" y="40"/>
                  </a:cubicBezTo>
                  <a:cubicBezTo>
                    <a:pt x="43" y="40"/>
                    <a:pt x="43" y="1"/>
                    <a:pt x="69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3" name="Google Shape;5053;p52"/>
            <p:cNvSpPr/>
            <p:nvPr/>
          </p:nvSpPr>
          <p:spPr>
            <a:xfrm>
              <a:off x="3445490" y="4207895"/>
              <a:ext cx="4802" cy="18130"/>
            </a:xfrm>
            <a:custGeom>
              <a:avLst/>
              <a:gdLst/>
              <a:ahLst/>
              <a:cxnLst/>
              <a:rect l="l" t="t" r="r" b="b"/>
              <a:pathLst>
                <a:path w="147" h="555" extrusionOk="0">
                  <a:moveTo>
                    <a:pt x="66" y="30"/>
                  </a:moveTo>
                  <a:lnTo>
                    <a:pt x="108" y="111"/>
                  </a:lnTo>
                  <a:cubicBezTo>
                    <a:pt x="121" y="244"/>
                    <a:pt x="121" y="367"/>
                    <a:pt x="147" y="500"/>
                  </a:cubicBezTo>
                  <a:lnTo>
                    <a:pt x="108" y="555"/>
                  </a:lnTo>
                  <a:cubicBezTo>
                    <a:pt x="108" y="555"/>
                    <a:pt x="82" y="529"/>
                    <a:pt x="53" y="529"/>
                  </a:cubicBezTo>
                  <a:cubicBezTo>
                    <a:pt x="1" y="325"/>
                    <a:pt x="1" y="137"/>
                    <a:pt x="14" y="111"/>
                  </a:cubicBezTo>
                  <a:cubicBezTo>
                    <a:pt x="14" y="82"/>
                    <a:pt x="1" y="95"/>
                    <a:pt x="27" y="56"/>
                  </a:cubicBezTo>
                  <a:cubicBezTo>
                    <a:pt x="27" y="56"/>
                    <a:pt x="40" y="1"/>
                    <a:pt x="66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4" name="Google Shape;5054;p52"/>
            <p:cNvSpPr/>
            <p:nvPr/>
          </p:nvSpPr>
          <p:spPr>
            <a:xfrm>
              <a:off x="3500112" y="4192966"/>
              <a:ext cx="4051" cy="14112"/>
            </a:xfrm>
            <a:custGeom>
              <a:avLst/>
              <a:gdLst/>
              <a:ahLst/>
              <a:cxnLst/>
              <a:rect l="l" t="t" r="r" b="b"/>
              <a:pathLst>
                <a:path w="124" h="432" extrusionOk="0">
                  <a:moveTo>
                    <a:pt x="56" y="1"/>
                  </a:moveTo>
                  <a:lnTo>
                    <a:pt x="124" y="1"/>
                  </a:lnTo>
                  <a:lnTo>
                    <a:pt x="124" y="134"/>
                  </a:lnTo>
                  <a:cubicBezTo>
                    <a:pt x="124" y="325"/>
                    <a:pt x="95" y="351"/>
                    <a:pt x="95" y="351"/>
                  </a:cubicBezTo>
                  <a:lnTo>
                    <a:pt x="43" y="432"/>
                  </a:lnTo>
                  <a:lnTo>
                    <a:pt x="1" y="257"/>
                  </a:lnTo>
                  <a:cubicBezTo>
                    <a:pt x="1" y="163"/>
                    <a:pt x="14" y="14"/>
                    <a:pt x="14" y="14"/>
                  </a:cubicBezTo>
                  <a:cubicBezTo>
                    <a:pt x="14" y="14"/>
                    <a:pt x="30" y="1"/>
                    <a:pt x="5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5" name="Google Shape;5055;p52"/>
            <p:cNvSpPr/>
            <p:nvPr/>
          </p:nvSpPr>
          <p:spPr>
            <a:xfrm>
              <a:off x="3531016" y="4188948"/>
              <a:ext cx="4475" cy="14635"/>
            </a:xfrm>
            <a:custGeom>
              <a:avLst/>
              <a:gdLst/>
              <a:ahLst/>
              <a:cxnLst/>
              <a:rect l="l" t="t" r="r" b="b"/>
              <a:pathLst>
                <a:path w="137" h="448" extrusionOk="0">
                  <a:moveTo>
                    <a:pt x="82" y="1"/>
                  </a:moveTo>
                  <a:lnTo>
                    <a:pt x="137" y="56"/>
                  </a:lnTo>
                  <a:cubicBezTo>
                    <a:pt x="137" y="218"/>
                    <a:pt x="95" y="406"/>
                    <a:pt x="95" y="406"/>
                  </a:cubicBezTo>
                  <a:lnTo>
                    <a:pt x="56" y="448"/>
                  </a:lnTo>
                  <a:lnTo>
                    <a:pt x="14" y="393"/>
                  </a:lnTo>
                  <a:cubicBezTo>
                    <a:pt x="1" y="367"/>
                    <a:pt x="1" y="351"/>
                    <a:pt x="1" y="351"/>
                  </a:cubicBezTo>
                  <a:cubicBezTo>
                    <a:pt x="14" y="205"/>
                    <a:pt x="40" y="27"/>
                    <a:pt x="40" y="27"/>
                  </a:cubicBezTo>
                  <a:cubicBezTo>
                    <a:pt x="40" y="27"/>
                    <a:pt x="56" y="1"/>
                    <a:pt x="8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6" name="Google Shape;5056;p52"/>
            <p:cNvSpPr/>
            <p:nvPr/>
          </p:nvSpPr>
          <p:spPr>
            <a:xfrm>
              <a:off x="3456924" y="4187674"/>
              <a:ext cx="3953" cy="15909"/>
            </a:xfrm>
            <a:custGeom>
              <a:avLst/>
              <a:gdLst/>
              <a:ahLst/>
              <a:cxnLst/>
              <a:rect l="l" t="t" r="r" b="b"/>
              <a:pathLst>
                <a:path w="121" h="487" extrusionOk="0">
                  <a:moveTo>
                    <a:pt x="95" y="1"/>
                  </a:moveTo>
                  <a:lnTo>
                    <a:pt x="121" y="66"/>
                  </a:lnTo>
                  <a:lnTo>
                    <a:pt x="121" y="147"/>
                  </a:lnTo>
                  <a:cubicBezTo>
                    <a:pt x="121" y="176"/>
                    <a:pt x="121" y="215"/>
                    <a:pt x="108" y="257"/>
                  </a:cubicBezTo>
                  <a:cubicBezTo>
                    <a:pt x="108" y="338"/>
                    <a:pt x="95" y="390"/>
                    <a:pt x="82" y="445"/>
                  </a:cubicBezTo>
                  <a:lnTo>
                    <a:pt x="40" y="487"/>
                  </a:lnTo>
                  <a:lnTo>
                    <a:pt x="1" y="338"/>
                  </a:lnTo>
                  <a:cubicBezTo>
                    <a:pt x="14" y="270"/>
                    <a:pt x="14" y="176"/>
                    <a:pt x="14" y="176"/>
                  </a:cubicBezTo>
                  <a:cubicBezTo>
                    <a:pt x="14" y="163"/>
                    <a:pt x="27" y="134"/>
                    <a:pt x="27" y="108"/>
                  </a:cubicBezTo>
                  <a:cubicBezTo>
                    <a:pt x="27" y="14"/>
                    <a:pt x="40" y="27"/>
                    <a:pt x="40" y="27"/>
                  </a:cubicBezTo>
                  <a:cubicBezTo>
                    <a:pt x="40" y="27"/>
                    <a:pt x="69" y="1"/>
                    <a:pt x="9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7" name="Google Shape;5057;p52"/>
            <p:cNvSpPr/>
            <p:nvPr/>
          </p:nvSpPr>
          <p:spPr>
            <a:xfrm>
              <a:off x="3549964" y="4177938"/>
              <a:ext cx="4900" cy="18130"/>
            </a:xfrm>
            <a:custGeom>
              <a:avLst/>
              <a:gdLst/>
              <a:ahLst/>
              <a:cxnLst/>
              <a:rect l="l" t="t" r="r" b="b"/>
              <a:pathLst>
                <a:path w="150" h="555" extrusionOk="0">
                  <a:moveTo>
                    <a:pt x="108" y="27"/>
                  </a:moveTo>
                  <a:cubicBezTo>
                    <a:pt x="108" y="27"/>
                    <a:pt x="150" y="108"/>
                    <a:pt x="150" y="244"/>
                  </a:cubicBezTo>
                  <a:lnTo>
                    <a:pt x="150" y="351"/>
                  </a:lnTo>
                  <a:cubicBezTo>
                    <a:pt x="137" y="419"/>
                    <a:pt x="124" y="487"/>
                    <a:pt x="69" y="555"/>
                  </a:cubicBezTo>
                  <a:lnTo>
                    <a:pt x="27" y="500"/>
                  </a:lnTo>
                  <a:cubicBezTo>
                    <a:pt x="1" y="406"/>
                    <a:pt x="1" y="500"/>
                    <a:pt x="14" y="351"/>
                  </a:cubicBezTo>
                  <a:cubicBezTo>
                    <a:pt x="14" y="351"/>
                    <a:pt x="14" y="189"/>
                    <a:pt x="43" y="69"/>
                  </a:cubicBezTo>
                  <a:cubicBezTo>
                    <a:pt x="43" y="69"/>
                    <a:pt x="82" y="1"/>
                    <a:pt x="108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8" name="Google Shape;5058;p52"/>
            <p:cNvSpPr/>
            <p:nvPr/>
          </p:nvSpPr>
          <p:spPr>
            <a:xfrm>
              <a:off x="3478093" y="4170000"/>
              <a:ext cx="5749" cy="21201"/>
            </a:xfrm>
            <a:custGeom>
              <a:avLst/>
              <a:gdLst/>
              <a:ahLst/>
              <a:cxnLst/>
              <a:rect l="l" t="t" r="r" b="b"/>
              <a:pathLst>
                <a:path w="176" h="649" extrusionOk="0">
                  <a:moveTo>
                    <a:pt x="137" y="40"/>
                  </a:moveTo>
                  <a:cubicBezTo>
                    <a:pt x="176" y="69"/>
                    <a:pt x="163" y="95"/>
                    <a:pt x="163" y="95"/>
                  </a:cubicBezTo>
                  <a:cubicBezTo>
                    <a:pt x="163" y="121"/>
                    <a:pt x="150" y="150"/>
                    <a:pt x="150" y="163"/>
                  </a:cubicBezTo>
                  <a:cubicBezTo>
                    <a:pt x="137" y="283"/>
                    <a:pt x="121" y="461"/>
                    <a:pt x="121" y="461"/>
                  </a:cubicBezTo>
                  <a:cubicBezTo>
                    <a:pt x="56" y="649"/>
                    <a:pt x="1" y="513"/>
                    <a:pt x="1" y="513"/>
                  </a:cubicBezTo>
                  <a:cubicBezTo>
                    <a:pt x="1" y="419"/>
                    <a:pt x="40" y="270"/>
                    <a:pt x="40" y="270"/>
                  </a:cubicBezTo>
                  <a:cubicBezTo>
                    <a:pt x="56" y="189"/>
                    <a:pt x="69" y="82"/>
                    <a:pt x="69" y="82"/>
                  </a:cubicBezTo>
                  <a:cubicBezTo>
                    <a:pt x="108" y="1"/>
                    <a:pt x="82" y="40"/>
                    <a:pt x="137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9" name="Google Shape;5059;p52"/>
            <p:cNvSpPr/>
            <p:nvPr/>
          </p:nvSpPr>
          <p:spPr>
            <a:xfrm>
              <a:off x="3512918" y="4165557"/>
              <a:ext cx="4475" cy="15060"/>
            </a:xfrm>
            <a:custGeom>
              <a:avLst/>
              <a:gdLst/>
              <a:ahLst/>
              <a:cxnLst/>
              <a:rect l="l" t="t" r="r" b="b"/>
              <a:pathLst>
                <a:path w="137" h="461" extrusionOk="0">
                  <a:moveTo>
                    <a:pt x="95" y="1"/>
                  </a:moveTo>
                  <a:lnTo>
                    <a:pt x="137" y="43"/>
                  </a:lnTo>
                  <a:cubicBezTo>
                    <a:pt x="137" y="231"/>
                    <a:pt x="124" y="367"/>
                    <a:pt x="124" y="367"/>
                  </a:cubicBezTo>
                  <a:cubicBezTo>
                    <a:pt x="108" y="419"/>
                    <a:pt x="95" y="419"/>
                    <a:pt x="95" y="419"/>
                  </a:cubicBezTo>
                  <a:lnTo>
                    <a:pt x="56" y="461"/>
                  </a:lnTo>
                  <a:lnTo>
                    <a:pt x="14" y="393"/>
                  </a:lnTo>
                  <a:cubicBezTo>
                    <a:pt x="1" y="286"/>
                    <a:pt x="27" y="163"/>
                    <a:pt x="43" y="43"/>
                  </a:cubicBezTo>
                  <a:cubicBezTo>
                    <a:pt x="43" y="43"/>
                    <a:pt x="69" y="1"/>
                    <a:pt x="9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0" name="Google Shape;5060;p52"/>
            <p:cNvSpPr/>
            <p:nvPr/>
          </p:nvSpPr>
          <p:spPr>
            <a:xfrm>
              <a:off x="3446340" y="4159415"/>
              <a:ext cx="3528" cy="15484"/>
            </a:xfrm>
            <a:custGeom>
              <a:avLst/>
              <a:gdLst/>
              <a:ahLst/>
              <a:cxnLst/>
              <a:rect l="l" t="t" r="r" b="b"/>
              <a:pathLst>
                <a:path w="108" h="474" extrusionOk="0">
                  <a:moveTo>
                    <a:pt x="108" y="27"/>
                  </a:moveTo>
                  <a:lnTo>
                    <a:pt x="95" y="393"/>
                  </a:lnTo>
                  <a:cubicBezTo>
                    <a:pt x="82" y="419"/>
                    <a:pt x="69" y="445"/>
                    <a:pt x="69" y="445"/>
                  </a:cubicBezTo>
                  <a:lnTo>
                    <a:pt x="40" y="474"/>
                  </a:lnTo>
                  <a:lnTo>
                    <a:pt x="1" y="364"/>
                  </a:lnTo>
                  <a:cubicBezTo>
                    <a:pt x="14" y="257"/>
                    <a:pt x="40" y="95"/>
                    <a:pt x="40" y="95"/>
                  </a:cubicBezTo>
                  <a:cubicBezTo>
                    <a:pt x="69" y="40"/>
                    <a:pt x="69" y="56"/>
                    <a:pt x="69" y="56"/>
                  </a:cubicBezTo>
                  <a:cubicBezTo>
                    <a:pt x="69" y="56"/>
                    <a:pt x="82" y="1"/>
                    <a:pt x="108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1" name="Google Shape;5061;p52"/>
            <p:cNvSpPr/>
            <p:nvPr/>
          </p:nvSpPr>
          <p:spPr>
            <a:xfrm>
              <a:off x="3563619" y="4157619"/>
              <a:ext cx="5749" cy="14635"/>
            </a:xfrm>
            <a:custGeom>
              <a:avLst/>
              <a:gdLst/>
              <a:ahLst/>
              <a:cxnLst/>
              <a:rect l="l" t="t" r="r" b="b"/>
              <a:pathLst>
                <a:path w="176" h="448" extrusionOk="0">
                  <a:moveTo>
                    <a:pt x="95" y="43"/>
                  </a:moveTo>
                  <a:cubicBezTo>
                    <a:pt x="176" y="137"/>
                    <a:pt x="163" y="14"/>
                    <a:pt x="163" y="205"/>
                  </a:cubicBezTo>
                  <a:lnTo>
                    <a:pt x="137" y="380"/>
                  </a:lnTo>
                  <a:lnTo>
                    <a:pt x="82" y="448"/>
                  </a:lnTo>
                  <a:lnTo>
                    <a:pt x="43" y="380"/>
                  </a:lnTo>
                  <a:lnTo>
                    <a:pt x="14" y="338"/>
                  </a:lnTo>
                  <a:cubicBezTo>
                    <a:pt x="1" y="124"/>
                    <a:pt x="1" y="176"/>
                    <a:pt x="1" y="124"/>
                  </a:cubicBezTo>
                  <a:cubicBezTo>
                    <a:pt x="1" y="124"/>
                    <a:pt x="56" y="1"/>
                    <a:pt x="95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2" name="Google Shape;5062;p52"/>
            <p:cNvSpPr/>
            <p:nvPr/>
          </p:nvSpPr>
          <p:spPr>
            <a:xfrm>
              <a:off x="3537583" y="4154123"/>
              <a:ext cx="4900" cy="19404"/>
            </a:xfrm>
            <a:custGeom>
              <a:avLst/>
              <a:gdLst/>
              <a:ahLst/>
              <a:cxnLst/>
              <a:rect l="l" t="t" r="r" b="b"/>
              <a:pathLst>
                <a:path w="150" h="594" extrusionOk="0">
                  <a:moveTo>
                    <a:pt x="98" y="95"/>
                  </a:moveTo>
                  <a:cubicBezTo>
                    <a:pt x="150" y="108"/>
                    <a:pt x="150" y="137"/>
                    <a:pt x="150" y="137"/>
                  </a:cubicBezTo>
                  <a:cubicBezTo>
                    <a:pt x="150" y="202"/>
                    <a:pt x="98" y="487"/>
                    <a:pt x="98" y="487"/>
                  </a:cubicBezTo>
                  <a:cubicBezTo>
                    <a:pt x="30" y="594"/>
                    <a:pt x="30" y="500"/>
                    <a:pt x="30" y="500"/>
                  </a:cubicBezTo>
                  <a:cubicBezTo>
                    <a:pt x="1" y="461"/>
                    <a:pt x="1" y="500"/>
                    <a:pt x="1" y="419"/>
                  </a:cubicBezTo>
                  <a:cubicBezTo>
                    <a:pt x="1" y="393"/>
                    <a:pt x="17" y="244"/>
                    <a:pt x="17" y="244"/>
                  </a:cubicBezTo>
                  <a:cubicBezTo>
                    <a:pt x="30" y="1"/>
                    <a:pt x="56" y="82"/>
                    <a:pt x="98" y="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3" name="Google Shape;5063;p52"/>
            <p:cNvSpPr/>
            <p:nvPr/>
          </p:nvSpPr>
          <p:spPr>
            <a:xfrm>
              <a:off x="3463491" y="4148831"/>
              <a:ext cx="4900" cy="18980"/>
            </a:xfrm>
            <a:custGeom>
              <a:avLst/>
              <a:gdLst/>
              <a:ahLst/>
              <a:cxnLst/>
              <a:rect l="l" t="t" r="r" b="b"/>
              <a:pathLst>
                <a:path w="150" h="581" extrusionOk="0">
                  <a:moveTo>
                    <a:pt x="137" y="69"/>
                  </a:moveTo>
                  <a:lnTo>
                    <a:pt x="150" y="270"/>
                  </a:lnTo>
                  <a:cubicBezTo>
                    <a:pt x="150" y="325"/>
                    <a:pt x="137" y="406"/>
                    <a:pt x="137" y="406"/>
                  </a:cubicBezTo>
                  <a:cubicBezTo>
                    <a:pt x="1" y="581"/>
                    <a:pt x="30" y="393"/>
                    <a:pt x="30" y="393"/>
                  </a:cubicBezTo>
                  <a:cubicBezTo>
                    <a:pt x="30" y="364"/>
                    <a:pt x="30" y="325"/>
                    <a:pt x="43" y="283"/>
                  </a:cubicBezTo>
                  <a:cubicBezTo>
                    <a:pt x="82" y="1"/>
                    <a:pt x="98" y="95"/>
                    <a:pt x="111" y="69"/>
                  </a:cubicBezTo>
                  <a:cubicBezTo>
                    <a:pt x="111" y="69"/>
                    <a:pt x="111" y="56"/>
                    <a:pt x="137" y="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4" name="Google Shape;5064;p52"/>
            <p:cNvSpPr/>
            <p:nvPr/>
          </p:nvSpPr>
          <p:spPr>
            <a:xfrm>
              <a:off x="3487829" y="4140892"/>
              <a:ext cx="4377" cy="15909"/>
            </a:xfrm>
            <a:custGeom>
              <a:avLst/>
              <a:gdLst/>
              <a:ahLst/>
              <a:cxnLst/>
              <a:rect l="l" t="t" r="r" b="b"/>
              <a:pathLst>
                <a:path w="134" h="487" extrusionOk="0">
                  <a:moveTo>
                    <a:pt x="95" y="27"/>
                  </a:moveTo>
                  <a:cubicBezTo>
                    <a:pt x="95" y="27"/>
                    <a:pt x="134" y="121"/>
                    <a:pt x="134" y="137"/>
                  </a:cubicBezTo>
                  <a:cubicBezTo>
                    <a:pt x="134" y="244"/>
                    <a:pt x="108" y="393"/>
                    <a:pt x="108" y="393"/>
                  </a:cubicBezTo>
                  <a:cubicBezTo>
                    <a:pt x="108" y="445"/>
                    <a:pt x="95" y="461"/>
                    <a:pt x="95" y="461"/>
                  </a:cubicBezTo>
                  <a:lnTo>
                    <a:pt x="82" y="487"/>
                  </a:lnTo>
                  <a:lnTo>
                    <a:pt x="14" y="487"/>
                  </a:lnTo>
                  <a:lnTo>
                    <a:pt x="1" y="380"/>
                  </a:lnTo>
                  <a:cubicBezTo>
                    <a:pt x="27" y="244"/>
                    <a:pt x="40" y="56"/>
                    <a:pt x="40" y="56"/>
                  </a:cubicBezTo>
                  <a:cubicBezTo>
                    <a:pt x="40" y="56"/>
                    <a:pt x="66" y="1"/>
                    <a:pt x="95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5" name="Google Shape;5065;p52"/>
            <p:cNvSpPr/>
            <p:nvPr/>
          </p:nvSpPr>
          <p:spPr>
            <a:xfrm>
              <a:off x="3549964" y="4134751"/>
              <a:ext cx="4900" cy="16758"/>
            </a:xfrm>
            <a:custGeom>
              <a:avLst/>
              <a:gdLst/>
              <a:ahLst/>
              <a:cxnLst/>
              <a:rect l="l" t="t" r="r" b="b"/>
              <a:pathLst>
                <a:path w="150" h="513" extrusionOk="0">
                  <a:moveTo>
                    <a:pt x="95" y="14"/>
                  </a:moveTo>
                  <a:lnTo>
                    <a:pt x="137" y="27"/>
                  </a:lnTo>
                  <a:lnTo>
                    <a:pt x="150" y="390"/>
                  </a:lnTo>
                  <a:lnTo>
                    <a:pt x="82" y="513"/>
                  </a:lnTo>
                  <a:cubicBezTo>
                    <a:pt x="1" y="406"/>
                    <a:pt x="14" y="419"/>
                    <a:pt x="14" y="419"/>
                  </a:cubicBezTo>
                  <a:lnTo>
                    <a:pt x="1" y="338"/>
                  </a:lnTo>
                  <a:lnTo>
                    <a:pt x="1" y="40"/>
                  </a:lnTo>
                  <a:cubicBezTo>
                    <a:pt x="56" y="1"/>
                    <a:pt x="69" y="14"/>
                    <a:pt x="95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6" name="Google Shape;5066;p52"/>
            <p:cNvSpPr/>
            <p:nvPr/>
          </p:nvSpPr>
          <p:spPr>
            <a:xfrm>
              <a:off x="3508475" y="4129883"/>
              <a:ext cx="5325" cy="16758"/>
            </a:xfrm>
            <a:custGeom>
              <a:avLst/>
              <a:gdLst/>
              <a:ahLst/>
              <a:cxnLst/>
              <a:rect l="l" t="t" r="r" b="b"/>
              <a:pathLst>
                <a:path w="163" h="513" extrusionOk="0">
                  <a:moveTo>
                    <a:pt x="124" y="40"/>
                  </a:moveTo>
                  <a:lnTo>
                    <a:pt x="163" y="176"/>
                  </a:lnTo>
                  <a:cubicBezTo>
                    <a:pt x="124" y="458"/>
                    <a:pt x="137" y="393"/>
                    <a:pt x="111" y="432"/>
                  </a:cubicBezTo>
                  <a:lnTo>
                    <a:pt x="56" y="513"/>
                  </a:lnTo>
                  <a:lnTo>
                    <a:pt x="17" y="458"/>
                  </a:lnTo>
                  <a:cubicBezTo>
                    <a:pt x="1" y="406"/>
                    <a:pt x="1" y="393"/>
                    <a:pt x="1" y="393"/>
                  </a:cubicBezTo>
                  <a:cubicBezTo>
                    <a:pt x="1" y="296"/>
                    <a:pt x="1" y="244"/>
                    <a:pt x="30" y="108"/>
                  </a:cubicBezTo>
                  <a:cubicBezTo>
                    <a:pt x="30" y="108"/>
                    <a:pt x="98" y="1"/>
                    <a:pt x="124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7" name="Google Shape;5067;p52"/>
            <p:cNvSpPr/>
            <p:nvPr/>
          </p:nvSpPr>
          <p:spPr>
            <a:xfrm>
              <a:off x="3461367" y="4117927"/>
              <a:ext cx="4802" cy="14635"/>
            </a:xfrm>
            <a:custGeom>
              <a:avLst/>
              <a:gdLst/>
              <a:ahLst/>
              <a:cxnLst/>
              <a:rect l="l" t="t" r="r" b="b"/>
              <a:pathLst>
                <a:path w="147" h="448" extrusionOk="0">
                  <a:moveTo>
                    <a:pt x="121" y="30"/>
                  </a:moveTo>
                  <a:lnTo>
                    <a:pt x="147" y="111"/>
                  </a:lnTo>
                  <a:cubicBezTo>
                    <a:pt x="121" y="244"/>
                    <a:pt x="82" y="406"/>
                    <a:pt x="82" y="406"/>
                  </a:cubicBezTo>
                  <a:lnTo>
                    <a:pt x="40" y="448"/>
                  </a:lnTo>
                  <a:cubicBezTo>
                    <a:pt x="40" y="448"/>
                    <a:pt x="1" y="325"/>
                    <a:pt x="1" y="312"/>
                  </a:cubicBezTo>
                  <a:cubicBezTo>
                    <a:pt x="14" y="286"/>
                    <a:pt x="14" y="273"/>
                    <a:pt x="14" y="244"/>
                  </a:cubicBezTo>
                  <a:cubicBezTo>
                    <a:pt x="40" y="150"/>
                    <a:pt x="66" y="69"/>
                    <a:pt x="66" y="69"/>
                  </a:cubicBezTo>
                  <a:cubicBezTo>
                    <a:pt x="66" y="69"/>
                    <a:pt x="108" y="1"/>
                    <a:pt x="121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8" name="Google Shape;5068;p52"/>
            <p:cNvSpPr/>
            <p:nvPr/>
          </p:nvSpPr>
          <p:spPr>
            <a:xfrm>
              <a:off x="3531866" y="4112634"/>
              <a:ext cx="4900" cy="16334"/>
            </a:xfrm>
            <a:custGeom>
              <a:avLst/>
              <a:gdLst/>
              <a:ahLst/>
              <a:cxnLst/>
              <a:rect l="l" t="t" r="r" b="b"/>
              <a:pathLst>
                <a:path w="150" h="500" extrusionOk="0">
                  <a:moveTo>
                    <a:pt x="95" y="30"/>
                  </a:moveTo>
                  <a:cubicBezTo>
                    <a:pt x="95" y="30"/>
                    <a:pt x="150" y="124"/>
                    <a:pt x="150" y="231"/>
                  </a:cubicBezTo>
                  <a:cubicBezTo>
                    <a:pt x="150" y="273"/>
                    <a:pt x="137" y="380"/>
                    <a:pt x="124" y="448"/>
                  </a:cubicBezTo>
                  <a:lnTo>
                    <a:pt x="82" y="500"/>
                  </a:lnTo>
                  <a:lnTo>
                    <a:pt x="43" y="419"/>
                  </a:lnTo>
                  <a:cubicBezTo>
                    <a:pt x="1" y="299"/>
                    <a:pt x="30" y="95"/>
                    <a:pt x="56" y="56"/>
                  </a:cubicBezTo>
                  <a:cubicBezTo>
                    <a:pt x="56" y="56"/>
                    <a:pt x="69" y="1"/>
                    <a:pt x="95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9" name="Google Shape;5069;p52"/>
            <p:cNvSpPr/>
            <p:nvPr/>
          </p:nvSpPr>
          <p:spPr>
            <a:xfrm>
              <a:off x="3562770" y="4109139"/>
              <a:ext cx="5325" cy="16758"/>
            </a:xfrm>
            <a:custGeom>
              <a:avLst/>
              <a:gdLst/>
              <a:ahLst/>
              <a:cxnLst/>
              <a:rect l="l" t="t" r="r" b="b"/>
              <a:pathLst>
                <a:path w="163" h="513" extrusionOk="0">
                  <a:moveTo>
                    <a:pt x="108" y="14"/>
                  </a:moveTo>
                  <a:lnTo>
                    <a:pt x="150" y="40"/>
                  </a:lnTo>
                  <a:cubicBezTo>
                    <a:pt x="163" y="202"/>
                    <a:pt x="163" y="380"/>
                    <a:pt x="163" y="380"/>
                  </a:cubicBezTo>
                  <a:cubicBezTo>
                    <a:pt x="163" y="419"/>
                    <a:pt x="150" y="445"/>
                    <a:pt x="150" y="445"/>
                  </a:cubicBezTo>
                  <a:lnTo>
                    <a:pt x="108" y="513"/>
                  </a:lnTo>
                  <a:lnTo>
                    <a:pt x="56" y="461"/>
                  </a:lnTo>
                  <a:cubicBezTo>
                    <a:pt x="27" y="406"/>
                    <a:pt x="27" y="380"/>
                    <a:pt x="27" y="380"/>
                  </a:cubicBezTo>
                  <a:cubicBezTo>
                    <a:pt x="14" y="270"/>
                    <a:pt x="1" y="108"/>
                    <a:pt x="1" y="108"/>
                  </a:cubicBezTo>
                  <a:cubicBezTo>
                    <a:pt x="1" y="40"/>
                    <a:pt x="14" y="1"/>
                    <a:pt x="108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0" name="Google Shape;5070;p52"/>
            <p:cNvSpPr/>
            <p:nvPr/>
          </p:nvSpPr>
          <p:spPr>
            <a:xfrm>
              <a:off x="3483810" y="4109139"/>
              <a:ext cx="5325" cy="11891"/>
            </a:xfrm>
            <a:custGeom>
              <a:avLst/>
              <a:gdLst/>
              <a:ahLst/>
              <a:cxnLst/>
              <a:rect l="l" t="t" r="r" b="b"/>
              <a:pathLst>
                <a:path w="163" h="364" extrusionOk="0">
                  <a:moveTo>
                    <a:pt x="137" y="1"/>
                  </a:moveTo>
                  <a:cubicBezTo>
                    <a:pt x="137" y="1"/>
                    <a:pt x="163" y="121"/>
                    <a:pt x="137" y="283"/>
                  </a:cubicBezTo>
                  <a:lnTo>
                    <a:pt x="82" y="364"/>
                  </a:lnTo>
                  <a:lnTo>
                    <a:pt x="14" y="325"/>
                  </a:lnTo>
                  <a:cubicBezTo>
                    <a:pt x="1" y="189"/>
                    <a:pt x="43" y="137"/>
                    <a:pt x="69" y="27"/>
                  </a:cubicBezTo>
                  <a:cubicBezTo>
                    <a:pt x="69" y="27"/>
                    <a:pt x="108" y="1"/>
                    <a:pt x="13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1" name="Google Shape;5071;p52"/>
            <p:cNvSpPr/>
            <p:nvPr/>
          </p:nvSpPr>
          <p:spPr>
            <a:xfrm>
              <a:off x="3505829" y="4098129"/>
              <a:ext cx="7971" cy="11466"/>
            </a:xfrm>
            <a:custGeom>
              <a:avLst/>
              <a:gdLst/>
              <a:ahLst/>
              <a:cxnLst/>
              <a:rect l="l" t="t" r="r" b="b"/>
              <a:pathLst>
                <a:path w="244" h="351" extrusionOk="0">
                  <a:moveTo>
                    <a:pt x="192" y="14"/>
                  </a:moveTo>
                  <a:cubicBezTo>
                    <a:pt x="218" y="69"/>
                    <a:pt x="205" y="40"/>
                    <a:pt x="244" y="95"/>
                  </a:cubicBezTo>
                  <a:lnTo>
                    <a:pt x="218" y="270"/>
                  </a:lnTo>
                  <a:cubicBezTo>
                    <a:pt x="218" y="283"/>
                    <a:pt x="205" y="296"/>
                    <a:pt x="205" y="296"/>
                  </a:cubicBezTo>
                  <a:lnTo>
                    <a:pt x="163" y="351"/>
                  </a:lnTo>
                  <a:cubicBezTo>
                    <a:pt x="1" y="202"/>
                    <a:pt x="43" y="325"/>
                    <a:pt x="98" y="108"/>
                  </a:cubicBezTo>
                  <a:lnTo>
                    <a:pt x="137" y="53"/>
                  </a:lnTo>
                  <a:lnTo>
                    <a:pt x="163" y="14"/>
                  </a:lnTo>
                  <a:cubicBezTo>
                    <a:pt x="163" y="14"/>
                    <a:pt x="163" y="1"/>
                    <a:pt x="192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2" name="Google Shape;5072;p52"/>
            <p:cNvSpPr/>
            <p:nvPr/>
          </p:nvSpPr>
          <p:spPr>
            <a:xfrm>
              <a:off x="3463491" y="4092837"/>
              <a:ext cx="4475" cy="13688"/>
            </a:xfrm>
            <a:custGeom>
              <a:avLst/>
              <a:gdLst/>
              <a:ahLst/>
              <a:cxnLst/>
              <a:rect l="l" t="t" r="r" b="b"/>
              <a:pathLst>
                <a:path w="137" h="419" extrusionOk="0">
                  <a:moveTo>
                    <a:pt x="69" y="14"/>
                  </a:moveTo>
                  <a:lnTo>
                    <a:pt x="124" y="108"/>
                  </a:lnTo>
                  <a:cubicBezTo>
                    <a:pt x="137" y="215"/>
                    <a:pt x="124" y="257"/>
                    <a:pt x="124" y="257"/>
                  </a:cubicBezTo>
                  <a:cubicBezTo>
                    <a:pt x="111" y="312"/>
                    <a:pt x="111" y="377"/>
                    <a:pt x="111" y="377"/>
                  </a:cubicBezTo>
                  <a:lnTo>
                    <a:pt x="56" y="419"/>
                  </a:lnTo>
                  <a:cubicBezTo>
                    <a:pt x="56" y="419"/>
                    <a:pt x="30" y="393"/>
                    <a:pt x="17" y="163"/>
                  </a:cubicBezTo>
                  <a:cubicBezTo>
                    <a:pt x="1" y="53"/>
                    <a:pt x="17" y="69"/>
                    <a:pt x="17" y="69"/>
                  </a:cubicBezTo>
                  <a:cubicBezTo>
                    <a:pt x="17" y="69"/>
                    <a:pt x="43" y="1"/>
                    <a:pt x="69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3" name="Google Shape;5073;p52"/>
            <p:cNvSpPr/>
            <p:nvPr/>
          </p:nvSpPr>
          <p:spPr>
            <a:xfrm>
              <a:off x="3546893" y="4091040"/>
              <a:ext cx="4900" cy="14635"/>
            </a:xfrm>
            <a:custGeom>
              <a:avLst/>
              <a:gdLst/>
              <a:ahLst/>
              <a:cxnLst/>
              <a:rect l="l" t="t" r="r" b="b"/>
              <a:pathLst>
                <a:path w="150" h="448" extrusionOk="0">
                  <a:moveTo>
                    <a:pt x="82" y="14"/>
                  </a:moveTo>
                  <a:lnTo>
                    <a:pt x="137" y="82"/>
                  </a:lnTo>
                  <a:cubicBezTo>
                    <a:pt x="137" y="95"/>
                    <a:pt x="150" y="325"/>
                    <a:pt x="150" y="325"/>
                  </a:cubicBezTo>
                  <a:cubicBezTo>
                    <a:pt x="137" y="367"/>
                    <a:pt x="121" y="393"/>
                    <a:pt x="121" y="393"/>
                  </a:cubicBezTo>
                  <a:lnTo>
                    <a:pt x="82" y="448"/>
                  </a:lnTo>
                  <a:lnTo>
                    <a:pt x="14" y="325"/>
                  </a:lnTo>
                  <a:cubicBezTo>
                    <a:pt x="1" y="257"/>
                    <a:pt x="1" y="244"/>
                    <a:pt x="1" y="108"/>
                  </a:cubicBezTo>
                  <a:lnTo>
                    <a:pt x="40" y="43"/>
                  </a:lnTo>
                  <a:cubicBezTo>
                    <a:pt x="69" y="27"/>
                    <a:pt x="56" y="1"/>
                    <a:pt x="82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4" name="Google Shape;5074;p52"/>
            <p:cNvSpPr/>
            <p:nvPr/>
          </p:nvSpPr>
          <p:spPr>
            <a:xfrm>
              <a:off x="3479368" y="4076960"/>
              <a:ext cx="4900" cy="17608"/>
            </a:xfrm>
            <a:custGeom>
              <a:avLst/>
              <a:gdLst/>
              <a:ahLst/>
              <a:cxnLst/>
              <a:rect l="l" t="t" r="r" b="b"/>
              <a:pathLst>
                <a:path w="150" h="539" extrusionOk="0">
                  <a:moveTo>
                    <a:pt x="111" y="14"/>
                  </a:moveTo>
                  <a:cubicBezTo>
                    <a:pt x="111" y="14"/>
                    <a:pt x="150" y="134"/>
                    <a:pt x="137" y="296"/>
                  </a:cubicBezTo>
                  <a:lnTo>
                    <a:pt x="98" y="445"/>
                  </a:lnTo>
                  <a:lnTo>
                    <a:pt x="43" y="539"/>
                  </a:lnTo>
                  <a:lnTo>
                    <a:pt x="1" y="351"/>
                  </a:lnTo>
                  <a:cubicBezTo>
                    <a:pt x="43" y="14"/>
                    <a:pt x="82" y="1"/>
                    <a:pt x="111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5" name="Google Shape;5075;p52"/>
            <p:cNvSpPr/>
            <p:nvPr/>
          </p:nvSpPr>
          <p:spPr>
            <a:xfrm>
              <a:off x="3525299" y="4072517"/>
              <a:ext cx="7024" cy="14112"/>
            </a:xfrm>
            <a:custGeom>
              <a:avLst/>
              <a:gdLst/>
              <a:ahLst/>
              <a:cxnLst/>
              <a:rect l="l" t="t" r="r" b="b"/>
              <a:pathLst>
                <a:path w="215" h="432" extrusionOk="0">
                  <a:moveTo>
                    <a:pt x="108" y="69"/>
                  </a:moveTo>
                  <a:cubicBezTo>
                    <a:pt x="215" y="95"/>
                    <a:pt x="163" y="27"/>
                    <a:pt x="163" y="299"/>
                  </a:cubicBezTo>
                  <a:lnTo>
                    <a:pt x="163" y="380"/>
                  </a:lnTo>
                  <a:cubicBezTo>
                    <a:pt x="150" y="419"/>
                    <a:pt x="134" y="432"/>
                    <a:pt x="134" y="432"/>
                  </a:cubicBezTo>
                  <a:lnTo>
                    <a:pt x="53" y="432"/>
                  </a:lnTo>
                  <a:lnTo>
                    <a:pt x="27" y="338"/>
                  </a:lnTo>
                  <a:cubicBezTo>
                    <a:pt x="14" y="1"/>
                    <a:pt x="1" y="124"/>
                    <a:pt x="40" y="82"/>
                  </a:cubicBezTo>
                  <a:cubicBezTo>
                    <a:pt x="40" y="82"/>
                    <a:pt x="82" y="69"/>
                    <a:pt x="108" y="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6" name="Google Shape;5076;p52"/>
            <p:cNvSpPr/>
            <p:nvPr/>
          </p:nvSpPr>
          <p:spPr>
            <a:xfrm>
              <a:off x="3551336" y="4065004"/>
              <a:ext cx="8396" cy="14635"/>
            </a:xfrm>
            <a:custGeom>
              <a:avLst/>
              <a:gdLst/>
              <a:ahLst/>
              <a:cxnLst/>
              <a:rect l="l" t="t" r="r" b="b"/>
              <a:pathLst>
                <a:path w="257" h="448" extrusionOk="0">
                  <a:moveTo>
                    <a:pt x="228" y="14"/>
                  </a:moveTo>
                  <a:cubicBezTo>
                    <a:pt x="257" y="218"/>
                    <a:pt x="244" y="231"/>
                    <a:pt x="257" y="286"/>
                  </a:cubicBezTo>
                  <a:lnTo>
                    <a:pt x="257" y="419"/>
                  </a:lnTo>
                  <a:lnTo>
                    <a:pt x="228" y="448"/>
                  </a:lnTo>
                  <a:lnTo>
                    <a:pt x="134" y="435"/>
                  </a:lnTo>
                  <a:cubicBezTo>
                    <a:pt x="134" y="435"/>
                    <a:pt x="108" y="205"/>
                    <a:pt x="95" y="56"/>
                  </a:cubicBezTo>
                  <a:cubicBezTo>
                    <a:pt x="95" y="56"/>
                    <a:pt x="1" y="1"/>
                    <a:pt x="228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7" name="Google Shape;5077;p52"/>
            <p:cNvSpPr/>
            <p:nvPr/>
          </p:nvSpPr>
          <p:spPr>
            <a:xfrm>
              <a:off x="3501909" y="4057065"/>
              <a:ext cx="5325" cy="16334"/>
            </a:xfrm>
            <a:custGeom>
              <a:avLst/>
              <a:gdLst/>
              <a:ahLst/>
              <a:cxnLst/>
              <a:rect l="l" t="t" r="r" b="b"/>
              <a:pathLst>
                <a:path w="163" h="500" extrusionOk="0">
                  <a:moveTo>
                    <a:pt x="121" y="43"/>
                  </a:moveTo>
                  <a:lnTo>
                    <a:pt x="163" y="163"/>
                  </a:lnTo>
                  <a:cubicBezTo>
                    <a:pt x="163" y="218"/>
                    <a:pt x="163" y="163"/>
                    <a:pt x="150" y="257"/>
                  </a:cubicBezTo>
                  <a:lnTo>
                    <a:pt x="137" y="367"/>
                  </a:lnTo>
                  <a:cubicBezTo>
                    <a:pt x="121" y="406"/>
                    <a:pt x="108" y="448"/>
                    <a:pt x="108" y="448"/>
                  </a:cubicBezTo>
                  <a:lnTo>
                    <a:pt x="69" y="500"/>
                  </a:lnTo>
                  <a:lnTo>
                    <a:pt x="14" y="380"/>
                  </a:lnTo>
                  <a:cubicBezTo>
                    <a:pt x="1" y="299"/>
                    <a:pt x="1" y="380"/>
                    <a:pt x="14" y="218"/>
                  </a:cubicBezTo>
                  <a:cubicBezTo>
                    <a:pt x="27" y="95"/>
                    <a:pt x="95" y="1"/>
                    <a:pt x="121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8" name="Google Shape;5078;p52"/>
            <p:cNvSpPr/>
            <p:nvPr/>
          </p:nvSpPr>
          <p:spPr>
            <a:xfrm>
              <a:off x="3536733" y="4046481"/>
              <a:ext cx="4900" cy="17281"/>
            </a:xfrm>
            <a:custGeom>
              <a:avLst/>
              <a:gdLst/>
              <a:ahLst/>
              <a:cxnLst/>
              <a:rect l="l" t="t" r="r" b="b"/>
              <a:pathLst>
                <a:path w="150" h="529" extrusionOk="0">
                  <a:moveTo>
                    <a:pt x="95" y="1"/>
                  </a:moveTo>
                  <a:cubicBezTo>
                    <a:pt x="150" y="30"/>
                    <a:pt x="150" y="56"/>
                    <a:pt x="150" y="56"/>
                  </a:cubicBezTo>
                  <a:cubicBezTo>
                    <a:pt x="137" y="150"/>
                    <a:pt x="137" y="257"/>
                    <a:pt x="137" y="273"/>
                  </a:cubicBezTo>
                  <a:cubicBezTo>
                    <a:pt x="137" y="406"/>
                    <a:pt x="95" y="487"/>
                    <a:pt x="95" y="487"/>
                  </a:cubicBezTo>
                  <a:lnTo>
                    <a:pt x="56" y="529"/>
                  </a:lnTo>
                  <a:lnTo>
                    <a:pt x="14" y="474"/>
                  </a:lnTo>
                  <a:cubicBezTo>
                    <a:pt x="1" y="312"/>
                    <a:pt x="1" y="461"/>
                    <a:pt x="1" y="273"/>
                  </a:cubicBezTo>
                  <a:lnTo>
                    <a:pt x="14" y="56"/>
                  </a:lnTo>
                  <a:lnTo>
                    <a:pt x="27" y="14"/>
                  </a:lnTo>
                  <a:cubicBezTo>
                    <a:pt x="27" y="14"/>
                    <a:pt x="69" y="1"/>
                    <a:pt x="9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9" name="Google Shape;5079;p52"/>
            <p:cNvSpPr/>
            <p:nvPr/>
          </p:nvSpPr>
          <p:spPr>
            <a:xfrm>
              <a:off x="3472801" y="4041188"/>
              <a:ext cx="4900" cy="19927"/>
            </a:xfrm>
            <a:custGeom>
              <a:avLst/>
              <a:gdLst/>
              <a:ahLst/>
              <a:cxnLst/>
              <a:rect l="l" t="t" r="r" b="b"/>
              <a:pathLst>
                <a:path w="150" h="610" extrusionOk="0">
                  <a:moveTo>
                    <a:pt x="150" y="69"/>
                  </a:moveTo>
                  <a:cubicBezTo>
                    <a:pt x="150" y="69"/>
                    <a:pt x="150" y="273"/>
                    <a:pt x="108" y="448"/>
                  </a:cubicBezTo>
                  <a:lnTo>
                    <a:pt x="82" y="568"/>
                  </a:lnTo>
                  <a:lnTo>
                    <a:pt x="40" y="610"/>
                  </a:lnTo>
                  <a:lnTo>
                    <a:pt x="1" y="568"/>
                  </a:lnTo>
                  <a:cubicBezTo>
                    <a:pt x="14" y="406"/>
                    <a:pt x="40" y="244"/>
                    <a:pt x="69" y="82"/>
                  </a:cubicBezTo>
                  <a:cubicBezTo>
                    <a:pt x="69" y="82"/>
                    <a:pt x="95" y="1"/>
                    <a:pt x="150" y="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0" name="Google Shape;5080;p52"/>
            <p:cNvSpPr/>
            <p:nvPr/>
          </p:nvSpPr>
          <p:spPr>
            <a:xfrm>
              <a:off x="3495244" y="4037268"/>
              <a:ext cx="4900" cy="10192"/>
            </a:xfrm>
            <a:custGeom>
              <a:avLst/>
              <a:gdLst/>
              <a:ahLst/>
              <a:cxnLst/>
              <a:rect l="l" t="t" r="r" b="b"/>
              <a:pathLst>
                <a:path w="150" h="312" extrusionOk="0">
                  <a:moveTo>
                    <a:pt x="98" y="1"/>
                  </a:moveTo>
                  <a:lnTo>
                    <a:pt x="150" y="40"/>
                  </a:lnTo>
                  <a:cubicBezTo>
                    <a:pt x="137" y="134"/>
                    <a:pt x="124" y="244"/>
                    <a:pt x="124" y="244"/>
                  </a:cubicBezTo>
                  <a:lnTo>
                    <a:pt x="98" y="270"/>
                  </a:lnTo>
                  <a:lnTo>
                    <a:pt x="56" y="312"/>
                  </a:lnTo>
                  <a:lnTo>
                    <a:pt x="1" y="231"/>
                  </a:lnTo>
                  <a:cubicBezTo>
                    <a:pt x="17" y="134"/>
                    <a:pt x="17" y="176"/>
                    <a:pt x="17" y="53"/>
                  </a:cubicBez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1" name="Google Shape;5081;p52"/>
            <p:cNvSpPr/>
            <p:nvPr/>
          </p:nvSpPr>
          <p:spPr>
            <a:xfrm>
              <a:off x="3518210" y="4033250"/>
              <a:ext cx="4051" cy="18555"/>
            </a:xfrm>
            <a:custGeom>
              <a:avLst/>
              <a:gdLst/>
              <a:ahLst/>
              <a:cxnLst/>
              <a:rect l="l" t="t" r="r" b="b"/>
              <a:pathLst>
                <a:path w="124" h="568" extrusionOk="0">
                  <a:moveTo>
                    <a:pt x="95" y="1"/>
                  </a:moveTo>
                  <a:lnTo>
                    <a:pt x="124" y="69"/>
                  </a:lnTo>
                  <a:lnTo>
                    <a:pt x="124" y="244"/>
                  </a:lnTo>
                  <a:lnTo>
                    <a:pt x="124" y="325"/>
                  </a:lnTo>
                  <a:cubicBezTo>
                    <a:pt x="1" y="568"/>
                    <a:pt x="1" y="312"/>
                    <a:pt x="1" y="312"/>
                  </a:cubicBezTo>
                  <a:cubicBezTo>
                    <a:pt x="14" y="137"/>
                    <a:pt x="14" y="14"/>
                    <a:pt x="14" y="14"/>
                  </a:cubicBezTo>
                  <a:cubicBezTo>
                    <a:pt x="14" y="14"/>
                    <a:pt x="43" y="1"/>
                    <a:pt x="9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2" name="Google Shape;5082;p52"/>
            <p:cNvSpPr/>
            <p:nvPr/>
          </p:nvSpPr>
          <p:spPr>
            <a:xfrm>
              <a:off x="3551761" y="4023613"/>
              <a:ext cx="4377" cy="17183"/>
            </a:xfrm>
            <a:custGeom>
              <a:avLst/>
              <a:gdLst/>
              <a:ahLst/>
              <a:cxnLst/>
              <a:rect l="l" t="t" r="r" b="b"/>
              <a:pathLst>
                <a:path w="134" h="526" extrusionOk="0">
                  <a:moveTo>
                    <a:pt x="95" y="27"/>
                  </a:moveTo>
                  <a:lnTo>
                    <a:pt x="134" y="419"/>
                  </a:lnTo>
                  <a:cubicBezTo>
                    <a:pt x="121" y="458"/>
                    <a:pt x="95" y="487"/>
                    <a:pt x="82" y="526"/>
                  </a:cubicBezTo>
                  <a:lnTo>
                    <a:pt x="14" y="406"/>
                  </a:lnTo>
                  <a:cubicBezTo>
                    <a:pt x="1" y="228"/>
                    <a:pt x="1" y="163"/>
                    <a:pt x="1" y="66"/>
                  </a:cubicBezTo>
                  <a:lnTo>
                    <a:pt x="53" y="1"/>
                  </a:lnTo>
                  <a:cubicBezTo>
                    <a:pt x="69" y="1"/>
                    <a:pt x="82" y="14"/>
                    <a:pt x="95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3" name="Google Shape;5083;p52"/>
            <p:cNvSpPr/>
            <p:nvPr/>
          </p:nvSpPr>
          <p:spPr>
            <a:xfrm>
              <a:off x="3534936" y="4013028"/>
              <a:ext cx="4475" cy="17183"/>
            </a:xfrm>
            <a:custGeom>
              <a:avLst/>
              <a:gdLst/>
              <a:ahLst/>
              <a:cxnLst/>
              <a:rect l="l" t="t" r="r" b="b"/>
              <a:pathLst>
                <a:path w="137" h="526" extrusionOk="0">
                  <a:moveTo>
                    <a:pt x="69" y="40"/>
                  </a:moveTo>
                  <a:lnTo>
                    <a:pt x="124" y="147"/>
                  </a:lnTo>
                  <a:cubicBezTo>
                    <a:pt x="124" y="244"/>
                    <a:pt x="137" y="309"/>
                    <a:pt x="98" y="432"/>
                  </a:cubicBezTo>
                  <a:cubicBezTo>
                    <a:pt x="98" y="432"/>
                    <a:pt x="82" y="471"/>
                    <a:pt x="43" y="526"/>
                  </a:cubicBezTo>
                  <a:lnTo>
                    <a:pt x="1" y="419"/>
                  </a:lnTo>
                  <a:lnTo>
                    <a:pt x="1" y="147"/>
                  </a:lnTo>
                  <a:lnTo>
                    <a:pt x="17" y="108"/>
                  </a:lnTo>
                  <a:cubicBezTo>
                    <a:pt x="17" y="108"/>
                    <a:pt x="43" y="1"/>
                    <a:pt x="69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4" name="Google Shape;5084;p52"/>
            <p:cNvSpPr/>
            <p:nvPr/>
          </p:nvSpPr>
          <p:spPr>
            <a:xfrm>
              <a:off x="3487829" y="4009435"/>
              <a:ext cx="4802" cy="15909"/>
            </a:xfrm>
            <a:custGeom>
              <a:avLst/>
              <a:gdLst/>
              <a:ahLst/>
              <a:cxnLst/>
              <a:rect l="l" t="t" r="r" b="b"/>
              <a:pathLst>
                <a:path w="147" h="487" extrusionOk="0">
                  <a:moveTo>
                    <a:pt x="121" y="14"/>
                  </a:moveTo>
                  <a:cubicBezTo>
                    <a:pt x="121" y="14"/>
                    <a:pt x="147" y="82"/>
                    <a:pt x="134" y="176"/>
                  </a:cubicBezTo>
                  <a:lnTo>
                    <a:pt x="121" y="273"/>
                  </a:lnTo>
                  <a:cubicBezTo>
                    <a:pt x="95" y="380"/>
                    <a:pt x="66" y="448"/>
                    <a:pt x="66" y="448"/>
                  </a:cubicBezTo>
                  <a:lnTo>
                    <a:pt x="27" y="487"/>
                  </a:lnTo>
                  <a:lnTo>
                    <a:pt x="1" y="312"/>
                  </a:lnTo>
                  <a:cubicBezTo>
                    <a:pt x="14" y="218"/>
                    <a:pt x="53" y="82"/>
                    <a:pt x="53" y="82"/>
                  </a:cubicBezTo>
                  <a:cubicBezTo>
                    <a:pt x="66" y="1"/>
                    <a:pt x="66" y="56"/>
                    <a:pt x="108" y="14"/>
                  </a:cubicBezTo>
                  <a:cubicBezTo>
                    <a:pt x="108" y="14"/>
                    <a:pt x="108" y="1"/>
                    <a:pt x="121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5" name="Google Shape;5085;p52"/>
            <p:cNvSpPr/>
            <p:nvPr/>
          </p:nvSpPr>
          <p:spPr>
            <a:xfrm>
              <a:off x="3512493" y="3999798"/>
              <a:ext cx="7546" cy="18555"/>
            </a:xfrm>
            <a:custGeom>
              <a:avLst/>
              <a:gdLst/>
              <a:ahLst/>
              <a:cxnLst/>
              <a:rect l="l" t="t" r="r" b="b"/>
              <a:pathLst>
                <a:path w="231" h="568" extrusionOk="0">
                  <a:moveTo>
                    <a:pt x="108" y="108"/>
                  </a:moveTo>
                  <a:cubicBezTo>
                    <a:pt x="189" y="215"/>
                    <a:pt x="231" y="1"/>
                    <a:pt x="137" y="419"/>
                  </a:cubicBezTo>
                  <a:cubicBezTo>
                    <a:pt x="137" y="458"/>
                    <a:pt x="95" y="513"/>
                    <a:pt x="95" y="513"/>
                  </a:cubicBezTo>
                  <a:lnTo>
                    <a:pt x="56" y="568"/>
                  </a:lnTo>
                  <a:lnTo>
                    <a:pt x="1" y="406"/>
                  </a:lnTo>
                  <a:cubicBezTo>
                    <a:pt x="1" y="147"/>
                    <a:pt x="40" y="134"/>
                    <a:pt x="40" y="134"/>
                  </a:cubicBezTo>
                  <a:cubicBezTo>
                    <a:pt x="40" y="134"/>
                    <a:pt x="95" y="82"/>
                    <a:pt x="108" y="10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6" name="Google Shape;5086;p52"/>
            <p:cNvSpPr/>
            <p:nvPr/>
          </p:nvSpPr>
          <p:spPr>
            <a:xfrm>
              <a:off x="3535884" y="3980752"/>
              <a:ext cx="4900" cy="16432"/>
            </a:xfrm>
            <a:custGeom>
              <a:avLst/>
              <a:gdLst/>
              <a:ahLst/>
              <a:cxnLst/>
              <a:rect l="l" t="t" r="r" b="b"/>
              <a:pathLst>
                <a:path w="150" h="503" extrusionOk="0">
                  <a:moveTo>
                    <a:pt x="108" y="30"/>
                  </a:moveTo>
                  <a:lnTo>
                    <a:pt x="150" y="111"/>
                  </a:lnTo>
                  <a:lnTo>
                    <a:pt x="150" y="163"/>
                  </a:lnTo>
                  <a:cubicBezTo>
                    <a:pt x="150" y="163"/>
                    <a:pt x="134" y="325"/>
                    <a:pt x="134" y="461"/>
                  </a:cubicBezTo>
                  <a:lnTo>
                    <a:pt x="121" y="503"/>
                  </a:lnTo>
                  <a:lnTo>
                    <a:pt x="27" y="487"/>
                  </a:lnTo>
                  <a:cubicBezTo>
                    <a:pt x="1" y="354"/>
                    <a:pt x="14" y="312"/>
                    <a:pt x="27" y="205"/>
                  </a:cubicBezTo>
                  <a:cubicBezTo>
                    <a:pt x="27" y="205"/>
                    <a:pt x="82" y="1"/>
                    <a:pt x="108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7" name="Google Shape;5087;p52"/>
            <p:cNvSpPr/>
            <p:nvPr/>
          </p:nvSpPr>
          <p:spPr>
            <a:xfrm>
              <a:off x="3495244" y="3979903"/>
              <a:ext cx="6697" cy="14635"/>
            </a:xfrm>
            <a:custGeom>
              <a:avLst/>
              <a:gdLst/>
              <a:ahLst/>
              <a:cxnLst/>
              <a:rect l="l" t="t" r="r" b="b"/>
              <a:pathLst>
                <a:path w="205" h="448" extrusionOk="0">
                  <a:moveTo>
                    <a:pt x="192" y="14"/>
                  </a:moveTo>
                  <a:lnTo>
                    <a:pt x="205" y="124"/>
                  </a:lnTo>
                  <a:cubicBezTo>
                    <a:pt x="163" y="231"/>
                    <a:pt x="150" y="286"/>
                    <a:pt x="98" y="406"/>
                  </a:cubicBezTo>
                  <a:lnTo>
                    <a:pt x="30" y="448"/>
                  </a:lnTo>
                  <a:cubicBezTo>
                    <a:pt x="30" y="448"/>
                    <a:pt x="1" y="380"/>
                    <a:pt x="30" y="286"/>
                  </a:cubicBezTo>
                  <a:lnTo>
                    <a:pt x="111" y="82"/>
                  </a:lnTo>
                  <a:cubicBezTo>
                    <a:pt x="137" y="14"/>
                    <a:pt x="137" y="27"/>
                    <a:pt x="137" y="27"/>
                  </a:cubicBezTo>
                  <a:cubicBezTo>
                    <a:pt x="137" y="27"/>
                    <a:pt x="179" y="1"/>
                    <a:pt x="192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8" name="Google Shape;5088;p52"/>
            <p:cNvSpPr/>
            <p:nvPr/>
          </p:nvSpPr>
          <p:spPr>
            <a:xfrm>
              <a:off x="3512918" y="3969318"/>
              <a:ext cx="6174" cy="14112"/>
            </a:xfrm>
            <a:custGeom>
              <a:avLst/>
              <a:gdLst/>
              <a:ahLst/>
              <a:cxnLst/>
              <a:rect l="l" t="t" r="r" b="b"/>
              <a:pathLst>
                <a:path w="189" h="432" extrusionOk="0">
                  <a:moveTo>
                    <a:pt x="189" y="27"/>
                  </a:moveTo>
                  <a:cubicBezTo>
                    <a:pt x="189" y="27"/>
                    <a:pt x="176" y="231"/>
                    <a:pt x="124" y="367"/>
                  </a:cubicBezTo>
                  <a:lnTo>
                    <a:pt x="56" y="432"/>
                  </a:lnTo>
                  <a:lnTo>
                    <a:pt x="27" y="367"/>
                  </a:lnTo>
                  <a:cubicBezTo>
                    <a:pt x="1" y="312"/>
                    <a:pt x="27" y="325"/>
                    <a:pt x="43" y="286"/>
                  </a:cubicBezTo>
                  <a:cubicBezTo>
                    <a:pt x="69" y="163"/>
                    <a:pt x="108" y="43"/>
                    <a:pt x="108" y="43"/>
                  </a:cubicBezTo>
                  <a:cubicBezTo>
                    <a:pt x="108" y="43"/>
                    <a:pt x="163" y="1"/>
                    <a:pt x="189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9" name="Google Shape;5089;p52"/>
            <p:cNvSpPr/>
            <p:nvPr/>
          </p:nvSpPr>
          <p:spPr>
            <a:xfrm>
              <a:off x="3526998" y="3957884"/>
              <a:ext cx="3626" cy="14537"/>
            </a:xfrm>
            <a:custGeom>
              <a:avLst/>
              <a:gdLst/>
              <a:ahLst/>
              <a:cxnLst/>
              <a:rect l="l" t="t" r="r" b="b"/>
              <a:pathLst>
                <a:path w="111" h="445" extrusionOk="0">
                  <a:moveTo>
                    <a:pt x="82" y="27"/>
                  </a:moveTo>
                  <a:lnTo>
                    <a:pt x="111" y="108"/>
                  </a:lnTo>
                  <a:cubicBezTo>
                    <a:pt x="98" y="283"/>
                    <a:pt x="98" y="270"/>
                    <a:pt x="82" y="296"/>
                  </a:cubicBezTo>
                  <a:lnTo>
                    <a:pt x="56" y="419"/>
                  </a:lnTo>
                  <a:lnTo>
                    <a:pt x="30" y="445"/>
                  </a:lnTo>
                  <a:lnTo>
                    <a:pt x="1" y="312"/>
                  </a:lnTo>
                  <a:cubicBezTo>
                    <a:pt x="1" y="163"/>
                    <a:pt x="1" y="231"/>
                    <a:pt x="17" y="95"/>
                  </a:cubicBezTo>
                  <a:cubicBezTo>
                    <a:pt x="30" y="27"/>
                    <a:pt x="43" y="40"/>
                    <a:pt x="43" y="40"/>
                  </a:cubicBezTo>
                  <a:cubicBezTo>
                    <a:pt x="43" y="40"/>
                    <a:pt x="69" y="1"/>
                    <a:pt x="82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0" name="Google Shape;5090;p52"/>
            <p:cNvSpPr/>
            <p:nvPr/>
          </p:nvSpPr>
          <p:spPr>
            <a:xfrm>
              <a:off x="3514715" y="4276695"/>
              <a:ext cx="27767" cy="66609"/>
            </a:xfrm>
            <a:custGeom>
              <a:avLst/>
              <a:gdLst/>
              <a:ahLst/>
              <a:cxnLst/>
              <a:rect l="l" t="t" r="r" b="b"/>
              <a:pathLst>
                <a:path w="850" h="2039" extrusionOk="0">
                  <a:moveTo>
                    <a:pt x="1" y="2039"/>
                  </a:moveTo>
                  <a:lnTo>
                    <a:pt x="1" y="419"/>
                  </a:lnTo>
                  <a:cubicBezTo>
                    <a:pt x="1" y="192"/>
                    <a:pt x="189" y="1"/>
                    <a:pt x="419" y="1"/>
                  </a:cubicBezTo>
                  <a:cubicBezTo>
                    <a:pt x="662" y="1"/>
                    <a:pt x="850" y="192"/>
                    <a:pt x="850" y="419"/>
                  </a:cubicBezTo>
                  <a:lnTo>
                    <a:pt x="850" y="1974"/>
                  </a:lnTo>
                  <a:lnTo>
                    <a:pt x="769" y="1974"/>
                  </a:lnTo>
                  <a:cubicBezTo>
                    <a:pt x="555" y="1987"/>
                    <a:pt x="325" y="2000"/>
                    <a:pt x="108" y="2026"/>
                  </a:cubicBezTo>
                  <a:cubicBezTo>
                    <a:pt x="69" y="2026"/>
                    <a:pt x="40" y="2039"/>
                    <a:pt x="1" y="2039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1" name="Google Shape;5091;p52"/>
            <p:cNvSpPr/>
            <p:nvPr/>
          </p:nvSpPr>
          <p:spPr>
            <a:xfrm>
              <a:off x="3504555" y="4273624"/>
              <a:ext cx="38352" cy="20352"/>
            </a:xfrm>
            <a:custGeom>
              <a:avLst/>
              <a:gdLst/>
              <a:ahLst/>
              <a:cxnLst/>
              <a:rect l="l" t="t" r="r" b="b"/>
              <a:pathLst>
                <a:path w="1174" h="623" extrusionOk="0">
                  <a:moveTo>
                    <a:pt x="137" y="312"/>
                  </a:moveTo>
                  <a:cubicBezTo>
                    <a:pt x="95" y="367"/>
                    <a:pt x="56" y="419"/>
                    <a:pt x="27" y="474"/>
                  </a:cubicBezTo>
                  <a:cubicBezTo>
                    <a:pt x="27" y="474"/>
                    <a:pt x="1" y="529"/>
                    <a:pt x="14" y="529"/>
                  </a:cubicBezTo>
                  <a:cubicBezTo>
                    <a:pt x="95" y="555"/>
                    <a:pt x="218" y="474"/>
                    <a:pt x="270" y="432"/>
                  </a:cubicBezTo>
                  <a:lnTo>
                    <a:pt x="325" y="380"/>
                  </a:lnTo>
                  <a:lnTo>
                    <a:pt x="351" y="351"/>
                  </a:lnTo>
                  <a:cubicBezTo>
                    <a:pt x="338" y="380"/>
                    <a:pt x="325" y="406"/>
                    <a:pt x="299" y="432"/>
                  </a:cubicBezTo>
                  <a:cubicBezTo>
                    <a:pt x="283" y="474"/>
                    <a:pt x="231" y="581"/>
                    <a:pt x="299" y="581"/>
                  </a:cubicBezTo>
                  <a:cubicBezTo>
                    <a:pt x="364" y="581"/>
                    <a:pt x="432" y="529"/>
                    <a:pt x="474" y="487"/>
                  </a:cubicBezTo>
                  <a:cubicBezTo>
                    <a:pt x="487" y="474"/>
                    <a:pt x="500" y="461"/>
                    <a:pt x="526" y="432"/>
                  </a:cubicBezTo>
                  <a:cubicBezTo>
                    <a:pt x="526" y="432"/>
                    <a:pt x="526" y="406"/>
                    <a:pt x="542" y="406"/>
                  </a:cubicBezTo>
                  <a:cubicBezTo>
                    <a:pt x="594" y="432"/>
                    <a:pt x="688" y="623"/>
                    <a:pt x="756" y="513"/>
                  </a:cubicBezTo>
                  <a:cubicBezTo>
                    <a:pt x="756" y="500"/>
                    <a:pt x="769" y="474"/>
                    <a:pt x="769" y="461"/>
                  </a:cubicBezTo>
                  <a:lnTo>
                    <a:pt x="769" y="393"/>
                  </a:lnTo>
                  <a:cubicBezTo>
                    <a:pt x="769" y="393"/>
                    <a:pt x="785" y="406"/>
                    <a:pt x="785" y="419"/>
                  </a:cubicBezTo>
                  <a:cubicBezTo>
                    <a:pt x="798" y="419"/>
                    <a:pt x="798" y="432"/>
                    <a:pt x="811" y="432"/>
                  </a:cubicBezTo>
                  <a:cubicBezTo>
                    <a:pt x="837" y="461"/>
                    <a:pt x="866" y="487"/>
                    <a:pt x="892" y="500"/>
                  </a:cubicBezTo>
                  <a:cubicBezTo>
                    <a:pt x="973" y="555"/>
                    <a:pt x="1080" y="555"/>
                    <a:pt x="1135" y="474"/>
                  </a:cubicBezTo>
                  <a:cubicBezTo>
                    <a:pt x="1174" y="432"/>
                    <a:pt x="1161" y="367"/>
                    <a:pt x="1135" y="325"/>
                  </a:cubicBezTo>
                  <a:cubicBezTo>
                    <a:pt x="1080" y="205"/>
                    <a:pt x="931" y="124"/>
                    <a:pt x="785" y="82"/>
                  </a:cubicBezTo>
                  <a:cubicBezTo>
                    <a:pt x="500" y="1"/>
                    <a:pt x="244" y="137"/>
                    <a:pt x="95" y="325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2" name="Google Shape;5092;p52"/>
            <p:cNvSpPr/>
            <p:nvPr/>
          </p:nvSpPr>
          <p:spPr>
            <a:xfrm>
              <a:off x="3517361" y="4262615"/>
              <a:ext cx="5325" cy="13263"/>
            </a:xfrm>
            <a:custGeom>
              <a:avLst/>
              <a:gdLst/>
              <a:ahLst/>
              <a:cxnLst/>
              <a:rect l="l" t="t" r="r" b="b"/>
              <a:pathLst>
                <a:path w="163" h="406" extrusionOk="0">
                  <a:moveTo>
                    <a:pt x="95" y="27"/>
                  </a:moveTo>
                  <a:lnTo>
                    <a:pt x="150" y="82"/>
                  </a:lnTo>
                  <a:cubicBezTo>
                    <a:pt x="163" y="121"/>
                    <a:pt x="163" y="82"/>
                    <a:pt x="163" y="189"/>
                  </a:cubicBezTo>
                  <a:cubicBezTo>
                    <a:pt x="163" y="189"/>
                    <a:pt x="134" y="325"/>
                    <a:pt x="134" y="351"/>
                  </a:cubicBezTo>
                  <a:lnTo>
                    <a:pt x="95" y="406"/>
                  </a:lnTo>
                  <a:lnTo>
                    <a:pt x="40" y="312"/>
                  </a:lnTo>
                  <a:cubicBezTo>
                    <a:pt x="1" y="163"/>
                    <a:pt x="1" y="202"/>
                    <a:pt x="14" y="108"/>
                  </a:cubicBezTo>
                  <a:cubicBezTo>
                    <a:pt x="14" y="108"/>
                    <a:pt x="69" y="1"/>
                    <a:pt x="95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3" name="Google Shape;5093;p52"/>
            <p:cNvSpPr/>
            <p:nvPr/>
          </p:nvSpPr>
          <p:spPr>
            <a:xfrm>
              <a:off x="3551336" y="4263464"/>
              <a:ext cx="4377" cy="11564"/>
            </a:xfrm>
            <a:custGeom>
              <a:avLst/>
              <a:gdLst/>
              <a:ahLst/>
              <a:cxnLst/>
              <a:rect l="l" t="t" r="r" b="b"/>
              <a:pathLst>
                <a:path w="134" h="354" extrusionOk="0">
                  <a:moveTo>
                    <a:pt x="121" y="43"/>
                  </a:moveTo>
                  <a:lnTo>
                    <a:pt x="134" y="111"/>
                  </a:lnTo>
                  <a:cubicBezTo>
                    <a:pt x="121" y="205"/>
                    <a:pt x="82" y="325"/>
                    <a:pt x="82" y="325"/>
                  </a:cubicBezTo>
                  <a:lnTo>
                    <a:pt x="27" y="354"/>
                  </a:lnTo>
                  <a:cubicBezTo>
                    <a:pt x="27" y="354"/>
                    <a:pt x="1" y="325"/>
                    <a:pt x="1" y="299"/>
                  </a:cubicBezTo>
                  <a:cubicBezTo>
                    <a:pt x="66" y="1"/>
                    <a:pt x="95" y="43"/>
                    <a:pt x="121" y="43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4" name="Google Shape;5094;p52"/>
            <p:cNvSpPr/>
            <p:nvPr/>
          </p:nvSpPr>
          <p:spPr>
            <a:xfrm>
              <a:off x="3484235" y="4255101"/>
              <a:ext cx="8918" cy="17281"/>
            </a:xfrm>
            <a:custGeom>
              <a:avLst/>
              <a:gdLst/>
              <a:ahLst/>
              <a:cxnLst/>
              <a:rect l="l" t="t" r="r" b="b"/>
              <a:pathLst>
                <a:path w="273" h="529" extrusionOk="0">
                  <a:moveTo>
                    <a:pt x="124" y="27"/>
                  </a:moveTo>
                  <a:cubicBezTo>
                    <a:pt x="124" y="27"/>
                    <a:pt x="137" y="82"/>
                    <a:pt x="218" y="257"/>
                  </a:cubicBezTo>
                  <a:lnTo>
                    <a:pt x="257" y="419"/>
                  </a:lnTo>
                  <a:cubicBezTo>
                    <a:pt x="273" y="432"/>
                    <a:pt x="273" y="448"/>
                    <a:pt x="273" y="461"/>
                  </a:cubicBezTo>
                  <a:lnTo>
                    <a:pt x="257" y="529"/>
                  </a:lnTo>
                  <a:cubicBezTo>
                    <a:pt x="257" y="529"/>
                    <a:pt x="205" y="529"/>
                    <a:pt x="111" y="393"/>
                  </a:cubicBezTo>
                  <a:lnTo>
                    <a:pt x="69" y="325"/>
                  </a:lnTo>
                  <a:cubicBezTo>
                    <a:pt x="30" y="231"/>
                    <a:pt x="14" y="176"/>
                    <a:pt x="1" y="69"/>
                  </a:cubicBezTo>
                  <a:lnTo>
                    <a:pt x="30" y="27"/>
                  </a:lnTo>
                  <a:cubicBezTo>
                    <a:pt x="30" y="27"/>
                    <a:pt x="95" y="1"/>
                    <a:pt x="124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5" name="Google Shape;5095;p52"/>
            <p:cNvSpPr/>
            <p:nvPr/>
          </p:nvSpPr>
          <p:spPr>
            <a:xfrm>
              <a:off x="3565416" y="4249809"/>
              <a:ext cx="7971" cy="21201"/>
            </a:xfrm>
            <a:custGeom>
              <a:avLst/>
              <a:gdLst/>
              <a:ahLst/>
              <a:cxnLst/>
              <a:rect l="l" t="t" r="r" b="b"/>
              <a:pathLst>
                <a:path w="244" h="649" extrusionOk="0">
                  <a:moveTo>
                    <a:pt x="202" y="27"/>
                  </a:moveTo>
                  <a:cubicBezTo>
                    <a:pt x="231" y="95"/>
                    <a:pt x="244" y="56"/>
                    <a:pt x="231" y="108"/>
                  </a:cubicBezTo>
                  <a:lnTo>
                    <a:pt x="189" y="270"/>
                  </a:lnTo>
                  <a:cubicBezTo>
                    <a:pt x="163" y="380"/>
                    <a:pt x="137" y="474"/>
                    <a:pt x="137" y="474"/>
                  </a:cubicBezTo>
                  <a:cubicBezTo>
                    <a:pt x="108" y="513"/>
                    <a:pt x="95" y="568"/>
                    <a:pt x="95" y="568"/>
                  </a:cubicBezTo>
                  <a:lnTo>
                    <a:pt x="14" y="649"/>
                  </a:lnTo>
                  <a:cubicBezTo>
                    <a:pt x="14" y="649"/>
                    <a:pt x="1" y="555"/>
                    <a:pt x="14" y="448"/>
                  </a:cubicBezTo>
                  <a:lnTo>
                    <a:pt x="150" y="56"/>
                  </a:lnTo>
                  <a:cubicBezTo>
                    <a:pt x="150" y="56"/>
                    <a:pt x="189" y="1"/>
                    <a:pt x="202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6" name="Google Shape;5096;p52"/>
            <p:cNvSpPr/>
            <p:nvPr/>
          </p:nvSpPr>
          <p:spPr>
            <a:xfrm>
              <a:off x="3456075" y="4249809"/>
              <a:ext cx="11891" cy="19404"/>
            </a:xfrm>
            <a:custGeom>
              <a:avLst/>
              <a:gdLst/>
              <a:ahLst/>
              <a:cxnLst/>
              <a:rect l="l" t="t" r="r" b="b"/>
              <a:pathLst>
                <a:path w="364" h="594" extrusionOk="0">
                  <a:moveTo>
                    <a:pt x="309" y="581"/>
                  </a:moveTo>
                  <a:cubicBezTo>
                    <a:pt x="228" y="513"/>
                    <a:pt x="147" y="393"/>
                    <a:pt x="134" y="380"/>
                  </a:cubicBezTo>
                  <a:cubicBezTo>
                    <a:pt x="121" y="351"/>
                    <a:pt x="121" y="338"/>
                    <a:pt x="108" y="325"/>
                  </a:cubicBezTo>
                  <a:cubicBezTo>
                    <a:pt x="95" y="299"/>
                    <a:pt x="82" y="270"/>
                    <a:pt x="82" y="257"/>
                  </a:cubicBezTo>
                  <a:cubicBezTo>
                    <a:pt x="40" y="176"/>
                    <a:pt x="1" y="56"/>
                    <a:pt x="1" y="56"/>
                  </a:cubicBezTo>
                  <a:lnTo>
                    <a:pt x="40" y="1"/>
                  </a:lnTo>
                  <a:cubicBezTo>
                    <a:pt x="40" y="1"/>
                    <a:pt x="95" y="1"/>
                    <a:pt x="228" y="270"/>
                  </a:cubicBezTo>
                  <a:cubicBezTo>
                    <a:pt x="351" y="500"/>
                    <a:pt x="244" y="299"/>
                    <a:pt x="364" y="555"/>
                  </a:cubicBezTo>
                  <a:lnTo>
                    <a:pt x="364" y="594"/>
                  </a:lnTo>
                  <a:cubicBezTo>
                    <a:pt x="364" y="594"/>
                    <a:pt x="325" y="594"/>
                    <a:pt x="309" y="58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7" name="Google Shape;5097;p52"/>
            <p:cNvSpPr/>
            <p:nvPr/>
          </p:nvSpPr>
          <p:spPr>
            <a:xfrm>
              <a:off x="3538955" y="4239224"/>
              <a:ext cx="4900" cy="17281"/>
            </a:xfrm>
            <a:custGeom>
              <a:avLst/>
              <a:gdLst/>
              <a:ahLst/>
              <a:cxnLst/>
              <a:rect l="l" t="t" r="r" b="b"/>
              <a:pathLst>
                <a:path w="150" h="529" extrusionOk="0">
                  <a:moveTo>
                    <a:pt x="95" y="14"/>
                  </a:moveTo>
                  <a:lnTo>
                    <a:pt x="150" y="137"/>
                  </a:lnTo>
                  <a:lnTo>
                    <a:pt x="150" y="231"/>
                  </a:lnTo>
                  <a:cubicBezTo>
                    <a:pt x="137" y="474"/>
                    <a:pt x="121" y="419"/>
                    <a:pt x="121" y="448"/>
                  </a:cubicBezTo>
                  <a:lnTo>
                    <a:pt x="56" y="529"/>
                  </a:lnTo>
                  <a:lnTo>
                    <a:pt x="14" y="474"/>
                  </a:lnTo>
                  <a:cubicBezTo>
                    <a:pt x="1" y="299"/>
                    <a:pt x="1" y="393"/>
                    <a:pt x="14" y="244"/>
                  </a:cubicBezTo>
                  <a:lnTo>
                    <a:pt x="14" y="150"/>
                  </a:lnTo>
                  <a:cubicBezTo>
                    <a:pt x="27" y="69"/>
                    <a:pt x="56" y="43"/>
                    <a:pt x="56" y="43"/>
                  </a:cubicBezTo>
                  <a:cubicBezTo>
                    <a:pt x="56" y="43"/>
                    <a:pt x="82" y="1"/>
                    <a:pt x="95" y="14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8" name="Google Shape;5098;p52"/>
            <p:cNvSpPr/>
            <p:nvPr/>
          </p:nvSpPr>
          <p:spPr>
            <a:xfrm>
              <a:off x="3498838" y="4231286"/>
              <a:ext cx="7546" cy="26493"/>
            </a:xfrm>
            <a:custGeom>
              <a:avLst/>
              <a:gdLst/>
              <a:ahLst/>
              <a:cxnLst/>
              <a:rect l="l" t="t" r="r" b="b"/>
              <a:pathLst>
                <a:path w="231" h="811" extrusionOk="0">
                  <a:moveTo>
                    <a:pt x="82" y="27"/>
                  </a:moveTo>
                  <a:lnTo>
                    <a:pt x="121" y="108"/>
                  </a:lnTo>
                  <a:cubicBezTo>
                    <a:pt x="150" y="205"/>
                    <a:pt x="95" y="27"/>
                    <a:pt x="189" y="448"/>
                  </a:cubicBezTo>
                  <a:cubicBezTo>
                    <a:pt x="215" y="542"/>
                    <a:pt x="231" y="675"/>
                    <a:pt x="231" y="675"/>
                  </a:cubicBezTo>
                  <a:cubicBezTo>
                    <a:pt x="189" y="811"/>
                    <a:pt x="163" y="717"/>
                    <a:pt x="163" y="717"/>
                  </a:cubicBezTo>
                  <a:cubicBezTo>
                    <a:pt x="1" y="568"/>
                    <a:pt x="69" y="691"/>
                    <a:pt x="14" y="218"/>
                  </a:cubicBezTo>
                  <a:cubicBezTo>
                    <a:pt x="1" y="56"/>
                    <a:pt x="40" y="69"/>
                    <a:pt x="40" y="69"/>
                  </a:cubicBezTo>
                  <a:cubicBezTo>
                    <a:pt x="40" y="69"/>
                    <a:pt x="40" y="1"/>
                    <a:pt x="82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9" name="Google Shape;5099;p52"/>
            <p:cNvSpPr/>
            <p:nvPr/>
          </p:nvSpPr>
          <p:spPr>
            <a:xfrm>
              <a:off x="3462641" y="4229064"/>
              <a:ext cx="6174" cy="17706"/>
            </a:xfrm>
            <a:custGeom>
              <a:avLst/>
              <a:gdLst/>
              <a:ahLst/>
              <a:cxnLst/>
              <a:rect l="l" t="t" r="r" b="b"/>
              <a:pathLst>
                <a:path w="189" h="542" extrusionOk="0">
                  <a:moveTo>
                    <a:pt x="108" y="30"/>
                  </a:moveTo>
                  <a:cubicBezTo>
                    <a:pt x="108" y="30"/>
                    <a:pt x="176" y="257"/>
                    <a:pt x="189" y="435"/>
                  </a:cubicBezTo>
                  <a:lnTo>
                    <a:pt x="163" y="542"/>
                  </a:lnTo>
                  <a:lnTo>
                    <a:pt x="108" y="487"/>
                  </a:lnTo>
                  <a:cubicBezTo>
                    <a:pt x="27" y="419"/>
                    <a:pt x="56" y="461"/>
                    <a:pt x="43" y="380"/>
                  </a:cubicBezTo>
                  <a:cubicBezTo>
                    <a:pt x="1" y="205"/>
                    <a:pt x="27" y="30"/>
                    <a:pt x="27" y="30"/>
                  </a:cubicBezTo>
                  <a:cubicBezTo>
                    <a:pt x="27" y="30"/>
                    <a:pt x="69" y="1"/>
                    <a:pt x="108" y="3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0" name="Google Shape;5100;p52"/>
            <p:cNvSpPr/>
            <p:nvPr/>
          </p:nvSpPr>
          <p:spPr>
            <a:xfrm>
              <a:off x="3560124" y="4222498"/>
              <a:ext cx="5749" cy="22475"/>
            </a:xfrm>
            <a:custGeom>
              <a:avLst/>
              <a:gdLst/>
              <a:ahLst/>
              <a:cxnLst/>
              <a:rect l="l" t="t" r="r" b="b"/>
              <a:pathLst>
                <a:path w="176" h="688" extrusionOk="0">
                  <a:moveTo>
                    <a:pt x="108" y="1"/>
                  </a:moveTo>
                  <a:cubicBezTo>
                    <a:pt x="176" y="27"/>
                    <a:pt x="137" y="40"/>
                    <a:pt x="137" y="82"/>
                  </a:cubicBezTo>
                  <a:lnTo>
                    <a:pt x="137" y="513"/>
                  </a:lnTo>
                  <a:lnTo>
                    <a:pt x="108" y="636"/>
                  </a:lnTo>
                  <a:lnTo>
                    <a:pt x="56" y="688"/>
                  </a:lnTo>
                  <a:lnTo>
                    <a:pt x="14" y="636"/>
                  </a:lnTo>
                  <a:cubicBezTo>
                    <a:pt x="1" y="432"/>
                    <a:pt x="27" y="270"/>
                    <a:pt x="56" y="40"/>
                  </a:cubicBezTo>
                  <a:cubicBezTo>
                    <a:pt x="56" y="40"/>
                    <a:pt x="82" y="1"/>
                    <a:pt x="108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1" name="Google Shape;5101;p52"/>
            <p:cNvSpPr/>
            <p:nvPr/>
          </p:nvSpPr>
          <p:spPr>
            <a:xfrm>
              <a:off x="3570284" y="4039490"/>
              <a:ext cx="3953" cy="14112"/>
            </a:xfrm>
            <a:custGeom>
              <a:avLst/>
              <a:gdLst/>
              <a:ahLst/>
              <a:cxnLst/>
              <a:rect l="l" t="t" r="r" b="b"/>
              <a:pathLst>
                <a:path w="121" h="432" extrusionOk="0">
                  <a:moveTo>
                    <a:pt x="82" y="40"/>
                  </a:moveTo>
                  <a:cubicBezTo>
                    <a:pt x="82" y="40"/>
                    <a:pt x="108" y="228"/>
                    <a:pt x="121" y="390"/>
                  </a:cubicBezTo>
                  <a:lnTo>
                    <a:pt x="82" y="432"/>
                  </a:lnTo>
                  <a:cubicBezTo>
                    <a:pt x="82" y="432"/>
                    <a:pt x="14" y="215"/>
                    <a:pt x="1" y="82"/>
                  </a:cubicBezTo>
                  <a:cubicBezTo>
                    <a:pt x="1" y="27"/>
                    <a:pt x="27" y="1"/>
                    <a:pt x="82" y="4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2" name="Google Shape;5102;p52"/>
            <p:cNvSpPr/>
            <p:nvPr/>
          </p:nvSpPr>
          <p:spPr>
            <a:xfrm>
              <a:off x="3561398" y="4002444"/>
              <a:ext cx="6697" cy="16758"/>
            </a:xfrm>
            <a:custGeom>
              <a:avLst/>
              <a:gdLst/>
              <a:ahLst/>
              <a:cxnLst/>
              <a:rect l="l" t="t" r="r" b="b"/>
              <a:pathLst>
                <a:path w="205" h="513" extrusionOk="0">
                  <a:moveTo>
                    <a:pt x="43" y="27"/>
                  </a:moveTo>
                  <a:lnTo>
                    <a:pt x="124" y="108"/>
                  </a:lnTo>
                  <a:cubicBezTo>
                    <a:pt x="163" y="202"/>
                    <a:pt x="205" y="351"/>
                    <a:pt x="205" y="351"/>
                  </a:cubicBezTo>
                  <a:cubicBezTo>
                    <a:pt x="205" y="377"/>
                    <a:pt x="192" y="406"/>
                    <a:pt x="192" y="406"/>
                  </a:cubicBezTo>
                  <a:cubicBezTo>
                    <a:pt x="192" y="406"/>
                    <a:pt x="205" y="513"/>
                    <a:pt x="111" y="377"/>
                  </a:cubicBezTo>
                  <a:lnTo>
                    <a:pt x="1" y="95"/>
                  </a:lnTo>
                  <a:cubicBezTo>
                    <a:pt x="17" y="1"/>
                    <a:pt x="30" y="14"/>
                    <a:pt x="43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3" name="Google Shape;5103;p52"/>
            <p:cNvSpPr/>
            <p:nvPr/>
          </p:nvSpPr>
          <p:spPr>
            <a:xfrm>
              <a:off x="3183947" y="3809700"/>
              <a:ext cx="311844" cy="455581"/>
            </a:xfrm>
            <a:custGeom>
              <a:avLst/>
              <a:gdLst/>
              <a:ahLst/>
              <a:cxnLst/>
              <a:rect l="l" t="t" r="r" b="b"/>
              <a:pathLst>
                <a:path w="9546" h="13946" extrusionOk="0">
                  <a:moveTo>
                    <a:pt x="6170" y="13946"/>
                  </a:moveTo>
                  <a:lnTo>
                    <a:pt x="3374" y="13946"/>
                  </a:lnTo>
                  <a:cubicBezTo>
                    <a:pt x="1203" y="13758"/>
                    <a:pt x="1" y="10813"/>
                    <a:pt x="2376" y="9274"/>
                  </a:cubicBezTo>
                  <a:cubicBezTo>
                    <a:pt x="4751" y="7722"/>
                    <a:pt x="419" y="7087"/>
                    <a:pt x="2376" y="5253"/>
                  </a:cubicBezTo>
                  <a:cubicBezTo>
                    <a:pt x="4346" y="3429"/>
                    <a:pt x="3510" y="4009"/>
                    <a:pt x="3374" y="2094"/>
                  </a:cubicBezTo>
                  <a:cubicBezTo>
                    <a:pt x="3322" y="1446"/>
                    <a:pt x="3523" y="176"/>
                    <a:pt x="4563" y="95"/>
                  </a:cubicBezTo>
                  <a:cubicBezTo>
                    <a:pt x="5940" y="1"/>
                    <a:pt x="6225" y="1349"/>
                    <a:pt x="6170" y="2094"/>
                  </a:cubicBezTo>
                  <a:cubicBezTo>
                    <a:pt x="6034" y="4009"/>
                    <a:pt x="5198" y="3429"/>
                    <a:pt x="7168" y="5253"/>
                  </a:cubicBezTo>
                  <a:cubicBezTo>
                    <a:pt x="9125" y="7087"/>
                    <a:pt x="4793" y="7722"/>
                    <a:pt x="7168" y="9274"/>
                  </a:cubicBezTo>
                  <a:cubicBezTo>
                    <a:pt x="9546" y="10813"/>
                    <a:pt x="8344" y="13758"/>
                    <a:pt x="6170" y="13946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4" name="Google Shape;5104;p52"/>
            <p:cNvSpPr/>
            <p:nvPr/>
          </p:nvSpPr>
          <p:spPr>
            <a:xfrm>
              <a:off x="3279208" y="4119723"/>
              <a:ext cx="71901" cy="54751"/>
            </a:xfrm>
            <a:custGeom>
              <a:avLst/>
              <a:gdLst/>
              <a:ahLst/>
              <a:cxnLst/>
              <a:rect l="l" t="t" r="r" b="b"/>
              <a:pathLst>
                <a:path w="2201" h="1676" extrusionOk="0">
                  <a:moveTo>
                    <a:pt x="95" y="40"/>
                  </a:moveTo>
                  <a:lnTo>
                    <a:pt x="163" y="95"/>
                  </a:lnTo>
                  <a:lnTo>
                    <a:pt x="244" y="150"/>
                  </a:lnTo>
                  <a:lnTo>
                    <a:pt x="312" y="189"/>
                  </a:lnTo>
                  <a:lnTo>
                    <a:pt x="351" y="231"/>
                  </a:lnTo>
                  <a:lnTo>
                    <a:pt x="377" y="244"/>
                  </a:lnTo>
                  <a:lnTo>
                    <a:pt x="445" y="299"/>
                  </a:lnTo>
                  <a:lnTo>
                    <a:pt x="513" y="338"/>
                  </a:lnTo>
                  <a:lnTo>
                    <a:pt x="581" y="393"/>
                  </a:lnTo>
                  <a:lnTo>
                    <a:pt x="620" y="419"/>
                  </a:lnTo>
                  <a:lnTo>
                    <a:pt x="649" y="432"/>
                  </a:lnTo>
                  <a:lnTo>
                    <a:pt x="717" y="487"/>
                  </a:lnTo>
                  <a:lnTo>
                    <a:pt x="863" y="581"/>
                  </a:lnTo>
                  <a:lnTo>
                    <a:pt x="892" y="607"/>
                  </a:lnTo>
                  <a:lnTo>
                    <a:pt x="999" y="675"/>
                  </a:lnTo>
                  <a:lnTo>
                    <a:pt x="1135" y="785"/>
                  </a:lnTo>
                  <a:lnTo>
                    <a:pt x="1203" y="837"/>
                  </a:lnTo>
                  <a:lnTo>
                    <a:pt x="1404" y="973"/>
                  </a:lnTo>
                  <a:lnTo>
                    <a:pt x="1540" y="1080"/>
                  </a:lnTo>
                  <a:lnTo>
                    <a:pt x="1579" y="1109"/>
                  </a:lnTo>
                  <a:lnTo>
                    <a:pt x="1673" y="1174"/>
                  </a:lnTo>
                  <a:lnTo>
                    <a:pt x="1741" y="1229"/>
                  </a:lnTo>
                  <a:lnTo>
                    <a:pt x="1809" y="1284"/>
                  </a:lnTo>
                  <a:lnTo>
                    <a:pt x="1877" y="1336"/>
                  </a:lnTo>
                  <a:lnTo>
                    <a:pt x="1945" y="1391"/>
                  </a:lnTo>
                  <a:lnTo>
                    <a:pt x="2013" y="1433"/>
                  </a:lnTo>
                  <a:lnTo>
                    <a:pt x="2078" y="1485"/>
                  </a:lnTo>
                  <a:lnTo>
                    <a:pt x="2146" y="1540"/>
                  </a:lnTo>
                  <a:lnTo>
                    <a:pt x="2175" y="1553"/>
                  </a:lnTo>
                  <a:lnTo>
                    <a:pt x="2201" y="1621"/>
                  </a:lnTo>
                  <a:lnTo>
                    <a:pt x="2201" y="1676"/>
                  </a:lnTo>
                  <a:lnTo>
                    <a:pt x="2146" y="1676"/>
                  </a:lnTo>
                  <a:lnTo>
                    <a:pt x="2094" y="1660"/>
                  </a:lnTo>
                  <a:lnTo>
                    <a:pt x="2065" y="1647"/>
                  </a:lnTo>
                  <a:lnTo>
                    <a:pt x="1997" y="1595"/>
                  </a:lnTo>
                  <a:lnTo>
                    <a:pt x="1932" y="1540"/>
                  </a:lnTo>
                  <a:lnTo>
                    <a:pt x="1864" y="1498"/>
                  </a:lnTo>
                  <a:lnTo>
                    <a:pt x="1796" y="1446"/>
                  </a:lnTo>
                  <a:lnTo>
                    <a:pt x="1728" y="1391"/>
                  </a:lnTo>
                  <a:lnTo>
                    <a:pt x="1660" y="1336"/>
                  </a:lnTo>
                  <a:lnTo>
                    <a:pt x="1592" y="1297"/>
                  </a:lnTo>
                  <a:lnTo>
                    <a:pt x="1498" y="1216"/>
                  </a:lnTo>
                  <a:lnTo>
                    <a:pt x="1459" y="1190"/>
                  </a:lnTo>
                  <a:lnTo>
                    <a:pt x="1323" y="1093"/>
                  </a:lnTo>
                  <a:lnTo>
                    <a:pt x="1135" y="947"/>
                  </a:lnTo>
                  <a:lnTo>
                    <a:pt x="1054" y="892"/>
                  </a:lnTo>
                  <a:lnTo>
                    <a:pt x="918" y="785"/>
                  </a:lnTo>
                  <a:lnTo>
                    <a:pt x="811" y="704"/>
                  </a:lnTo>
                  <a:lnTo>
                    <a:pt x="782" y="688"/>
                  </a:lnTo>
                  <a:lnTo>
                    <a:pt x="649" y="581"/>
                  </a:lnTo>
                  <a:lnTo>
                    <a:pt x="581" y="526"/>
                  </a:lnTo>
                  <a:lnTo>
                    <a:pt x="568" y="513"/>
                  </a:lnTo>
                  <a:lnTo>
                    <a:pt x="526" y="474"/>
                  </a:lnTo>
                  <a:lnTo>
                    <a:pt x="458" y="419"/>
                  </a:lnTo>
                  <a:lnTo>
                    <a:pt x="393" y="364"/>
                  </a:lnTo>
                  <a:lnTo>
                    <a:pt x="325" y="312"/>
                  </a:lnTo>
                  <a:lnTo>
                    <a:pt x="296" y="283"/>
                  </a:lnTo>
                  <a:lnTo>
                    <a:pt x="257" y="257"/>
                  </a:lnTo>
                  <a:lnTo>
                    <a:pt x="189" y="202"/>
                  </a:lnTo>
                  <a:lnTo>
                    <a:pt x="134" y="150"/>
                  </a:lnTo>
                  <a:lnTo>
                    <a:pt x="69" y="95"/>
                  </a:lnTo>
                  <a:lnTo>
                    <a:pt x="1" y="27"/>
                  </a:lnTo>
                  <a:lnTo>
                    <a:pt x="1" y="1"/>
                  </a:lnTo>
                  <a:lnTo>
                    <a:pt x="27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5" name="Google Shape;5105;p52"/>
            <p:cNvSpPr/>
            <p:nvPr/>
          </p:nvSpPr>
          <p:spPr>
            <a:xfrm>
              <a:off x="3348857" y="4133803"/>
              <a:ext cx="80264" cy="67981"/>
            </a:xfrm>
            <a:custGeom>
              <a:avLst/>
              <a:gdLst/>
              <a:ahLst/>
              <a:cxnLst/>
              <a:rect l="l" t="t" r="r" b="b"/>
              <a:pathLst>
                <a:path w="2457" h="2081" extrusionOk="0">
                  <a:moveTo>
                    <a:pt x="2444" y="56"/>
                  </a:moveTo>
                  <a:lnTo>
                    <a:pt x="2295" y="192"/>
                  </a:lnTo>
                  <a:lnTo>
                    <a:pt x="2201" y="273"/>
                  </a:lnTo>
                  <a:lnTo>
                    <a:pt x="2149" y="312"/>
                  </a:lnTo>
                  <a:lnTo>
                    <a:pt x="2013" y="448"/>
                  </a:lnTo>
                  <a:lnTo>
                    <a:pt x="2000" y="448"/>
                  </a:lnTo>
                  <a:lnTo>
                    <a:pt x="1864" y="568"/>
                  </a:lnTo>
                  <a:lnTo>
                    <a:pt x="1838" y="597"/>
                  </a:lnTo>
                  <a:lnTo>
                    <a:pt x="1783" y="636"/>
                  </a:lnTo>
                  <a:lnTo>
                    <a:pt x="1715" y="704"/>
                  </a:lnTo>
                  <a:lnTo>
                    <a:pt x="1634" y="772"/>
                  </a:lnTo>
                  <a:lnTo>
                    <a:pt x="1566" y="824"/>
                  </a:lnTo>
                  <a:lnTo>
                    <a:pt x="1485" y="892"/>
                  </a:lnTo>
                  <a:lnTo>
                    <a:pt x="1420" y="960"/>
                  </a:lnTo>
                  <a:lnTo>
                    <a:pt x="1391" y="986"/>
                  </a:lnTo>
                  <a:lnTo>
                    <a:pt x="1339" y="1028"/>
                  </a:lnTo>
                  <a:lnTo>
                    <a:pt x="1271" y="1096"/>
                  </a:lnTo>
                  <a:lnTo>
                    <a:pt x="1190" y="1148"/>
                  </a:lnTo>
                  <a:lnTo>
                    <a:pt x="1122" y="1216"/>
                  </a:lnTo>
                  <a:lnTo>
                    <a:pt x="1041" y="1284"/>
                  </a:lnTo>
                  <a:lnTo>
                    <a:pt x="973" y="1352"/>
                  </a:lnTo>
                  <a:lnTo>
                    <a:pt x="918" y="1391"/>
                  </a:lnTo>
                  <a:lnTo>
                    <a:pt x="892" y="1420"/>
                  </a:lnTo>
                  <a:lnTo>
                    <a:pt x="824" y="1472"/>
                  </a:lnTo>
                  <a:lnTo>
                    <a:pt x="743" y="1540"/>
                  </a:lnTo>
                  <a:lnTo>
                    <a:pt x="675" y="1608"/>
                  </a:lnTo>
                  <a:lnTo>
                    <a:pt x="594" y="1676"/>
                  </a:lnTo>
                  <a:lnTo>
                    <a:pt x="529" y="1731"/>
                  </a:lnTo>
                  <a:lnTo>
                    <a:pt x="487" y="1770"/>
                  </a:lnTo>
                  <a:lnTo>
                    <a:pt x="461" y="1796"/>
                  </a:lnTo>
                  <a:lnTo>
                    <a:pt x="380" y="1864"/>
                  </a:lnTo>
                  <a:lnTo>
                    <a:pt x="312" y="1932"/>
                  </a:lnTo>
                  <a:lnTo>
                    <a:pt x="286" y="1945"/>
                  </a:lnTo>
                  <a:lnTo>
                    <a:pt x="244" y="1987"/>
                  </a:lnTo>
                  <a:lnTo>
                    <a:pt x="163" y="2055"/>
                  </a:lnTo>
                  <a:lnTo>
                    <a:pt x="150" y="2081"/>
                  </a:lnTo>
                  <a:lnTo>
                    <a:pt x="56" y="2081"/>
                  </a:lnTo>
                  <a:lnTo>
                    <a:pt x="1" y="2081"/>
                  </a:lnTo>
                  <a:lnTo>
                    <a:pt x="1" y="2026"/>
                  </a:lnTo>
                  <a:lnTo>
                    <a:pt x="14" y="1945"/>
                  </a:lnTo>
                  <a:lnTo>
                    <a:pt x="43" y="1919"/>
                  </a:lnTo>
                  <a:lnTo>
                    <a:pt x="108" y="1851"/>
                  </a:lnTo>
                  <a:lnTo>
                    <a:pt x="150" y="1796"/>
                  </a:lnTo>
                  <a:lnTo>
                    <a:pt x="176" y="1783"/>
                  </a:lnTo>
                  <a:lnTo>
                    <a:pt x="244" y="1715"/>
                  </a:lnTo>
                  <a:lnTo>
                    <a:pt x="312" y="1650"/>
                  </a:lnTo>
                  <a:lnTo>
                    <a:pt x="338" y="1621"/>
                  </a:lnTo>
                  <a:lnTo>
                    <a:pt x="380" y="1582"/>
                  </a:lnTo>
                  <a:lnTo>
                    <a:pt x="461" y="1514"/>
                  </a:lnTo>
                  <a:lnTo>
                    <a:pt x="529" y="1446"/>
                  </a:lnTo>
                  <a:lnTo>
                    <a:pt x="610" y="1378"/>
                  </a:lnTo>
                  <a:lnTo>
                    <a:pt x="675" y="1310"/>
                  </a:lnTo>
                  <a:lnTo>
                    <a:pt x="756" y="1258"/>
                  </a:lnTo>
                  <a:lnTo>
                    <a:pt x="772" y="1229"/>
                  </a:lnTo>
                  <a:lnTo>
                    <a:pt x="824" y="1190"/>
                  </a:lnTo>
                  <a:lnTo>
                    <a:pt x="905" y="1122"/>
                  </a:lnTo>
                  <a:lnTo>
                    <a:pt x="986" y="1054"/>
                  </a:lnTo>
                  <a:lnTo>
                    <a:pt x="1054" y="1002"/>
                  </a:lnTo>
                  <a:lnTo>
                    <a:pt x="1135" y="934"/>
                  </a:lnTo>
                  <a:lnTo>
                    <a:pt x="1216" y="879"/>
                  </a:lnTo>
                  <a:lnTo>
                    <a:pt x="1271" y="840"/>
                  </a:lnTo>
                  <a:lnTo>
                    <a:pt x="1297" y="811"/>
                  </a:lnTo>
                  <a:lnTo>
                    <a:pt x="1378" y="743"/>
                  </a:lnTo>
                  <a:lnTo>
                    <a:pt x="1446" y="691"/>
                  </a:lnTo>
                  <a:lnTo>
                    <a:pt x="1527" y="636"/>
                  </a:lnTo>
                  <a:lnTo>
                    <a:pt x="1608" y="568"/>
                  </a:lnTo>
                  <a:lnTo>
                    <a:pt x="1689" y="516"/>
                  </a:lnTo>
                  <a:lnTo>
                    <a:pt x="1744" y="474"/>
                  </a:lnTo>
                  <a:lnTo>
                    <a:pt x="1770" y="448"/>
                  </a:lnTo>
                  <a:lnTo>
                    <a:pt x="1919" y="338"/>
                  </a:lnTo>
                  <a:lnTo>
                    <a:pt x="1932" y="338"/>
                  </a:lnTo>
                  <a:lnTo>
                    <a:pt x="2081" y="231"/>
                  </a:lnTo>
                  <a:lnTo>
                    <a:pt x="2133" y="192"/>
                  </a:lnTo>
                  <a:lnTo>
                    <a:pt x="2243" y="124"/>
                  </a:lnTo>
                  <a:lnTo>
                    <a:pt x="2405" y="1"/>
                  </a:lnTo>
                  <a:lnTo>
                    <a:pt x="2457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6" name="Google Shape;5106;p52"/>
            <p:cNvSpPr/>
            <p:nvPr/>
          </p:nvSpPr>
          <p:spPr>
            <a:xfrm>
              <a:off x="3292439" y="3976407"/>
              <a:ext cx="55600" cy="49361"/>
            </a:xfrm>
            <a:custGeom>
              <a:avLst/>
              <a:gdLst/>
              <a:ahLst/>
              <a:cxnLst/>
              <a:rect l="l" t="t" r="r" b="b"/>
              <a:pathLst>
                <a:path w="1702" h="1511" extrusionOk="0">
                  <a:moveTo>
                    <a:pt x="53" y="1"/>
                  </a:moveTo>
                  <a:lnTo>
                    <a:pt x="163" y="82"/>
                  </a:lnTo>
                  <a:lnTo>
                    <a:pt x="270" y="176"/>
                  </a:lnTo>
                  <a:lnTo>
                    <a:pt x="364" y="257"/>
                  </a:lnTo>
                  <a:lnTo>
                    <a:pt x="458" y="325"/>
                  </a:lnTo>
                  <a:lnTo>
                    <a:pt x="474" y="338"/>
                  </a:lnTo>
                  <a:lnTo>
                    <a:pt x="636" y="458"/>
                  </a:lnTo>
                  <a:lnTo>
                    <a:pt x="688" y="500"/>
                  </a:lnTo>
                  <a:lnTo>
                    <a:pt x="798" y="594"/>
                  </a:lnTo>
                  <a:lnTo>
                    <a:pt x="837" y="636"/>
                  </a:lnTo>
                  <a:lnTo>
                    <a:pt x="892" y="675"/>
                  </a:lnTo>
                  <a:lnTo>
                    <a:pt x="999" y="769"/>
                  </a:lnTo>
                  <a:lnTo>
                    <a:pt x="1067" y="837"/>
                  </a:lnTo>
                  <a:lnTo>
                    <a:pt x="1093" y="850"/>
                  </a:lnTo>
                  <a:lnTo>
                    <a:pt x="1203" y="944"/>
                  </a:lnTo>
                  <a:lnTo>
                    <a:pt x="1255" y="986"/>
                  </a:lnTo>
                  <a:lnTo>
                    <a:pt x="1297" y="1025"/>
                  </a:lnTo>
                  <a:lnTo>
                    <a:pt x="1349" y="1067"/>
                  </a:lnTo>
                  <a:lnTo>
                    <a:pt x="1404" y="1122"/>
                  </a:lnTo>
                  <a:lnTo>
                    <a:pt x="1459" y="1161"/>
                  </a:lnTo>
                  <a:lnTo>
                    <a:pt x="1472" y="1174"/>
                  </a:lnTo>
                  <a:lnTo>
                    <a:pt x="1511" y="1203"/>
                  </a:lnTo>
                  <a:lnTo>
                    <a:pt x="1566" y="1242"/>
                  </a:lnTo>
                  <a:lnTo>
                    <a:pt x="1592" y="1268"/>
                  </a:lnTo>
                  <a:lnTo>
                    <a:pt x="1608" y="1284"/>
                  </a:lnTo>
                  <a:lnTo>
                    <a:pt x="1660" y="1323"/>
                  </a:lnTo>
                  <a:lnTo>
                    <a:pt x="1702" y="1365"/>
                  </a:lnTo>
                  <a:lnTo>
                    <a:pt x="1689" y="1417"/>
                  </a:lnTo>
                  <a:lnTo>
                    <a:pt x="1634" y="1472"/>
                  </a:lnTo>
                  <a:lnTo>
                    <a:pt x="1592" y="1511"/>
                  </a:lnTo>
                  <a:lnTo>
                    <a:pt x="1553" y="1472"/>
                  </a:lnTo>
                  <a:lnTo>
                    <a:pt x="1498" y="1430"/>
                  </a:lnTo>
                  <a:lnTo>
                    <a:pt x="1472" y="1417"/>
                  </a:lnTo>
                  <a:lnTo>
                    <a:pt x="1446" y="1391"/>
                  </a:lnTo>
                  <a:lnTo>
                    <a:pt x="1391" y="1336"/>
                  </a:lnTo>
                  <a:lnTo>
                    <a:pt x="1349" y="1310"/>
                  </a:lnTo>
                  <a:lnTo>
                    <a:pt x="1336" y="1297"/>
                  </a:lnTo>
                  <a:lnTo>
                    <a:pt x="1284" y="1255"/>
                  </a:lnTo>
                  <a:lnTo>
                    <a:pt x="1242" y="1216"/>
                  </a:lnTo>
                  <a:lnTo>
                    <a:pt x="1187" y="1161"/>
                  </a:lnTo>
                  <a:lnTo>
                    <a:pt x="1135" y="1122"/>
                  </a:lnTo>
                  <a:lnTo>
                    <a:pt x="1080" y="1080"/>
                  </a:lnTo>
                  <a:lnTo>
                    <a:pt x="986" y="986"/>
                  </a:lnTo>
                  <a:lnTo>
                    <a:pt x="960" y="960"/>
                  </a:lnTo>
                  <a:lnTo>
                    <a:pt x="879" y="892"/>
                  </a:lnTo>
                  <a:lnTo>
                    <a:pt x="782" y="811"/>
                  </a:lnTo>
                  <a:lnTo>
                    <a:pt x="730" y="756"/>
                  </a:lnTo>
                  <a:lnTo>
                    <a:pt x="675" y="717"/>
                  </a:lnTo>
                  <a:lnTo>
                    <a:pt x="581" y="620"/>
                  </a:lnTo>
                  <a:lnTo>
                    <a:pt x="526" y="568"/>
                  </a:lnTo>
                  <a:lnTo>
                    <a:pt x="393" y="432"/>
                  </a:lnTo>
                  <a:lnTo>
                    <a:pt x="377" y="419"/>
                  </a:lnTo>
                  <a:lnTo>
                    <a:pt x="296" y="338"/>
                  </a:lnTo>
                  <a:lnTo>
                    <a:pt x="202" y="244"/>
                  </a:lnTo>
                  <a:lnTo>
                    <a:pt x="202" y="244"/>
                  </a:lnTo>
                  <a:lnTo>
                    <a:pt x="108" y="150"/>
                  </a:lnTo>
                  <a:lnTo>
                    <a:pt x="14" y="53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7" name="Google Shape;5107;p52"/>
            <p:cNvSpPr/>
            <p:nvPr/>
          </p:nvSpPr>
          <p:spPr>
            <a:xfrm>
              <a:off x="3347061" y="3962229"/>
              <a:ext cx="29139" cy="32733"/>
            </a:xfrm>
            <a:custGeom>
              <a:avLst/>
              <a:gdLst/>
              <a:ahLst/>
              <a:cxnLst/>
              <a:rect l="l" t="t" r="r" b="b"/>
              <a:pathLst>
                <a:path w="892" h="1002" extrusionOk="0">
                  <a:moveTo>
                    <a:pt x="892" y="30"/>
                  </a:moveTo>
                  <a:lnTo>
                    <a:pt x="866" y="56"/>
                  </a:lnTo>
                  <a:lnTo>
                    <a:pt x="840" y="82"/>
                  </a:lnTo>
                  <a:lnTo>
                    <a:pt x="811" y="124"/>
                  </a:lnTo>
                  <a:lnTo>
                    <a:pt x="785" y="150"/>
                  </a:lnTo>
                  <a:lnTo>
                    <a:pt x="746" y="218"/>
                  </a:lnTo>
                  <a:lnTo>
                    <a:pt x="730" y="218"/>
                  </a:lnTo>
                  <a:lnTo>
                    <a:pt x="691" y="273"/>
                  </a:lnTo>
                  <a:lnTo>
                    <a:pt x="636" y="341"/>
                  </a:lnTo>
                  <a:lnTo>
                    <a:pt x="597" y="393"/>
                  </a:lnTo>
                  <a:lnTo>
                    <a:pt x="584" y="393"/>
                  </a:lnTo>
                  <a:lnTo>
                    <a:pt x="529" y="461"/>
                  </a:lnTo>
                  <a:lnTo>
                    <a:pt x="487" y="516"/>
                  </a:lnTo>
                  <a:lnTo>
                    <a:pt x="474" y="529"/>
                  </a:lnTo>
                  <a:lnTo>
                    <a:pt x="435" y="584"/>
                  </a:lnTo>
                  <a:lnTo>
                    <a:pt x="380" y="636"/>
                  </a:lnTo>
                  <a:lnTo>
                    <a:pt x="367" y="649"/>
                  </a:lnTo>
                  <a:lnTo>
                    <a:pt x="354" y="665"/>
                  </a:lnTo>
                  <a:lnTo>
                    <a:pt x="325" y="691"/>
                  </a:lnTo>
                  <a:lnTo>
                    <a:pt x="299" y="717"/>
                  </a:lnTo>
                  <a:lnTo>
                    <a:pt x="273" y="759"/>
                  </a:lnTo>
                  <a:lnTo>
                    <a:pt x="244" y="785"/>
                  </a:lnTo>
                  <a:lnTo>
                    <a:pt x="244" y="785"/>
                  </a:lnTo>
                  <a:lnTo>
                    <a:pt x="218" y="811"/>
                  </a:lnTo>
                  <a:lnTo>
                    <a:pt x="192" y="840"/>
                  </a:lnTo>
                  <a:lnTo>
                    <a:pt x="163" y="866"/>
                  </a:lnTo>
                  <a:lnTo>
                    <a:pt x="137" y="908"/>
                  </a:lnTo>
                  <a:lnTo>
                    <a:pt x="111" y="934"/>
                  </a:lnTo>
                  <a:lnTo>
                    <a:pt x="98" y="960"/>
                  </a:lnTo>
                  <a:lnTo>
                    <a:pt x="69" y="989"/>
                  </a:lnTo>
                  <a:lnTo>
                    <a:pt x="69" y="989"/>
                  </a:lnTo>
                  <a:lnTo>
                    <a:pt x="17" y="1002"/>
                  </a:lnTo>
                  <a:lnTo>
                    <a:pt x="1" y="947"/>
                  </a:lnTo>
                  <a:lnTo>
                    <a:pt x="1" y="947"/>
                  </a:lnTo>
                  <a:lnTo>
                    <a:pt x="30" y="921"/>
                  </a:lnTo>
                  <a:lnTo>
                    <a:pt x="56" y="879"/>
                  </a:lnTo>
                  <a:lnTo>
                    <a:pt x="69" y="853"/>
                  </a:lnTo>
                  <a:lnTo>
                    <a:pt x="98" y="811"/>
                  </a:lnTo>
                  <a:lnTo>
                    <a:pt x="124" y="785"/>
                  </a:lnTo>
                  <a:lnTo>
                    <a:pt x="150" y="759"/>
                  </a:lnTo>
                  <a:lnTo>
                    <a:pt x="179" y="717"/>
                  </a:lnTo>
                  <a:lnTo>
                    <a:pt x="179" y="717"/>
                  </a:lnTo>
                  <a:lnTo>
                    <a:pt x="192" y="691"/>
                  </a:lnTo>
                  <a:lnTo>
                    <a:pt x="218" y="665"/>
                  </a:lnTo>
                  <a:lnTo>
                    <a:pt x="244" y="623"/>
                  </a:lnTo>
                  <a:lnTo>
                    <a:pt x="273" y="597"/>
                  </a:lnTo>
                  <a:lnTo>
                    <a:pt x="286" y="584"/>
                  </a:lnTo>
                  <a:lnTo>
                    <a:pt x="299" y="568"/>
                  </a:lnTo>
                  <a:lnTo>
                    <a:pt x="354" y="516"/>
                  </a:lnTo>
                  <a:lnTo>
                    <a:pt x="393" y="461"/>
                  </a:lnTo>
                  <a:lnTo>
                    <a:pt x="406" y="448"/>
                  </a:lnTo>
                  <a:lnTo>
                    <a:pt x="461" y="393"/>
                  </a:lnTo>
                  <a:lnTo>
                    <a:pt x="529" y="341"/>
                  </a:lnTo>
                  <a:lnTo>
                    <a:pt x="529" y="325"/>
                  </a:lnTo>
                  <a:lnTo>
                    <a:pt x="584" y="286"/>
                  </a:lnTo>
                  <a:lnTo>
                    <a:pt x="636" y="231"/>
                  </a:lnTo>
                  <a:lnTo>
                    <a:pt x="691" y="179"/>
                  </a:lnTo>
                  <a:lnTo>
                    <a:pt x="691" y="179"/>
                  </a:lnTo>
                  <a:lnTo>
                    <a:pt x="759" y="124"/>
                  </a:lnTo>
                  <a:lnTo>
                    <a:pt x="785" y="82"/>
                  </a:lnTo>
                  <a:lnTo>
                    <a:pt x="811" y="56"/>
                  </a:lnTo>
                  <a:lnTo>
                    <a:pt x="840" y="30"/>
                  </a:lnTo>
                  <a:lnTo>
                    <a:pt x="866" y="1"/>
                  </a:lnTo>
                  <a:lnTo>
                    <a:pt x="89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8" name="Google Shape;5108;p52"/>
            <p:cNvSpPr/>
            <p:nvPr/>
          </p:nvSpPr>
          <p:spPr>
            <a:xfrm>
              <a:off x="3336999" y="3868340"/>
              <a:ext cx="20679" cy="473679"/>
            </a:xfrm>
            <a:custGeom>
              <a:avLst/>
              <a:gdLst/>
              <a:ahLst/>
              <a:cxnLst/>
              <a:rect l="l" t="t" r="r" b="b"/>
              <a:pathLst>
                <a:path w="633" h="14500" extrusionOk="0">
                  <a:moveTo>
                    <a:pt x="82" y="40"/>
                  </a:moveTo>
                  <a:lnTo>
                    <a:pt x="108" y="150"/>
                  </a:lnTo>
                  <a:lnTo>
                    <a:pt x="121" y="257"/>
                  </a:lnTo>
                  <a:lnTo>
                    <a:pt x="147" y="364"/>
                  </a:lnTo>
                  <a:lnTo>
                    <a:pt x="147" y="393"/>
                  </a:lnTo>
                  <a:lnTo>
                    <a:pt x="163" y="487"/>
                  </a:lnTo>
                  <a:lnTo>
                    <a:pt x="176" y="594"/>
                  </a:lnTo>
                  <a:lnTo>
                    <a:pt x="189" y="704"/>
                  </a:lnTo>
                  <a:lnTo>
                    <a:pt x="202" y="811"/>
                  </a:lnTo>
                  <a:lnTo>
                    <a:pt x="215" y="931"/>
                  </a:lnTo>
                  <a:lnTo>
                    <a:pt x="228" y="1041"/>
                  </a:lnTo>
                  <a:lnTo>
                    <a:pt x="244" y="1148"/>
                  </a:lnTo>
                  <a:lnTo>
                    <a:pt x="244" y="1271"/>
                  </a:lnTo>
                  <a:lnTo>
                    <a:pt x="257" y="1378"/>
                  </a:lnTo>
                  <a:lnTo>
                    <a:pt x="270" y="1472"/>
                  </a:lnTo>
                  <a:lnTo>
                    <a:pt x="270" y="1485"/>
                  </a:lnTo>
                  <a:lnTo>
                    <a:pt x="283" y="1608"/>
                  </a:lnTo>
                  <a:lnTo>
                    <a:pt x="283" y="1715"/>
                  </a:lnTo>
                  <a:lnTo>
                    <a:pt x="296" y="1822"/>
                  </a:lnTo>
                  <a:lnTo>
                    <a:pt x="309" y="1945"/>
                  </a:lnTo>
                  <a:lnTo>
                    <a:pt x="309" y="2052"/>
                  </a:lnTo>
                  <a:lnTo>
                    <a:pt x="325" y="2282"/>
                  </a:lnTo>
                  <a:lnTo>
                    <a:pt x="338" y="2499"/>
                  </a:lnTo>
                  <a:lnTo>
                    <a:pt x="351" y="2729"/>
                  </a:lnTo>
                  <a:lnTo>
                    <a:pt x="364" y="2956"/>
                  </a:lnTo>
                  <a:lnTo>
                    <a:pt x="377" y="3186"/>
                  </a:lnTo>
                  <a:lnTo>
                    <a:pt x="390" y="3403"/>
                  </a:lnTo>
                  <a:lnTo>
                    <a:pt x="406" y="3633"/>
                  </a:lnTo>
                  <a:lnTo>
                    <a:pt x="406" y="3863"/>
                  </a:lnTo>
                  <a:lnTo>
                    <a:pt x="419" y="4077"/>
                  </a:lnTo>
                  <a:lnTo>
                    <a:pt x="432" y="4307"/>
                  </a:lnTo>
                  <a:lnTo>
                    <a:pt x="432" y="4537"/>
                  </a:lnTo>
                  <a:lnTo>
                    <a:pt x="445" y="4767"/>
                  </a:lnTo>
                  <a:lnTo>
                    <a:pt x="458" y="4916"/>
                  </a:lnTo>
                  <a:lnTo>
                    <a:pt x="458" y="4981"/>
                  </a:lnTo>
                  <a:lnTo>
                    <a:pt x="458" y="5211"/>
                  </a:lnTo>
                  <a:lnTo>
                    <a:pt x="471" y="5441"/>
                  </a:lnTo>
                  <a:lnTo>
                    <a:pt x="471" y="5658"/>
                  </a:lnTo>
                  <a:lnTo>
                    <a:pt x="487" y="5888"/>
                  </a:lnTo>
                  <a:lnTo>
                    <a:pt x="487" y="6115"/>
                  </a:lnTo>
                  <a:lnTo>
                    <a:pt x="487" y="6345"/>
                  </a:lnTo>
                  <a:lnTo>
                    <a:pt x="500" y="6562"/>
                  </a:lnTo>
                  <a:lnTo>
                    <a:pt x="500" y="6792"/>
                  </a:lnTo>
                  <a:lnTo>
                    <a:pt x="500" y="7022"/>
                  </a:lnTo>
                  <a:lnTo>
                    <a:pt x="513" y="7249"/>
                  </a:lnTo>
                  <a:lnTo>
                    <a:pt x="513" y="7696"/>
                  </a:lnTo>
                  <a:lnTo>
                    <a:pt x="526" y="8140"/>
                  </a:lnTo>
                  <a:lnTo>
                    <a:pt x="526" y="8600"/>
                  </a:lnTo>
                  <a:lnTo>
                    <a:pt x="539" y="8804"/>
                  </a:lnTo>
                  <a:lnTo>
                    <a:pt x="539" y="9047"/>
                  </a:lnTo>
                  <a:lnTo>
                    <a:pt x="539" y="9504"/>
                  </a:lnTo>
                  <a:lnTo>
                    <a:pt x="552" y="9734"/>
                  </a:lnTo>
                  <a:lnTo>
                    <a:pt x="552" y="9951"/>
                  </a:lnTo>
                  <a:lnTo>
                    <a:pt x="552" y="10003"/>
                  </a:lnTo>
                  <a:lnTo>
                    <a:pt x="552" y="10181"/>
                  </a:lnTo>
                  <a:lnTo>
                    <a:pt x="552" y="10408"/>
                  </a:lnTo>
                  <a:lnTo>
                    <a:pt x="568" y="10625"/>
                  </a:lnTo>
                  <a:lnTo>
                    <a:pt x="568" y="10855"/>
                  </a:lnTo>
                  <a:lnTo>
                    <a:pt x="568" y="11085"/>
                  </a:lnTo>
                  <a:lnTo>
                    <a:pt x="581" y="11299"/>
                  </a:lnTo>
                  <a:lnTo>
                    <a:pt x="581" y="11299"/>
                  </a:lnTo>
                  <a:lnTo>
                    <a:pt x="581" y="11529"/>
                  </a:lnTo>
                  <a:lnTo>
                    <a:pt x="581" y="11759"/>
                  </a:lnTo>
                  <a:lnTo>
                    <a:pt x="594" y="11989"/>
                  </a:lnTo>
                  <a:lnTo>
                    <a:pt x="594" y="12206"/>
                  </a:lnTo>
                  <a:lnTo>
                    <a:pt x="607" y="12433"/>
                  </a:lnTo>
                  <a:lnTo>
                    <a:pt x="607" y="12475"/>
                  </a:lnTo>
                  <a:lnTo>
                    <a:pt x="607" y="12663"/>
                  </a:lnTo>
                  <a:lnTo>
                    <a:pt x="607" y="12880"/>
                  </a:lnTo>
                  <a:lnTo>
                    <a:pt x="620" y="13110"/>
                  </a:lnTo>
                  <a:lnTo>
                    <a:pt x="633" y="13340"/>
                  </a:lnTo>
                  <a:lnTo>
                    <a:pt x="633" y="13353"/>
                  </a:lnTo>
                  <a:lnTo>
                    <a:pt x="633" y="13554"/>
                  </a:lnTo>
                  <a:lnTo>
                    <a:pt x="633" y="13784"/>
                  </a:lnTo>
                  <a:lnTo>
                    <a:pt x="633" y="13891"/>
                  </a:lnTo>
                  <a:lnTo>
                    <a:pt x="633" y="13972"/>
                  </a:lnTo>
                  <a:lnTo>
                    <a:pt x="633" y="14014"/>
                  </a:lnTo>
                  <a:lnTo>
                    <a:pt x="633" y="14121"/>
                  </a:lnTo>
                  <a:lnTo>
                    <a:pt x="633" y="14231"/>
                  </a:lnTo>
                  <a:lnTo>
                    <a:pt x="633" y="14351"/>
                  </a:lnTo>
                  <a:lnTo>
                    <a:pt x="633" y="14458"/>
                  </a:lnTo>
                  <a:lnTo>
                    <a:pt x="607" y="14500"/>
                  </a:lnTo>
                  <a:lnTo>
                    <a:pt x="581" y="14458"/>
                  </a:lnTo>
                  <a:lnTo>
                    <a:pt x="568" y="14351"/>
                  </a:lnTo>
                  <a:lnTo>
                    <a:pt x="552" y="14244"/>
                  </a:lnTo>
                  <a:lnTo>
                    <a:pt x="539" y="14121"/>
                  </a:lnTo>
                  <a:lnTo>
                    <a:pt x="526" y="14014"/>
                  </a:lnTo>
                  <a:lnTo>
                    <a:pt x="526" y="13972"/>
                  </a:lnTo>
                  <a:lnTo>
                    <a:pt x="513" y="13907"/>
                  </a:lnTo>
                  <a:lnTo>
                    <a:pt x="500" y="13797"/>
                  </a:lnTo>
                  <a:lnTo>
                    <a:pt x="471" y="13567"/>
                  </a:lnTo>
                  <a:lnTo>
                    <a:pt x="445" y="13366"/>
                  </a:lnTo>
                  <a:lnTo>
                    <a:pt x="445" y="13340"/>
                  </a:lnTo>
                  <a:lnTo>
                    <a:pt x="432" y="13123"/>
                  </a:lnTo>
                  <a:lnTo>
                    <a:pt x="419" y="12893"/>
                  </a:lnTo>
                  <a:lnTo>
                    <a:pt x="406" y="12663"/>
                  </a:lnTo>
                  <a:lnTo>
                    <a:pt x="390" y="12488"/>
                  </a:lnTo>
                  <a:lnTo>
                    <a:pt x="390" y="12449"/>
                  </a:lnTo>
                  <a:lnTo>
                    <a:pt x="377" y="12219"/>
                  </a:lnTo>
                  <a:lnTo>
                    <a:pt x="364" y="11989"/>
                  </a:lnTo>
                  <a:lnTo>
                    <a:pt x="364" y="11759"/>
                  </a:lnTo>
                  <a:lnTo>
                    <a:pt x="351" y="11542"/>
                  </a:lnTo>
                  <a:lnTo>
                    <a:pt x="338" y="11315"/>
                  </a:lnTo>
                  <a:lnTo>
                    <a:pt x="338" y="11299"/>
                  </a:lnTo>
                  <a:lnTo>
                    <a:pt x="338" y="11085"/>
                  </a:lnTo>
                  <a:lnTo>
                    <a:pt x="325" y="10868"/>
                  </a:lnTo>
                  <a:lnTo>
                    <a:pt x="309" y="10638"/>
                  </a:lnTo>
                  <a:lnTo>
                    <a:pt x="309" y="10408"/>
                  </a:lnTo>
                  <a:lnTo>
                    <a:pt x="296" y="10181"/>
                  </a:lnTo>
                  <a:lnTo>
                    <a:pt x="296" y="10019"/>
                  </a:lnTo>
                  <a:lnTo>
                    <a:pt x="296" y="9964"/>
                  </a:lnTo>
                  <a:lnTo>
                    <a:pt x="283" y="9734"/>
                  </a:lnTo>
                  <a:lnTo>
                    <a:pt x="283" y="9504"/>
                  </a:lnTo>
                  <a:lnTo>
                    <a:pt x="270" y="9060"/>
                  </a:lnTo>
                  <a:lnTo>
                    <a:pt x="270" y="8804"/>
                  </a:lnTo>
                  <a:lnTo>
                    <a:pt x="270" y="8600"/>
                  </a:lnTo>
                  <a:lnTo>
                    <a:pt x="257" y="8156"/>
                  </a:lnTo>
                  <a:lnTo>
                    <a:pt x="257" y="7696"/>
                  </a:lnTo>
                  <a:lnTo>
                    <a:pt x="244" y="7249"/>
                  </a:lnTo>
                  <a:lnTo>
                    <a:pt x="244" y="7022"/>
                  </a:lnTo>
                  <a:lnTo>
                    <a:pt x="244" y="6792"/>
                  </a:lnTo>
                  <a:lnTo>
                    <a:pt x="228" y="6575"/>
                  </a:lnTo>
                  <a:lnTo>
                    <a:pt x="228" y="6345"/>
                  </a:lnTo>
                  <a:lnTo>
                    <a:pt x="228" y="6115"/>
                  </a:lnTo>
                  <a:lnTo>
                    <a:pt x="228" y="5901"/>
                  </a:lnTo>
                  <a:lnTo>
                    <a:pt x="215" y="5671"/>
                  </a:lnTo>
                  <a:lnTo>
                    <a:pt x="215" y="5441"/>
                  </a:lnTo>
                  <a:lnTo>
                    <a:pt x="215" y="5211"/>
                  </a:lnTo>
                  <a:lnTo>
                    <a:pt x="202" y="4997"/>
                  </a:lnTo>
                  <a:lnTo>
                    <a:pt x="202" y="4929"/>
                  </a:lnTo>
                  <a:lnTo>
                    <a:pt x="202" y="4767"/>
                  </a:lnTo>
                  <a:lnTo>
                    <a:pt x="202" y="4537"/>
                  </a:lnTo>
                  <a:lnTo>
                    <a:pt x="189" y="4320"/>
                  </a:lnTo>
                  <a:lnTo>
                    <a:pt x="189" y="4090"/>
                  </a:lnTo>
                  <a:lnTo>
                    <a:pt x="176" y="3863"/>
                  </a:lnTo>
                  <a:lnTo>
                    <a:pt x="176" y="3646"/>
                  </a:lnTo>
                  <a:lnTo>
                    <a:pt x="163" y="3416"/>
                  </a:lnTo>
                  <a:lnTo>
                    <a:pt x="147" y="3186"/>
                  </a:lnTo>
                  <a:lnTo>
                    <a:pt x="147" y="2972"/>
                  </a:lnTo>
                  <a:lnTo>
                    <a:pt x="134" y="2742"/>
                  </a:lnTo>
                  <a:lnTo>
                    <a:pt x="121" y="2512"/>
                  </a:lnTo>
                  <a:lnTo>
                    <a:pt x="108" y="2295"/>
                  </a:lnTo>
                  <a:lnTo>
                    <a:pt x="95" y="2065"/>
                  </a:lnTo>
                  <a:lnTo>
                    <a:pt x="95" y="1958"/>
                  </a:lnTo>
                  <a:lnTo>
                    <a:pt x="82" y="1838"/>
                  </a:lnTo>
                  <a:lnTo>
                    <a:pt x="82" y="1728"/>
                  </a:lnTo>
                  <a:lnTo>
                    <a:pt x="66" y="1621"/>
                  </a:lnTo>
                  <a:lnTo>
                    <a:pt x="66" y="1498"/>
                  </a:lnTo>
                  <a:lnTo>
                    <a:pt x="66" y="1485"/>
                  </a:lnTo>
                  <a:lnTo>
                    <a:pt x="53" y="1391"/>
                  </a:lnTo>
                  <a:lnTo>
                    <a:pt x="53" y="1284"/>
                  </a:lnTo>
                  <a:lnTo>
                    <a:pt x="53" y="1161"/>
                  </a:lnTo>
                  <a:lnTo>
                    <a:pt x="40" y="1054"/>
                  </a:lnTo>
                  <a:lnTo>
                    <a:pt x="40" y="947"/>
                  </a:lnTo>
                  <a:lnTo>
                    <a:pt x="27" y="837"/>
                  </a:lnTo>
                  <a:lnTo>
                    <a:pt x="27" y="717"/>
                  </a:lnTo>
                  <a:lnTo>
                    <a:pt x="14" y="607"/>
                  </a:lnTo>
                  <a:lnTo>
                    <a:pt x="14" y="500"/>
                  </a:lnTo>
                  <a:lnTo>
                    <a:pt x="1" y="406"/>
                  </a:lnTo>
                  <a:lnTo>
                    <a:pt x="1" y="380"/>
                  </a:lnTo>
                  <a:lnTo>
                    <a:pt x="1" y="270"/>
                  </a:lnTo>
                  <a:lnTo>
                    <a:pt x="14" y="150"/>
                  </a:lnTo>
                  <a:lnTo>
                    <a:pt x="1" y="40"/>
                  </a:lnTo>
                  <a:lnTo>
                    <a:pt x="4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9" name="Google Shape;5109;p52"/>
            <p:cNvSpPr/>
            <p:nvPr/>
          </p:nvSpPr>
          <p:spPr>
            <a:xfrm>
              <a:off x="3055985" y="3914174"/>
              <a:ext cx="250135" cy="366137"/>
            </a:xfrm>
            <a:custGeom>
              <a:avLst/>
              <a:gdLst/>
              <a:ahLst/>
              <a:cxnLst/>
              <a:rect l="l" t="t" r="r" b="b"/>
              <a:pathLst>
                <a:path w="7657" h="11208" extrusionOk="0">
                  <a:moveTo>
                    <a:pt x="4958" y="11208"/>
                  </a:moveTo>
                  <a:lnTo>
                    <a:pt x="2703" y="11208"/>
                  </a:lnTo>
                  <a:cubicBezTo>
                    <a:pt x="960" y="11059"/>
                    <a:pt x="1" y="8697"/>
                    <a:pt x="1906" y="7453"/>
                  </a:cubicBezTo>
                  <a:cubicBezTo>
                    <a:pt x="3808" y="6212"/>
                    <a:pt x="325" y="5700"/>
                    <a:pt x="1906" y="4226"/>
                  </a:cubicBezTo>
                  <a:cubicBezTo>
                    <a:pt x="3484" y="2755"/>
                    <a:pt x="2810" y="3228"/>
                    <a:pt x="2703" y="1689"/>
                  </a:cubicBezTo>
                  <a:cubicBezTo>
                    <a:pt x="2661" y="1164"/>
                    <a:pt x="2823" y="137"/>
                    <a:pt x="3662" y="82"/>
                  </a:cubicBezTo>
                  <a:cubicBezTo>
                    <a:pt x="4767" y="1"/>
                    <a:pt x="4997" y="1096"/>
                    <a:pt x="4958" y="1689"/>
                  </a:cubicBezTo>
                  <a:cubicBezTo>
                    <a:pt x="4835" y="3228"/>
                    <a:pt x="4174" y="2755"/>
                    <a:pt x="5752" y="4226"/>
                  </a:cubicBezTo>
                  <a:cubicBezTo>
                    <a:pt x="7333" y="5700"/>
                    <a:pt x="3850" y="6212"/>
                    <a:pt x="5752" y="7453"/>
                  </a:cubicBezTo>
                  <a:cubicBezTo>
                    <a:pt x="7657" y="8697"/>
                    <a:pt x="6698" y="11059"/>
                    <a:pt x="4958" y="11208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0" name="Google Shape;5110;p52"/>
            <p:cNvSpPr/>
            <p:nvPr/>
          </p:nvSpPr>
          <p:spPr>
            <a:xfrm>
              <a:off x="3132299" y="4163336"/>
              <a:ext cx="57821" cy="44166"/>
            </a:xfrm>
            <a:custGeom>
              <a:avLst/>
              <a:gdLst/>
              <a:ahLst/>
              <a:cxnLst/>
              <a:rect l="l" t="t" r="r" b="b"/>
              <a:pathLst>
                <a:path w="1770" h="1352" extrusionOk="0">
                  <a:moveTo>
                    <a:pt x="82" y="43"/>
                  </a:moveTo>
                  <a:lnTo>
                    <a:pt x="137" y="82"/>
                  </a:lnTo>
                  <a:lnTo>
                    <a:pt x="192" y="124"/>
                  </a:lnTo>
                  <a:lnTo>
                    <a:pt x="244" y="163"/>
                  </a:lnTo>
                  <a:lnTo>
                    <a:pt x="286" y="179"/>
                  </a:lnTo>
                  <a:lnTo>
                    <a:pt x="299" y="205"/>
                  </a:lnTo>
                  <a:lnTo>
                    <a:pt x="354" y="244"/>
                  </a:lnTo>
                  <a:lnTo>
                    <a:pt x="406" y="273"/>
                  </a:lnTo>
                  <a:lnTo>
                    <a:pt x="474" y="312"/>
                  </a:lnTo>
                  <a:lnTo>
                    <a:pt x="500" y="341"/>
                  </a:lnTo>
                  <a:lnTo>
                    <a:pt x="529" y="354"/>
                  </a:lnTo>
                  <a:lnTo>
                    <a:pt x="581" y="393"/>
                  </a:lnTo>
                  <a:lnTo>
                    <a:pt x="691" y="474"/>
                  </a:lnTo>
                  <a:lnTo>
                    <a:pt x="717" y="487"/>
                  </a:lnTo>
                  <a:lnTo>
                    <a:pt x="798" y="555"/>
                  </a:lnTo>
                  <a:lnTo>
                    <a:pt x="905" y="636"/>
                  </a:lnTo>
                  <a:lnTo>
                    <a:pt x="973" y="678"/>
                  </a:lnTo>
                  <a:lnTo>
                    <a:pt x="1135" y="785"/>
                  </a:lnTo>
                  <a:lnTo>
                    <a:pt x="1245" y="866"/>
                  </a:lnTo>
                  <a:lnTo>
                    <a:pt x="1271" y="892"/>
                  </a:lnTo>
                  <a:lnTo>
                    <a:pt x="1352" y="947"/>
                  </a:lnTo>
                  <a:lnTo>
                    <a:pt x="1407" y="989"/>
                  </a:lnTo>
                  <a:lnTo>
                    <a:pt x="1459" y="1028"/>
                  </a:lnTo>
                  <a:lnTo>
                    <a:pt x="1514" y="1070"/>
                  </a:lnTo>
                  <a:lnTo>
                    <a:pt x="1569" y="1122"/>
                  </a:lnTo>
                  <a:lnTo>
                    <a:pt x="1621" y="1164"/>
                  </a:lnTo>
                  <a:lnTo>
                    <a:pt x="1676" y="1203"/>
                  </a:lnTo>
                  <a:lnTo>
                    <a:pt x="1731" y="1245"/>
                  </a:lnTo>
                  <a:lnTo>
                    <a:pt x="1744" y="1258"/>
                  </a:lnTo>
                  <a:lnTo>
                    <a:pt x="1770" y="1297"/>
                  </a:lnTo>
                  <a:lnTo>
                    <a:pt x="1770" y="1339"/>
                  </a:lnTo>
                  <a:lnTo>
                    <a:pt x="1731" y="1352"/>
                  </a:lnTo>
                  <a:lnTo>
                    <a:pt x="1676" y="1339"/>
                  </a:lnTo>
                  <a:lnTo>
                    <a:pt x="1663" y="1326"/>
                  </a:lnTo>
                  <a:lnTo>
                    <a:pt x="1608" y="1284"/>
                  </a:lnTo>
                  <a:lnTo>
                    <a:pt x="1553" y="1245"/>
                  </a:lnTo>
                  <a:lnTo>
                    <a:pt x="1501" y="1203"/>
                  </a:lnTo>
                  <a:lnTo>
                    <a:pt x="1446" y="1164"/>
                  </a:lnTo>
                  <a:lnTo>
                    <a:pt x="1391" y="1122"/>
                  </a:lnTo>
                  <a:lnTo>
                    <a:pt x="1339" y="1083"/>
                  </a:lnTo>
                  <a:lnTo>
                    <a:pt x="1284" y="1041"/>
                  </a:lnTo>
                  <a:lnTo>
                    <a:pt x="1203" y="989"/>
                  </a:lnTo>
                  <a:lnTo>
                    <a:pt x="1177" y="960"/>
                  </a:lnTo>
                  <a:lnTo>
                    <a:pt x="1067" y="879"/>
                  </a:lnTo>
                  <a:lnTo>
                    <a:pt x="905" y="759"/>
                  </a:lnTo>
                  <a:lnTo>
                    <a:pt x="853" y="717"/>
                  </a:lnTo>
                  <a:lnTo>
                    <a:pt x="743" y="636"/>
                  </a:lnTo>
                  <a:lnTo>
                    <a:pt x="649" y="568"/>
                  </a:lnTo>
                  <a:lnTo>
                    <a:pt x="636" y="555"/>
                  </a:lnTo>
                  <a:lnTo>
                    <a:pt x="529" y="461"/>
                  </a:lnTo>
                  <a:lnTo>
                    <a:pt x="474" y="422"/>
                  </a:lnTo>
                  <a:lnTo>
                    <a:pt x="448" y="406"/>
                  </a:lnTo>
                  <a:lnTo>
                    <a:pt x="419" y="380"/>
                  </a:lnTo>
                  <a:lnTo>
                    <a:pt x="367" y="341"/>
                  </a:lnTo>
                  <a:lnTo>
                    <a:pt x="312" y="299"/>
                  </a:lnTo>
                  <a:lnTo>
                    <a:pt x="257" y="244"/>
                  </a:lnTo>
                  <a:lnTo>
                    <a:pt x="244" y="231"/>
                  </a:lnTo>
                  <a:lnTo>
                    <a:pt x="205" y="205"/>
                  </a:lnTo>
                  <a:lnTo>
                    <a:pt x="163" y="163"/>
                  </a:lnTo>
                  <a:lnTo>
                    <a:pt x="111" y="124"/>
                  </a:lnTo>
                  <a:lnTo>
                    <a:pt x="56" y="69"/>
                  </a:lnTo>
                  <a:lnTo>
                    <a:pt x="1" y="30"/>
                  </a:lnTo>
                  <a:lnTo>
                    <a:pt x="1" y="1"/>
                  </a:lnTo>
                  <a:lnTo>
                    <a:pt x="3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1" name="Google Shape;5111;p52"/>
            <p:cNvSpPr/>
            <p:nvPr/>
          </p:nvSpPr>
          <p:spPr>
            <a:xfrm>
              <a:off x="3188292" y="4174868"/>
              <a:ext cx="64486" cy="54653"/>
            </a:xfrm>
            <a:custGeom>
              <a:avLst/>
              <a:gdLst/>
              <a:ahLst/>
              <a:cxnLst/>
              <a:rect l="l" t="t" r="r" b="b"/>
              <a:pathLst>
                <a:path w="1974" h="1673" extrusionOk="0">
                  <a:moveTo>
                    <a:pt x="1961" y="40"/>
                  </a:moveTo>
                  <a:lnTo>
                    <a:pt x="1851" y="150"/>
                  </a:lnTo>
                  <a:lnTo>
                    <a:pt x="1770" y="215"/>
                  </a:lnTo>
                  <a:lnTo>
                    <a:pt x="1731" y="244"/>
                  </a:lnTo>
                  <a:lnTo>
                    <a:pt x="1608" y="351"/>
                  </a:lnTo>
                  <a:lnTo>
                    <a:pt x="1608" y="351"/>
                  </a:lnTo>
                  <a:lnTo>
                    <a:pt x="1501" y="458"/>
                  </a:lnTo>
                  <a:lnTo>
                    <a:pt x="1475" y="474"/>
                  </a:lnTo>
                  <a:lnTo>
                    <a:pt x="1433" y="513"/>
                  </a:lnTo>
                  <a:lnTo>
                    <a:pt x="1378" y="555"/>
                  </a:lnTo>
                  <a:lnTo>
                    <a:pt x="1313" y="607"/>
                  </a:lnTo>
                  <a:lnTo>
                    <a:pt x="1258" y="662"/>
                  </a:lnTo>
                  <a:lnTo>
                    <a:pt x="1190" y="717"/>
                  </a:lnTo>
                  <a:lnTo>
                    <a:pt x="1135" y="769"/>
                  </a:lnTo>
                  <a:lnTo>
                    <a:pt x="1109" y="782"/>
                  </a:lnTo>
                  <a:lnTo>
                    <a:pt x="1083" y="824"/>
                  </a:lnTo>
                  <a:lnTo>
                    <a:pt x="1015" y="863"/>
                  </a:lnTo>
                  <a:lnTo>
                    <a:pt x="960" y="918"/>
                  </a:lnTo>
                  <a:lnTo>
                    <a:pt x="892" y="973"/>
                  </a:lnTo>
                  <a:lnTo>
                    <a:pt x="840" y="1025"/>
                  </a:lnTo>
                  <a:lnTo>
                    <a:pt x="772" y="1080"/>
                  </a:lnTo>
                  <a:lnTo>
                    <a:pt x="730" y="1122"/>
                  </a:lnTo>
                  <a:lnTo>
                    <a:pt x="717" y="1135"/>
                  </a:lnTo>
                  <a:lnTo>
                    <a:pt x="665" y="1187"/>
                  </a:lnTo>
                  <a:lnTo>
                    <a:pt x="597" y="1229"/>
                  </a:lnTo>
                  <a:lnTo>
                    <a:pt x="542" y="1284"/>
                  </a:lnTo>
                  <a:lnTo>
                    <a:pt x="487" y="1336"/>
                  </a:lnTo>
                  <a:lnTo>
                    <a:pt x="422" y="1391"/>
                  </a:lnTo>
                  <a:lnTo>
                    <a:pt x="393" y="1417"/>
                  </a:lnTo>
                  <a:lnTo>
                    <a:pt x="367" y="1446"/>
                  </a:lnTo>
                  <a:lnTo>
                    <a:pt x="312" y="1498"/>
                  </a:lnTo>
                  <a:lnTo>
                    <a:pt x="244" y="1540"/>
                  </a:lnTo>
                  <a:lnTo>
                    <a:pt x="231" y="1566"/>
                  </a:lnTo>
                  <a:lnTo>
                    <a:pt x="192" y="1592"/>
                  </a:lnTo>
                  <a:lnTo>
                    <a:pt x="137" y="1647"/>
                  </a:lnTo>
                  <a:lnTo>
                    <a:pt x="124" y="1660"/>
                  </a:lnTo>
                  <a:lnTo>
                    <a:pt x="43" y="1673"/>
                  </a:lnTo>
                  <a:lnTo>
                    <a:pt x="1" y="1660"/>
                  </a:lnTo>
                  <a:lnTo>
                    <a:pt x="1" y="1621"/>
                  </a:lnTo>
                  <a:lnTo>
                    <a:pt x="17" y="1553"/>
                  </a:lnTo>
                  <a:lnTo>
                    <a:pt x="30" y="1540"/>
                  </a:lnTo>
                  <a:lnTo>
                    <a:pt x="82" y="1485"/>
                  </a:lnTo>
                  <a:lnTo>
                    <a:pt x="124" y="1446"/>
                  </a:lnTo>
                  <a:lnTo>
                    <a:pt x="137" y="1430"/>
                  </a:lnTo>
                  <a:lnTo>
                    <a:pt x="192" y="1378"/>
                  </a:lnTo>
                  <a:lnTo>
                    <a:pt x="244" y="1323"/>
                  </a:lnTo>
                  <a:lnTo>
                    <a:pt x="273" y="1297"/>
                  </a:lnTo>
                  <a:lnTo>
                    <a:pt x="312" y="1268"/>
                  </a:lnTo>
                  <a:lnTo>
                    <a:pt x="367" y="1216"/>
                  </a:lnTo>
                  <a:lnTo>
                    <a:pt x="422" y="1161"/>
                  </a:lnTo>
                  <a:lnTo>
                    <a:pt x="487" y="1106"/>
                  </a:lnTo>
                  <a:lnTo>
                    <a:pt x="542" y="1054"/>
                  </a:lnTo>
                  <a:lnTo>
                    <a:pt x="610" y="999"/>
                  </a:lnTo>
                  <a:lnTo>
                    <a:pt x="623" y="986"/>
                  </a:lnTo>
                  <a:lnTo>
                    <a:pt x="665" y="944"/>
                  </a:lnTo>
                  <a:lnTo>
                    <a:pt x="730" y="905"/>
                  </a:lnTo>
                  <a:lnTo>
                    <a:pt x="785" y="850"/>
                  </a:lnTo>
                  <a:lnTo>
                    <a:pt x="853" y="798"/>
                  </a:lnTo>
                  <a:lnTo>
                    <a:pt x="921" y="743"/>
                  </a:lnTo>
                  <a:lnTo>
                    <a:pt x="973" y="701"/>
                  </a:lnTo>
                  <a:lnTo>
                    <a:pt x="1015" y="662"/>
                  </a:lnTo>
                  <a:lnTo>
                    <a:pt x="1041" y="649"/>
                  </a:lnTo>
                  <a:lnTo>
                    <a:pt x="1096" y="594"/>
                  </a:lnTo>
                  <a:lnTo>
                    <a:pt x="1164" y="555"/>
                  </a:lnTo>
                  <a:lnTo>
                    <a:pt x="1232" y="500"/>
                  </a:lnTo>
                  <a:lnTo>
                    <a:pt x="1284" y="458"/>
                  </a:lnTo>
                  <a:lnTo>
                    <a:pt x="1352" y="406"/>
                  </a:lnTo>
                  <a:lnTo>
                    <a:pt x="1407" y="377"/>
                  </a:lnTo>
                  <a:lnTo>
                    <a:pt x="1420" y="364"/>
                  </a:lnTo>
                  <a:lnTo>
                    <a:pt x="1540" y="270"/>
                  </a:lnTo>
                  <a:lnTo>
                    <a:pt x="1540" y="270"/>
                  </a:lnTo>
                  <a:lnTo>
                    <a:pt x="1676" y="176"/>
                  </a:lnTo>
                  <a:lnTo>
                    <a:pt x="1718" y="150"/>
                  </a:lnTo>
                  <a:lnTo>
                    <a:pt x="1799" y="95"/>
                  </a:lnTo>
                  <a:lnTo>
                    <a:pt x="1932" y="1"/>
                  </a:lnTo>
                  <a:lnTo>
                    <a:pt x="197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2" name="Google Shape;5112;p52"/>
            <p:cNvSpPr/>
            <p:nvPr/>
          </p:nvSpPr>
          <p:spPr>
            <a:xfrm>
              <a:off x="3142883" y="4048277"/>
              <a:ext cx="45016" cy="39724"/>
            </a:xfrm>
            <a:custGeom>
              <a:avLst/>
              <a:gdLst/>
              <a:ahLst/>
              <a:cxnLst/>
              <a:rect l="l" t="t" r="r" b="b"/>
              <a:pathLst>
                <a:path w="1378" h="1216" extrusionOk="0">
                  <a:moveTo>
                    <a:pt x="43" y="1"/>
                  </a:moveTo>
                  <a:lnTo>
                    <a:pt x="124" y="69"/>
                  </a:lnTo>
                  <a:lnTo>
                    <a:pt x="218" y="137"/>
                  </a:lnTo>
                  <a:lnTo>
                    <a:pt x="299" y="202"/>
                  </a:lnTo>
                  <a:lnTo>
                    <a:pt x="367" y="257"/>
                  </a:lnTo>
                  <a:lnTo>
                    <a:pt x="380" y="270"/>
                  </a:lnTo>
                  <a:lnTo>
                    <a:pt x="516" y="364"/>
                  </a:lnTo>
                  <a:lnTo>
                    <a:pt x="555" y="406"/>
                  </a:lnTo>
                  <a:lnTo>
                    <a:pt x="636" y="474"/>
                  </a:lnTo>
                  <a:lnTo>
                    <a:pt x="678" y="513"/>
                  </a:lnTo>
                  <a:lnTo>
                    <a:pt x="717" y="542"/>
                  </a:lnTo>
                  <a:lnTo>
                    <a:pt x="798" y="623"/>
                  </a:lnTo>
                  <a:lnTo>
                    <a:pt x="866" y="675"/>
                  </a:lnTo>
                  <a:lnTo>
                    <a:pt x="879" y="688"/>
                  </a:lnTo>
                  <a:lnTo>
                    <a:pt x="960" y="756"/>
                  </a:lnTo>
                  <a:lnTo>
                    <a:pt x="1002" y="798"/>
                  </a:lnTo>
                  <a:lnTo>
                    <a:pt x="1041" y="824"/>
                  </a:lnTo>
                  <a:lnTo>
                    <a:pt x="1096" y="866"/>
                  </a:lnTo>
                  <a:lnTo>
                    <a:pt x="1135" y="892"/>
                  </a:lnTo>
                  <a:lnTo>
                    <a:pt x="1177" y="931"/>
                  </a:lnTo>
                  <a:lnTo>
                    <a:pt x="1177" y="947"/>
                  </a:lnTo>
                  <a:lnTo>
                    <a:pt x="1216" y="960"/>
                  </a:lnTo>
                  <a:lnTo>
                    <a:pt x="1258" y="999"/>
                  </a:lnTo>
                  <a:lnTo>
                    <a:pt x="1284" y="1028"/>
                  </a:lnTo>
                  <a:lnTo>
                    <a:pt x="1297" y="1028"/>
                  </a:lnTo>
                  <a:lnTo>
                    <a:pt x="1339" y="1067"/>
                  </a:lnTo>
                  <a:lnTo>
                    <a:pt x="1378" y="1093"/>
                  </a:lnTo>
                  <a:lnTo>
                    <a:pt x="1352" y="1135"/>
                  </a:lnTo>
                  <a:lnTo>
                    <a:pt x="1310" y="1190"/>
                  </a:lnTo>
                  <a:lnTo>
                    <a:pt x="1284" y="1216"/>
                  </a:lnTo>
                  <a:lnTo>
                    <a:pt x="1245" y="1174"/>
                  </a:lnTo>
                  <a:lnTo>
                    <a:pt x="1203" y="1148"/>
                  </a:lnTo>
                  <a:lnTo>
                    <a:pt x="1190" y="1135"/>
                  </a:lnTo>
                  <a:lnTo>
                    <a:pt x="1164" y="1109"/>
                  </a:lnTo>
                  <a:lnTo>
                    <a:pt x="1122" y="1080"/>
                  </a:lnTo>
                  <a:lnTo>
                    <a:pt x="1083" y="1054"/>
                  </a:lnTo>
                  <a:lnTo>
                    <a:pt x="1083" y="1041"/>
                  </a:lnTo>
                  <a:lnTo>
                    <a:pt x="1041" y="1012"/>
                  </a:lnTo>
                  <a:lnTo>
                    <a:pt x="1002" y="973"/>
                  </a:lnTo>
                  <a:lnTo>
                    <a:pt x="960" y="931"/>
                  </a:lnTo>
                  <a:lnTo>
                    <a:pt x="905" y="905"/>
                  </a:lnTo>
                  <a:lnTo>
                    <a:pt x="866" y="866"/>
                  </a:lnTo>
                  <a:lnTo>
                    <a:pt x="785" y="798"/>
                  </a:lnTo>
                  <a:lnTo>
                    <a:pt x="772" y="769"/>
                  </a:lnTo>
                  <a:lnTo>
                    <a:pt x="704" y="717"/>
                  </a:lnTo>
                  <a:lnTo>
                    <a:pt x="623" y="649"/>
                  </a:lnTo>
                  <a:lnTo>
                    <a:pt x="581" y="607"/>
                  </a:lnTo>
                  <a:lnTo>
                    <a:pt x="555" y="568"/>
                  </a:lnTo>
                  <a:lnTo>
                    <a:pt x="474" y="500"/>
                  </a:lnTo>
                  <a:lnTo>
                    <a:pt x="435" y="461"/>
                  </a:lnTo>
                  <a:lnTo>
                    <a:pt x="312" y="351"/>
                  </a:lnTo>
                  <a:lnTo>
                    <a:pt x="299" y="338"/>
                  </a:lnTo>
                  <a:lnTo>
                    <a:pt x="244" y="270"/>
                  </a:lnTo>
                  <a:lnTo>
                    <a:pt x="163" y="189"/>
                  </a:lnTo>
                  <a:lnTo>
                    <a:pt x="163" y="189"/>
                  </a:lnTo>
                  <a:lnTo>
                    <a:pt x="82" y="121"/>
                  </a:lnTo>
                  <a:lnTo>
                    <a:pt x="14" y="4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3" name="Google Shape;5113;p52"/>
            <p:cNvSpPr/>
            <p:nvPr/>
          </p:nvSpPr>
          <p:spPr>
            <a:xfrm>
              <a:off x="3187018" y="4036844"/>
              <a:ext cx="22998" cy="26493"/>
            </a:xfrm>
            <a:custGeom>
              <a:avLst/>
              <a:gdLst/>
              <a:ahLst/>
              <a:cxnLst/>
              <a:rect l="l" t="t" r="r" b="b"/>
              <a:pathLst>
                <a:path w="704" h="811" extrusionOk="0">
                  <a:moveTo>
                    <a:pt x="704" y="27"/>
                  </a:moveTo>
                  <a:lnTo>
                    <a:pt x="688" y="53"/>
                  </a:lnTo>
                  <a:lnTo>
                    <a:pt x="675" y="66"/>
                  </a:lnTo>
                  <a:lnTo>
                    <a:pt x="649" y="95"/>
                  </a:lnTo>
                  <a:lnTo>
                    <a:pt x="636" y="121"/>
                  </a:lnTo>
                  <a:lnTo>
                    <a:pt x="594" y="176"/>
                  </a:lnTo>
                  <a:lnTo>
                    <a:pt x="581" y="176"/>
                  </a:lnTo>
                  <a:lnTo>
                    <a:pt x="542" y="228"/>
                  </a:lnTo>
                  <a:lnTo>
                    <a:pt x="500" y="270"/>
                  </a:lnTo>
                  <a:lnTo>
                    <a:pt x="474" y="309"/>
                  </a:lnTo>
                  <a:lnTo>
                    <a:pt x="461" y="325"/>
                  </a:lnTo>
                  <a:lnTo>
                    <a:pt x="419" y="364"/>
                  </a:lnTo>
                  <a:lnTo>
                    <a:pt x="380" y="419"/>
                  </a:lnTo>
                  <a:lnTo>
                    <a:pt x="364" y="432"/>
                  </a:lnTo>
                  <a:lnTo>
                    <a:pt x="338" y="458"/>
                  </a:lnTo>
                  <a:lnTo>
                    <a:pt x="299" y="513"/>
                  </a:lnTo>
                  <a:lnTo>
                    <a:pt x="283" y="526"/>
                  </a:lnTo>
                  <a:lnTo>
                    <a:pt x="270" y="539"/>
                  </a:lnTo>
                  <a:lnTo>
                    <a:pt x="257" y="552"/>
                  </a:lnTo>
                  <a:lnTo>
                    <a:pt x="231" y="581"/>
                  </a:lnTo>
                  <a:lnTo>
                    <a:pt x="218" y="607"/>
                  </a:lnTo>
                  <a:lnTo>
                    <a:pt x="189" y="633"/>
                  </a:lnTo>
                  <a:lnTo>
                    <a:pt x="189" y="633"/>
                  </a:lnTo>
                  <a:lnTo>
                    <a:pt x="176" y="649"/>
                  </a:lnTo>
                  <a:lnTo>
                    <a:pt x="150" y="675"/>
                  </a:lnTo>
                  <a:lnTo>
                    <a:pt x="121" y="701"/>
                  </a:lnTo>
                  <a:lnTo>
                    <a:pt x="108" y="730"/>
                  </a:lnTo>
                  <a:lnTo>
                    <a:pt x="82" y="756"/>
                  </a:lnTo>
                  <a:lnTo>
                    <a:pt x="69" y="769"/>
                  </a:lnTo>
                  <a:lnTo>
                    <a:pt x="56" y="795"/>
                  </a:lnTo>
                  <a:lnTo>
                    <a:pt x="40" y="795"/>
                  </a:lnTo>
                  <a:lnTo>
                    <a:pt x="1" y="811"/>
                  </a:lnTo>
                  <a:lnTo>
                    <a:pt x="1" y="769"/>
                  </a:lnTo>
                  <a:lnTo>
                    <a:pt x="1" y="756"/>
                  </a:lnTo>
                  <a:lnTo>
                    <a:pt x="14" y="743"/>
                  </a:lnTo>
                  <a:lnTo>
                    <a:pt x="40" y="714"/>
                  </a:lnTo>
                  <a:lnTo>
                    <a:pt x="56" y="688"/>
                  </a:lnTo>
                  <a:lnTo>
                    <a:pt x="69" y="662"/>
                  </a:lnTo>
                  <a:lnTo>
                    <a:pt x="95" y="633"/>
                  </a:lnTo>
                  <a:lnTo>
                    <a:pt x="108" y="607"/>
                  </a:lnTo>
                  <a:lnTo>
                    <a:pt x="137" y="581"/>
                  </a:lnTo>
                  <a:lnTo>
                    <a:pt x="137" y="581"/>
                  </a:lnTo>
                  <a:lnTo>
                    <a:pt x="150" y="552"/>
                  </a:lnTo>
                  <a:lnTo>
                    <a:pt x="176" y="526"/>
                  </a:lnTo>
                  <a:lnTo>
                    <a:pt x="189" y="513"/>
                  </a:lnTo>
                  <a:lnTo>
                    <a:pt x="218" y="487"/>
                  </a:lnTo>
                  <a:lnTo>
                    <a:pt x="218" y="471"/>
                  </a:lnTo>
                  <a:lnTo>
                    <a:pt x="231" y="458"/>
                  </a:lnTo>
                  <a:lnTo>
                    <a:pt x="283" y="406"/>
                  </a:lnTo>
                  <a:lnTo>
                    <a:pt x="312" y="377"/>
                  </a:lnTo>
                  <a:lnTo>
                    <a:pt x="325" y="364"/>
                  </a:lnTo>
                  <a:lnTo>
                    <a:pt x="364" y="325"/>
                  </a:lnTo>
                  <a:lnTo>
                    <a:pt x="419" y="270"/>
                  </a:lnTo>
                  <a:lnTo>
                    <a:pt x="419" y="270"/>
                  </a:lnTo>
                  <a:lnTo>
                    <a:pt x="461" y="228"/>
                  </a:lnTo>
                  <a:lnTo>
                    <a:pt x="513" y="189"/>
                  </a:lnTo>
                  <a:lnTo>
                    <a:pt x="555" y="147"/>
                  </a:lnTo>
                  <a:lnTo>
                    <a:pt x="555" y="134"/>
                  </a:lnTo>
                  <a:lnTo>
                    <a:pt x="594" y="95"/>
                  </a:lnTo>
                  <a:lnTo>
                    <a:pt x="623" y="66"/>
                  </a:lnTo>
                  <a:lnTo>
                    <a:pt x="649" y="53"/>
                  </a:lnTo>
                  <a:lnTo>
                    <a:pt x="662" y="27"/>
                  </a:lnTo>
                  <a:lnTo>
                    <a:pt x="688" y="1"/>
                  </a:lnTo>
                  <a:lnTo>
                    <a:pt x="70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4" name="Google Shape;5114;p52"/>
            <p:cNvSpPr/>
            <p:nvPr/>
          </p:nvSpPr>
          <p:spPr>
            <a:xfrm>
              <a:off x="3178655" y="3961380"/>
              <a:ext cx="16758" cy="380642"/>
            </a:xfrm>
            <a:custGeom>
              <a:avLst/>
              <a:gdLst/>
              <a:ahLst/>
              <a:cxnLst/>
              <a:rect l="l" t="t" r="r" b="b"/>
              <a:pathLst>
                <a:path w="513" h="11652" extrusionOk="0">
                  <a:moveTo>
                    <a:pt x="69" y="27"/>
                  </a:moveTo>
                  <a:lnTo>
                    <a:pt x="82" y="124"/>
                  </a:lnTo>
                  <a:lnTo>
                    <a:pt x="108" y="205"/>
                  </a:lnTo>
                  <a:lnTo>
                    <a:pt x="121" y="299"/>
                  </a:lnTo>
                  <a:lnTo>
                    <a:pt x="121" y="312"/>
                  </a:lnTo>
                  <a:lnTo>
                    <a:pt x="134" y="393"/>
                  </a:lnTo>
                  <a:lnTo>
                    <a:pt x="150" y="474"/>
                  </a:lnTo>
                  <a:lnTo>
                    <a:pt x="150" y="568"/>
                  </a:lnTo>
                  <a:lnTo>
                    <a:pt x="163" y="662"/>
                  </a:lnTo>
                  <a:lnTo>
                    <a:pt x="176" y="743"/>
                  </a:lnTo>
                  <a:lnTo>
                    <a:pt x="189" y="837"/>
                  </a:lnTo>
                  <a:lnTo>
                    <a:pt x="189" y="934"/>
                  </a:lnTo>
                  <a:lnTo>
                    <a:pt x="202" y="1015"/>
                  </a:lnTo>
                  <a:lnTo>
                    <a:pt x="215" y="1109"/>
                  </a:lnTo>
                  <a:lnTo>
                    <a:pt x="215" y="1190"/>
                  </a:lnTo>
                  <a:lnTo>
                    <a:pt x="215" y="1203"/>
                  </a:lnTo>
                  <a:lnTo>
                    <a:pt x="231" y="1284"/>
                  </a:lnTo>
                  <a:lnTo>
                    <a:pt x="231" y="1378"/>
                  </a:lnTo>
                  <a:lnTo>
                    <a:pt x="244" y="1472"/>
                  </a:lnTo>
                  <a:lnTo>
                    <a:pt x="244" y="1566"/>
                  </a:lnTo>
                  <a:lnTo>
                    <a:pt x="257" y="1647"/>
                  </a:lnTo>
                  <a:lnTo>
                    <a:pt x="270" y="1838"/>
                  </a:lnTo>
                  <a:lnTo>
                    <a:pt x="270" y="2013"/>
                  </a:lnTo>
                  <a:lnTo>
                    <a:pt x="283" y="2201"/>
                  </a:lnTo>
                  <a:lnTo>
                    <a:pt x="296" y="2376"/>
                  </a:lnTo>
                  <a:lnTo>
                    <a:pt x="312" y="2554"/>
                  </a:lnTo>
                  <a:lnTo>
                    <a:pt x="312" y="2742"/>
                  </a:lnTo>
                  <a:lnTo>
                    <a:pt x="325" y="2917"/>
                  </a:lnTo>
                  <a:lnTo>
                    <a:pt x="338" y="3105"/>
                  </a:lnTo>
                  <a:lnTo>
                    <a:pt x="338" y="3283"/>
                  </a:lnTo>
                  <a:lnTo>
                    <a:pt x="351" y="3458"/>
                  </a:lnTo>
                  <a:lnTo>
                    <a:pt x="351" y="3646"/>
                  </a:lnTo>
                  <a:lnTo>
                    <a:pt x="364" y="3821"/>
                  </a:lnTo>
                  <a:lnTo>
                    <a:pt x="364" y="3957"/>
                  </a:lnTo>
                  <a:lnTo>
                    <a:pt x="364" y="4012"/>
                  </a:lnTo>
                  <a:lnTo>
                    <a:pt x="377" y="4187"/>
                  </a:lnTo>
                  <a:lnTo>
                    <a:pt x="377" y="4375"/>
                  </a:lnTo>
                  <a:lnTo>
                    <a:pt x="377" y="4550"/>
                  </a:lnTo>
                  <a:lnTo>
                    <a:pt x="393" y="4741"/>
                  </a:lnTo>
                  <a:lnTo>
                    <a:pt x="393" y="4916"/>
                  </a:lnTo>
                  <a:lnTo>
                    <a:pt x="393" y="5091"/>
                  </a:lnTo>
                  <a:lnTo>
                    <a:pt x="406" y="5279"/>
                  </a:lnTo>
                  <a:lnTo>
                    <a:pt x="406" y="5454"/>
                  </a:lnTo>
                  <a:lnTo>
                    <a:pt x="406" y="5645"/>
                  </a:lnTo>
                  <a:lnTo>
                    <a:pt x="419" y="5820"/>
                  </a:lnTo>
                  <a:lnTo>
                    <a:pt x="419" y="6183"/>
                  </a:lnTo>
                  <a:lnTo>
                    <a:pt x="419" y="6549"/>
                  </a:lnTo>
                  <a:lnTo>
                    <a:pt x="432" y="6912"/>
                  </a:lnTo>
                  <a:lnTo>
                    <a:pt x="432" y="7074"/>
                  </a:lnTo>
                  <a:lnTo>
                    <a:pt x="432" y="7278"/>
                  </a:lnTo>
                  <a:lnTo>
                    <a:pt x="445" y="7641"/>
                  </a:lnTo>
                  <a:lnTo>
                    <a:pt x="445" y="7819"/>
                  </a:lnTo>
                  <a:lnTo>
                    <a:pt x="445" y="7994"/>
                  </a:lnTo>
                  <a:lnTo>
                    <a:pt x="445" y="8046"/>
                  </a:lnTo>
                  <a:lnTo>
                    <a:pt x="445" y="8182"/>
                  </a:lnTo>
                  <a:lnTo>
                    <a:pt x="445" y="8357"/>
                  </a:lnTo>
                  <a:lnTo>
                    <a:pt x="458" y="8548"/>
                  </a:lnTo>
                  <a:lnTo>
                    <a:pt x="458" y="8723"/>
                  </a:lnTo>
                  <a:lnTo>
                    <a:pt x="458" y="8911"/>
                  </a:lnTo>
                  <a:lnTo>
                    <a:pt x="458" y="9073"/>
                  </a:lnTo>
                  <a:lnTo>
                    <a:pt x="458" y="9086"/>
                  </a:lnTo>
                  <a:lnTo>
                    <a:pt x="474" y="9261"/>
                  </a:lnTo>
                  <a:lnTo>
                    <a:pt x="474" y="9452"/>
                  </a:lnTo>
                  <a:lnTo>
                    <a:pt x="474" y="9627"/>
                  </a:lnTo>
                  <a:lnTo>
                    <a:pt x="487" y="9815"/>
                  </a:lnTo>
                  <a:lnTo>
                    <a:pt x="487" y="9990"/>
                  </a:lnTo>
                  <a:lnTo>
                    <a:pt x="487" y="10032"/>
                  </a:lnTo>
                  <a:lnTo>
                    <a:pt x="487" y="10168"/>
                  </a:lnTo>
                  <a:lnTo>
                    <a:pt x="500" y="10356"/>
                  </a:lnTo>
                  <a:lnTo>
                    <a:pt x="500" y="10531"/>
                  </a:lnTo>
                  <a:lnTo>
                    <a:pt x="513" y="10719"/>
                  </a:lnTo>
                  <a:lnTo>
                    <a:pt x="513" y="10735"/>
                  </a:lnTo>
                  <a:lnTo>
                    <a:pt x="513" y="10897"/>
                  </a:lnTo>
                  <a:lnTo>
                    <a:pt x="513" y="11072"/>
                  </a:lnTo>
                  <a:lnTo>
                    <a:pt x="513" y="11166"/>
                  </a:lnTo>
                  <a:lnTo>
                    <a:pt x="513" y="11221"/>
                  </a:lnTo>
                  <a:lnTo>
                    <a:pt x="513" y="11260"/>
                  </a:lnTo>
                  <a:lnTo>
                    <a:pt x="513" y="11354"/>
                  </a:lnTo>
                  <a:lnTo>
                    <a:pt x="513" y="11435"/>
                  </a:lnTo>
                  <a:lnTo>
                    <a:pt x="513" y="11529"/>
                  </a:lnTo>
                  <a:lnTo>
                    <a:pt x="513" y="11626"/>
                  </a:lnTo>
                  <a:lnTo>
                    <a:pt x="500" y="11652"/>
                  </a:lnTo>
                  <a:lnTo>
                    <a:pt x="474" y="11626"/>
                  </a:lnTo>
                  <a:lnTo>
                    <a:pt x="458" y="11529"/>
                  </a:lnTo>
                  <a:lnTo>
                    <a:pt x="445" y="11448"/>
                  </a:lnTo>
                  <a:lnTo>
                    <a:pt x="432" y="11354"/>
                  </a:lnTo>
                  <a:lnTo>
                    <a:pt x="419" y="11260"/>
                  </a:lnTo>
                  <a:lnTo>
                    <a:pt x="419" y="11234"/>
                  </a:lnTo>
                  <a:lnTo>
                    <a:pt x="419" y="11179"/>
                  </a:lnTo>
                  <a:lnTo>
                    <a:pt x="406" y="11085"/>
                  </a:lnTo>
                  <a:lnTo>
                    <a:pt x="377" y="10897"/>
                  </a:lnTo>
                  <a:lnTo>
                    <a:pt x="364" y="10748"/>
                  </a:lnTo>
                  <a:lnTo>
                    <a:pt x="364" y="10719"/>
                  </a:lnTo>
                  <a:lnTo>
                    <a:pt x="351" y="10544"/>
                  </a:lnTo>
                  <a:lnTo>
                    <a:pt x="338" y="10356"/>
                  </a:lnTo>
                  <a:lnTo>
                    <a:pt x="325" y="10181"/>
                  </a:lnTo>
                  <a:lnTo>
                    <a:pt x="325" y="10032"/>
                  </a:lnTo>
                  <a:lnTo>
                    <a:pt x="325" y="9990"/>
                  </a:lnTo>
                  <a:lnTo>
                    <a:pt x="312" y="9815"/>
                  </a:lnTo>
                  <a:lnTo>
                    <a:pt x="296" y="9640"/>
                  </a:lnTo>
                  <a:lnTo>
                    <a:pt x="296" y="9452"/>
                  </a:lnTo>
                  <a:lnTo>
                    <a:pt x="283" y="9277"/>
                  </a:lnTo>
                  <a:lnTo>
                    <a:pt x="270" y="9086"/>
                  </a:lnTo>
                  <a:lnTo>
                    <a:pt x="270" y="9086"/>
                  </a:lnTo>
                  <a:lnTo>
                    <a:pt x="270" y="8911"/>
                  </a:lnTo>
                  <a:lnTo>
                    <a:pt x="257" y="8723"/>
                  </a:lnTo>
                  <a:lnTo>
                    <a:pt x="257" y="8548"/>
                  </a:lnTo>
                  <a:lnTo>
                    <a:pt x="244" y="8370"/>
                  </a:lnTo>
                  <a:lnTo>
                    <a:pt x="244" y="8182"/>
                  </a:lnTo>
                  <a:lnTo>
                    <a:pt x="244" y="8046"/>
                  </a:lnTo>
                  <a:lnTo>
                    <a:pt x="244" y="8007"/>
                  </a:lnTo>
                  <a:lnTo>
                    <a:pt x="231" y="7819"/>
                  </a:lnTo>
                  <a:lnTo>
                    <a:pt x="231" y="7641"/>
                  </a:lnTo>
                  <a:lnTo>
                    <a:pt x="215" y="7278"/>
                  </a:lnTo>
                  <a:lnTo>
                    <a:pt x="215" y="7074"/>
                  </a:lnTo>
                  <a:lnTo>
                    <a:pt x="215" y="6912"/>
                  </a:lnTo>
                  <a:lnTo>
                    <a:pt x="215" y="6549"/>
                  </a:lnTo>
                  <a:lnTo>
                    <a:pt x="202" y="6183"/>
                  </a:lnTo>
                  <a:lnTo>
                    <a:pt x="202" y="5820"/>
                  </a:lnTo>
                  <a:lnTo>
                    <a:pt x="202" y="5645"/>
                  </a:lnTo>
                  <a:lnTo>
                    <a:pt x="189" y="5470"/>
                  </a:lnTo>
                  <a:lnTo>
                    <a:pt x="189" y="5279"/>
                  </a:lnTo>
                  <a:lnTo>
                    <a:pt x="189" y="5104"/>
                  </a:lnTo>
                  <a:lnTo>
                    <a:pt x="189" y="4916"/>
                  </a:lnTo>
                  <a:lnTo>
                    <a:pt x="189" y="4741"/>
                  </a:lnTo>
                  <a:lnTo>
                    <a:pt x="176" y="4550"/>
                  </a:lnTo>
                  <a:lnTo>
                    <a:pt x="176" y="4375"/>
                  </a:lnTo>
                  <a:lnTo>
                    <a:pt x="176" y="4200"/>
                  </a:lnTo>
                  <a:lnTo>
                    <a:pt x="163" y="4012"/>
                  </a:lnTo>
                  <a:lnTo>
                    <a:pt x="163" y="3957"/>
                  </a:lnTo>
                  <a:lnTo>
                    <a:pt x="163" y="3834"/>
                  </a:lnTo>
                  <a:lnTo>
                    <a:pt x="163" y="3646"/>
                  </a:lnTo>
                  <a:lnTo>
                    <a:pt x="150" y="3471"/>
                  </a:lnTo>
                  <a:lnTo>
                    <a:pt x="150" y="3296"/>
                  </a:lnTo>
                  <a:lnTo>
                    <a:pt x="150" y="3105"/>
                  </a:lnTo>
                  <a:lnTo>
                    <a:pt x="134" y="2930"/>
                  </a:lnTo>
                  <a:lnTo>
                    <a:pt x="134" y="2742"/>
                  </a:lnTo>
                  <a:lnTo>
                    <a:pt x="121" y="2567"/>
                  </a:lnTo>
                  <a:lnTo>
                    <a:pt x="121" y="2392"/>
                  </a:lnTo>
                  <a:lnTo>
                    <a:pt x="108" y="2201"/>
                  </a:lnTo>
                  <a:lnTo>
                    <a:pt x="95" y="2026"/>
                  </a:lnTo>
                  <a:lnTo>
                    <a:pt x="95" y="1838"/>
                  </a:lnTo>
                  <a:lnTo>
                    <a:pt x="82" y="1663"/>
                  </a:lnTo>
                  <a:lnTo>
                    <a:pt x="82" y="1566"/>
                  </a:lnTo>
                  <a:lnTo>
                    <a:pt x="69" y="1485"/>
                  </a:lnTo>
                  <a:lnTo>
                    <a:pt x="69" y="1391"/>
                  </a:lnTo>
                  <a:lnTo>
                    <a:pt x="53" y="1297"/>
                  </a:lnTo>
                  <a:lnTo>
                    <a:pt x="53" y="1216"/>
                  </a:lnTo>
                  <a:lnTo>
                    <a:pt x="53" y="1203"/>
                  </a:lnTo>
                  <a:lnTo>
                    <a:pt x="53" y="1122"/>
                  </a:lnTo>
                  <a:lnTo>
                    <a:pt x="40" y="1028"/>
                  </a:lnTo>
                  <a:lnTo>
                    <a:pt x="40" y="947"/>
                  </a:lnTo>
                  <a:lnTo>
                    <a:pt x="40" y="853"/>
                  </a:lnTo>
                  <a:lnTo>
                    <a:pt x="27" y="756"/>
                  </a:lnTo>
                  <a:lnTo>
                    <a:pt x="27" y="675"/>
                  </a:lnTo>
                  <a:lnTo>
                    <a:pt x="27" y="581"/>
                  </a:lnTo>
                  <a:lnTo>
                    <a:pt x="14" y="487"/>
                  </a:lnTo>
                  <a:lnTo>
                    <a:pt x="14" y="393"/>
                  </a:lnTo>
                  <a:lnTo>
                    <a:pt x="1" y="325"/>
                  </a:lnTo>
                  <a:lnTo>
                    <a:pt x="1" y="312"/>
                  </a:lnTo>
                  <a:lnTo>
                    <a:pt x="14" y="218"/>
                  </a:lnTo>
                  <a:lnTo>
                    <a:pt x="14" y="124"/>
                  </a:lnTo>
                  <a:lnTo>
                    <a:pt x="14" y="43"/>
                  </a:lnTo>
                  <a:lnTo>
                    <a:pt x="4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5" name="Google Shape;5115;p52"/>
            <p:cNvSpPr/>
            <p:nvPr/>
          </p:nvSpPr>
          <p:spPr>
            <a:xfrm>
              <a:off x="2618413" y="3885508"/>
              <a:ext cx="33582" cy="490503"/>
            </a:xfrm>
            <a:custGeom>
              <a:avLst/>
              <a:gdLst/>
              <a:ahLst/>
              <a:cxnLst/>
              <a:rect l="l" t="t" r="r" b="b"/>
              <a:pathLst>
                <a:path w="1028" h="15015" extrusionOk="0">
                  <a:moveTo>
                    <a:pt x="137" y="1"/>
                  </a:moveTo>
                  <a:lnTo>
                    <a:pt x="1" y="15015"/>
                  </a:lnTo>
                  <a:lnTo>
                    <a:pt x="1028" y="15015"/>
                  </a:lnTo>
                  <a:lnTo>
                    <a:pt x="756" y="56"/>
                  </a:lnTo>
                  <a:lnTo>
                    <a:pt x="13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6" name="Google Shape;5116;p52"/>
            <p:cNvSpPr/>
            <p:nvPr/>
          </p:nvSpPr>
          <p:spPr>
            <a:xfrm>
              <a:off x="2627626" y="3679109"/>
              <a:ext cx="40246" cy="191072"/>
            </a:xfrm>
            <a:custGeom>
              <a:avLst/>
              <a:gdLst/>
              <a:ahLst/>
              <a:cxnLst/>
              <a:rect l="l" t="t" r="r" b="b"/>
              <a:pathLst>
                <a:path w="1232" h="5849" extrusionOk="0">
                  <a:moveTo>
                    <a:pt x="597" y="1"/>
                  </a:moveTo>
                  <a:lnTo>
                    <a:pt x="1" y="5687"/>
                  </a:lnTo>
                  <a:lnTo>
                    <a:pt x="435" y="5849"/>
                  </a:lnTo>
                  <a:lnTo>
                    <a:pt x="1232" y="5010"/>
                  </a:lnTo>
                  <a:lnTo>
                    <a:pt x="892" y="244"/>
                  </a:lnTo>
                  <a:lnTo>
                    <a:pt x="59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7" name="Google Shape;5117;p52"/>
            <p:cNvSpPr/>
            <p:nvPr/>
          </p:nvSpPr>
          <p:spPr>
            <a:xfrm>
              <a:off x="2633441" y="3878092"/>
              <a:ext cx="163566" cy="112442"/>
            </a:xfrm>
            <a:custGeom>
              <a:avLst/>
              <a:gdLst/>
              <a:ahLst/>
              <a:cxnLst/>
              <a:rect l="l" t="t" r="r" b="b"/>
              <a:pathLst>
                <a:path w="5007" h="3442" extrusionOk="0">
                  <a:moveTo>
                    <a:pt x="351" y="1"/>
                  </a:moveTo>
                  <a:lnTo>
                    <a:pt x="1" y="283"/>
                  </a:lnTo>
                  <a:lnTo>
                    <a:pt x="338" y="1404"/>
                  </a:lnTo>
                  <a:lnTo>
                    <a:pt x="4657" y="3442"/>
                  </a:lnTo>
                  <a:lnTo>
                    <a:pt x="5007" y="3306"/>
                  </a:lnTo>
                  <a:lnTo>
                    <a:pt x="35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8" name="Google Shape;5118;p52"/>
            <p:cNvSpPr/>
            <p:nvPr/>
          </p:nvSpPr>
          <p:spPr>
            <a:xfrm>
              <a:off x="2456574" y="3863490"/>
              <a:ext cx="166735" cy="105451"/>
            </a:xfrm>
            <a:custGeom>
              <a:avLst/>
              <a:gdLst/>
              <a:ahLst/>
              <a:cxnLst/>
              <a:rect l="l" t="t" r="r" b="b"/>
              <a:pathLst>
                <a:path w="5104" h="3228" extrusionOk="0">
                  <a:moveTo>
                    <a:pt x="3876" y="1"/>
                  </a:moveTo>
                  <a:lnTo>
                    <a:pt x="40" y="2849"/>
                  </a:lnTo>
                  <a:lnTo>
                    <a:pt x="1" y="3228"/>
                  </a:lnTo>
                  <a:lnTo>
                    <a:pt x="5104" y="662"/>
                  </a:lnTo>
                  <a:lnTo>
                    <a:pt x="5010" y="218"/>
                  </a:lnTo>
                  <a:lnTo>
                    <a:pt x="387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9" name="Google Shape;5119;p52"/>
            <p:cNvSpPr/>
            <p:nvPr/>
          </p:nvSpPr>
          <p:spPr>
            <a:xfrm>
              <a:off x="2609103" y="3854996"/>
              <a:ext cx="45963" cy="43840"/>
            </a:xfrm>
            <a:custGeom>
              <a:avLst/>
              <a:gdLst/>
              <a:ahLst/>
              <a:cxnLst/>
              <a:rect l="l" t="t" r="r" b="b"/>
              <a:pathLst>
                <a:path w="1407" h="1342" extrusionOk="0">
                  <a:moveTo>
                    <a:pt x="711" y="1"/>
                  </a:moveTo>
                  <a:cubicBezTo>
                    <a:pt x="686" y="1"/>
                    <a:pt x="661" y="2"/>
                    <a:pt x="636" y="5"/>
                  </a:cubicBezTo>
                  <a:cubicBezTo>
                    <a:pt x="273" y="44"/>
                    <a:pt x="1" y="368"/>
                    <a:pt x="43" y="734"/>
                  </a:cubicBezTo>
                  <a:cubicBezTo>
                    <a:pt x="80" y="1093"/>
                    <a:pt x="373" y="1342"/>
                    <a:pt x="715" y="1342"/>
                  </a:cubicBezTo>
                  <a:cubicBezTo>
                    <a:pt x="734" y="1342"/>
                    <a:pt x="753" y="1341"/>
                    <a:pt x="772" y="1340"/>
                  </a:cubicBezTo>
                  <a:cubicBezTo>
                    <a:pt x="1151" y="1301"/>
                    <a:pt x="1407" y="964"/>
                    <a:pt x="1378" y="598"/>
                  </a:cubicBezTo>
                  <a:cubicBezTo>
                    <a:pt x="1342" y="260"/>
                    <a:pt x="1047" y="1"/>
                    <a:pt x="711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0" name="Google Shape;5120;p52"/>
            <p:cNvSpPr/>
            <p:nvPr/>
          </p:nvSpPr>
          <p:spPr>
            <a:xfrm>
              <a:off x="2846406" y="3885508"/>
              <a:ext cx="33158" cy="490503"/>
            </a:xfrm>
            <a:custGeom>
              <a:avLst/>
              <a:gdLst/>
              <a:ahLst/>
              <a:cxnLst/>
              <a:rect l="l" t="t" r="r" b="b"/>
              <a:pathLst>
                <a:path w="1015" h="15015" extrusionOk="0">
                  <a:moveTo>
                    <a:pt x="124" y="1"/>
                  </a:moveTo>
                  <a:lnTo>
                    <a:pt x="1" y="15015"/>
                  </a:lnTo>
                  <a:lnTo>
                    <a:pt x="1015" y="15015"/>
                  </a:lnTo>
                  <a:lnTo>
                    <a:pt x="743" y="56"/>
                  </a:lnTo>
                  <a:lnTo>
                    <a:pt x="12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1" name="Google Shape;5121;p52"/>
            <p:cNvSpPr/>
            <p:nvPr/>
          </p:nvSpPr>
          <p:spPr>
            <a:xfrm>
              <a:off x="2855716" y="3679109"/>
              <a:ext cx="40148" cy="191072"/>
            </a:xfrm>
            <a:custGeom>
              <a:avLst/>
              <a:gdLst/>
              <a:ahLst/>
              <a:cxnLst/>
              <a:rect l="l" t="t" r="r" b="b"/>
              <a:pathLst>
                <a:path w="1229" h="5849" extrusionOk="0">
                  <a:moveTo>
                    <a:pt x="594" y="1"/>
                  </a:moveTo>
                  <a:lnTo>
                    <a:pt x="1" y="5687"/>
                  </a:lnTo>
                  <a:lnTo>
                    <a:pt x="432" y="5849"/>
                  </a:lnTo>
                  <a:lnTo>
                    <a:pt x="1229" y="5010"/>
                  </a:lnTo>
                  <a:lnTo>
                    <a:pt x="876" y="244"/>
                  </a:lnTo>
                  <a:lnTo>
                    <a:pt x="59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2" name="Google Shape;5122;p52"/>
            <p:cNvSpPr/>
            <p:nvPr/>
          </p:nvSpPr>
          <p:spPr>
            <a:xfrm>
              <a:off x="2861009" y="3878092"/>
              <a:ext cx="164089" cy="112442"/>
            </a:xfrm>
            <a:custGeom>
              <a:avLst/>
              <a:gdLst/>
              <a:ahLst/>
              <a:cxnLst/>
              <a:rect l="l" t="t" r="r" b="b"/>
              <a:pathLst>
                <a:path w="5023" h="3442" extrusionOk="0">
                  <a:moveTo>
                    <a:pt x="351" y="1"/>
                  </a:moveTo>
                  <a:lnTo>
                    <a:pt x="1" y="283"/>
                  </a:lnTo>
                  <a:lnTo>
                    <a:pt x="351" y="1404"/>
                  </a:lnTo>
                  <a:lnTo>
                    <a:pt x="4670" y="3442"/>
                  </a:lnTo>
                  <a:lnTo>
                    <a:pt x="5023" y="3306"/>
                  </a:lnTo>
                  <a:lnTo>
                    <a:pt x="35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3" name="Google Shape;5123;p52"/>
            <p:cNvSpPr/>
            <p:nvPr/>
          </p:nvSpPr>
          <p:spPr>
            <a:xfrm>
              <a:off x="2684142" y="3863490"/>
              <a:ext cx="167160" cy="105451"/>
            </a:xfrm>
            <a:custGeom>
              <a:avLst/>
              <a:gdLst/>
              <a:ahLst/>
              <a:cxnLst/>
              <a:rect l="l" t="t" r="r" b="b"/>
              <a:pathLst>
                <a:path w="5117" h="3228" extrusionOk="0">
                  <a:moveTo>
                    <a:pt x="3876" y="1"/>
                  </a:moveTo>
                  <a:lnTo>
                    <a:pt x="40" y="2849"/>
                  </a:lnTo>
                  <a:lnTo>
                    <a:pt x="1" y="3228"/>
                  </a:lnTo>
                  <a:lnTo>
                    <a:pt x="5117" y="662"/>
                  </a:lnTo>
                  <a:lnTo>
                    <a:pt x="5023" y="218"/>
                  </a:lnTo>
                  <a:lnTo>
                    <a:pt x="387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4" name="Google Shape;5124;p52"/>
            <p:cNvSpPr/>
            <p:nvPr/>
          </p:nvSpPr>
          <p:spPr>
            <a:xfrm>
              <a:off x="2836671" y="3854996"/>
              <a:ext cx="46388" cy="43840"/>
            </a:xfrm>
            <a:custGeom>
              <a:avLst/>
              <a:gdLst/>
              <a:ahLst/>
              <a:cxnLst/>
              <a:rect l="l" t="t" r="r" b="b"/>
              <a:pathLst>
                <a:path w="1420" h="1342" extrusionOk="0">
                  <a:moveTo>
                    <a:pt x="724" y="1"/>
                  </a:moveTo>
                  <a:cubicBezTo>
                    <a:pt x="699" y="1"/>
                    <a:pt x="674" y="2"/>
                    <a:pt x="649" y="5"/>
                  </a:cubicBezTo>
                  <a:cubicBezTo>
                    <a:pt x="273" y="44"/>
                    <a:pt x="1" y="368"/>
                    <a:pt x="43" y="734"/>
                  </a:cubicBezTo>
                  <a:cubicBezTo>
                    <a:pt x="80" y="1093"/>
                    <a:pt x="373" y="1342"/>
                    <a:pt x="726" y="1342"/>
                  </a:cubicBezTo>
                  <a:cubicBezTo>
                    <a:pt x="746" y="1342"/>
                    <a:pt x="765" y="1341"/>
                    <a:pt x="785" y="1340"/>
                  </a:cubicBezTo>
                  <a:cubicBezTo>
                    <a:pt x="1151" y="1301"/>
                    <a:pt x="1420" y="964"/>
                    <a:pt x="1378" y="598"/>
                  </a:cubicBezTo>
                  <a:cubicBezTo>
                    <a:pt x="1342" y="260"/>
                    <a:pt x="1058" y="1"/>
                    <a:pt x="724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5" name="Google Shape;5125;p52"/>
            <p:cNvSpPr/>
            <p:nvPr/>
          </p:nvSpPr>
          <p:spPr>
            <a:xfrm>
              <a:off x="3165700" y="3325025"/>
              <a:ext cx="617509" cy="685742"/>
            </a:xfrm>
            <a:custGeom>
              <a:avLst/>
              <a:gdLst/>
              <a:ahLst/>
              <a:cxnLst/>
              <a:rect l="l" t="t" r="r" b="b"/>
              <a:pathLst>
                <a:path w="14432" h="17755" extrusionOk="0">
                  <a:moveTo>
                    <a:pt x="7667" y="1"/>
                  </a:moveTo>
                  <a:cubicBezTo>
                    <a:pt x="5684" y="1"/>
                    <a:pt x="2739" y="4495"/>
                    <a:pt x="1" y="9653"/>
                  </a:cubicBezTo>
                  <a:cubicBezTo>
                    <a:pt x="40" y="9815"/>
                    <a:pt x="134" y="9964"/>
                    <a:pt x="309" y="9977"/>
                  </a:cubicBezTo>
                  <a:cubicBezTo>
                    <a:pt x="316" y="9978"/>
                    <a:pt x="324" y="9978"/>
                    <a:pt x="332" y="9978"/>
                  </a:cubicBezTo>
                  <a:cubicBezTo>
                    <a:pt x="774" y="9978"/>
                    <a:pt x="1286" y="8812"/>
                    <a:pt x="1605" y="8506"/>
                  </a:cubicBezTo>
                  <a:cubicBezTo>
                    <a:pt x="1676" y="8436"/>
                    <a:pt x="1900" y="8167"/>
                    <a:pt x="2057" y="8167"/>
                  </a:cubicBezTo>
                  <a:cubicBezTo>
                    <a:pt x="2112" y="8167"/>
                    <a:pt x="2159" y="8201"/>
                    <a:pt x="2188" y="8289"/>
                  </a:cubicBezTo>
                  <a:cubicBezTo>
                    <a:pt x="2376" y="8869"/>
                    <a:pt x="2188" y="9789"/>
                    <a:pt x="2107" y="10382"/>
                  </a:cubicBezTo>
                  <a:cubicBezTo>
                    <a:pt x="1848" y="12028"/>
                    <a:pt x="1903" y="13771"/>
                    <a:pt x="1809" y="15430"/>
                  </a:cubicBezTo>
                  <a:cubicBezTo>
                    <a:pt x="1796" y="15822"/>
                    <a:pt x="1715" y="17672"/>
                    <a:pt x="2269" y="17753"/>
                  </a:cubicBezTo>
                  <a:cubicBezTo>
                    <a:pt x="2276" y="17754"/>
                    <a:pt x="2284" y="17754"/>
                    <a:pt x="2291" y="17754"/>
                  </a:cubicBezTo>
                  <a:cubicBezTo>
                    <a:pt x="2480" y="17754"/>
                    <a:pt x="2608" y="17437"/>
                    <a:pt x="2674" y="17322"/>
                  </a:cubicBezTo>
                  <a:cubicBezTo>
                    <a:pt x="2956" y="16742"/>
                    <a:pt x="3079" y="16240"/>
                    <a:pt x="3241" y="15647"/>
                  </a:cubicBezTo>
                  <a:cubicBezTo>
                    <a:pt x="3766" y="13758"/>
                    <a:pt x="3565" y="11746"/>
                    <a:pt x="3996" y="9857"/>
                  </a:cubicBezTo>
                  <a:cubicBezTo>
                    <a:pt x="4077" y="9504"/>
                    <a:pt x="4550" y="8114"/>
                    <a:pt x="4968" y="8114"/>
                  </a:cubicBezTo>
                  <a:cubicBezTo>
                    <a:pt x="5953" y="8114"/>
                    <a:pt x="5723" y="9546"/>
                    <a:pt x="5804" y="10207"/>
                  </a:cubicBezTo>
                  <a:cubicBezTo>
                    <a:pt x="5833" y="10424"/>
                    <a:pt x="5778" y="11030"/>
                    <a:pt x="6141" y="11030"/>
                  </a:cubicBezTo>
                  <a:cubicBezTo>
                    <a:pt x="6900" y="11030"/>
                    <a:pt x="6621" y="8937"/>
                    <a:pt x="7175" y="8937"/>
                  </a:cubicBezTo>
                  <a:cubicBezTo>
                    <a:pt x="7302" y="8937"/>
                    <a:pt x="7472" y="9047"/>
                    <a:pt x="7709" y="9316"/>
                  </a:cubicBezTo>
                  <a:cubicBezTo>
                    <a:pt x="7910" y="9546"/>
                    <a:pt x="7871" y="9802"/>
                    <a:pt x="7871" y="10100"/>
                  </a:cubicBezTo>
                  <a:cubicBezTo>
                    <a:pt x="7871" y="10518"/>
                    <a:pt x="8046" y="10991"/>
                    <a:pt x="8085" y="11409"/>
                  </a:cubicBezTo>
                  <a:cubicBezTo>
                    <a:pt x="8114" y="11853"/>
                    <a:pt x="7965" y="12394"/>
                    <a:pt x="8114" y="12825"/>
                  </a:cubicBezTo>
                  <a:cubicBezTo>
                    <a:pt x="8182" y="13016"/>
                    <a:pt x="8221" y="13878"/>
                    <a:pt x="8545" y="13878"/>
                  </a:cubicBezTo>
                  <a:cubicBezTo>
                    <a:pt x="9112" y="13878"/>
                    <a:pt x="9018" y="12352"/>
                    <a:pt x="9018" y="12028"/>
                  </a:cubicBezTo>
                  <a:cubicBezTo>
                    <a:pt x="9031" y="11341"/>
                    <a:pt x="9138" y="10651"/>
                    <a:pt x="9180" y="9977"/>
                  </a:cubicBezTo>
                  <a:cubicBezTo>
                    <a:pt x="9261" y="8817"/>
                    <a:pt x="9099" y="7411"/>
                    <a:pt x="10003" y="6536"/>
                  </a:cubicBezTo>
                  <a:cubicBezTo>
                    <a:pt x="10048" y="6486"/>
                    <a:pt x="10118" y="6465"/>
                    <a:pt x="10198" y="6465"/>
                  </a:cubicBezTo>
                  <a:cubicBezTo>
                    <a:pt x="10403" y="6465"/>
                    <a:pt x="10670" y="6605"/>
                    <a:pt x="10719" y="6750"/>
                  </a:cubicBezTo>
                  <a:cubicBezTo>
                    <a:pt x="11017" y="7628"/>
                    <a:pt x="10800" y="8788"/>
                    <a:pt x="11354" y="9546"/>
                  </a:cubicBezTo>
                  <a:cubicBezTo>
                    <a:pt x="11360" y="9554"/>
                    <a:pt x="11367" y="9558"/>
                    <a:pt x="11375" y="9558"/>
                  </a:cubicBezTo>
                  <a:cubicBezTo>
                    <a:pt x="11460" y="9558"/>
                    <a:pt x="11651" y="9149"/>
                    <a:pt x="11678" y="9099"/>
                  </a:cubicBezTo>
                  <a:cubicBezTo>
                    <a:pt x="11798" y="8856"/>
                    <a:pt x="11798" y="7670"/>
                    <a:pt x="12070" y="7573"/>
                  </a:cubicBezTo>
                  <a:cubicBezTo>
                    <a:pt x="12074" y="7571"/>
                    <a:pt x="12079" y="7571"/>
                    <a:pt x="12084" y="7571"/>
                  </a:cubicBezTo>
                  <a:cubicBezTo>
                    <a:pt x="12213" y="7571"/>
                    <a:pt x="12502" y="8037"/>
                    <a:pt x="12527" y="8140"/>
                  </a:cubicBezTo>
                  <a:cubicBezTo>
                    <a:pt x="12744" y="8775"/>
                    <a:pt x="12650" y="9653"/>
                    <a:pt x="13055" y="10220"/>
                  </a:cubicBezTo>
                  <a:cubicBezTo>
                    <a:pt x="13246" y="10477"/>
                    <a:pt x="13490" y="10610"/>
                    <a:pt x="13713" y="10610"/>
                  </a:cubicBezTo>
                  <a:cubicBezTo>
                    <a:pt x="13992" y="10610"/>
                    <a:pt x="14236" y="10400"/>
                    <a:pt x="14296" y="9964"/>
                  </a:cubicBezTo>
                  <a:cubicBezTo>
                    <a:pt x="14351" y="9614"/>
                    <a:pt x="14390" y="9248"/>
                    <a:pt x="14432" y="8869"/>
                  </a:cubicBezTo>
                  <a:cubicBezTo>
                    <a:pt x="12083" y="4051"/>
                    <a:pt x="9559" y="1"/>
                    <a:pt x="766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6" name="Google Shape;5126;p52"/>
            <p:cNvSpPr/>
            <p:nvPr/>
          </p:nvSpPr>
          <p:spPr>
            <a:xfrm>
              <a:off x="1913843" y="3268837"/>
              <a:ext cx="542734" cy="161493"/>
            </a:xfrm>
            <a:custGeom>
              <a:avLst/>
              <a:gdLst/>
              <a:ahLst/>
              <a:cxnLst/>
              <a:rect l="l" t="t" r="r" b="b"/>
              <a:pathLst>
                <a:path w="2944" h="876" extrusionOk="0">
                  <a:moveTo>
                    <a:pt x="1490" y="1"/>
                  </a:moveTo>
                  <a:cubicBezTo>
                    <a:pt x="1156" y="1"/>
                    <a:pt x="889" y="275"/>
                    <a:pt x="889" y="600"/>
                  </a:cubicBezTo>
                  <a:lnTo>
                    <a:pt x="889" y="623"/>
                  </a:lnTo>
                  <a:cubicBezTo>
                    <a:pt x="852" y="613"/>
                    <a:pt x="815" y="606"/>
                    <a:pt x="775" y="606"/>
                  </a:cubicBezTo>
                  <a:cubicBezTo>
                    <a:pt x="759" y="606"/>
                    <a:pt x="744" y="607"/>
                    <a:pt x="727" y="609"/>
                  </a:cubicBezTo>
                  <a:cubicBezTo>
                    <a:pt x="623" y="616"/>
                    <a:pt x="526" y="661"/>
                    <a:pt x="454" y="734"/>
                  </a:cubicBezTo>
                  <a:cubicBezTo>
                    <a:pt x="421" y="723"/>
                    <a:pt x="384" y="717"/>
                    <a:pt x="346" y="717"/>
                  </a:cubicBezTo>
                  <a:cubicBezTo>
                    <a:pt x="332" y="717"/>
                    <a:pt x="318" y="718"/>
                    <a:pt x="304" y="719"/>
                  </a:cubicBezTo>
                  <a:cubicBezTo>
                    <a:pt x="178" y="727"/>
                    <a:pt x="75" y="787"/>
                    <a:pt x="0" y="876"/>
                  </a:cubicBezTo>
                  <a:lnTo>
                    <a:pt x="2934" y="876"/>
                  </a:lnTo>
                  <a:cubicBezTo>
                    <a:pt x="2934" y="867"/>
                    <a:pt x="2943" y="860"/>
                    <a:pt x="2943" y="846"/>
                  </a:cubicBezTo>
                  <a:cubicBezTo>
                    <a:pt x="2921" y="625"/>
                    <a:pt x="2736" y="452"/>
                    <a:pt x="2509" y="452"/>
                  </a:cubicBezTo>
                  <a:cubicBezTo>
                    <a:pt x="2501" y="452"/>
                    <a:pt x="2492" y="452"/>
                    <a:pt x="2483" y="453"/>
                  </a:cubicBezTo>
                  <a:cubicBezTo>
                    <a:pt x="2365" y="460"/>
                    <a:pt x="2253" y="527"/>
                    <a:pt x="2179" y="616"/>
                  </a:cubicBezTo>
                  <a:cubicBezTo>
                    <a:pt x="2150" y="609"/>
                    <a:pt x="2120" y="609"/>
                    <a:pt x="2090" y="609"/>
                  </a:cubicBezTo>
                  <a:lnTo>
                    <a:pt x="2090" y="600"/>
                  </a:lnTo>
                  <a:cubicBezTo>
                    <a:pt x="2090" y="275"/>
                    <a:pt x="1823" y="1"/>
                    <a:pt x="1490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7" name="Google Shape;5127;p52"/>
            <p:cNvSpPr/>
            <p:nvPr/>
          </p:nvSpPr>
          <p:spPr>
            <a:xfrm>
              <a:off x="1944970" y="2627298"/>
              <a:ext cx="480486" cy="480640"/>
            </a:xfrm>
            <a:custGeom>
              <a:avLst/>
              <a:gdLst/>
              <a:ahLst/>
              <a:cxnLst/>
              <a:rect l="l" t="t" r="r" b="b"/>
              <a:pathLst>
                <a:path w="3535" h="3536" extrusionOk="0">
                  <a:moveTo>
                    <a:pt x="1763" y="0"/>
                  </a:moveTo>
                  <a:cubicBezTo>
                    <a:pt x="785" y="0"/>
                    <a:pt x="1" y="794"/>
                    <a:pt x="1" y="1772"/>
                  </a:cubicBezTo>
                  <a:cubicBezTo>
                    <a:pt x="1" y="2750"/>
                    <a:pt x="785" y="3536"/>
                    <a:pt x="1763" y="3536"/>
                  </a:cubicBezTo>
                  <a:cubicBezTo>
                    <a:pt x="2741" y="3536"/>
                    <a:pt x="3534" y="2750"/>
                    <a:pt x="3534" y="1772"/>
                  </a:cubicBezTo>
                  <a:cubicBezTo>
                    <a:pt x="3534" y="794"/>
                    <a:pt x="2741" y="0"/>
                    <a:pt x="1763" y="0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8" name="Google Shape;5128;p52"/>
            <p:cNvSpPr/>
            <p:nvPr/>
          </p:nvSpPr>
          <p:spPr>
            <a:xfrm>
              <a:off x="2374282" y="2634914"/>
              <a:ext cx="546919" cy="267710"/>
            </a:xfrm>
            <a:custGeom>
              <a:avLst/>
              <a:gdLst/>
              <a:ahLst/>
              <a:cxnLst/>
              <a:rect l="l" t="t" r="r" b="b"/>
              <a:pathLst>
                <a:path w="16742" h="8195" extrusionOk="0">
                  <a:moveTo>
                    <a:pt x="9397" y="1"/>
                  </a:moveTo>
                  <a:cubicBezTo>
                    <a:pt x="6400" y="1"/>
                    <a:pt x="3957" y="2350"/>
                    <a:pt x="3808" y="5308"/>
                  </a:cubicBezTo>
                  <a:cubicBezTo>
                    <a:pt x="3510" y="5198"/>
                    <a:pt x="3186" y="5133"/>
                    <a:pt x="2862" y="5133"/>
                  </a:cubicBezTo>
                  <a:cubicBezTo>
                    <a:pt x="1284" y="5133"/>
                    <a:pt x="1" y="6413"/>
                    <a:pt x="1" y="7994"/>
                  </a:cubicBezTo>
                  <a:cubicBezTo>
                    <a:pt x="1" y="8062"/>
                    <a:pt x="1" y="8130"/>
                    <a:pt x="14" y="8195"/>
                  </a:cubicBezTo>
                  <a:lnTo>
                    <a:pt x="16593" y="8195"/>
                  </a:lnTo>
                  <a:cubicBezTo>
                    <a:pt x="16687" y="7952"/>
                    <a:pt x="16742" y="7683"/>
                    <a:pt x="16742" y="7414"/>
                  </a:cubicBezTo>
                  <a:cubicBezTo>
                    <a:pt x="16742" y="6332"/>
                    <a:pt x="15984" y="5441"/>
                    <a:pt x="14973" y="5214"/>
                  </a:cubicBezTo>
                  <a:cubicBezTo>
                    <a:pt x="14769" y="2311"/>
                    <a:pt x="12355" y="1"/>
                    <a:pt x="9397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45">
          <a:extLst>
            <a:ext uri="{FF2B5EF4-FFF2-40B4-BE49-F238E27FC236}">
              <a16:creationId xmlns:a16="http://schemas.microsoft.com/office/drawing/2014/main" id="{64765DD7-A0A0-6DA1-1F86-11F3E609E6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46" name="Google Shape;4746;p52">
            <a:extLst>
              <a:ext uri="{FF2B5EF4-FFF2-40B4-BE49-F238E27FC236}">
                <a16:creationId xmlns:a16="http://schemas.microsoft.com/office/drawing/2014/main" id="{EDE8654A-D0F8-F03B-0325-3987455D8BBF}"/>
              </a:ext>
            </a:extLst>
          </p:cNvPr>
          <p:cNvSpPr/>
          <p:nvPr/>
        </p:nvSpPr>
        <p:spPr>
          <a:xfrm>
            <a:off x="-1145" y="2938205"/>
            <a:ext cx="3154562" cy="3544774"/>
          </a:xfrm>
          <a:prstGeom prst="round2DiagRect">
            <a:avLst>
              <a:gd name="adj1" fmla="val 12342"/>
              <a:gd name="adj2" fmla="val 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47" name="Google Shape;4747;p52">
            <a:extLst>
              <a:ext uri="{FF2B5EF4-FFF2-40B4-BE49-F238E27FC236}">
                <a16:creationId xmlns:a16="http://schemas.microsoft.com/office/drawing/2014/main" id="{E0D657B1-680B-06DB-74BD-BB2DB455B71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13610" y="679314"/>
            <a:ext cx="7485330" cy="213151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n-IN" dirty="0">
                <a:solidFill>
                  <a:srgbClr val="FF0000"/>
                </a:solidFill>
              </a:rPr>
              <a:t>US$2.9/tCO</a:t>
            </a:r>
            <a:r>
              <a:rPr lang="en-IN" baseline="-25000" dirty="0">
                <a:solidFill>
                  <a:srgbClr val="FF0000"/>
                </a:solidFill>
              </a:rPr>
              <a:t>2</a:t>
            </a:r>
            <a:endParaRPr baseline="-25000" dirty="0">
              <a:solidFill>
                <a:srgbClr val="FF0000"/>
              </a:solidFill>
            </a:endParaRPr>
          </a:p>
        </p:txBody>
      </p:sp>
      <p:sp>
        <p:nvSpPr>
          <p:cNvPr id="4748" name="Google Shape;4748;p52">
            <a:extLst>
              <a:ext uri="{FF2B5EF4-FFF2-40B4-BE49-F238E27FC236}">
                <a16:creationId xmlns:a16="http://schemas.microsoft.com/office/drawing/2014/main" id="{4826FCC5-212D-9561-34DC-1A9A41E94572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165062" y="182214"/>
            <a:ext cx="8810495" cy="497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/>
            <a:r>
              <a:rPr lang="en-US" sz="2400">
                <a:solidFill>
                  <a:srgbClr val="FFD65D"/>
                </a:solidFill>
              </a:rPr>
              <a:t>Estimate as seen in Economic Survey 2016-17</a:t>
            </a:r>
            <a:endParaRPr sz="2400">
              <a:solidFill>
                <a:srgbClr val="FFD65D"/>
              </a:solidFill>
            </a:endParaRPr>
          </a:p>
        </p:txBody>
      </p:sp>
      <p:grpSp>
        <p:nvGrpSpPr>
          <p:cNvPr id="4749" name="Google Shape;4749;p52">
            <a:extLst>
              <a:ext uri="{FF2B5EF4-FFF2-40B4-BE49-F238E27FC236}">
                <a16:creationId xmlns:a16="http://schemas.microsoft.com/office/drawing/2014/main" id="{6CDD6581-9DCC-1D83-AEF3-8744BEF7679F}"/>
              </a:ext>
            </a:extLst>
          </p:cNvPr>
          <p:cNvGrpSpPr/>
          <p:nvPr/>
        </p:nvGrpSpPr>
        <p:grpSpPr>
          <a:xfrm>
            <a:off x="-2122620" y="2969666"/>
            <a:ext cx="4245239" cy="2100049"/>
            <a:chOff x="1913843" y="2627298"/>
            <a:chExt cx="5273020" cy="1976701"/>
          </a:xfrm>
        </p:grpSpPr>
        <p:sp>
          <p:nvSpPr>
            <p:cNvPr id="4750" name="Google Shape;4750;p52">
              <a:extLst>
                <a:ext uri="{FF2B5EF4-FFF2-40B4-BE49-F238E27FC236}">
                  <a16:creationId xmlns:a16="http://schemas.microsoft.com/office/drawing/2014/main" id="{AE8F683F-A1F5-5309-1E91-575C08483057}"/>
                </a:ext>
              </a:extLst>
            </p:cNvPr>
            <p:cNvSpPr/>
            <p:nvPr/>
          </p:nvSpPr>
          <p:spPr>
            <a:xfrm>
              <a:off x="2845242" y="3257506"/>
              <a:ext cx="557406" cy="242622"/>
            </a:xfrm>
            <a:custGeom>
              <a:avLst/>
              <a:gdLst/>
              <a:ahLst/>
              <a:cxnLst/>
              <a:rect l="l" t="t" r="r" b="b"/>
              <a:pathLst>
                <a:path w="17063" h="7427" extrusionOk="0">
                  <a:moveTo>
                    <a:pt x="8100" y="0"/>
                  </a:moveTo>
                  <a:cubicBezTo>
                    <a:pt x="6746" y="0"/>
                    <a:pt x="5613" y="977"/>
                    <a:pt x="5373" y="2269"/>
                  </a:cubicBezTo>
                  <a:cubicBezTo>
                    <a:pt x="5279" y="2243"/>
                    <a:pt x="5172" y="2243"/>
                    <a:pt x="5075" y="2243"/>
                  </a:cubicBezTo>
                  <a:cubicBezTo>
                    <a:pt x="5057" y="2242"/>
                    <a:pt x="5039" y="2242"/>
                    <a:pt x="5021" y="2242"/>
                  </a:cubicBezTo>
                  <a:cubicBezTo>
                    <a:pt x="3860" y="2242"/>
                    <a:pt x="2916" y="3165"/>
                    <a:pt x="2862" y="4336"/>
                  </a:cubicBezTo>
                  <a:cubicBezTo>
                    <a:pt x="1485" y="4686"/>
                    <a:pt x="377" y="5778"/>
                    <a:pt x="1" y="7155"/>
                  </a:cubicBezTo>
                  <a:lnTo>
                    <a:pt x="17063" y="7427"/>
                  </a:lnTo>
                  <a:cubicBezTo>
                    <a:pt x="16645" y="5684"/>
                    <a:pt x="15673" y="4375"/>
                    <a:pt x="13810" y="4349"/>
                  </a:cubicBezTo>
                  <a:lnTo>
                    <a:pt x="13648" y="4349"/>
                  </a:lnTo>
                  <a:cubicBezTo>
                    <a:pt x="13677" y="3024"/>
                    <a:pt x="12624" y="1932"/>
                    <a:pt x="11299" y="1919"/>
                  </a:cubicBezTo>
                  <a:cubicBezTo>
                    <a:pt x="11124" y="1919"/>
                    <a:pt x="10949" y="1932"/>
                    <a:pt x="10787" y="1958"/>
                  </a:cubicBezTo>
                  <a:cubicBezTo>
                    <a:pt x="10437" y="837"/>
                    <a:pt x="9397" y="14"/>
                    <a:pt x="8153" y="1"/>
                  </a:cubicBezTo>
                  <a:cubicBezTo>
                    <a:pt x="8135" y="1"/>
                    <a:pt x="8117" y="0"/>
                    <a:pt x="8100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1" name="Google Shape;4751;p52">
              <a:extLst>
                <a:ext uri="{FF2B5EF4-FFF2-40B4-BE49-F238E27FC236}">
                  <a16:creationId xmlns:a16="http://schemas.microsoft.com/office/drawing/2014/main" id="{59B04294-B6B3-A236-B84D-998F60E3C311}"/>
                </a:ext>
              </a:extLst>
            </p:cNvPr>
            <p:cNvSpPr/>
            <p:nvPr/>
          </p:nvSpPr>
          <p:spPr>
            <a:xfrm>
              <a:off x="3021586" y="3332447"/>
              <a:ext cx="61415" cy="122274"/>
            </a:xfrm>
            <a:custGeom>
              <a:avLst/>
              <a:gdLst/>
              <a:ahLst/>
              <a:cxnLst/>
              <a:rect l="l" t="t" r="r" b="b"/>
              <a:pathLst>
                <a:path w="1880" h="3743" extrusionOk="0">
                  <a:moveTo>
                    <a:pt x="1" y="1"/>
                  </a:moveTo>
                  <a:cubicBezTo>
                    <a:pt x="1" y="1"/>
                    <a:pt x="1501" y="474"/>
                    <a:pt x="1420" y="1864"/>
                  </a:cubicBezTo>
                  <a:cubicBezTo>
                    <a:pt x="1339" y="3403"/>
                    <a:pt x="1" y="3743"/>
                    <a:pt x="1" y="3743"/>
                  </a:cubicBezTo>
                  <a:cubicBezTo>
                    <a:pt x="1041" y="3743"/>
                    <a:pt x="1880" y="2904"/>
                    <a:pt x="1880" y="1864"/>
                  </a:cubicBezTo>
                  <a:cubicBezTo>
                    <a:pt x="1880" y="840"/>
                    <a:pt x="1041" y="1"/>
                    <a:pt x="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2" name="Google Shape;4752;p52">
              <a:extLst>
                <a:ext uri="{FF2B5EF4-FFF2-40B4-BE49-F238E27FC236}">
                  <a16:creationId xmlns:a16="http://schemas.microsoft.com/office/drawing/2014/main" id="{A5C9CDE4-12A5-F8E6-7B2E-3A4335E65F9D}"/>
                </a:ext>
              </a:extLst>
            </p:cNvPr>
            <p:cNvSpPr/>
            <p:nvPr/>
          </p:nvSpPr>
          <p:spPr>
            <a:xfrm>
              <a:off x="3334777" y="3406539"/>
              <a:ext cx="68830" cy="89150"/>
            </a:xfrm>
            <a:custGeom>
              <a:avLst/>
              <a:gdLst/>
              <a:ahLst/>
              <a:cxnLst/>
              <a:rect l="l" t="t" r="r" b="b"/>
              <a:pathLst>
                <a:path w="2107" h="2729" extrusionOk="0">
                  <a:moveTo>
                    <a:pt x="1" y="1"/>
                  </a:moveTo>
                  <a:lnTo>
                    <a:pt x="1" y="1"/>
                  </a:lnTo>
                  <a:cubicBezTo>
                    <a:pt x="905" y="367"/>
                    <a:pt x="1511" y="1164"/>
                    <a:pt x="1864" y="2149"/>
                  </a:cubicBezTo>
                  <a:cubicBezTo>
                    <a:pt x="2026" y="2486"/>
                    <a:pt x="2094" y="2729"/>
                    <a:pt x="2094" y="2729"/>
                  </a:cubicBezTo>
                  <a:cubicBezTo>
                    <a:pt x="2107" y="1420"/>
                    <a:pt x="1216" y="312"/>
                    <a:pt x="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3" name="Google Shape;4753;p52">
              <a:extLst>
                <a:ext uri="{FF2B5EF4-FFF2-40B4-BE49-F238E27FC236}">
                  <a16:creationId xmlns:a16="http://schemas.microsoft.com/office/drawing/2014/main" id="{5B41DDC2-CC60-ADED-A74D-7AD8865F217C}"/>
                </a:ext>
              </a:extLst>
            </p:cNvPr>
            <p:cNvSpPr/>
            <p:nvPr/>
          </p:nvSpPr>
          <p:spPr>
            <a:xfrm>
              <a:off x="3222267" y="3403893"/>
              <a:ext cx="173399" cy="89150"/>
            </a:xfrm>
            <a:custGeom>
              <a:avLst/>
              <a:gdLst/>
              <a:ahLst/>
              <a:cxnLst/>
              <a:rect l="l" t="t" r="r" b="b"/>
              <a:pathLst>
                <a:path w="5308" h="2729" extrusionOk="0">
                  <a:moveTo>
                    <a:pt x="2755" y="1"/>
                  </a:moveTo>
                  <a:cubicBezTo>
                    <a:pt x="1258" y="1"/>
                    <a:pt x="14" y="1216"/>
                    <a:pt x="1" y="2729"/>
                  </a:cubicBezTo>
                  <a:cubicBezTo>
                    <a:pt x="1" y="2729"/>
                    <a:pt x="691" y="542"/>
                    <a:pt x="2606" y="542"/>
                  </a:cubicBezTo>
                  <a:lnTo>
                    <a:pt x="2784" y="542"/>
                  </a:lnTo>
                  <a:cubicBezTo>
                    <a:pt x="4281" y="649"/>
                    <a:pt x="4997" y="1595"/>
                    <a:pt x="5308" y="2230"/>
                  </a:cubicBezTo>
                  <a:cubicBezTo>
                    <a:pt x="4955" y="1245"/>
                    <a:pt x="4349" y="448"/>
                    <a:pt x="3445" y="82"/>
                  </a:cubicBezTo>
                  <a:cubicBezTo>
                    <a:pt x="3241" y="43"/>
                    <a:pt x="3027" y="1"/>
                    <a:pt x="2810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4" name="Google Shape;4754;p52">
              <a:extLst>
                <a:ext uri="{FF2B5EF4-FFF2-40B4-BE49-F238E27FC236}">
                  <a16:creationId xmlns:a16="http://schemas.microsoft.com/office/drawing/2014/main" id="{3DB5B8BC-2939-E93F-DC10-8335A2AFD648}"/>
                </a:ext>
              </a:extLst>
            </p:cNvPr>
            <p:cNvSpPr/>
            <p:nvPr/>
          </p:nvSpPr>
          <p:spPr>
            <a:xfrm>
              <a:off x="3270845" y="2959342"/>
              <a:ext cx="596247" cy="216586"/>
            </a:xfrm>
            <a:custGeom>
              <a:avLst/>
              <a:gdLst/>
              <a:ahLst/>
              <a:cxnLst/>
              <a:rect l="l" t="t" r="r" b="b"/>
              <a:pathLst>
                <a:path w="18252" h="6630" extrusionOk="0">
                  <a:moveTo>
                    <a:pt x="7803" y="1"/>
                  </a:moveTo>
                  <a:cubicBezTo>
                    <a:pt x="5778" y="1"/>
                    <a:pt x="4051" y="1245"/>
                    <a:pt x="3335" y="2998"/>
                  </a:cubicBezTo>
                  <a:cubicBezTo>
                    <a:pt x="3212" y="2985"/>
                    <a:pt x="3092" y="2985"/>
                    <a:pt x="2969" y="2985"/>
                  </a:cubicBezTo>
                  <a:cubicBezTo>
                    <a:pt x="1323" y="2985"/>
                    <a:pt x="1" y="4310"/>
                    <a:pt x="1" y="5956"/>
                  </a:cubicBezTo>
                  <a:cubicBezTo>
                    <a:pt x="1" y="6186"/>
                    <a:pt x="27" y="6416"/>
                    <a:pt x="66" y="6630"/>
                  </a:cubicBezTo>
                  <a:lnTo>
                    <a:pt x="14756" y="6630"/>
                  </a:lnTo>
                  <a:cubicBezTo>
                    <a:pt x="14795" y="6604"/>
                    <a:pt x="14824" y="6578"/>
                    <a:pt x="14863" y="6549"/>
                  </a:cubicBezTo>
                  <a:cubicBezTo>
                    <a:pt x="14863" y="6578"/>
                    <a:pt x="14876" y="6604"/>
                    <a:pt x="14889" y="6630"/>
                  </a:cubicBezTo>
                  <a:lnTo>
                    <a:pt x="18116" y="6630"/>
                  </a:lnTo>
                  <a:cubicBezTo>
                    <a:pt x="18197" y="6429"/>
                    <a:pt x="18252" y="6199"/>
                    <a:pt x="18252" y="5956"/>
                  </a:cubicBezTo>
                  <a:cubicBezTo>
                    <a:pt x="18252" y="4997"/>
                    <a:pt x="17468" y="4213"/>
                    <a:pt x="16496" y="4213"/>
                  </a:cubicBezTo>
                  <a:cubicBezTo>
                    <a:pt x="16159" y="4213"/>
                    <a:pt x="15848" y="4310"/>
                    <a:pt x="15579" y="4485"/>
                  </a:cubicBezTo>
                  <a:cubicBezTo>
                    <a:pt x="15404" y="3364"/>
                    <a:pt x="14445" y="2512"/>
                    <a:pt x="13269" y="2512"/>
                  </a:cubicBezTo>
                  <a:cubicBezTo>
                    <a:pt x="12880" y="2512"/>
                    <a:pt x="12501" y="2609"/>
                    <a:pt x="12177" y="2784"/>
                  </a:cubicBezTo>
                  <a:cubicBezTo>
                    <a:pt x="11393" y="1151"/>
                    <a:pt x="9734" y="1"/>
                    <a:pt x="7803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5" name="Google Shape;4755;p52">
              <a:extLst>
                <a:ext uri="{FF2B5EF4-FFF2-40B4-BE49-F238E27FC236}">
                  <a16:creationId xmlns:a16="http://schemas.microsoft.com/office/drawing/2014/main" id="{DC848F43-1964-DC77-BCDE-B20DE23D5BC4}"/>
                </a:ext>
              </a:extLst>
            </p:cNvPr>
            <p:cNvSpPr/>
            <p:nvPr/>
          </p:nvSpPr>
          <p:spPr>
            <a:xfrm>
              <a:off x="3842155" y="2785378"/>
              <a:ext cx="330791" cy="120380"/>
            </a:xfrm>
            <a:custGeom>
              <a:avLst/>
              <a:gdLst/>
              <a:ahLst/>
              <a:cxnLst/>
              <a:rect l="l" t="t" r="r" b="b"/>
              <a:pathLst>
                <a:path w="10126" h="3685" extrusionOk="0">
                  <a:moveTo>
                    <a:pt x="5791" y="1"/>
                  </a:moveTo>
                  <a:cubicBezTo>
                    <a:pt x="4712" y="1"/>
                    <a:pt x="3795" y="636"/>
                    <a:pt x="3361" y="1553"/>
                  </a:cubicBezTo>
                  <a:cubicBezTo>
                    <a:pt x="3186" y="1446"/>
                    <a:pt x="2972" y="1391"/>
                    <a:pt x="2755" y="1391"/>
                  </a:cubicBezTo>
                  <a:cubicBezTo>
                    <a:pt x="2107" y="1391"/>
                    <a:pt x="1579" y="1864"/>
                    <a:pt x="1472" y="2483"/>
                  </a:cubicBezTo>
                  <a:cubicBezTo>
                    <a:pt x="1323" y="2389"/>
                    <a:pt x="1148" y="2337"/>
                    <a:pt x="960" y="2337"/>
                  </a:cubicBezTo>
                  <a:cubicBezTo>
                    <a:pt x="432" y="2337"/>
                    <a:pt x="1" y="2768"/>
                    <a:pt x="1" y="3309"/>
                  </a:cubicBezTo>
                  <a:cubicBezTo>
                    <a:pt x="1" y="3442"/>
                    <a:pt x="27" y="3565"/>
                    <a:pt x="69" y="3685"/>
                  </a:cubicBezTo>
                  <a:lnTo>
                    <a:pt x="1851" y="3685"/>
                  </a:lnTo>
                  <a:cubicBezTo>
                    <a:pt x="1864" y="3659"/>
                    <a:pt x="1864" y="3646"/>
                    <a:pt x="1877" y="3633"/>
                  </a:cubicBezTo>
                  <a:cubicBezTo>
                    <a:pt x="1890" y="3646"/>
                    <a:pt x="1919" y="3659"/>
                    <a:pt x="1932" y="3685"/>
                  </a:cubicBezTo>
                  <a:lnTo>
                    <a:pt x="10071" y="3685"/>
                  </a:lnTo>
                  <a:cubicBezTo>
                    <a:pt x="10100" y="3565"/>
                    <a:pt x="10126" y="3429"/>
                    <a:pt x="10126" y="3309"/>
                  </a:cubicBezTo>
                  <a:cubicBezTo>
                    <a:pt x="10126" y="2389"/>
                    <a:pt x="9384" y="1660"/>
                    <a:pt x="8464" y="1660"/>
                  </a:cubicBezTo>
                  <a:cubicBezTo>
                    <a:pt x="8399" y="1660"/>
                    <a:pt x="8331" y="1660"/>
                    <a:pt x="8263" y="1673"/>
                  </a:cubicBezTo>
                  <a:cubicBezTo>
                    <a:pt x="7871" y="688"/>
                    <a:pt x="6912" y="1"/>
                    <a:pt x="579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6" name="Google Shape;4756;p52">
              <a:extLst>
                <a:ext uri="{FF2B5EF4-FFF2-40B4-BE49-F238E27FC236}">
                  <a16:creationId xmlns:a16="http://schemas.microsoft.com/office/drawing/2014/main" id="{57C3FAAE-4F90-EB4B-CFC9-0E3353FB91B9}"/>
                </a:ext>
              </a:extLst>
            </p:cNvPr>
            <p:cNvSpPr/>
            <p:nvPr/>
          </p:nvSpPr>
          <p:spPr>
            <a:xfrm>
              <a:off x="5641785" y="3396902"/>
              <a:ext cx="291949" cy="143345"/>
            </a:xfrm>
            <a:custGeom>
              <a:avLst/>
              <a:gdLst/>
              <a:ahLst/>
              <a:cxnLst/>
              <a:rect l="l" t="t" r="r" b="b"/>
              <a:pathLst>
                <a:path w="8937" h="4388" extrusionOk="0">
                  <a:moveTo>
                    <a:pt x="3915" y="1"/>
                  </a:moveTo>
                  <a:cubicBezTo>
                    <a:pt x="2333" y="1"/>
                    <a:pt x="1037" y="1242"/>
                    <a:pt x="944" y="2794"/>
                  </a:cubicBezTo>
                  <a:cubicBezTo>
                    <a:pt x="406" y="2917"/>
                    <a:pt x="1" y="3390"/>
                    <a:pt x="1" y="3970"/>
                  </a:cubicBezTo>
                  <a:cubicBezTo>
                    <a:pt x="1" y="4119"/>
                    <a:pt x="27" y="4252"/>
                    <a:pt x="65" y="4388"/>
                  </a:cubicBezTo>
                  <a:lnTo>
                    <a:pt x="8937" y="4388"/>
                  </a:lnTo>
                  <a:lnTo>
                    <a:pt x="8937" y="4281"/>
                  </a:lnTo>
                  <a:cubicBezTo>
                    <a:pt x="8937" y="3429"/>
                    <a:pt x="8263" y="2755"/>
                    <a:pt x="7411" y="2755"/>
                  </a:cubicBezTo>
                  <a:cubicBezTo>
                    <a:pt x="7236" y="2755"/>
                    <a:pt x="7061" y="2781"/>
                    <a:pt x="6899" y="2836"/>
                  </a:cubicBezTo>
                  <a:cubicBezTo>
                    <a:pt x="6818" y="1255"/>
                    <a:pt x="5522" y="1"/>
                    <a:pt x="391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7" name="Google Shape;4757;p52">
              <a:extLst>
                <a:ext uri="{FF2B5EF4-FFF2-40B4-BE49-F238E27FC236}">
                  <a16:creationId xmlns:a16="http://schemas.microsoft.com/office/drawing/2014/main" id="{D74EFA29-31A9-AD9C-116D-5948F8FAC7F9}"/>
                </a:ext>
              </a:extLst>
            </p:cNvPr>
            <p:cNvSpPr/>
            <p:nvPr/>
          </p:nvSpPr>
          <p:spPr>
            <a:xfrm>
              <a:off x="4585976" y="3466976"/>
              <a:ext cx="546821" cy="885191"/>
            </a:xfrm>
            <a:custGeom>
              <a:avLst/>
              <a:gdLst/>
              <a:ahLst/>
              <a:cxnLst/>
              <a:rect l="l" t="t" r="r" b="b"/>
              <a:pathLst>
                <a:path w="16739" h="27097" extrusionOk="0">
                  <a:moveTo>
                    <a:pt x="1" y="1"/>
                  </a:moveTo>
                  <a:lnTo>
                    <a:pt x="1" y="27097"/>
                  </a:lnTo>
                  <a:lnTo>
                    <a:pt x="16739" y="27097"/>
                  </a:lnTo>
                  <a:lnTo>
                    <a:pt x="16739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8" name="Google Shape;4758;p52">
              <a:extLst>
                <a:ext uri="{FF2B5EF4-FFF2-40B4-BE49-F238E27FC236}">
                  <a16:creationId xmlns:a16="http://schemas.microsoft.com/office/drawing/2014/main" id="{B5E383FB-BAFA-0970-00EB-70B62AAA1F20}"/>
                </a:ext>
              </a:extLst>
            </p:cNvPr>
            <p:cNvSpPr/>
            <p:nvPr/>
          </p:nvSpPr>
          <p:spPr>
            <a:xfrm>
              <a:off x="4585976" y="3784937"/>
              <a:ext cx="546821" cy="45016"/>
            </a:xfrm>
            <a:custGeom>
              <a:avLst/>
              <a:gdLst/>
              <a:ahLst/>
              <a:cxnLst/>
              <a:rect l="l" t="t" r="r" b="b"/>
              <a:pathLst>
                <a:path w="16739" h="1378" extrusionOk="0">
                  <a:moveTo>
                    <a:pt x="1" y="1"/>
                  </a:moveTo>
                  <a:lnTo>
                    <a:pt x="1" y="1378"/>
                  </a:lnTo>
                  <a:lnTo>
                    <a:pt x="16739" y="1378"/>
                  </a:lnTo>
                  <a:lnTo>
                    <a:pt x="1673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9" name="Google Shape;4759;p52">
              <a:extLst>
                <a:ext uri="{FF2B5EF4-FFF2-40B4-BE49-F238E27FC236}">
                  <a16:creationId xmlns:a16="http://schemas.microsoft.com/office/drawing/2014/main" id="{3217B493-FAE2-D7B6-553C-F1AAAC0232F1}"/>
                </a:ext>
              </a:extLst>
            </p:cNvPr>
            <p:cNvSpPr/>
            <p:nvPr/>
          </p:nvSpPr>
          <p:spPr>
            <a:xfrm>
              <a:off x="4585976" y="3950795"/>
              <a:ext cx="546821" cy="154354"/>
            </a:xfrm>
            <a:custGeom>
              <a:avLst/>
              <a:gdLst/>
              <a:ahLst/>
              <a:cxnLst/>
              <a:rect l="l" t="t" r="r" b="b"/>
              <a:pathLst>
                <a:path w="16739" h="4725" extrusionOk="0">
                  <a:moveTo>
                    <a:pt x="1" y="1"/>
                  </a:moveTo>
                  <a:lnTo>
                    <a:pt x="1" y="4725"/>
                  </a:lnTo>
                  <a:lnTo>
                    <a:pt x="16739" y="4725"/>
                  </a:lnTo>
                  <a:lnTo>
                    <a:pt x="1673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0" name="Google Shape;4760;p52">
              <a:extLst>
                <a:ext uri="{FF2B5EF4-FFF2-40B4-BE49-F238E27FC236}">
                  <a16:creationId xmlns:a16="http://schemas.microsoft.com/office/drawing/2014/main" id="{467D648C-4F20-3079-5084-E6E0973783B1}"/>
                </a:ext>
              </a:extLst>
            </p:cNvPr>
            <p:cNvSpPr/>
            <p:nvPr/>
          </p:nvSpPr>
          <p:spPr>
            <a:xfrm>
              <a:off x="5155321" y="3314872"/>
              <a:ext cx="317561" cy="1037291"/>
            </a:xfrm>
            <a:custGeom>
              <a:avLst/>
              <a:gdLst/>
              <a:ahLst/>
              <a:cxnLst/>
              <a:rect l="l" t="t" r="r" b="b"/>
              <a:pathLst>
                <a:path w="9721" h="31753" extrusionOk="0">
                  <a:moveTo>
                    <a:pt x="2632" y="1"/>
                  </a:moveTo>
                  <a:lnTo>
                    <a:pt x="1" y="31685"/>
                  </a:lnTo>
                  <a:lnTo>
                    <a:pt x="9721" y="31753"/>
                  </a:lnTo>
                  <a:lnTo>
                    <a:pt x="8476" y="27"/>
                  </a:lnTo>
                  <a:lnTo>
                    <a:pt x="2632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1" name="Google Shape;4761;p52">
              <a:extLst>
                <a:ext uri="{FF2B5EF4-FFF2-40B4-BE49-F238E27FC236}">
                  <a16:creationId xmlns:a16="http://schemas.microsoft.com/office/drawing/2014/main" id="{AA4E23FA-9A08-DD48-11B1-D303C1F7EB98}"/>
                </a:ext>
              </a:extLst>
            </p:cNvPr>
            <p:cNvSpPr/>
            <p:nvPr/>
          </p:nvSpPr>
          <p:spPr>
            <a:xfrm>
              <a:off x="5155321" y="4349937"/>
              <a:ext cx="158797" cy="2254"/>
            </a:xfrm>
            <a:custGeom>
              <a:avLst/>
              <a:gdLst/>
              <a:ahLst/>
              <a:cxnLst/>
              <a:rect l="l" t="t" r="r" b="b"/>
              <a:pathLst>
                <a:path w="4861" h="69" extrusionOk="0">
                  <a:moveTo>
                    <a:pt x="1" y="1"/>
                  </a:moveTo>
                  <a:lnTo>
                    <a:pt x="1" y="27"/>
                  </a:lnTo>
                  <a:lnTo>
                    <a:pt x="4861" y="69"/>
                  </a:lnTo>
                  <a:lnTo>
                    <a:pt x="4861" y="2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C9C9C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2" name="Google Shape;4762;p52">
              <a:extLst>
                <a:ext uri="{FF2B5EF4-FFF2-40B4-BE49-F238E27FC236}">
                  <a16:creationId xmlns:a16="http://schemas.microsoft.com/office/drawing/2014/main" id="{A0C3F6CE-27EC-8462-20B1-D559C76A0382}"/>
                </a:ext>
              </a:extLst>
            </p:cNvPr>
            <p:cNvSpPr/>
            <p:nvPr/>
          </p:nvSpPr>
          <p:spPr>
            <a:xfrm>
              <a:off x="5155321" y="3315721"/>
              <a:ext cx="181239" cy="1035070"/>
            </a:xfrm>
            <a:custGeom>
              <a:avLst/>
              <a:gdLst/>
              <a:ahLst/>
              <a:cxnLst/>
              <a:rect l="l" t="t" r="r" b="b"/>
              <a:pathLst>
                <a:path w="5548" h="31685" extrusionOk="0">
                  <a:moveTo>
                    <a:pt x="2632" y="1"/>
                  </a:moveTo>
                  <a:lnTo>
                    <a:pt x="1" y="31659"/>
                  </a:lnTo>
                  <a:lnTo>
                    <a:pt x="4861" y="31685"/>
                  </a:lnTo>
                  <a:lnTo>
                    <a:pt x="5548" y="14"/>
                  </a:lnTo>
                  <a:lnTo>
                    <a:pt x="2632" y="1"/>
                  </a:lnTo>
                  <a:close/>
                </a:path>
              </a:pathLst>
            </a:custGeom>
            <a:solidFill>
              <a:srgbClr val="92939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3" name="Google Shape;4763;p52">
              <a:extLst>
                <a:ext uri="{FF2B5EF4-FFF2-40B4-BE49-F238E27FC236}">
                  <a16:creationId xmlns:a16="http://schemas.microsoft.com/office/drawing/2014/main" id="{BE12EF25-D380-C3E0-4C9C-89A7621517CE}"/>
                </a:ext>
              </a:extLst>
            </p:cNvPr>
            <p:cNvSpPr/>
            <p:nvPr/>
          </p:nvSpPr>
          <p:spPr>
            <a:xfrm>
              <a:off x="5216606" y="3564458"/>
              <a:ext cx="226745" cy="61742"/>
            </a:xfrm>
            <a:custGeom>
              <a:avLst/>
              <a:gdLst/>
              <a:ahLst/>
              <a:cxnLst/>
              <a:rect l="l" t="t" r="r" b="b"/>
              <a:pathLst>
                <a:path w="6941" h="1890" extrusionOk="0">
                  <a:moveTo>
                    <a:pt x="150" y="1"/>
                  </a:moveTo>
                  <a:lnTo>
                    <a:pt x="1" y="1838"/>
                  </a:lnTo>
                  <a:lnTo>
                    <a:pt x="3471" y="1864"/>
                  </a:lnTo>
                  <a:lnTo>
                    <a:pt x="6941" y="1890"/>
                  </a:lnTo>
                  <a:lnTo>
                    <a:pt x="6873" y="43"/>
                  </a:lnTo>
                  <a:lnTo>
                    <a:pt x="3510" y="27"/>
                  </a:lnTo>
                  <a:lnTo>
                    <a:pt x="15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4" name="Google Shape;4764;p52">
              <a:extLst>
                <a:ext uri="{FF2B5EF4-FFF2-40B4-BE49-F238E27FC236}">
                  <a16:creationId xmlns:a16="http://schemas.microsoft.com/office/drawing/2014/main" id="{0A510E10-2215-69C8-A14E-AFA007EB2CE4}"/>
                </a:ext>
              </a:extLst>
            </p:cNvPr>
            <p:cNvSpPr/>
            <p:nvPr/>
          </p:nvSpPr>
          <p:spPr>
            <a:xfrm>
              <a:off x="5202526" y="3705129"/>
              <a:ext cx="247391" cy="89150"/>
            </a:xfrm>
            <a:custGeom>
              <a:avLst/>
              <a:gdLst/>
              <a:ahLst/>
              <a:cxnLst/>
              <a:rect l="l" t="t" r="r" b="b"/>
              <a:pathLst>
                <a:path w="7573" h="2729" extrusionOk="0">
                  <a:moveTo>
                    <a:pt x="215" y="1"/>
                  </a:moveTo>
                  <a:lnTo>
                    <a:pt x="1" y="2687"/>
                  </a:lnTo>
                  <a:lnTo>
                    <a:pt x="3792" y="2716"/>
                  </a:lnTo>
                  <a:lnTo>
                    <a:pt x="7573" y="2729"/>
                  </a:lnTo>
                  <a:lnTo>
                    <a:pt x="7479" y="43"/>
                  </a:lnTo>
                  <a:lnTo>
                    <a:pt x="3847" y="14"/>
                  </a:lnTo>
                  <a:lnTo>
                    <a:pt x="215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5" name="Google Shape;4765;p52">
              <a:extLst>
                <a:ext uri="{FF2B5EF4-FFF2-40B4-BE49-F238E27FC236}">
                  <a16:creationId xmlns:a16="http://schemas.microsoft.com/office/drawing/2014/main" id="{5ADA1BA0-BBEE-341F-42F8-0C0CF07920EB}"/>
                </a:ext>
              </a:extLst>
            </p:cNvPr>
            <p:cNvSpPr/>
            <p:nvPr/>
          </p:nvSpPr>
          <p:spPr>
            <a:xfrm>
              <a:off x="4266218" y="3014447"/>
              <a:ext cx="317561" cy="253532"/>
            </a:xfrm>
            <a:custGeom>
              <a:avLst/>
              <a:gdLst/>
              <a:ahLst/>
              <a:cxnLst/>
              <a:rect l="l" t="t" r="r" b="b"/>
              <a:pathLst>
                <a:path w="9721" h="7761" extrusionOk="0">
                  <a:moveTo>
                    <a:pt x="9154" y="1"/>
                  </a:moveTo>
                  <a:cubicBezTo>
                    <a:pt x="6792" y="1"/>
                    <a:pt x="4767" y="1443"/>
                    <a:pt x="3915" y="3510"/>
                  </a:cubicBezTo>
                  <a:cubicBezTo>
                    <a:pt x="3779" y="3497"/>
                    <a:pt x="3633" y="3484"/>
                    <a:pt x="3497" y="3484"/>
                  </a:cubicBezTo>
                  <a:cubicBezTo>
                    <a:pt x="1566" y="3484"/>
                    <a:pt x="1" y="5049"/>
                    <a:pt x="1" y="6967"/>
                  </a:cubicBezTo>
                  <a:lnTo>
                    <a:pt x="1" y="6980"/>
                  </a:lnTo>
                  <a:cubicBezTo>
                    <a:pt x="1" y="7249"/>
                    <a:pt x="40" y="7518"/>
                    <a:pt x="95" y="7761"/>
                  </a:cubicBezTo>
                  <a:lnTo>
                    <a:pt x="9721" y="7761"/>
                  </a:lnTo>
                  <a:lnTo>
                    <a:pt x="9721" y="5574"/>
                  </a:lnTo>
                  <a:lnTo>
                    <a:pt x="9721" y="40"/>
                  </a:lnTo>
                  <a:lnTo>
                    <a:pt x="9721" y="27"/>
                  </a:lnTo>
                  <a:cubicBezTo>
                    <a:pt x="9530" y="14"/>
                    <a:pt x="9342" y="1"/>
                    <a:pt x="9154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6" name="Google Shape;4766;p52">
              <a:extLst>
                <a:ext uri="{FF2B5EF4-FFF2-40B4-BE49-F238E27FC236}">
                  <a16:creationId xmlns:a16="http://schemas.microsoft.com/office/drawing/2014/main" id="{13823292-6012-854E-21C8-B5E940C47383}"/>
                </a:ext>
              </a:extLst>
            </p:cNvPr>
            <p:cNvSpPr/>
            <p:nvPr/>
          </p:nvSpPr>
          <p:spPr>
            <a:xfrm>
              <a:off x="4579736" y="3013500"/>
              <a:ext cx="385509" cy="255427"/>
            </a:xfrm>
            <a:custGeom>
              <a:avLst/>
              <a:gdLst/>
              <a:ahLst/>
              <a:cxnLst/>
              <a:rect l="l" t="t" r="r" b="b"/>
              <a:pathLst>
                <a:path w="11801" h="7819" extrusionOk="0">
                  <a:moveTo>
                    <a:pt x="1" y="1"/>
                  </a:moveTo>
                  <a:lnTo>
                    <a:pt x="1" y="14"/>
                  </a:lnTo>
                  <a:lnTo>
                    <a:pt x="1" y="5603"/>
                  </a:lnTo>
                  <a:lnTo>
                    <a:pt x="1" y="7819"/>
                  </a:lnTo>
                  <a:lnTo>
                    <a:pt x="7670" y="7819"/>
                  </a:lnTo>
                  <a:cubicBezTo>
                    <a:pt x="7709" y="7790"/>
                    <a:pt x="7751" y="7751"/>
                    <a:pt x="7790" y="7725"/>
                  </a:cubicBezTo>
                  <a:cubicBezTo>
                    <a:pt x="7806" y="7751"/>
                    <a:pt x="7819" y="7790"/>
                    <a:pt x="7832" y="7819"/>
                  </a:cubicBezTo>
                  <a:lnTo>
                    <a:pt x="11639" y="7819"/>
                  </a:lnTo>
                  <a:cubicBezTo>
                    <a:pt x="11746" y="7576"/>
                    <a:pt x="11801" y="7304"/>
                    <a:pt x="11801" y="7022"/>
                  </a:cubicBezTo>
                  <a:cubicBezTo>
                    <a:pt x="11801" y="5875"/>
                    <a:pt x="10884" y="4955"/>
                    <a:pt x="9734" y="4955"/>
                  </a:cubicBezTo>
                  <a:cubicBezTo>
                    <a:pt x="9329" y="4955"/>
                    <a:pt x="8953" y="5065"/>
                    <a:pt x="8642" y="5266"/>
                  </a:cubicBezTo>
                  <a:cubicBezTo>
                    <a:pt x="8438" y="3944"/>
                    <a:pt x="7291" y="2930"/>
                    <a:pt x="5914" y="2930"/>
                  </a:cubicBezTo>
                  <a:cubicBezTo>
                    <a:pt x="5441" y="2930"/>
                    <a:pt x="4997" y="3053"/>
                    <a:pt x="4605" y="3254"/>
                  </a:cubicBezTo>
                  <a:cubicBezTo>
                    <a:pt x="3769" y="1488"/>
                    <a:pt x="2039" y="205"/>
                    <a:pt x="1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7" name="Google Shape;4767;p52">
              <a:extLst>
                <a:ext uri="{FF2B5EF4-FFF2-40B4-BE49-F238E27FC236}">
                  <a16:creationId xmlns:a16="http://schemas.microsoft.com/office/drawing/2014/main" id="{DC2075BD-51FC-0E55-72FF-1689AF3BC548}"/>
                </a:ext>
              </a:extLst>
            </p:cNvPr>
            <p:cNvSpPr/>
            <p:nvPr/>
          </p:nvSpPr>
          <p:spPr>
            <a:xfrm>
              <a:off x="5532776" y="3777950"/>
              <a:ext cx="760420" cy="572857"/>
            </a:xfrm>
            <a:custGeom>
              <a:avLst/>
              <a:gdLst/>
              <a:ahLst/>
              <a:cxnLst/>
              <a:rect l="l" t="t" r="r" b="b"/>
              <a:pathLst>
                <a:path w="18903" h="17536" extrusionOk="0">
                  <a:moveTo>
                    <a:pt x="0" y="1"/>
                  </a:moveTo>
                  <a:lnTo>
                    <a:pt x="0" y="17536"/>
                  </a:lnTo>
                  <a:lnTo>
                    <a:pt x="18903" y="17536"/>
                  </a:lnTo>
                  <a:lnTo>
                    <a:pt x="18903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8" name="Google Shape;4768;p52">
              <a:extLst>
                <a:ext uri="{FF2B5EF4-FFF2-40B4-BE49-F238E27FC236}">
                  <a16:creationId xmlns:a16="http://schemas.microsoft.com/office/drawing/2014/main" id="{FA70D8E7-2E8D-60BC-D069-B48737BDAF0E}"/>
                </a:ext>
              </a:extLst>
            </p:cNvPr>
            <p:cNvSpPr/>
            <p:nvPr/>
          </p:nvSpPr>
          <p:spPr>
            <a:xfrm>
              <a:off x="5506832" y="3765565"/>
              <a:ext cx="668116" cy="24697"/>
            </a:xfrm>
            <a:custGeom>
              <a:avLst/>
              <a:gdLst/>
              <a:ahLst/>
              <a:cxnLst/>
              <a:rect l="l" t="t" r="r" b="b"/>
              <a:pathLst>
                <a:path w="20452" h="756" extrusionOk="0">
                  <a:moveTo>
                    <a:pt x="377" y="1"/>
                  </a:moveTo>
                  <a:cubicBezTo>
                    <a:pt x="163" y="1"/>
                    <a:pt x="1" y="176"/>
                    <a:pt x="1" y="380"/>
                  </a:cubicBezTo>
                  <a:cubicBezTo>
                    <a:pt x="1" y="581"/>
                    <a:pt x="163" y="756"/>
                    <a:pt x="377" y="756"/>
                  </a:cubicBezTo>
                  <a:lnTo>
                    <a:pt x="20072" y="756"/>
                  </a:lnTo>
                  <a:cubicBezTo>
                    <a:pt x="20289" y="756"/>
                    <a:pt x="20451" y="581"/>
                    <a:pt x="20451" y="380"/>
                  </a:cubicBezTo>
                  <a:cubicBezTo>
                    <a:pt x="20451" y="176"/>
                    <a:pt x="20289" y="1"/>
                    <a:pt x="20072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9" name="Google Shape;4769;p52">
              <a:extLst>
                <a:ext uri="{FF2B5EF4-FFF2-40B4-BE49-F238E27FC236}">
                  <a16:creationId xmlns:a16="http://schemas.microsoft.com/office/drawing/2014/main" id="{8E64B2D8-59B1-59F8-A173-6658704642FB}"/>
                </a:ext>
              </a:extLst>
            </p:cNvPr>
            <p:cNvSpPr/>
            <p:nvPr/>
          </p:nvSpPr>
          <p:spPr>
            <a:xfrm>
              <a:off x="6254338" y="3888660"/>
              <a:ext cx="38874" cy="57299"/>
            </a:xfrm>
            <a:custGeom>
              <a:avLst/>
              <a:gdLst/>
              <a:ahLst/>
              <a:cxnLst/>
              <a:rect l="l" t="t" r="r" b="b"/>
              <a:pathLst>
                <a:path w="1190" h="1754" extrusionOk="0">
                  <a:moveTo>
                    <a:pt x="0" y="1"/>
                  </a:moveTo>
                  <a:lnTo>
                    <a:pt x="0" y="1754"/>
                  </a:lnTo>
                  <a:lnTo>
                    <a:pt x="1190" y="1754"/>
                  </a:lnTo>
                  <a:lnTo>
                    <a:pt x="119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0" name="Google Shape;4770;p52">
              <a:extLst>
                <a:ext uri="{FF2B5EF4-FFF2-40B4-BE49-F238E27FC236}">
                  <a16:creationId xmlns:a16="http://schemas.microsoft.com/office/drawing/2014/main" id="{C81E9AEB-4B15-D5CA-3BDC-1BD2BB46A50C}"/>
                </a:ext>
              </a:extLst>
            </p:cNvPr>
            <p:cNvSpPr/>
            <p:nvPr/>
          </p:nvSpPr>
          <p:spPr>
            <a:xfrm>
              <a:off x="5998491" y="3888660"/>
              <a:ext cx="38874" cy="57299"/>
            </a:xfrm>
            <a:custGeom>
              <a:avLst/>
              <a:gdLst/>
              <a:ahLst/>
              <a:cxnLst/>
              <a:rect l="l" t="t" r="r" b="b"/>
              <a:pathLst>
                <a:path w="1190" h="1754" extrusionOk="0">
                  <a:moveTo>
                    <a:pt x="0" y="1"/>
                  </a:moveTo>
                  <a:lnTo>
                    <a:pt x="0" y="1754"/>
                  </a:lnTo>
                  <a:lnTo>
                    <a:pt x="1189" y="1754"/>
                  </a:lnTo>
                  <a:lnTo>
                    <a:pt x="1189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1" name="Google Shape;4771;p52">
              <a:extLst>
                <a:ext uri="{FF2B5EF4-FFF2-40B4-BE49-F238E27FC236}">
                  <a16:creationId xmlns:a16="http://schemas.microsoft.com/office/drawing/2014/main" id="{9A79FBE9-143D-EBA0-5B09-529DED1BFA2A}"/>
                </a:ext>
              </a:extLst>
            </p:cNvPr>
            <p:cNvSpPr/>
            <p:nvPr/>
          </p:nvSpPr>
          <p:spPr>
            <a:xfrm>
              <a:off x="5928418" y="3888660"/>
              <a:ext cx="38352" cy="57299"/>
            </a:xfrm>
            <a:custGeom>
              <a:avLst/>
              <a:gdLst/>
              <a:ahLst/>
              <a:cxnLst/>
              <a:rect l="l" t="t" r="r" b="b"/>
              <a:pathLst>
                <a:path w="1174" h="1754" extrusionOk="0">
                  <a:moveTo>
                    <a:pt x="1" y="1"/>
                  </a:moveTo>
                  <a:lnTo>
                    <a:pt x="1" y="1754"/>
                  </a:lnTo>
                  <a:lnTo>
                    <a:pt x="1173" y="1754"/>
                  </a:lnTo>
                  <a:lnTo>
                    <a:pt x="1173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2" name="Google Shape;4772;p52">
              <a:extLst>
                <a:ext uri="{FF2B5EF4-FFF2-40B4-BE49-F238E27FC236}">
                  <a16:creationId xmlns:a16="http://schemas.microsoft.com/office/drawing/2014/main" id="{445C3F1B-BE9F-E874-DCAE-F918FC05F5B6}"/>
                </a:ext>
              </a:extLst>
            </p:cNvPr>
            <p:cNvSpPr/>
            <p:nvPr/>
          </p:nvSpPr>
          <p:spPr>
            <a:xfrm>
              <a:off x="5857821" y="3888660"/>
              <a:ext cx="38450" cy="57299"/>
            </a:xfrm>
            <a:custGeom>
              <a:avLst/>
              <a:gdLst/>
              <a:ahLst/>
              <a:cxnLst/>
              <a:rect l="l" t="t" r="r" b="b"/>
              <a:pathLst>
                <a:path w="1177" h="1754" extrusionOk="0">
                  <a:moveTo>
                    <a:pt x="0" y="1"/>
                  </a:moveTo>
                  <a:lnTo>
                    <a:pt x="0" y="1754"/>
                  </a:lnTo>
                  <a:lnTo>
                    <a:pt x="1177" y="1754"/>
                  </a:lnTo>
                  <a:lnTo>
                    <a:pt x="117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3" name="Google Shape;4773;p52">
              <a:extLst>
                <a:ext uri="{FF2B5EF4-FFF2-40B4-BE49-F238E27FC236}">
                  <a16:creationId xmlns:a16="http://schemas.microsoft.com/office/drawing/2014/main" id="{8D689881-24A1-C4AA-C622-F35742956B05}"/>
                </a:ext>
              </a:extLst>
            </p:cNvPr>
            <p:cNvSpPr/>
            <p:nvPr/>
          </p:nvSpPr>
          <p:spPr>
            <a:xfrm>
              <a:off x="5787323" y="3888660"/>
              <a:ext cx="38352" cy="57299"/>
            </a:xfrm>
            <a:custGeom>
              <a:avLst/>
              <a:gdLst/>
              <a:ahLst/>
              <a:cxnLst/>
              <a:rect l="l" t="t" r="r" b="b"/>
              <a:pathLst>
                <a:path w="1174" h="1754" extrusionOk="0">
                  <a:moveTo>
                    <a:pt x="1" y="1"/>
                  </a:moveTo>
                  <a:lnTo>
                    <a:pt x="1" y="1754"/>
                  </a:lnTo>
                  <a:lnTo>
                    <a:pt x="1174" y="1754"/>
                  </a:lnTo>
                  <a:lnTo>
                    <a:pt x="1174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4" name="Google Shape;4774;p52">
              <a:extLst>
                <a:ext uri="{FF2B5EF4-FFF2-40B4-BE49-F238E27FC236}">
                  <a16:creationId xmlns:a16="http://schemas.microsoft.com/office/drawing/2014/main" id="{883E5ACB-87D7-902E-6690-92B334640A12}"/>
                </a:ext>
              </a:extLst>
            </p:cNvPr>
            <p:cNvSpPr/>
            <p:nvPr/>
          </p:nvSpPr>
          <p:spPr>
            <a:xfrm>
              <a:off x="5716727" y="3888660"/>
              <a:ext cx="38352" cy="57299"/>
            </a:xfrm>
            <a:custGeom>
              <a:avLst/>
              <a:gdLst/>
              <a:ahLst/>
              <a:cxnLst/>
              <a:rect l="l" t="t" r="r" b="b"/>
              <a:pathLst>
                <a:path w="1174" h="1754" extrusionOk="0">
                  <a:moveTo>
                    <a:pt x="1" y="1"/>
                  </a:moveTo>
                  <a:lnTo>
                    <a:pt x="1" y="1754"/>
                  </a:lnTo>
                  <a:lnTo>
                    <a:pt x="1173" y="1754"/>
                  </a:lnTo>
                  <a:lnTo>
                    <a:pt x="1173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5" name="Google Shape;4775;p52">
              <a:extLst>
                <a:ext uri="{FF2B5EF4-FFF2-40B4-BE49-F238E27FC236}">
                  <a16:creationId xmlns:a16="http://schemas.microsoft.com/office/drawing/2014/main" id="{0296C3E2-92BB-18C3-4955-4B7115AA28D4}"/>
                </a:ext>
              </a:extLst>
            </p:cNvPr>
            <p:cNvSpPr/>
            <p:nvPr/>
          </p:nvSpPr>
          <p:spPr>
            <a:xfrm>
              <a:off x="5646130" y="3888660"/>
              <a:ext cx="38874" cy="57299"/>
            </a:xfrm>
            <a:custGeom>
              <a:avLst/>
              <a:gdLst/>
              <a:ahLst/>
              <a:cxnLst/>
              <a:rect l="l" t="t" r="r" b="b"/>
              <a:pathLst>
                <a:path w="1190" h="1754" extrusionOk="0">
                  <a:moveTo>
                    <a:pt x="1" y="1"/>
                  </a:moveTo>
                  <a:lnTo>
                    <a:pt x="1" y="1754"/>
                  </a:lnTo>
                  <a:lnTo>
                    <a:pt x="1190" y="1754"/>
                  </a:lnTo>
                  <a:lnTo>
                    <a:pt x="119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6" name="Google Shape;4776;p52">
              <a:extLst>
                <a:ext uri="{FF2B5EF4-FFF2-40B4-BE49-F238E27FC236}">
                  <a16:creationId xmlns:a16="http://schemas.microsoft.com/office/drawing/2014/main" id="{7DE2F941-4C84-AF47-EAD0-0678107ADE86}"/>
                </a:ext>
              </a:extLst>
            </p:cNvPr>
            <p:cNvSpPr/>
            <p:nvPr/>
          </p:nvSpPr>
          <p:spPr>
            <a:xfrm>
              <a:off x="5575632" y="3888660"/>
              <a:ext cx="38776" cy="57299"/>
            </a:xfrm>
            <a:custGeom>
              <a:avLst/>
              <a:gdLst/>
              <a:ahLst/>
              <a:cxnLst/>
              <a:rect l="l" t="t" r="r" b="b"/>
              <a:pathLst>
                <a:path w="1187" h="1754" extrusionOk="0">
                  <a:moveTo>
                    <a:pt x="1" y="1"/>
                  </a:moveTo>
                  <a:lnTo>
                    <a:pt x="1" y="1754"/>
                  </a:lnTo>
                  <a:lnTo>
                    <a:pt x="1187" y="1754"/>
                  </a:lnTo>
                  <a:lnTo>
                    <a:pt x="118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7" name="Google Shape;4777;p52">
              <a:extLst>
                <a:ext uri="{FF2B5EF4-FFF2-40B4-BE49-F238E27FC236}">
                  <a16:creationId xmlns:a16="http://schemas.microsoft.com/office/drawing/2014/main" id="{7BDDC396-FE36-3761-AB16-01BBDEE0D775}"/>
                </a:ext>
              </a:extLst>
            </p:cNvPr>
            <p:cNvSpPr/>
            <p:nvPr/>
          </p:nvSpPr>
          <p:spPr>
            <a:xfrm>
              <a:off x="6254338" y="3998850"/>
              <a:ext cx="38874" cy="57397"/>
            </a:xfrm>
            <a:custGeom>
              <a:avLst/>
              <a:gdLst/>
              <a:ahLst/>
              <a:cxnLst/>
              <a:rect l="l" t="t" r="r" b="b"/>
              <a:pathLst>
                <a:path w="1190" h="1757" extrusionOk="0">
                  <a:moveTo>
                    <a:pt x="0" y="1"/>
                  </a:moveTo>
                  <a:lnTo>
                    <a:pt x="0" y="1757"/>
                  </a:lnTo>
                  <a:lnTo>
                    <a:pt x="1190" y="1757"/>
                  </a:lnTo>
                  <a:lnTo>
                    <a:pt x="119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8" name="Google Shape;4778;p52">
              <a:extLst>
                <a:ext uri="{FF2B5EF4-FFF2-40B4-BE49-F238E27FC236}">
                  <a16:creationId xmlns:a16="http://schemas.microsoft.com/office/drawing/2014/main" id="{01AF0170-FDFA-098B-DEB8-D9F8CE138586}"/>
                </a:ext>
              </a:extLst>
            </p:cNvPr>
            <p:cNvSpPr/>
            <p:nvPr/>
          </p:nvSpPr>
          <p:spPr>
            <a:xfrm>
              <a:off x="5998491" y="3998850"/>
              <a:ext cx="38874" cy="57397"/>
            </a:xfrm>
            <a:custGeom>
              <a:avLst/>
              <a:gdLst/>
              <a:ahLst/>
              <a:cxnLst/>
              <a:rect l="l" t="t" r="r" b="b"/>
              <a:pathLst>
                <a:path w="1190" h="1757" extrusionOk="0">
                  <a:moveTo>
                    <a:pt x="0" y="1"/>
                  </a:moveTo>
                  <a:lnTo>
                    <a:pt x="0" y="1757"/>
                  </a:lnTo>
                  <a:lnTo>
                    <a:pt x="1189" y="1757"/>
                  </a:lnTo>
                  <a:lnTo>
                    <a:pt x="1189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9" name="Google Shape;4779;p52">
              <a:extLst>
                <a:ext uri="{FF2B5EF4-FFF2-40B4-BE49-F238E27FC236}">
                  <a16:creationId xmlns:a16="http://schemas.microsoft.com/office/drawing/2014/main" id="{FDAFD656-5497-53DA-07FF-35D11006D695}"/>
                </a:ext>
              </a:extLst>
            </p:cNvPr>
            <p:cNvSpPr/>
            <p:nvPr/>
          </p:nvSpPr>
          <p:spPr>
            <a:xfrm>
              <a:off x="5928418" y="3998850"/>
              <a:ext cx="38352" cy="57397"/>
            </a:xfrm>
            <a:custGeom>
              <a:avLst/>
              <a:gdLst/>
              <a:ahLst/>
              <a:cxnLst/>
              <a:rect l="l" t="t" r="r" b="b"/>
              <a:pathLst>
                <a:path w="1174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73" y="1757"/>
                  </a:lnTo>
                  <a:lnTo>
                    <a:pt x="1173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0" name="Google Shape;4780;p52">
              <a:extLst>
                <a:ext uri="{FF2B5EF4-FFF2-40B4-BE49-F238E27FC236}">
                  <a16:creationId xmlns:a16="http://schemas.microsoft.com/office/drawing/2014/main" id="{303EA080-6B4F-39CD-9D70-538E4CFFF3CA}"/>
                </a:ext>
              </a:extLst>
            </p:cNvPr>
            <p:cNvSpPr/>
            <p:nvPr/>
          </p:nvSpPr>
          <p:spPr>
            <a:xfrm>
              <a:off x="5857821" y="3998850"/>
              <a:ext cx="38450" cy="57397"/>
            </a:xfrm>
            <a:custGeom>
              <a:avLst/>
              <a:gdLst/>
              <a:ahLst/>
              <a:cxnLst/>
              <a:rect l="l" t="t" r="r" b="b"/>
              <a:pathLst>
                <a:path w="1177" h="1757" extrusionOk="0">
                  <a:moveTo>
                    <a:pt x="0" y="1"/>
                  </a:moveTo>
                  <a:lnTo>
                    <a:pt x="0" y="1757"/>
                  </a:lnTo>
                  <a:lnTo>
                    <a:pt x="1177" y="1757"/>
                  </a:lnTo>
                  <a:lnTo>
                    <a:pt x="117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1" name="Google Shape;4781;p52">
              <a:extLst>
                <a:ext uri="{FF2B5EF4-FFF2-40B4-BE49-F238E27FC236}">
                  <a16:creationId xmlns:a16="http://schemas.microsoft.com/office/drawing/2014/main" id="{256E0561-4699-C02A-9670-54A1155F87D2}"/>
                </a:ext>
              </a:extLst>
            </p:cNvPr>
            <p:cNvSpPr/>
            <p:nvPr/>
          </p:nvSpPr>
          <p:spPr>
            <a:xfrm>
              <a:off x="5787323" y="3998850"/>
              <a:ext cx="38352" cy="57397"/>
            </a:xfrm>
            <a:custGeom>
              <a:avLst/>
              <a:gdLst/>
              <a:ahLst/>
              <a:cxnLst/>
              <a:rect l="l" t="t" r="r" b="b"/>
              <a:pathLst>
                <a:path w="1174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74" y="1757"/>
                  </a:lnTo>
                  <a:lnTo>
                    <a:pt x="1174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2" name="Google Shape;4782;p52">
              <a:extLst>
                <a:ext uri="{FF2B5EF4-FFF2-40B4-BE49-F238E27FC236}">
                  <a16:creationId xmlns:a16="http://schemas.microsoft.com/office/drawing/2014/main" id="{71F8B5CC-5E40-AFC0-7FAE-C3CFB9AFD3A7}"/>
                </a:ext>
              </a:extLst>
            </p:cNvPr>
            <p:cNvSpPr/>
            <p:nvPr/>
          </p:nvSpPr>
          <p:spPr>
            <a:xfrm>
              <a:off x="5716727" y="3998850"/>
              <a:ext cx="38352" cy="57397"/>
            </a:xfrm>
            <a:custGeom>
              <a:avLst/>
              <a:gdLst/>
              <a:ahLst/>
              <a:cxnLst/>
              <a:rect l="l" t="t" r="r" b="b"/>
              <a:pathLst>
                <a:path w="1174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73" y="1757"/>
                  </a:lnTo>
                  <a:lnTo>
                    <a:pt x="1173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3" name="Google Shape;4783;p52">
              <a:extLst>
                <a:ext uri="{FF2B5EF4-FFF2-40B4-BE49-F238E27FC236}">
                  <a16:creationId xmlns:a16="http://schemas.microsoft.com/office/drawing/2014/main" id="{131502CD-5B6A-FA27-12F9-E123E79D6244}"/>
                </a:ext>
              </a:extLst>
            </p:cNvPr>
            <p:cNvSpPr/>
            <p:nvPr/>
          </p:nvSpPr>
          <p:spPr>
            <a:xfrm>
              <a:off x="5646130" y="3998850"/>
              <a:ext cx="38874" cy="57397"/>
            </a:xfrm>
            <a:custGeom>
              <a:avLst/>
              <a:gdLst/>
              <a:ahLst/>
              <a:cxnLst/>
              <a:rect l="l" t="t" r="r" b="b"/>
              <a:pathLst>
                <a:path w="1190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90" y="1757"/>
                  </a:lnTo>
                  <a:lnTo>
                    <a:pt x="119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4" name="Google Shape;4784;p52">
              <a:extLst>
                <a:ext uri="{FF2B5EF4-FFF2-40B4-BE49-F238E27FC236}">
                  <a16:creationId xmlns:a16="http://schemas.microsoft.com/office/drawing/2014/main" id="{EEDBCEB1-13DB-36E7-D4C5-E9526BCB8FAF}"/>
                </a:ext>
              </a:extLst>
            </p:cNvPr>
            <p:cNvSpPr/>
            <p:nvPr/>
          </p:nvSpPr>
          <p:spPr>
            <a:xfrm>
              <a:off x="5575632" y="3998850"/>
              <a:ext cx="38776" cy="57397"/>
            </a:xfrm>
            <a:custGeom>
              <a:avLst/>
              <a:gdLst/>
              <a:ahLst/>
              <a:cxnLst/>
              <a:rect l="l" t="t" r="r" b="b"/>
              <a:pathLst>
                <a:path w="1187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87" y="1757"/>
                  </a:lnTo>
                  <a:lnTo>
                    <a:pt x="118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5" name="Google Shape;4785;p52">
              <a:extLst>
                <a:ext uri="{FF2B5EF4-FFF2-40B4-BE49-F238E27FC236}">
                  <a16:creationId xmlns:a16="http://schemas.microsoft.com/office/drawing/2014/main" id="{47390C9C-E0E3-02E7-B89C-6B6B0350FB15}"/>
                </a:ext>
              </a:extLst>
            </p:cNvPr>
            <p:cNvSpPr/>
            <p:nvPr/>
          </p:nvSpPr>
          <p:spPr>
            <a:xfrm>
              <a:off x="6254338" y="4109139"/>
              <a:ext cx="38874" cy="57397"/>
            </a:xfrm>
            <a:custGeom>
              <a:avLst/>
              <a:gdLst/>
              <a:ahLst/>
              <a:cxnLst/>
              <a:rect l="l" t="t" r="r" b="b"/>
              <a:pathLst>
                <a:path w="1190" h="1757" extrusionOk="0">
                  <a:moveTo>
                    <a:pt x="0" y="1"/>
                  </a:moveTo>
                  <a:lnTo>
                    <a:pt x="0" y="1757"/>
                  </a:lnTo>
                  <a:lnTo>
                    <a:pt x="1190" y="1757"/>
                  </a:lnTo>
                  <a:lnTo>
                    <a:pt x="119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6" name="Google Shape;4786;p52">
              <a:extLst>
                <a:ext uri="{FF2B5EF4-FFF2-40B4-BE49-F238E27FC236}">
                  <a16:creationId xmlns:a16="http://schemas.microsoft.com/office/drawing/2014/main" id="{ACF23DE6-44BC-9544-9D02-72754177A1E6}"/>
                </a:ext>
              </a:extLst>
            </p:cNvPr>
            <p:cNvSpPr/>
            <p:nvPr/>
          </p:nvSpPr>
          <p:spPr>
            <a:xfrm>
              <a:off x="5998491" y="4109139"/>
              <a:ext cx="38874" cy="57397"/>
            </a:xfrm>
            <a:custGeom>
              <a:avLst/>
              <a:gdLst/>
              <a:ahLst/>
              <a:cxnLst/>
              <a:rect l="l" t="t" r="r" b="b"/>
              <a:pathLst>
                <a:path w="1190" h="1757" extrusionOk="0">
                  <a:moveTo>
                    <a:pt x="0" y="1"/>
                  </a:moveTo>
                  <a:lnTo>
                    <a:pt x="0" y="1757"/>
                  </a:lnTo>
                  <a:lnTo>
                    <a:pt x="1189" y="1757"/>
                  </a:lnTo>
                  <a:lnTo>
                    <a:pt x="1189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7" name="Google Shape;4787;p52">
              <a:extLst>
                <a:ext uri="{FF2B5EF4-FFF2-40B4-BE49-F238E27FC236}">
                  <a16:creationId xmlns:a16="http://schemas.microsoft.com/office/drawing/2014/main" id="{642F2D68-C131-7E12-4613-B5925A3BF305}"/>
                </a:ext>
              </a:extLst>
            </p:cNvPr>
            <p:cNvSpPr/>
            <p:nvPr/>
          </p:nvSpPr>
          <p:spPr>
            <a:xfrm>
              <a:off x="5928418" y="4109139"/>
              <a:ext cx="38352" cy="57397"/>
            </a:xfrm>
            <a:custGeom>
              <a:avLst/>
              <a:gdLst/>
              <a:ahLst/>
              <a:cxnLst/>
              <a:rect l="l" t="t" r="r" b="b"/>
              <a:pathLst>
                <a:path w="1174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73" y="1757"/>
                  </a:lnTo>
                  <a:lnTo>
                    <a:pt x="1173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8" name="Google Shape;4788;p52">
              <a:extLst>
                <a:ext uri="{FF2B5EF4-FFF2-40B4-BE49-F238E27FC236}">
                  <a16:creationId xmlns:a16="http://schemas.microsoft.com/office/drawing/2014/main" id="{0DBFDB91-B8A6-7156-897B-D2860E12709E}"/>
                </a:ext>
              </a:extLst>
            </p:cNvPr>
            <p:cNvSpPr/>
            <p:nvPr/>
          </p:nvSpPr>
          <p:spPr>
            <a:xfrm>
              <a:off x="5857821" y="4109139"/>
              <a:ext cx="38450" cy="57397"/>
            </a:xfrm>
            <a:custGeom>
              <a:avLst/>
              <a:gdLst/>
              <a:ahLst/>
              <a:cxnLst/>
              <a:rect l="l" t="t" r="r" b="b"/>
              <a:pathLst>
                <a:path w="1177" h="1757" extrusionOk="0">
                  <a:moveTo>
                    <a:pt x="0" y="1"/>
                  </a:moveTo>
                  <a:lnTo>
                    <a:pt x="0" y="1757"/>
                  </a:lnTo>
                  <a:lnTo>
                    <a:pt x="1177" y="1757"/>
                  </a:lnTo>
                  <a:lnTo>
                    <a:pt x="117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9" name="Google Shape;4789;p52">
              <a:extLst>
                <a:ext uri="{FF2B5EF4-FFF2-40B4-BE49-F238E27FC236}">
                  <a16:creationId xmlns:a16="http://schemas.microsoft.com/office/drawing/2014/main" id="{A91BEFFA-AD4C-153F-6FC6-7C0BC1424B04}"/>
                </a:ext>
              </a:extLst>
            </p:cNvPr>
            <p:cNvSpPr/>
            <p:nvPr/>
          </p:nvSpPr>
          <p:spPr>
            <a:xfrm>
              <a:off x="5787323" y="4109139"/>
              <a:ext cx="38352" cy="57397"/>
            </a:xfrm>
            <a:custGeom>
              <a:avLst/>
              <a:gdLst/>
              <a:ahLst/>
              <a:cxnLst/>
              <a:rect l="l" t="t" r="r" b="b"/>
              <a:pathLst>
                <a:path w="1174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74" y="1757"/>
                  </a:lnTo>
                  <a:lnTo>
                    <a:pt x="1174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0" name="Google Shape;4790;p52">
              <a:extLst>
                <a:ext uri="{FF2B5EF4-FFF2-40B4-BE49-F238E27FC236}">
                  <a16:creationId xmlns:a16="http://schemas.microsoft.com/office/drawing/2014/main" id="{B0F0A2BF-91CA-3C26-1450-D49769E0309C}"/>
                </a:ext>
              </a:extLst>
            </p:cNvPr>
            <p:cNvSpPr/>
            <p:nvPr/>
          </p:nvSpPr>
          <p:spPr>
            <a:xfrm>
              <a:off x="5716727" y="4109139"/>
              <a:ext cx="38352" cy="57397"/>
            </a:xfrm>
            <a:custGeom>
              <a:avLst/>
              <a:gdLst/>
              <a:ahLst/>
              <a:cxnLst/>
              <a:rect l="l" t="t" r="r" b="b"/>
              <a:pathLst>
                <a:path w="1174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73" y="1757"/>
                  </a:lnTo>
                  <a:lnTo>
                    <a:pt x="1173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1" name="Google Shape;4791;p52">
              <a:extLst>
                <a:ext uri="{FF2B5EF4-FFF2-40B4-BE49-F238E27FC236}">
                  <a16:creationId xmlns:a16="http://schemas.microsoft.com/office/drawing/2014/main" id="{F196B034-D6E1-7A74-1185-4BC877309145}"/>
                </a:ext>
              </a:extLst>
            </p:cNvPr>
            <p:cNvSpPr/>
            <p:nvPr/>
          </p:nvSpPr>
          <p:spPr>
            <a:xfrm>
              <a:off x="5646130" y="4109139"/>
              <a:ext cx="38874" cy="57397"/>
            </a:xfrm>
            <a:custGeom>
              <a:avLst/>
              <a:gdLst/>
              <a:ahLst/>
              <a:cxnLst/>
              <a:rect l="l" t="t" r="r" b="b"/>
              <a:pathLst>
                <a:path w="1190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90" y="1757"/>
                  </a:lnTo>
                  <a:lnTo>
                    <a:pt x="119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2" name="Google Shape;4792;p52">
              <a:extLst>
                <a:ext uri="{FF2B5EF4-FFF2-40B4-BE49-F238E27FC236}">
                  <a16:creationId xmlns:a16="http://schemas.microsoft.com/office/drawing/2014/main" id="{C7903B0C-47E2-5A2A-4C81-0F246FB39D88}"/>
                </a:ext>
              </a:extLst>
            </p:cNvPr>
            <p:cNvSpPr/>
            <p:nvPr/>
          </p:nvSpPr>
          <p:spPr>
            <a:xfrm>
              <a:off x="5575632" y="4109139"/>
              <a:ext cx="38776" cy="57397"/>
            </a:xfrm>
            <a:custGeom>
              <a:avLst/>
              <a:gdLst/>
              <a:ahLst/>
              <a:cxnLst/>
              <a:rect l="l" t="t" r="r" b="b"/>
              <a:pathLst>
                <a:path w="1187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87" y="1757"/>
                  </a:lnTo>
                  <a:lnTo>
                    <a:pt x="118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3" name="Google Shape;4793;p52">
              <a:extLst>
                <a:ext uri="{FF2B5EF4-FFF2-40B4-BE49-F238E27FC236}">
                  <a16:creationId xmlns:a16="http://schemas.microsoft.com/office/drawing/2014/main" id="{0C72AFF1-04CE-BB88-FAEA-E4DF109CC556}"/>
                </a:ext>
              </a:extLst>
            </p:cNvPr>
            <p:cNvSpPr/>
            <p:nvPr/>
          </p:nvSpPr>
          <p:spPr>
            <a:xfrm>
              <a:off x="5133198" y="4308875"/>
              <a:ext cx="1350024" cy="37075"/>
            </a:xfrm>
            <a:custGeom>
              <a:avLst/>
              <a:gdLst/>
              <a:ahLst/>
              <a:cxnLst/>
              <a:rect l="l" t="t" r="r" b="b"/>
              <a:pathLst>
                <a:path w="28581" h="1135" extrusionOk="0">
                  <a:moveTo>
                    <a:pt x="1" y="1"/>
                  </a:moveTo>
                  <a:lnTo>
                    <a:pt x="1" y="1135"/>
                  </a:lnTo>
                  <a:lnTo>
                    <a:pt x="28580" y="1135"/>
                  </a:lnTo>
                  <a:lnTo>
                    <a:pt x="2858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4" name="Google Shape;4794;p52">
              <a:extLst>
                <a:ext uri="{FF2B5EF4-FFF2-40B4-BE49-F238E27FC236}">
                  <a16:creationId xmlns:a16="http://schemas.microsoft.com/office/drawing/2014/main" id="{076BA171-6DCC-7452-B305-F81C89CD1D4B}"/>
                </a:ext>
              </a:extLst>
            </p:cNvPr>
            <p:cNvSpPr/>
            <p:nvPr/>
          </p:nvSpPr>
          <p:spPr>
            <a:xfrm>
              <a:off x="6069108" y="3601929"/>
              <a:ext cx="512520" cy="750242"/>
            </a:xfrm>
            <a:custGeom>
              <a:avLst/>
              <a:gdLst/>
              <a:ahLst/>
              <a:cxnLst/>
              <a:rect l="l" t="t" r="r" b="b"/>
              <a:pathLst>
                <a:path w="15689" h="22966" extrusionOk="0">
                  <a:moveTo>
                    <a:pt x="3121" y="1"/>
                  </a:moveTo>
                  <a:cubicBezTo>
                    <a:pt x="3121" y="1"/>
                    <a:pt x="2149" y="20400"/>
                    <a:pt x="1" y="22966"/>
                  </a:cubicBezTo>
                  <a:lnTo>
                    <a:pt x="15689" y="22966"/>
                  </a:lnTo>
                  <a:cubicBezTo>
                    <a:pt x="15689" y="22966"/>
                    <a:pt x="12474" y="16013"/>
                    <a:pt x="11950" y="1"/>
                  </a:cubicBez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5" name="Google Shape;4795;p52">
              <a:extLst>
                <a:ext uri="{FF2B5EF4-FFF2-40B4-BE49-F238E27FC236}">
                  <a16:creationId xmlns:a16="http://schemas.microsoft.com/office/drawing/2014/main" id="{FACD9C1A-9421-9A9E-CF6F-34ABB49C7CC5}"/>
                </a:ext>
              </a:extLst>
            </p:cNvPr>
            <p:cNvSpPr/>
            <p:nvPr/>
          </p:nvSpPr>
          <p:spPr>
            <a:xfrm>
              <a:off x="6325359" y="3601929"/>
              <a:ext cx="256277" cy="750242"/>
            </a:xfrm>
            <a:custGeom>
              <a:avLst/>
              <a:gdLst/>
              <a:ahLst/>
              <a:cxnLst/>
              <a:rect l="l" t="t" r="r" b="b"/>
              <a:pathLst>
                <a:path w="7845" h="22966" extrusionOk="0">
                  <a:moveTo>
                    <a:pt x="1" y="1"/>
                  </a:moveTo>
                  <a:lnTo>
                    <a:pt x="1" y="22966"/>
                  </a:lnTo>
                  <a:lnTo>
                    <a:pt x="7845" y="22966"/>
                  </a:lnTo>
                  <a:cubicBezTo>
                    <a:pt x="7845" y="22966"/>
                    <a:pt x="4630" y="16013"/>
                    <a:pt x="4106" y="1"/>
                  </a:cubicBezTo>
                  <a:close/>
                </a:path>
              </a:pathLst>
            </a:custGeom>
            <a:solidFill>
              <a:srgbClr val="A9645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6" name="Google Shape;4796;p52">
              <a:extLst>
                <a:ext uri="{FF2B5EF4-FFF2-40B4-BE49-F238E27FC236}">
                  <a16:creationId xmlns:a16="http://schemas.microsoft.com/office/drawing/2014/main" id="{F142ABD2-5675-FB0B-6C11-FC1C658704EA}"/>
                </a:ext>
              </a:extLst>
            </p:cNvPr>
            <p:cNvSpPr/>
            <p:nvPr/>
          </p:nvSpPr>
          <p:spPr>
            <a:xfrm>
              <a:off x="6154634" y="3809275"/>
              <a:ext cx="320730" cy="37927"/>
            </a:xfrm>
            <a:custGeom>
              <a:avLst/>
              <a:gdLst/>
              <a:ahLst/>
              <a:cxnLst/>
              <a:rect l="l" t="t" r="r" b="b"/>
              <a:pathLst>
                <a:path w="9818" h="1161" extrusionOk="0">
                  <a:moveTo>
                    <a:pt x="98" y="1"/>
                  </a:moveTo>
                  <a:lnTo>
                    <a:pt x="0" y="1161"/>
                  </a:lnTo>
                  <a:lnTo>
                    <a:pt x="9818" y="1161"/>
                  </a:lnTo>
                  <a:lnTo>
                    <a:pt x="9707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7" name="Google Shape;4797;p52">
              <a:extLst>
                <a:ext uri="{FF2B5EF4-FFF2-40B4-BE49-F238E27FC236}">
                  <a16:creationId xmlns:a16="http://schemas.microsoft.com/office/drawing/2014/main" id="{F886AE6D-9579-8A98-537B-1652BA992C02}"/>
                </a:ext>
              </a:extLst>
            </p:cNvPr>
            <p:cNvSpPr/>
            <p:nvPr/>
          </p:nvSpPr>
          <p:spPr>
            <a:xfrm>
              <a:off x="6141403" y="3957884"/>
              <a:ext cx="352482" cy="37927"/>
            </a:xfrm>
            <a:custGeom>
              <a:avLst/>
              <a:gdLst/>
              <a:ahLst/>
              <a:cxnLst/>
              <a:rect l="l" t="t" r="r" b="b"/>
              <a:pathLst>
                <a:path w="10790" h="1161" extrusionOk="0">
                  <a:moveTo>
                    <a:pt x="111" y="1"/>
                  </a:moveTo>
                  <a:lnTo>
                    <a:pt x="0" y="1161"/>
                  </a:lnTo>
                  <a:lnTo>
                    <a:pt x="10790" y="1161"/>
                  </a:lnTo>
                  <a:lnTo>
                    <a:pt x="1061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8" name="Google Shape;4798;p52">
              <a:extLst>
                <a:ext uri="{FF2B5EF4-FFF2-40B4-BE49-F238E27FC236}">
                  <a16:creationId xmlns:a16="http://schemas.microsoft.com/office/drawing/2014/main" id="{AFB0F519-5590-45E2-0A33-6C2C394A46EE}"/>
                </a:ext>
              </a:extLst>
            </p:cNvPr>
            <p:cNvSpPr/>
            <p:nvPr/>
          </p:nvSpPr>
          <p:spPr>
            <a:xfrm>
              <a:off x="6171883" y="3601929"/>
              <a:ext cx="289303" cy="42370"/>
            </a:xfrm>
            <a:custGeom>
              <a:avLst/>
              <a:gdLst/>
              <a:ahLst/>
              <a:cxnLst/>
              <a:rect l="l" t="t" r="r" b="b"/>
              <a:pathLst>
                <a:path w="8856" h="1297" extrusionOk="0">
                  <a:moveTo>
                    <a:pt x="69" y="1"/>
                  </a:moveTo>
                  <a:lnTo>
                    <a:pt x="1" y="1284"/>
                  </a:lnTo>
                  <a:lnTo>
                    <a:pt x="8855" y="1297"/>
                  </a:lnTo>
                  <a:lnTo>
                    <a:pt x="880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9" name="Google Shape;4799;p52">
              <a:extLst>
                <a:ext uri="{FF2B5EF4-FFF2-40B4-BE49-F238E27FC236}">
                  <a16:creationId xmlns:a16="http://schemas.microsoft.com/office/drawing/2014/main" id="{0196BE51-5E4B-A166-B2CD-845BCA9AB9F3}"/>
                </a:ext>
              </a:extLst>
            </p:cNvPr>
            <p:cNvSpPr/>
            <p:nvPr/>
          </p:nvSpPr>
          <p:spPr>
            <a:xfrm>
              <a:off x="5304354" y="3177697"/>
              <a:ext cx="73273" cy="73273"/>
            </a:xfrm>
            <a:custGeom>
              <a:avLst/>
              <a:gdLst/>
              <a:ahLst/>
              <a:cxnLst/>
              <a:rect l="l" t="t" r="r" b="b"/>
              <a:pathLst>
                <a:path w="2243" h="2243" extrusionOk="0">
                  <a:moveTo>
                    <a:pt x="1122" y="1"/>
                  </a:moveTo>
                  <a:cubicBezTo>
                    <a:pt x="513" y="1"/>
                    <a:pt x="1" y="500"/>
                    <a:pt x="1" y="1122"/>
                  </a:cubicBezTo>
                  <a:cubicBezTo>
                    <a:pt x="1" y="1741"/>
                    <a:pt x="513" y="2243"/>
                    <a:pt x="1122" y="2243"/>
                  </a:cubicBezTo>
                  <a:cubicBezTo>
                    <a:pt x="1744" y="2243"/>
                    <a:pt x="2243" y="1741"/>
                    <a:pt x="2243" y="1122"/>
                  </a:cubicBezTo>
                  <a:cubicBezTo>
                    <a:pt x="2243" y="500"/>
                    <a:pt x="1744" y="1"/>
                    <a:pt x="1122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0" name="Google Shape;4800;p52">
              <a:extLst>
                <a:ext uri="{FF2B5EF4-FFF2-40B4-BE49-F238E27FC236}">
                  <a16:creationId xmlns:a16="http://schemas.microsoft.com/office/drawing/2014/main" id="{91D4E90E-F841-FCEB-AC22-B493DD91B78F}"/>
                </a:ext>
              </a:extLst>
            </p:cNvPr>
            <p:cNvSpPr/>
            <p:nvPr/>
          </p:nvSpPr>
          <p:spPr>
            <a:xfrm>
              <a:off x="5449930" y="2996861"/>
              <a:ext cx="141646" cy="141548"/>
            </a:xfrm>
            <a:custGeom>
              <a:avLst/>
              <a:gdLst/>
              <a:ahLst/>
              <a:cxnLst/>
              <a:rect l="l" t="t" r="r" b="b"/>
              <a:pathLst>
                <a:path w="4336" h="4333" extrusionOk="0">
                  <a:moveTo>
                    <a:pt x="2175" y="1"/>
                  </a:moveTo>
                  <a:cubicBezTo>
                    <a:pt x="973" y="1"/>
                    <a:pt x="1" y="973"/>
                    <a:pt x="1" y="2159"/>
                  </a:cubicBezTo>
                  <a:cubicBezTo>
                    <a:pt x="1" y="3361"/>
                    <a:pt x="973" y="4333"/>
                    <a:pt x="2175" y="4333"/>
                  </a:cubicBezTo>
                  <a:cubicBezTo>
                    <a:pt x="3364" y="4333"/>
                    <a:pt x="4336" y="3361"/>
                    <a:pt x="4336" y="2159"/>
                  </a:cubicBezTo>
                  <a:cubicBezTo>
                    <a:pt x="4336" y="973"/>
                    <a:pt x="3364" y="1"/>
                    <a:pt x="217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1" name="Google Shape;4801;p52">
              <a:extLst>
                <a:ext uri="{FF2B5EF4-FFF2-40B4-BE49-F238E27FC236}">
                  <a16:creationId xmlns:a16="http://schemas.microsoft.com/office/drawing/2014/main" id="{EF8FB1FE-404E-E951-F98D-ED75CF75280E}"/>
                </a:ext>
              </a:extLst>
            </p:cNvPr>
            <p:cNvSpPr/>
            <p:nvPr/>
          </p:nvSpPr>
          <p:spPr>
            <a:xfrm>
              <a:off x="6267127" y="3174009"/>
              <a:ext cx="539406" cy="235108"/>
            </a:xfrm>
            <a:custGeom>
              <a:avLst/>
              <a:gdLst/>
              <a:ahLst/>
              <a:cxnLst/>
              <a:rect l="l" t="t" r="r" b="b"/>
              <a:pathLst>
                <a:path w="16512" h="7197" extrusionOk="0">
                  <a:moveTo>
                    <a:pt x="7713" y="0"/>
                  </a:moveTo>
                  <a:cubicBezTo>
                    <a:pt x="7693" y="0"/>
                    <a:pt x="7673" y="0"/>
                    <a:pt x="7653" y="1"/>
                  </a:cubicBezTo>
                  <a:cubicBezTo>
                    <a:pt x="6319" y="27"/>
                    <a:pt x="5223" y="1015"/>
                    <a:pt x="5023" y="2282"/>
                  </a:cubicBezTo>
                  <a:cubicBezTo>
                    <a:pt x="4942" y="2269"/>
                    <a:pt x="4848" y="2269"/>
                    <a:pt x="4750" y="2269"/>
                  </a:cubicBezTo>
                  <a:cubicBezTo>
                    <a:pt x="3590" y="2282"/>
                    <a:pt x="2687" y="3228"/>
                    <a:pt x="2674" y="4362"/>
                  </a:cubicBezTo>
                  <a:cubicBezTo>
                    <a:pt x="1348" y="4754"/>
                    <a:pt x="325" y="5846"/>
                    <a:pt x="1" y="7197"/>
                  </a:cubicBezTo>
                  <a:lnTo>
                    <a:pt x="16512" y="6886"/>
                  </a:lnTo>
                  <a:cubicBezTo>
                    <a:pt x="16059" y="5254"/>
                    <a:pt x="15099" y="4024"/>
                    <a:pt x="13344" y="4024"/>
                  </a:cubicBezTo>
                  <a:cubicBezTo>
                    <a:pt x="13315" y="4024"/>
                    <a:pt x="13285" y="4024"/>
                    <a:pt x="13255" y="4025"/>
                  </a:cubicBezTo>
                  <a:lnTo>
                    <a:pt x="13110" y="4025"/>
                  </a:lnTo>
                  <a:cubicBezTo>
                    <a:pt x="13094" y="2760"/>
                    <a:pt x="12057" y="1756"/>
                    <a:pt x="10798" y="1756"/>
                  </a:cubicBezTo>
                  <a:cubicBezTo>
                    <a:pt x="10780" y="1756"/>
                    <a:pt x="10762" y="1757"/>
                    <a:pt x="10744" y="1757"/>
                  </a:cubicBezTo>
                  <a:cubicBezTo>
                    <a:pt x="10582" y="1757"/>
                    <a:pt x="10420" y="1770"/>
                    <a:pt x="10258" y="1809"/>
                  </a:cubicBezTo>
                  <a:cubicBezTo>
                    <a:pt x="9889" y="748"/>
                    <a:pt x="8890" y="0"/>
                    <a:pt x="7713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2" name="Google Shape;4802;p52">
              <a:extLst>
                <a:ext uri="{FF2B5EF4-FFF2-40B4-BE49-F238E27FC236}">
                  <a16:creationId xmlns:a16="http://schemas.microsoft.com/office/drawing/2014/main" id="{77A647B5-EB1F-CBAF-1CA6-58B309A71DB9}"/>
                </a:ext>
              </a:extLst>
            </p:cNvPr>
            <p:cNvSpPr/>
            <p:nvPr/>
          </p:nvSpPr>
          <p:spPr>
            <a:xfrm>
              <a:off x="6267127" y="3172735"/>
              <a:ext cx="543751" cy="233311"/>
            </a:xfrm>
            <a:custGeom>
              <a:avLst/>
              <a:gdLst/>
              <a:ahLst/>
              <a:cxnLst/>
              <a:rect l="l" t="t" r="r" b="b"/>
              <a:pathLst>
                <a:path w="16645" h="7142" extrusionOk="0">
                  <a:moveTo>
                    <a:pt x="7733" y="1"/>
                  </a:moveTo>
                  <a:cubicBezTo>
                    <a:pt x="7720" y="1"/>
                    <a:pt x="7708" y="1"/>
                    <a:pt x="7696" y="1"/>
                  </a:cubicBezTo>
                  <a:cubicBezTo>
                    <a:pt x="6370" y="14"/>
                    <a:pt x="5266" y="999"/>
                    <a:pt x="5061" y="2269"/>
                  </a:cubicBezTo>
                  <a:cubicBezTo>
                    <a:pt x="4967" y="2253"/>
                    <a:pt x="4874" y="2253"/>
                    <a:pt x="4780" y="2253"/>
                  </a:cubicBezTo>
                  <a:cubicBezTo>
                    <a:pt x="3633" y="2269"/>
                    <a:pt x="2712" y="3199"/>
                    <a:pt x="2687" y="4333"/>
                  </a:cubicBezTo>
                  <a:cubicBezTo>
                    <a:pt x="1365" y="4725"/>
                    <a:pt x="325" y="5804"/>
                    <a:pt x="1" y="7142"/>
                  </a:cubicBezTo>
                  <a:lnTo>
                    <a:pt x="16644" y="6951"/>
                  </a:lnTo>
                  <a:cubicBezTo>
                    <a:pt x="16206" y="5311"/>
                    <a:pt x="15105" y="4063"/>
                    <a:pt x="13346" y="4063"/>
                  </a:cubicBezTo>
                  <a:cubicBezTo>
                    <a:pt x="13325" y="4063"/>
                    <a:pt x="13305" y="4064"/>
                    <a:pt x="13285" y="4064"/>
                  </a:cubicBezTo>
                  <a:lnTo>
                    <a:pt x="13135" y="4064"/>
                  </a:lnTo>
                  <a:cubicBezTo>
                    <a:pt x="13123" y="2791"/>
                    <a:pt x="12086" y="1783"/>
                    <a:pt x="10817" y="1783"/>
                  </a:cubicBezTo>
                  <a:cubicBezTo>
                    <a:pt x="10807" y="1783"/>
                    <a:pt x="10797" y="1783"/>
                    <a:pt x="10787" y="1783"/>
                  </a:cubicBezTo>
                  <a:cubicBezTo>
                    <a:pt x="10625" y="1783"/>
                    <a:pt x="10463" y="1796"/>
                    <a:pt x="10301" y="1835"/>
                  </a:cubicBezTo>
                  <a:cubicBezTo>
                    <a:pt x="9938" y="767"/>
                    <a:pt x="8919" y="1"/>
                    <a:pt x="7733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3" name="Google Shape;4803;p52">
              <a:extLst>
                <a:ext uri="{FF2B5EF4-FFF2-40B4-BE49-F238E27FC236}">
                  <a16:creationId xmlns:a16="http://schemas.microsoft.com/office/drawing/2014/main" id="{DDBFF046-1874-D77F-3D73-72CAB7CC7002}"/>
                </a:ext>
              </a:extLst>
            </p:cNvPr>
            <p:cNvSpPr/>
            <p:nvPr/>
          </p:nvSpPr>
          <p:spPr>
            <a:xfrm>
              <a:off x="6423674" y="3245880"/>
              <a:ext cx="59520" cy="118681"/>
            </a:xfrm>
            <a:custGeom>
              <a:avLst/>
              <a:gdLst/>
              <a:ahLst/>
              <a:cxnLst/>
              <a:rect l="l" t="t" r="r" b="b"/>
              <a:pathLst>
                <a:path w="1822" h="3633" extrusionOk="0">
                  <a:moveTo>
                    <a:pt x="1" y="1"/>
                  </a:moveTo>
                  <a:cubicBezTo>
                    <a:pt x="1" y="1"/>
                    <a:pt x="1446" y="474"/>
                    <a:pt x="1378" y="1812"/>
                  </a:cubicBezTo>
                  <a:cubicBezTo>
                    <a:pt x="1297" y="3296"/>
                    <a:pt x="1" y="3633"/>
                    <a:pt x="1" y="3633"/>
                  </a:cubicBezTo>
                  <a:cubicBezTo>
                    <a:pt x="998" y="3633"/>
                    <a:pt x="1821" y="2823"/>
                    <a:pt x="1821" y="1812"/>
                  </a:cubicBezTo>
                  <a:cubicBezTo>
                    <a:pt x="1821" y="811"/>
                    <a:pt x="998" y="1"/>
                    <a:pt x="1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4" name="Google Shape;4804;p52">
              <a:extLst>
                <a:ext uri="{FF2B5EF4-FFF2-40B4-BE49-F238E27FC236}">
                  <a16:creationId xmlns:a16="http://schemas.microsoft.com/office/drawing/2014/main" id="{B1974960-2B27-F81B-D0EA-2671D23FC627}"/>
                </a:ext>
              </a:extLst>
            </p:cNvPr>
            <p:cNvSpPr/>
            <p:nvPr/>
          </p:nvSpPr>
          <p:spPr>
            <a:xfrm>
              <a:off x="6627851" y="3305042"/>
              <a:ext cx="176045" cy="89052"/>
            </a:xfrm>
            <a:custGeom>
              <a:avLst/>
              <a:gdLst/>
              <a:ahLst/>
              <a:cxnLst/>
              <a:rect l="l" t="t" r="r" b="b"/>
              <a:pathLst>
                <a:path w="5389" h="2726" extrusionOk="0">
                  <a:moveTo>
                    <a:pt x="2685" y="1"/>
                  </a:moveTo>
                  <a:cubicBezTo>
                    <a:pt x="1225" y="1"/>
                    <a:pt x="26" y="1171"/>
                    <a:pt x="0" y="2645"/>
                  </a:cubicBezTo>
                  <a:cubicBezTo>
                    <a:pt x="0" y="2645"/>
                    <a:pt x="675" y="520"/>
                    <a:pt x="2528" y="520"/>
                  </a:cubicBezTo>
                  <a:cubicBezTo>
                    <a:pt x="2584" y="520"/>
                    <a:pt x="2641" y="522"/>
                    <a:pt x="2699" y="526"/>
                  </a:cubicBezTo>
                  <a:cubicBezTo>
                    <a:pt x="4903" y="675"/>
                    <a:pt x="5359" y="2726"/>
                    <a:pt x="5359" y="2726"/>
                  </a:cubicBezTo>
                  <a:cubicBezTo>
                    <a:pt x="5389" y="1242"/>
                    <a:pt x="4199" y="27"/>
                    <a:pt x="2716" y="1"/>
                  </a:cubicBezTo>
                  <a:cubicBezTo>
                    <a:pt x="2706" y="1"/>
                    <a:pt x="2696" y="1"/>
                    <a:pt x="2685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5" name="Google Shape;4805;p52">
              <a:extLst>
                <a:ext uri="{FF2B5EF4-FFF2-40B4-BE49-F238E27FC236}">
                  <a16:creationId xmlns:a16="http://schemas.microsoft.com/office/drawing/2014/main" id="{F2666E67-966B-17E4-D1AE-2D504FBF2012}"/>
                </a:ext>
              </a:extLst>
            </p:cNvPr>
            <p:cNvSpPr/>
            <p:nvPr/>
          </p:nvSpPr>
          <p:spPr>
            <a:xfrm>
              <a:off x="5679728" y="2811529"/>
              <a:ext cx="253532" cy="133610"/>
            </a:xfrm>
            <a:custGeom>
              <a:avLst/>
              <a:gdLst/>
              <a:ahLst/>
              <a:cxnLst/>
              <a:rect l="l" t="t" r="r" b="b"/>
              <a:pathLst>
                <a:path w="7761" h="4090" extrusionOk="0">
                  <a:moveTo>
                    <a:pt x="2039" y="1"/>
                  </a:moveTo>
                  <a:cubicBezTo>
                    <a:pt x="918" y="1"/>
                    <a:pt x="1" y="918"/>
                    <a:pt x="1" y="2039"/>
                  </a:cubicBezTo>
                  <a:cubicBezTo>
                    <a:pt x="1" y="3173"/>
                    <a:pt x="918" y="4090"/>
                    <a:pt x="2039" y="4090"/>
                  </a:cubicBezTo>
                  <a:lnTo>
                    <a:pt x="5723" y="4090"/>
                  </a:lnTo>
                  <a:cubicBezTo>
                    <a:pt x="6844" y="4090"/>
                    <a:pt x="7760" y="3173"/>
                    <a:pt x="7760" y="2039"/>
                  </a:cubicBezTo>
                  <a:cubicBezTo>
                    <a:pt x="7760" y="918"/>
                    <a:pt x="6844" y="1"/>
                    <a:pt x="5723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6" name="Google Shape;4806;p52">
              <a:extLst>
                <a:ext uri="{FF2B5EF4-FFF2-40B4-BE49-F238E27FC236}">
                  <a16:creationId xmlns:a16="http://schemas.microsoft.com/office/drawing/2014/main" id="{D0A4AE63-2557-B4FD-BDF2-70F669DCBD36}"/>
                </a:ext>
              </a:extLst>
            </p:cNvPr>
            <p:cNvSpPr/>
            <p:nvPr/>
          </p:nvSpPr>
          <p:spPr>
            <a:xfrm>
              <a:off x="5998504" y="2644070"/>
              <a:ext cx="405730" cy="213417"/>
            </a:xfrm>
            <a:custGeom>
              <a:avLst/>
              <a:gdLst/>
              <a:ahLst/>
              <a:cxnLst/>
              <a:rect l="l" t="t" r="r" b="b"/>
              <a:pathLst>
                <a:path w="12420" h="6533" extrusionOk="0">
                  <a:moveTo>
                    <a:pt x="3253" y="1"/>
                  </a:moveTo>
                  <a:cubicBezTo>
                    <a:pt x="1459" y="1"/>
                    <a:pt x="1" y="1472"/>
                    <a:pt x="1" y="3267"/>
                  </a:cubicBezTo>
                  <a:cubicBezTo>
                    <a:pt x="1" y="5062"/>
                    <a:pt x="1459" y="6533"/>
                    <a:pt x="3253" y="6533"/>
                  </a:cubicBezTo>
                  <a:lnTo>
                    <a:pt x="9154" y="6533"/>
                  </a:lnTo>
                  <a:cubicBezTo>
                    <a:pt x="10948" y="6533"/>
                    <a:pt x="12419" y="5062"/>
                    <a:pt x="12419" y="3267"/>
                  </a:cubicBezTo>
                  <a:cubicBezTo>
                    <a:pt x="12419" y="1472"/>
                    <a:pt x="10948" y="1"/>
                    <a:pt x="9154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7" name="Google Shape;4807;p52">
              <a:extLst>
                <a:ext uri="{FF2B5EF4-FFF2-40B4-BE49-F238E27FC236}">
                  <a16:creationId xmlns:a16="http://schemas.microsoft.com/office/drawing/2014/main" id="{412F4FC4-9D5F-6DB8-23B0-8409B793C042}"/>
                </a:ext>
              </a:extLst>
            </p:cNvPr>
            <p:cNvSpPr/>
            <p:nvPr/>
          </p:nvSpPr>
          <p:spPr>
            <a:xfrm>
              <a:off x="2254519" y="4342850"/>
              <a:ext cx="2324419" cy="130637"/>
            </a:xfrm>
            <a:custGeom>
              <a:avLst/>
              <a:gdLst/>
              <a:ahLst/>
              <a:cxnLst/>
              <a:rect l="l" t="t" r="r" b="b"/>
              <a:pathLst>
                <a:path w="64720" h="3999" extrusionOk="0">
                  <a:moveTo>
                    <a:pt x="4064" y="1"/>
                  </a:moveTo>
                  <a:cubicBezTo>
                    <a:pt x="1" y="1"/>
                    <a:pt x="338" y="3999"/>
                    <a:pt x="4064" y="3999"/>
                  </a:cubicBezTo>
                  <a:lnTo>
                    <a:pt x="64720" y="3999"/>
                  </a:lnTo>
                  <a:lnTo>
                    <a:pt x="64720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8" name="Google Shape;4808;p52">
              <a:extLst>
                <a:ext uri="{FF2B5EF4-FFF2-40B4-BE49-F238E27FC236}">
                  <a16:creationId xmlns:a16="http://schemas.microsoft.com/office/drawing/2014/main" id="{C6A8DBC2-328D-CEEA-87C3-77B63E114DE1}"/>
                </a:ext>
              </a:extLst>
            </p:cNvPr>
            <p:cNvSpPr/>
            <p:nvPr/>
          </p:nvSpPr>
          <p:spPr>
            <a:xfrm>
              <a:off x="2063451" y="4473459"/>
              <a:ext cx="2515487" cy="130539"/>
            </a:xfrm>
            <a:custGeom>
              <a:avLst/>
              <a:gdLst/>
              <a:ahLst/>
              <a:cxnLst/>
              <a:rect l="l" t="t" r="r" b="b"/>
              <a:pathLst>
                <a:path w="70040" h="3996" extrusionOk="0">
                  <a:moveTo>
                    <a:pt x="4064" y="1"/>
                  </a:moveTo>
                  <a:cubicBezTo>
                    <a:pt x="124" y="1"/>
                    <a:pt x="1" y="3996"/>
                    <a:pt x="4064" y="3996"/>
                  </a:cubicBezTo>
                  <a:lnTo>
                    <a:pt x="70040" y="3996"/>
                  </a:lnTo>
                  <a:lnTo>
                    <a:pt x="70040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9" name="Google Shape;4809;p52">
              <a:extLst>
                <a:ext uri="{FF2B5EF4-FFF2-40B4-BE49-F238E27FC236}">
                  <a16:creationId xmlns:a16="http://schemas.microsoft.com/office/drawing/2014/main" id="{E3231B30-D199-F80F-7C3F-EA2A960C7215}"/>
                </a:ext>
              </a:extLst>
            </p:cNvPr>
            <p:cNvSpPr/>
            <p:nvPr/>
          </p:nvSpPr>
          <p:spPr>
            <a:xfrm>
              <a:off x="4578448" y="4342850"/>
              <a:ext cx="2417256" cy="130637"/>
            </a:xfrm>
            <a:custGeom>
              <a:avLst/>
              <a:gdLst/>
              <a:ahLst/>
              <a:cxnLst/>
              <a:rect l="l" t="t" r="r" b="b"/>
              <a:pathLst>
                <a:path w="64529" h="3999" extrusionOk="0">
                  <a:moveTo>
                    <a:pt x="1" y="1"/>
                  </a:moveTo>
                  <a:lnTo>
                    <a:pt x="1" y="3999"/>
                  </a:lnTo>
                  <a:lnTo>
                    <a:pt x="61156" y="3999"/>
                  </a:lnTo>
                  <a:cubicBezTo>
                    <a:pt x="64528" y="3999"/>
                    <a:pt x="64191" y="1"/>
                    <a:pt x="61156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0" name="Google Shape;4810;p52">
              <a:extLst>
                <a:ext uri="{FF2B5EF4-FFF2-40B4-BE49-F238E27FC236}">
                  <a16:creationId xmlns:a16="http://schemas.microsoft.com/office/drawing/2014/main" id="{9F344B44-FE7A-B517-BD66-7A6EAB8EAFFB}"/>
                </a:ext>
              </a:extLst>
            </p:cNvPr>
            <p:cNvSpPr/>
            <p:nvPr/>
          </p:nvSpPr>
          <p:spPr>
            <a:xfrm>
              <a:off x="4578448" y="4473459"/>
              <a:ext cx="2608415" cy="130539"/>
            </a:xfrm>
            <a:custGeom>
              <a:avLst/>
              <a:gdLst/>
              <a:ahLst/>
              <a:cxnLst/>
              <a:rect l="l" t="t" r="r" b="b"/>
              <a:pathLst>
                <a:path w="69632" h="3996" extrusionOk="0">
                  <a:moveTo>
                    <a:pt x="1" y="1"/>
                  </a:moveTo>
                  <a:lnTo>
                    <a:pt x="1" y="3970"/>
                  </a:lnTo>
                  <a:lnTo>
                    <a:pt x="52152" y="3970"/>
                  </a:lnTo>
                  <a:cubicBezTo>
                    <a:pt x="52271" y="3970"/>
                    <a:pt x="52378" y="3970"/>
                    <a:pt x="52502" y="3996"/>
                  </a:cubicBezTo>
                  <a:lnTo>
                    <a:pt x="67039" y="3996"/>
                  </a:lnTo>
                  <a:cubicBezTo>
                    <a:pt x="69498" y="3996"/>
                    <a:pt x="69631" y="406"/>
                    <a:pt x="67243" y="40"/>
                  </a:cubicBezTo>
                  <a:cubicBezTo>
                    <a:pt x="67107" y="14"/>
                    <a:pt x="66958" y="1"/>
                    <a:pt x="66825" y="1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1" name="Google Shape;4811;p52">
              <a:extLst>
                <a:ext uri="{FF2B5EF4-FFF2-40B4-BE49-F238E27FC236}">
                  <a16:creationId xmlns:a16="http://schemas.microsoft.com/office/drawing/2014/main" id="{5C738A07-1405-78CF-7A8E-ADA792AD0461}"/>
                </a:ext>
              </a:extLst>
            </p:cNvPr>
            <p:cNvSpPr/>
            <p:nvPr/>
          </p:nvSpPr>
          <p:spPr>
            <a:xfrm>
              <a:off x="4578462" y="4603118"/>
              <a:ext cx="1715109" cy="882"/>
            </a:xfrm>
            <a:custGeom>
              <a:avLst/>
              <a:gdLst/>
              <a:ahLst/>
              <a:cxnLst/>
              <a:rect l="l" t="t" r="r" b="b"/>
              <a:pathLst>
                <a:path w="52502" h="27" extrusionOk="0">
                  <a:moveTo>
                    <a:pt x="1" y="1"/>
                  </a:moveTo>
                  <a:lnTo>
                    <a:pt x="1" y="27"/>
                  </a:lnTo>
                  <a:lnTo>
                    <a:pt x="52502" y="27"/>
                  </a:lnTo>
                  <a:cubicBezTo>
                    <a:pt x="52378" y="1"/>
                    <a:pt x="52271" y="1"/>
                    <a:pt x="52152" y="1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2" name="Google Shape;4812;p52">
              <a:extLst>
                <a:ext uri="{FF2B5EF4-FFF2-40B4-BE49-F238E27FC236}">
                  <a16:creationId xmlns:a16="http://schemas.microsoft.com/office/drawing/2014/main" id="{C4F386DA-C5F7-5C64-96C6-F25972677ABF}"/>
                </a:ext>
              </a:extLst>
            </p:cNvPr>
            <p:cNvSpPr/>
            <p:nvPr/>
          </p:nvSpPr>
          <p:spPr>
            <a:xfrm>
              <a:off x="3671262" y="3530483"/>
              <a:ext cx="914723" cy="811101"/>
            </a:xfrm>
            <a:custGeom>
              <a:avLst/>
              <a:gdLst/>
              <a:ahLst/>
              <a:cxnLst/>
              <a:rect l="l" t="t" r="r" b="b"/>
              <a:pathLst>
                <a:path w="28001" h="24829" extrusionOk="0">
                  <a:moveTo>
                    <a:pt x="14688" y="1"/>
                  </a:moveTo>
                  <a:cubicBezTo>
                    <a:pt x="10032" y="1"/>
                    <a:pt x="1" y="24829"/>
                    <a:pt x="1" y="24829"/>
                  </a:cubicBezTo>
                  <a:lnTo>
                    <a:pt x="28001" y="24829"/>
                  </a:lnTo>
                  <a:cubicBezTo>
                    <a:pt x="28001" y="24829"/>
                    <a:pt x="19360" y="1"/>
                    <a:pt x="14688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3" name="Google Shape;4813;p52">
              <a:extLst>
                <a:ext uri="{FF2B5EF4-FFF2-40B4-BE49-F238E27FC236}">
                  <a16:creationId xmlns:a16="http://schemas.microsoft.com/office/drawing/2014/main" id="{0B1E0B3E-6192-EA9E-F3E7-9CC798408866}"/>
                </a:ext>
              </a:extLst>
            </p:cNvPr>
            <p:cNvSpPr/>
            <p:nvPr/>
          </p:nvSpPr>
          <p:spPr>
            <a:xfrm>
              <a:off x="2887155" y="3335616"/>
              <a:ext cx="1151921" cy="1005016"/>
            </a:xfrm>
            <a:custGeom>
              <a:avLst/>
              <a:gdLst/>
              <a:ahLst/>
              <a:cxnLst/>
              <a:rect l="l" t="t" r="r" b="b"/>
              <a:pathLst>
                <a:path w="35262" h="30765" extrusionOk="0">
                  <a:moveTo>
                    <a:pt x="18508" y="1"/>
                  </a:moveTo>
                  <a:cubicBezTo>
                    <a:pt x="12637" y="1"/>
                    <a:pt x="1" y="30765"/>
                    <a:pt x="1" y="30765"/>
                  </a:cubicBezTo>
                  <a:lnTo>
                    <a:pt x="35262" y="30765"/>
                  </a:lnTo>
                  <a:cubicBezTo>
                    <a:pt x="35262" y="30765"/>
                    <a:pt x="24382" y="1"/>
                    <a:pt x="18508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4" name="Google Shape;4814;p52">
              <a:extLst>
                <a:ext uri="{FF2B5EF4-FFF2-40B4-BE49-F238E27FC236}">
                  <a16:creationId xmlns:a16="http://schemas.microsoft.com/office/drawing/2014/main" id="{40D3798A-270B-5F7C-F8BC-2583B6E6E504}"/>
                </a:ext>
              </a:extLst>
            </p:cNvPr>
            <p:cNvSpPr/>
            <p:nvPr/>
          </p:nvSpPr>
          <p:spPr>
            <a:xfrm>
              <a:off x="3900626" y="3526988"/>
              <a:ext cx="471457" cy="580011"/>
            </a:xfrm>
            <a:custGeom>
              <a:avLst/>
              <a:gdLst/>
              <a:ahLst/>
              <a:cxnLst/>
              <a:rect l="l" t="t" r="r" b="b"/>
              <a:pathLst>
                <a:path w="14432" h="17755" extrusionOk="0">
                  <a:moveTo>
                    <a:pt x="7667" y="1"/>
                  </a:moveTo>
                  <a:cubicBezTo>
                    <a:pt x="5684" y="1"/>
                    <a:pt x="2739" y="4495"/>
                    <a:pt x="1" y="9653"/>
                  </a:cubicBezTo>
                  <a:cubicBezTo>
                    <a:pt x="40" y="9815"/>
                    <a:pt x="134" y="9964"/>
                    <a:pt x="309" y="9977"/>
                  </a:cubicBezTo>
                  <a:cubicBezTo>
                    <a:pt x="316" y="9978"/>
                    <a:pt x="324" y="9978"/>
                    <a:pt x="332" y="9978"/>
                  </a:cubicBezTo>
                  <a:cubicBezTo>
                    <a:pt x="774" y="9978"/>
                    <a:pt x="1286" y="8812"/>
                    <a:pt x="1605" y="8506"/>
                  </a:cubicBezTo>
                  <a:cubicBezTo>
                    <a:pt x="1676" y="8436"/>
                    <a:pt x="1900" y="8167"/>
                    <a:pt x="2057" y="8167"/>
                  </a:cubicBezTo>
                  <a:cubicBezTo>
                    <a:pt x="2112" y="8167"/>
                    <a:pt x="2159" y="8201"/>
                    <a:pt x="2188" y="8289"/>
                  </a:cubicBezTo>
                  <a:cubicBezTo>
                    <a:pt x="2376" y="8869"/>
                    <a:pt x="2188" y="9789"/>
                    <a:pt x="2107" y="10382"/>
                  </a:cubicBezTo>
                  <a:cubicBezTo>
                    <a:pt x="1848" y="12028"/>
                    <a:pt x="1903" y="13771"/>
                    <a:pt x="1809" y="15430"/>
                  </a:cubicBezTo>
                  <a:cubicBezTo>
                    <a:pt x="1796" y="15822"/>
                    <a:pt x="1715" y="17672"/>
                    <a:pt x="2269" y="17753"/>
                  </a:cubicBezTo>
                  <a:cubicBezTo>
                    <a:pt x="2276" y="17754"/>
                    <a:pt x="2284" y="17754"/>
                    <a:pt x="2291" y="17754"/>
                  </a:cubicBezTo>
                  <a:cubicBezTo>
                    <a:pt x="2480" y="17754"/>
                    <a:pt x="2608" y="17437"/>
                    <a:pt x="2674" y="17322"/>
                  </a:cubicBezTo>
                  <a:cubicBezTo>
                    <a:pt x="2956" y="16742"/>
                    <a:pt x="3079" y="16240"/>
                    <a:pt x="3241" y="15647"/>
                  </a:cubicBezTo>
                  <a:cubicBezTo>
                    <a:pt x="3766" y="13758"/>
                    <a:pt x="3565" y="11746"/>
                    <a:pt x="3996" y="9857"/>
                  </a:cubicBezTo>
                  <a:cubicBezTo>
                    <a:pt x="4077" y="9504"/>
                    <a:pt x="4550" y="8114"/>
                    <a:pt x="4968" y="8114"/>
                  </a:cubicBezTo>
                  <a:cubicBezTo>
                    <a:pt x="5953" y="8114"/>
                    <a:pt x="5723" y="9546"/>
                    <a:pt x="5804" y="10207"/>
                  </a:cubicBezTo>
                  <a:cubicBezTo>
                    <a:pt x="5833" y="10424"/>
                    <a:pt x="5778" y="11030"/>
                    <a:pt x="6141" y="11030"/>
                  </a:cubicBezTo>
                  <a:cubicBezTo>
                    <a:pt x="6900" y="11030"/>
                    <a:pt x="6621" y="8937"/>
                    <a:pt x="7175" y="8937"/>
                  </a:cubicBezTo>
                  <a:cubicBezTo>
                    <a:pt x="7302" y="8937"/>
                    <a:pt x="7472" y="9047"/>
                    <a:pt x="7709" y="9316"/>
                  </a:cubicBezTo>
                  <a:cubicBezTo>
                    <a:pt x="7910" y="9546"/>
                    <a:pt x="7871" y="9802"/>
                    <a:pt x="7871" y="10100"/>
                  </a:cubicBezTo>
                  <a:cubicBezTo>
                    <a:pt x="7871" y="10518"/>
                    <a:pt x="8046" y="10991"/>
                    <a:pt x="8085" y="11409"/>
                  </a:cubicBezTo>
                  <a:cubicBezTo>
                    <a:pt x="8114" y="11853"/>
                    <a:pt x="7965" y="12394"/>
                    <a:pt x="8114" y="12825"/>
                  </a:cubicBezTo>
                  <a:cubicBezTo>
                    <a:pt x="8182" y="13016"/>
                    <a:pt x="8221" y="13878"/>
                    <a:pt x="8545" y="13878"/>
                  </a:cubicBezTo>
                  <a:cubicBezTo>
                    <a:pt x="9112" y="13878"/>
                    <a:pt x="9018" y="12352"/>
                    <a:pt x="9018" y="12028"/>
                  </a:cubicBezTo>
                  <a:cubicBezTo>
                    <a:pt x="9031" y="11341"/>
                    <a:pt x="9138" y="10651"/>
                    <a:pt x="9180" y="9977"/>
                  </a:cubicBezTo>
                  <a:cubicBezTo>
                    <a:pt x="9261" y="8817"/>
                    <a:pt x="9099" y="7411"/>
                    <a:pt x="10003" y="6536"/>
                  </a:cubicBezTo>
                  <a:cubicBezTo>
                    <a:pt x="10048" y="6486"/>
                    <a:pt x="10118" y="6465"/>
                    <a:pt x="10198" y="6465"/>
                  </a:cubicBezTo>
                  <a:cubicBezTo>
                    <a:pt x="10403" y="6465"/>
                    <a:pt x="10670" y="6605"/>
                    <a:pt x="10719" y="6750"/>
                  </a:cubicBezTo>
                  <a:cubicBezTo>
                    <a:pt x="11017" y="7628"/>
                    <a:pt x="10800" y="8788"/>
                    <a:pt x="11354" y="9546"/>
                  </a:cubicBezTo>
                  <a:cubicBezTo>
                    <a:pt x="11360" y="9554"/>
                    <a:pt x="11367" y="9558"/>
                    <a:pt x="11375" y="9558"/>
                  </a:cubicBezTo>
                  <a:cubicBezTo>
                    <a:pt x="11460" y="9558"/>
                    <a:pt x="11651" y="9149"/>
                    <a:pt x="11678" y="9099"/>
                  </a:cubicBezTo>
                  <a:cubicBezTo>
                    <a:pt x="11798" y="8856"/>
                    <a:pt x="11798" y="7670"/>
                    <a:pt x="12070" y="7573"/>
                  </a:cubicBezTo>
                  <a:cubicBezTo>
                    <a:pt x="12074" y="7571"/>
                    <a:pt x="12079" y="7571"/>
                    <a:pt x="12084" y="7571"/>
                  </a:cubicBezTo>
                  <a:cubicBezTo>
                    <a:pt x="12213" y="7571"/>
                    <a:pt x="12502" y="8037"/>
                    <a:pt x="12527" y="8140"/>
                  </a:cubicBezTo>
                  <a:cubicBezTo>
                    <a:pt x="12744" y="8775"/>
                    <a:pt x="12650" y="9653"/>
                    <a:pt x="13055" y="10220"/>
                  </a:cubicBezTo>
                  <a:cubicBezTo>
                    <a:pt x="13246" y="10477"/>
                    <a:pt x="13490" y="10610"/>
                    <a:pt x="13713" y="10610"/>
                  </a:cubicBezTo>
                  <a:cubicBezTo>
                    <a:pt x="13992" y="10610"/>
                    <a:pt x="14236" y="10400"/>
                    <a:pt x="14296" y="9964"/>
                  </a:cubicBezTo>
                  <a:cubicBezTo>
                    <a:pt x="14351" y="9614"/>
                    <a:pt x="14390" y="9248"/>
                    <a:pt x="14432" y="8869"/>
                  </a:cubicBezTo>
                  <a:cubicBezTo>
                    <a:pt x="12083" y="4051"/>
                    <a:pt x="9559" y="1"/>
                    <a:pt x="766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5" name="Google Shape;4815;p52">
              <a:extLst>
                <a:ext uri="{FF2B5EF4-FFF2-40B4-BE49-F238E27FC236}">
                  <a16:creationId xmlns:a16="http://schemas.microsoft.com/office/drawing/2014/main" id="{791E8056-C19E-80D9-7AEE-8AD8633DEF8D}"/>
                </a:ext>
              </a:extLst>
            </p:cNvPr>
            <p:cNvSpPr/>
            <p:nvPr/>
          </p:nvSpPr>
          <p:spPr>
            <a:xfrm>
              <a:off x="4116237" y="3971964"/>
              <a:ext cx="234683" cy="370907"/>
            </a:xfrm>
            <a:custGeom>
              <a:avLst/>
              <a:gdLst/>
              <a:ahLst/>
              <a:cxnLst/>
              <a:rect l="l" t="t" r="r" b="b"/>
              <a:pathLst>
                <a:path w="7184" h="11354" extrusionOk="0">
                  <a:moveTo>
                    <a:pt x="3539" y="1"/>
                  </a:moveTo>
                  <a:lnTo>
                    <a:pt x="1" y="2376"/>
                  </a:lnTo>
                  <a:lnTo>
                    <a:pt x="1" y="11354"/>
                  </a:lnTo>
                  <a:lnTo>
                    <a:pt x="7184" y="11354"/>
                  </a:lnTo>
                  <a:lnTo>
                    <a:pt x="7184" y="2444"/>
                  </a:lnTo>
                  <a:lnTo>
                    <a:pt x="3539" y="1"/>
                  </a:lnTo>
                  <a:close/>
                </a:path>
              </a:pathLst>
            </a:custGeom>
            <a:solidFill>
              <a:srgbClr val="B2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6" name="Google Shape;4816;p52">
              <a:extLst>
                <a:ext uri="{FF2B5EF4-FFF2-40B4-BE49-F238E27FC236}">
                  <a16:creationId xmlns:a16="http://schemas.microsoft.com/office/drawing/2014/main" id="{18322DBD-C44A-D34B-C81B-D97545F3C52E}"/>
                </a:ext>
              </a:extLst>
            </p:cNvPr>
            <p:cNvSpPr/>
            <p:nvPr/>
          </p:nvSpPr>
          <p:spPr>
            <a:xfrm>
              <a:off x="4240606" y="4091890"/>
              <a:ext cx="67556" cy="80787"/>
            </a:xfrm>
            <a:custGeom>
              <a:avLst/>
              <a:gdLst/>
              <a:ahLst/>
              <a:cxnLst/>
              <a:rect l="l" t="t" r="r" b="b"/>
              <a:pathLst>
                <a:path w="2068" h="2473" extrusionOk="0">
                  <a:moveTo>
                    <a:pt x="1" y="1"/>
                  </a:moveTo>
                  <a:lnTo>
                    <a:pt x="1" y="2473"/>
                  </a:lnTo>
                  <a:lnTo>
                    <a:pt x="2068" y="2473"/>
                  </a:lnTo>
                  <a:lnTo>
                    <a:pt x="206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7" name="Google Shape;4817;p52">
              <a:extLst>
                <a:ext uri="{FF2B5EF4-FFF2-40B4-BE49-F238E27FC236}">
                  <a16:creationId xmlns:a16="http://schemas.microsoft.com/office/drawing/2014/main" id="{5E8CAC3B-ECC3-5DB1-350E-777D34650525}"/>
                </a:ext>
              </a:extLst>
            </p:cNvPr>
            <p:cNvSpPr/>
            <p:nvPr/>
          </p:nvSpPr>
          <p:spPr>
            <a:xfrm>
              <a:off x="4239757" y="4089766"/>
              <a:ext cx="36653" cy="44068"/>
            </a:xfrm>
            <a:custGeom>
              <a:avLst/>
              <a:gdLst/>
              <a:ahLst/>
              <a:cxnLst/>
              <a:rect l="l" t="t" r="r" b="b"/>
              <a:pathLst>
                <a:path w="1122" h="1349" extrusionOk="0">
                  <a:moveTo>
                    <a:pt x="1041" y="95"/>
                  </a:moveTo>
                  <a:lnTo>
                    <a:pt x="1041" y="1229"/>
                  </a:lnTo>
                  <a:lnTo>
                    <a:pt x="69" y="1229"/>
                  </a:lnTo>
                  <a:lnTo>
                    <a:pt x="69" y="95"/>
                  </a:lnTo>
                  <a:close/>
                  <a:moveTo>
                    <a:pt x="1" y="1"/>
                  </a:moveTo>
                  <a:lnTo>
                    <a:pt x="1" y="1349"/>
                  </a:lnTo>
                  <a:lnTo>
                    <a:pt x="69" y="1349"/>
                  </a:lnTo>
                  <a:lnTo>
                    <a:pt x="69" y="1323"/>
                  </a:lnTo>
                  <a:lnTo>
                    <a:pt x="1122" y="1323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8" name="Google Shape;4818;p52">
              <a:extLst>
                <a:ext uri="{FF2B5EF4-FFF2-40B4-BE49-F238E27FC236}">
                  <a16:creationId xmlns:a16="http://schemas.microsoft.com/office/drawing/2014/main" id="{47F6D76E-E3E1-FE76-645A-1B123CCD79C6}"/>
                </a:ext>
              </a:extLst>
            </p:cNvPr>
            <p:cNvSpPr/>
            <p:nvPr/>
          </p:nvSpPr>
          <p:spPr>
            <a:xfrm>
              <a:off x="4273732" y="4089766"/>
              <a:ext cx="36555" cy="43219"/>
            </a:xfrm>
            <a:custGeom>
              <a:avLst/>
              <a:gdLst/>
              <a:ahLst/>
              <a:cxnLst/>
              <a:rect l="l" t="t" r="r" b="b"/>
              <a:pathLst>
                <a:path w="1119" h="1323" extrusionOk="0">
                  <a:moveTo>
                    <a:pt x="1054" y="95"/>
                  </a:moveTo>
                  <a:lnTo>
                    <a:pt x="1054" y="1229"/>
                  </a:lnTo>
                  <a:lnTo>
                    <a:pt x="82" y="1229"/>
                  </a:lnTo>
                  <a:lnTo>
                    <a:pt x="82" y="95"/>
                  </a:lnTo>
                  <a:close/>
                  <a:moveTo>
                    <a:pt x="1" y="1"/>
                  </a:moveTo>
                  <a:lnTo>
                    <a:pt x="1" y="1281"/>
                  </a:lnTo>
                  <a:lnTo>
                    <a:pt x="14" y="1323"/>
                  </a:lnTo>
                  <a:lnTo>
                    <a:pt x="1119" y="1323"/>
                  </a:lnTo>
                  <a:lnTo>
                    <a:pt x="111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9" name="Google Shape;4819;p52">
              <a:extLst>
                <a:ext uri="{FF2B5EF4-FFF2-40B4-BE49-F238E27FC236}">
                  <a16:creationId xmlns:a16="http://schemas.microsoft.com/office/drawing/2014/main" id="{7DB2241D-CDC9-54EA-E1A0-670DE4DAF02A}"/>
                </a:ext>
              </a:extLst>
            </p:cNvPr>
            <p:cNvSpPr/>
            <p:nvPr/>
          </p:nvSpPr>
          <p:spPr>
            <a:xfrm>
              <a:off x="4273732" y="4089766"/>
              <a:ext cx="2679" cy="43219"/>
            </a:xfrm>
            <a:custGeom>
              <a:avLst/>
              <a:gdLst/>
              <a:ahLst/>
              <a:cxnLst/>
              <a:rect l="l" t="t" r="r" b="b"/>
              <a:pathLst>
                <a:path w="82" h="1323" extrusionOk="0">
                  <a:moveTo>
                    <a:pt x="1" y="1"/>
                  </a:moveTo>
                  <a:lnTo>
                    <a:pt x="1" y="1281"/>
                  </a:lnTo>
                  <a:lnTo>
                    <a:pt x="1" y="1323"/>
                  </a:lnTo>
                  <a:lnTo>
                    <a:pt x="82" y="1323"/>
                  </a:lnTo>
                  <a:lnTo>
                    <a:pt x="82" y="53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0" name="Google Shape;4820;p52">
              <a:extLst>
                <a:ext uri="{FF2B5EF4-FFF2-40B4-BE49-F238E27FC236}">
                  <a16:creationId xmlns:a16="http://schemas.microsoft.com/office/drawing/2014/main" id="{420CDC25-AECA-E0E6-683B-D7599C1C03D8}"/>
                </a:ext>
              </a:extLst>
            </p:cNvPr>
            <p:cNvSpPr/>
            <p:nvPr/>
          </p:nvSpPr>
          <p:spPr>
            <a:xfrm>
              <a:off x="4239757" y="4130733"/>
              <a:ext cx="36653" cy="43219"/>
            </a:xfrm>
            <a:custGeom>
              <a:avLst/>
              <a:gdLst/>
              <a:ahLst/>
              <a:cxnLst/>
              <a:rect l="l" t="t" r="r" b="b"/>
              <a:pathLst>
                <a:path w="1122" h="1323" extrusionOk="0">
                  <a:moveTo>
                    <a:pt x="1041" y="95"/>
                  </a:moveTo>
                  <a:lnTo>
                    <a:pt x="1041" y="1229"/>
                  </a:lnTo>
                  <a:lnTo>
                    <a:pt x="69" y="1229"/>
                  </a:lnTo>
                  <a:lnTo>
                    <a:pt x="69" y="95"/>
                  </a:lnTo>
                  <a:close/>
                  <a:moveTo>
                    <a:pt x="1" y="1"/>
                  </a:moveTo>
                  <a:lnTo>
                    <a:pt x="1" y="1323"/>
                  </a:lnTo>
                  <a:lnTo>
                    <a:pt x="1122" y="1323"/>
                  </a:lnTo>
                  <a:lnTo>
                    <a:pt x="1122" y="43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1" name="Google Shape;4821;p52">
              <a:extLst>
                <a:ext uri="{FF2B5EF4-FFF2-40B4-BE49-F238E27FC236}">
                  <a16:creationId xmlns:a16="http://schemas.microsoft.com/office/drawing/2014/main" id="{49AA69BC-7A80-DB7A-B9E1-850DB8AE525E}"/>
                </a:ext>
              </a:extLst>
            </p:cNvPr>
            <p:cNvSpPr/>
            <p:nvPr/>
          </p:nvSpPr>
          <p:spPr>
            <a:xfrm>
              <a:off x="4239757" y="4129883"/>
              <a:ext cx="36653" cy="3953"/>
            </a:xfrm>
            <a:custGeom>
              <a:avLst/>
              <a:gdLst/>
              <a:ahLst/>
              <a:cxnLst/>
              <a:rect l="l" t="t" r="r" b="b"/>
              <a:pathLst>
                <a:path w="112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22" y="121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2" name="Google Shape;4822;p52">
              <a:extLst>
                <a:ext uri="{FF2B5EF4-FFF2-40B4-BE49-F238E27FC236}">
                  <a16:creationId xmlns:a16="http://schemas.microsoft.com/office/drawing/2014/main" id="{168540CB-7C17-5920-7B15-8DFFC1179ABA}"/>
                </a:ext>
              </a:extLst>
            </p:cNvPr>
            <p:cNvSpPr/>
            <p:nvPr/>
          </p:nvSpPr>
          <p:spPr>
            <a:xfrm>
              <a:off x="4273732" y="4129883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3" name="Google Shape;4823;p52">
              <a:extLst>
                <a:ext uri="{FF2B5EF4-FFF2-40B4-BE49-F238E27FC236}">
                  <a16:creationId xmlns:a16="http://schemas.microsoft.com/office/drawing/2014/main" id="{E7A86622-D5C4-2294-6532-EF2A26E5A8D8}"/>
                </a:ext>
              </a:extLst>
            </p:cNvPr>
            <p:cNvSpPr/>
            <p:nvPr/>
          </p:nvSpPr>
          <p:spPr>
            <a:xfrm>
              <a:off x="4274156" y="4129883"/>
              <a:ext cx="36653" cy="44068"/>
            </a:xfrm>
            <a:custGeom>
              <a:avLst/>
              <a:gdLst/>
              <a:ahLst/>
              <a:cxnLst/>
              <a:rect l="l" t="t" r="r" b="b"/>
              <a:pathLst>
                <a:path w="1122" h="1349" extrusionOk="0">
                  <a:moveTo>
                    <a:pt x="1041" y="121"/>
                  </a:moveTo>
                  <a:lnTo>
                    <a:pt x="1041" y="1255"/>
                  </a:lnTo>
                  <a:lnTo>
                    <a:pt x="69" y="1255"/>
                  </a:lnTo>
                  <a:lnTo>
                    <a:pt x="69" y="121"/>
                  </a:lnTo>
                  <a:close/>
                  <a:moveTo>
                    <a:pt x="1041" y="1"/>
                  </a:moveTo>
                  <a:lnTo>
                    <a:pt x="1041" y="27"/>
                  </a:lnTo>
                  <a:lnTo>
                    <a:pt x="1" y="27"/>
                  </a:lnTo>
                  <a:lnTo>
                    <a:pt x="1" y="1349"/>
                  </a:lnTo>
                  <a:lnTo>
                    <a:pt x="1122" y="1349"/>
                  </a:lnTo>
                  <a:lnTo>
                    <a:pt x="1122" y="53"/>
                  </a:lnTo>
                  <a:lnTo>
                    <a:pt x="110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4" name="Google Shape;4824;p52">
              <a:extLst>
                <a:ext uri="{FF2B5EF4-FFF2-40B4-BE49-F238E27FC236}">
                  <a16:creationId xmlns:a16="http://schemas.microsoft.com/office/drawing/2014/main" id="{B1965CB0-F16C-D6DA-3B8F-B13918F73FF5}"/>
                </a:ext>
              </a:extLst>
            </p:cNvPr>
            <p:cNvSpPr/>
            <p:nvPr/>
          </p:nvSpPr>
          <p:spPr>
            <a:xfrm>
              <a:off x="4274156" y="4129883"/>
              <a:ext cx="36130" cy="3953"/>
            </a:xfrm>
            <a:custGeom>
              <a:avLst/>
              <a:gdLst/>
              <a:ahLst/>
              <a:cxnLst/>
              <a:rect l="l" t="t" r="r" b="b"/>
              <a:pathLst>
                <a:path w="1106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06" y="121"/>
                  </a:lnTo>
                  <a:lnTo>
                    <a:pt x="110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5" name="Google Shape;4825;p52">
              <a:extLst>
                <a:ext uri="{FF2B5EF4-FFF2-40B4-BE49-F238E27FC236}">
                  <a16:creationId xmlns:a16="http://schemas.microsoft.com/office/drawing/2014/main" id="{A0A563A3-32A0-4AB6-8019-A358CD948626}"/>
                </a:ext>
              </a:extLst>
            </p:cNvPr>
            <p:cNvSpPr/>
            <p:nvPr/>
          </p:nvSpPr>
          <p:spPr>
            <a:xfrm>
              <a:off x="4273732" y="4130733"/>
              <a:ext cx="2679" cy="43219"/>
            </a:xfrm>
            <a:custGeom>
              <a:avLst/>
              <a:gdLst/>
              <a:ahLst/>
              <a:cxnLst/>
              <a:rect l="l" t="t" r="r" b="b"/>
              <a:pathLst>
                <a:path w="82" h="1323" extrusionOk="0">
                  <a:moveTo>
                    <a:pt x="1" y="1"/>
                  </a:moveTo>
                  <a:lnTo>
                    <a:pt x="1" y="1323"/>
                  </a:lnTo>
                  <a:lnTo>
                    <a:pt x="82" y="1323"/>
                  </a:lnTo>
                  <a:lnTo>
                    <a:pt x="82" y="43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6" name="Google Shape;4826;p52">
              <a:extLst>
                <a:ext uri="{FF2B5EF4-FFF2-40B4-BE49-F238E27FC236}">
                  <a16:creationId xmlns:a16="http://schemas.microsoft.com/office/drawing/2014/main" id="{8D3FD8F9-81C5-26D5-7ACA-CF1E24E7ED74}"/>
                </a:ext>
              </a:extLst>
            </p:cNvPr>
            <p:cNvSpPr/>
            <p:nvPr/>
          </p:nvSpPr>
          <p:spPr>
            <a:xfrm>
              <a:off x="4273732" y="4129883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7" name="Google Shape;4827;p52">
              <a:extLst>
                <a:ext uri="{FF2B5EF4-FFF2-40B4-BE49-F238E27FC236}">
                  <a16:creationId xmlns:a16="http://schemas.microsoft.com/office/drawing/2014/main" id="{819ADAB1-B5D8-7BD1-0F63-7947C0557840}"/>
                </a:ext>
              </a:extLst>
            </p:cNvPr>
            <p:cNvSpPr/>
            <p:nvPr/>
          </p:nvSpPr>
          <p:spPr>
            <a:xfrm>
              <a:off x="4273732" y="4129883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8" name="Google Shape;4828;p52">
              <a:extLst>
                <a:ext uri="{FF2B5EF4-FFF2-40B4-BE49-F238E27FC236}">
                  <a16:creationId xmlns:a16="http://schemas.microsoft.com/office/drawing/2014/main" id="{7C321C92-4667-CAE1-D1EA-3D2640221C02}"/>
                </a:ext>
              </a:extLst>
            </p:cNvPr>
            <p:cNvSpPr/>
            <p:nvPr/>
          </p:nvSpPr>
          <p:spPr>
            <a:xfrm>
              <a:off x="4148841" y="4091890"/>
              <a:ext cx="67556" cy="80787"/>
            </a:xfrm>
            <a:custGeom>
              <a:avLst/>
              <a:gdLst/>
              <a:ahLst/>
              <a:cxnLst/>
              <a:rect l="l" t="t" r="r" b="b"/>
              <a:pathLst>
                <a:path w="2068" h="2473" extrusionOk="0">
                  <a:moveTo>
                    <a:pt x="1" y="1"/>
                  </a:moveTo>
                  <a:lnTo>
                    <a:pt x="1" y="2473"/>
                  </a:lnTo>
                  <a:lnTo>
                    <a:pt x="2068" y="2473"/>
                  </a:lnTo>
                  <a:lnTo>
                    <a:pt x="206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9" name="Google Shape;4829;p52">
              <a:extLst>
                <a:ext uri="{FF2B5EF4-FFF2-40B4-BE49-F238E27FC236}">
                  <a16:creationId xmlns:a16="http://schemas.microsoft.com/office/drawing/2014/main" id="{02B10B21-2A4E-04CF-CCE3-A379D8377DBB}"/>
                </a:ext>
              </a:extLst>
            </p:cNvPr>
            <p:cNvSpPr/>
            <p:nvPr/>
          </p:nvSpPr>
          <p:spPr>
            <a:xfrm>
              <a:off x="4147991" y="4089766"/>
              <a:ext cx="36653" cy="44068"/>
            </a:xfrm>
            <a:custGeom>
              <a:avLst/>
              <a:gdLst/>
              <a:ahLst/>
              <a:cxnLst/>
              <a:rect l="l" t="t" r="r" b="b"/>
              <a:pathLst>
                <a:path w="1122" h="1349" extrusionOk="0">
                  <a:moveTo>
                    <a:pt x="1054" y="95"/>
                  </a:moveTo>
                  <a:lnTo>
                    <a:pt x="1054" y="1229"/>
                  </a:lnTo>
                  <a:lnTo>
                    <a:pt x="82" y="1229"/>
                  </a:lnTo>
                  <a:lnTo>
                    <a:pt x="82" y="95"/>
                  </a:lnTo>
                  <a:close/>
                  <a:moveTo>
                    <a:pt x="1" y="1"/>
                  </a:moveTo>
                  <a:lnTo>
                    <a:pt x="1" y="1349"/>
                  </a:lnTo>
                  <a:lnTo>
                    <a:pt x="82" y="1349"/>
                  </a:lnTo>
                  <a:lnTo>
                    <a:pt x="82" y="1323"/>
                  </a:lnTo>
                  <a:lnTo>
                    <a:pt x="1122" y="1323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0" name="Google Shape;4830;p52">
              <a:extLst>
                <a:ext uri="{FF2B5EF4-FFF2-40B4-BE49-F238E27FC236}">
                  <a16:creationId xmlns:a16="http://schemas.microsoft.com/office/drawing/2014/main" id="{1F2DA091-77BC-BA29-CC52-EC8AC70C47E7}"/>
                </a:ext>
              </a:extLst>
            </p:cNvPr>
            <p:cNvSpPr/>
            <p:nvPr/>
          </p:nvSpPr>
          <p:spPr>
            <a:xfrm>
              <a:off x="4182391" y="4089766"/>
              <a:ext cx="36653" cy="43219"/>
            </a:xfrm>
            <a:custGeom>
              <a:avLst/>
              <a:gdLst/>
              <a:ahLst/>
              <a:cxnLst/>
              <a:rect l="l" t="t" r="r" b="b"/>
              <a:pathLst>
                <a:path w="1122" h="1323" extrusionOk="0">
                  <a:moveTo>
                    <a:pt x="1041" y="95"/>
                  </a:moveTo>
                  <a:lnTo>
                    <a:pt x="1041" y="1229"/>
                  </a:lnTo>
                  <a:lnTo>
                    <a:pt x="69" y="1229"/>
                  </a:lnTo>
                  <a:lnTo>
                    <a:pt x="69" y="95"/>
                  </a:lnTo>
                  <a:close/>
                  <a:moveTo>
                    <a:pt x="1" y="1"/>
                  </a:moveTo>
                  <a:lnTo>
                    <a:pt x="1" y="1281"/>
                  </a:lnTo>
                  <a:lnTo>
                    <a:pt x="1" y="1323"/>
                  </a:lnTo>
                  <a:lnTo>
                    <a:pt x="1122" y="1323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1" name="Google Shape;4831;p52">
              <a:extLst>
                <a:ext uri="{FF2B5EF4-FFF2-40B4-BE49-F238E27FC236}">
                  <a16:creationId xmlns:a16="http://schemas.microsoft.com/office/drawing/2014/main" id="{F5AECFFF-45D4-D581-F8BA-957CB748FCB5}"/>
                </a:ext>
              </a:extLst>
            </p:cNvPr>
            <p:cNvSpPr/>
            <p:nvPr/>
          </p:nvSpPr>
          <p:spPr>
            <a:xfrm>
              <a:off x="4182391" y="4089766"/>
              <a:ext cx="2254" cy="43219"/>
            </a:xfrm>
            <a:custGeom>
              <a:avLst/>
              <a:gdLst/>
              <a:ahLst/>
              <a:cxnLst/>
              <a:rect l="l" t="t" r="r" b="b"/>
              <a:pathLst>
                <a:path w="69" h="1323" extrusionOk="0">
                  <a:moveTo>
                    <a:pt x="1" y="1"/>
                  </a:moveTo>
                  <a:lnTo>
                    <a:pt x="1" y="1281"/>
                  </a:lnTo>
                  <a:lnTo>
                    <a:pt x="1" y="1323"/>
                  </a:lnTo>
                  <a:lnTo>
                    <a:pt x="69" y="1323"/>
                  </a:lnTo>
                  <a:lnTo>
                    <a:pt x="69" y="53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2" name="Google Shape;4832;p52">
              <a:extLst>
                <a:ext uri="{FF2B5EF4-FFF2-40B4-BE49-F238E27FC236}">
                  <a16:creationId xmlns:a16="http://schemas.microsoft.com/office/drawing/2014/main" id="{53273921-7A43-630A-808E-826DAD8D1ACC}"/>
                </a:ext>
              </a:extLst>
            </p:cNvPr>
            <p:cNvSpPr/>
            <p:nvPr/>
          </p:nvSpPr>
          <p:spPr>
            <a:xfrm>
              <a:off x="4147991" y="4130733"/>
              <a:ext cx="36653" cy="43219"/>
            </a:xfrm>
            <a:custGeom>
              <a:avLst/>
              <a:gdLst/>
              <a:ahLst/>
              <a:cxnLst/>
              <a:rect l="l" t="t" r="r" b="b"/>
              <a:pathLst>
                <a:path w="1122" h="1323" extrusionOk="0">
                  <a:moveTo>
                    <a:pt x="1054" y="95"/>
                  </a:moveTo>
                  <a:lnTo>
                    <a:pt x="1054" y="1229"/>
                  </a:lnTo>
                  <a:lnTo>
                    <a:pt x="82" y="1229"/>
                  </a:lnTo>
                  <a:lnTo>
                    <a:pt x="82" y="95"/>
                  </a:lnTo>
                  <a:close/>
                  <a:moveTo>
                    <a:pt x="1" y="1"/>
                  </a:moveTo>
                  <a:lnTo>
                    <a:pt x="1" y="1323"/>
                  </a:lnTo>
                  <a:lnTo>
                    <a:pt x="1122" y="1323"/>
                  </a:lnTo>
                  <a:lnTo>
                    <a:pt x="1122" y="43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3" name="Google Shape;4833;p52">
              <a:extLst>
                <a:ext uri="{FF2B5EF4-FFF2-40B4-BE49-F238E27FC236}">
                  <a16:creationId xmlns:a16="http://schemas.microsoft.com/office/drawing/2014/main" id="{0F8C79A5-9AA1-350A-1F59-4EF4B698A4DA}"/>
                </a:ext>
              </a:extLst>
            </p:cNvPr>
            <p:cNvSpPr/>
            <p:nvPr/>
          </p:nvSpPr>
          <p:spPr>
            <a:xfrm>
              <a:off x="4147991" y="4129883"/>
              <a:ext cx="36653" cy="3953"/>
            </a:xfrm>
            <a:custGeom>
              <a:avLst/>
              <a:gdLst/>
              <a:ahLst/>
              <a:cxnLst/>
              <a:rect l="l" t="t" r="r" b="b"/>
              <a:pathLst>
                <a:path w="112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22" y="121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4" name="Google Shape;4834;p52">
              <a:extLst>
                <a:ext uri="{FF2B5EF4-FFF2-40B4-BE49-F238E27FC236}">
                  <a16:creationId xmlns:a16="http://schemas.microsoft.com/office/drawing/2014/main" id="{7CA80799-C5B5-DEA6-36A7-4D68703D057F}"/>
                </a:ext>
              </a:extLst>
            </p:cNvPr>
            <p:cNvSpPr/>
            <p:nvPr/>
          </p:nvSpPr>
          <p:spPr>
            <a:xfrm>
              <a:off x="4182391" y="4129883"/>
              <a:ext cx="2254" cy="3953"/>
            </a:xfrm>
            <a:custGeom>
              <a:avLst/>
              <a:gdLst/>
              <a:ahLst/>
              <a:cxnLst/>
              <a:rect l="l" t="t" r="r" b="b"/>
              <a:pathLst>
                <a:path w="69" h="121" extrusionOk="0">
                  <a:moveTo>
                    <a:pt x="1" y="1"/>
                  </a:moveTo>
                  <a:lnTo>
                    <a:pt x="1" y="121"/>
                  </a:lnTo>
                  <a:lnTo>
                    <a:pt x="69" y="121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5" name="Google Shape;4835;p52">
              <a:extLst>
                <a:ext uri="{FF2B5EF4-FFF2-40B4-BE49-F238E27FC236}">
                  <a16:creationId xmlns:a16="http://schemas.microsoft.com/office/drawing/2014/main" id="{41230923-05F1-CB29-BDD9-469E2132AA8B}"/>
                </a:ext>
              </a:extLst>
            </p:cNvPr>
            <p:cNvSpPr/>
            <p:nvPr/>
          </p:nvSpPr>
          <p:spPr>
            <a:xfrm>
              <a:off x="4182391" y="4129883"/>
              <a:ext cx="36653" cy="44068"/>
            </a:xfrm>
            <a:custGeom>
              <a:avLst/>
              <a:gdLst/>
              <a:ahLst/>
              <a:cxnLst/>
              <a:rect l="l" t="t" r="r" b="b"/>
              <a:pathLst>
                <a:path w="1122" h="1349" extrusionOk="0">
                  <a:moveTo>
                    <a:pt x="1041" y="121"/>
                  </a:moveTo>
                  <a:lnTo>
                    <a:pt x="1041" y="1255"/>
                  </a:lnTo>
                  <a:lnTo>
                    <a:pt x="82" y="1255"/>
                  </a:lnTo>
                  <a:lnTo>
                    <a:pt x="82" y="121"/>
                  </a:lnTo>
                  <a:close/>
                  <a:moveTo>
                    <a:pt x="1041" y="1"/>
                  </a:moveTo>
                  <a:lnTo>
                    <a:pt x="1041" y="27"/>
                  </a:lnTo>
                  <a:lnTo>
                    <a:pt x="1" y="27"/>
                  </a:lnTo>
                  <a:lnTo>
                    <a:pt x="1" y="1349"/>
                  </a:lnTo>
                  <a:lnTo>
                    <a:pt x="1122" y="1349"/>
                  </a:lnTo>
                  <a:lnTo>
                    <a:pt x="1122" y="53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6" name="Google Shape;4836;p52">
              <a:extLst>
                <a:ext uri="{FF2B5EF4-FFF2-40B4-BE49-F238E27FC236}">
                  <a16:creationId xmlns:a16="http://schemas.microsoft.com/office/drawing/2014/main" id="{CD9D9869-83BE-5FA1-16BA-B8F632677F5D}"/>
                </a:ext>
              </a:extLst>
            </p:cNvPr>
            <p:cNvSpPr/>
            <p:nvPr/>
          </p:nvSpPr>
          <p:spPr>
            <a:xfrm>
              <a:off x="4182391" y="4129883"/>
              <a:ext cx="36653" cy="3953"/>
            </a:xfrm>
            <a:custGeom>
              <a:avLst/>
              <a:gdLst/>
              <a:ahLst/>
              <a:cxnLst/>
              <a:rect l="l" t="t" r="r" b="b"/>
              <a:pathLst>
                <a:path w="112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22" y="121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7" name="Google Shape;4837;p52">
              <a:extLst>
                <a:ext uri="{FF2B5EF4-FFF2-40B4-BE49-F238E27FC236}">
                  <a16:creationId xmlns:a16="http://schemas.microsoft.com/office/drawing/2014/main" id="{922A156E-2C85-69EA-4EA4-07853ADC33F2}"/>
                </a:ext>
              </a:extLst>
            </p:cNvPr>
            <p:cNvSpPr/>
            <p:nvPr/>
          </p:nvSpPr>
          <p:spPr>
            <a:xfrm>
              <a:off x="4182391" y="4130733"/>
              <a:ext cx="2679" cy="43219"/>
            </a:xfrm>
            <a:custGeom>
              <a:avLst/>
              <a:gdLst/>
              <a:ahLst/>
              <a:cxnLst/>
              <a:rect l="l" t="t" r="r" b="b"/>
              <a:pathLst>
                <a:path w="82" h="1323" extrusionOk="0">
                  <a:moveTo>
                    <a:pt x="1" y="1"/>
                  </a:moveTo>
                  <a:lnTo>
                    <a:pt x="1" y="1323"/>
                  </a:lnTo>
                  <a:lnTo>
                    <a:pt x="82" y="1323"/>
                  </a:lnTo>
                  <a:lnTo>
                    <a:pt x="82" y="43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8" name="Google Shape;4838;p52">
              <a:extLst>
                <a:ext uri="{FF2B5EF4-FFF2-40B4-BE49-F238E27FC236}">
                  <a16:creationId xmlns:a16="http://schemas.microsoft.com/office/drawing/2014/main" id="{4E0309E8-D4C4-86CB-F75C-226B024DC2F8}"/>
                </a:ext>
              </a:extLst>
            </p:cNvPr>
            <p:cNvSpPr/>
            <p:nvPr/>
          </p:nvSpPr>
          <p:spPr>
            <a:xfrm>
              <a:off x="4182391" y="4129883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9" name="Google Shape;4839;p52">
              <a:extLst>
                <a:ext uri="{FF2B5EF4-FFF2-40B4-BE49-F238E27FC236}">
                  <a16:creationId xmlns:a16="http://schemas.microsoft.com/office/drawing/2014/main" id="{8AFD09FC-E865-14F6-ED30-6814CE797215}"/>
                </a:ext>
              </a:extLst>
            </p:cNvPr>
            <p:cNvSpPr/>
            <p:nvPr/>
          </p:nvSpPr>
          <p:spPr>
            <a:xfrm>
              <a:off x="4182391" y="4129883"/>
              <a:ext cx="2254" cy="3953"/>
            </a:xfrm>
            <a:custGeom>
              <a:avLst/>
              <a:gdLst/>
              <a:ahLst/>
              <a:cxnLst/>
              <a:rect l="l" t="t" r="r" b="b"/>
              <a:pathLst>
                <a:path w="69" h="121" extrusionOk="0">
                  <a:moveTo>
                    <a:pt x="1" y="1"/>
                  </a:moveTo>
                  <a:lnTo>
                    <a:pt x="1" y="121"/>
                  </a:lnTo>
                  <a:lnTo>
                    <a:pt x="69" y="121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0" name="Google Shape;4840;p52">
              <a:extLst>
                <a:ext uri="{FF2B5EF4-FFF2-40B4-BE49-F238E27FC236}">
                  <a16:creationId xmlns:a16="http://schemas.microsoft.com/office/drawing/2014/main" id="{27732CB4-27A8-3CD9-7FA9-8B1BDA452AFA}"/>
                </a:ext>
              </a:extLst>
            </p:cNvPr>
            <p:cNvSpPr/>
            <p:nvPr/>
          </p:nvSpPr>
          <p:spPr>
            <a:xfrm>
              <a:off x="4240606" y="4129458"/>
              <a:ext cx="67556" cy="80264"/>
            </a:xfrm>
            <a:custGeom>
              <a:avLst/>
              <a:gdLst/>
              <a:ahLst/>
              <a:cxnLst/>
              <a:rect l="l" t="t" r="r" b="b"/>
              <a:pathLst>
                <a:path w="2068" h="2457" extrusionOk="0">
                  <a:moveTo>
                    <a:pt x="1" y="1"/>
                  </a:moveTo>
                  <a:lnTo>
                    <a:pt x="1" y="2457"/>
                  </a:lnTo>
                  <a:lnTo>
                    <a:pt x="2068" y="2457"/>
                  </a:lnTo>
                  <a:lnTo>
                    <a:pt x="206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1" name="Google Shape;4841;p52">
              <a:extLst>
                <a:ext uri="{FF2B5EF4-FFF2-40B4-BE49-F238E27FC236}">
                  <a16:creationId xmlns:a16="http://schemas.microsoft.com/office/drawing/2014/main" id="{27CAB75E-F4E4-4CFC-A682-6114504AC22C}"/>
                </a:ext>
              </a:extLst>
            </p:cNvPr>
            <p:cNvSpPr/>
            <p:nvPr/>
          </p:nvSpPr>
          <p:spPr>
            <a:xfrm>
              <a:off x="4239757" y="4127237"/>
              <a:ext cx="36653" cy="43644"/>
            </a:xfrm>
            <a:custGeom>
              <a:avLst/>
              <a:gdLst/>
              <a:ahLst/>
              <a:cxnLst/>
              <a:rect l="l" t="t" r="r" b="b"/>
              <a:pathLst>
                <a:path w="1122" h="1336" extrusionOk="0">
                  <a:moveTo>
                    <a:pt x="1041" y="82"/>
                  </a:moveTo>
                  <a:lnTo>
                    <a:pt x="1041" y="1216"/>
                  </a:lnTo>
                  <a:lnTo>
                    <a:pt x="69" y="1216"/>
                  </a:lnTo>
                  <a:lnTo>
                    <a:pt x="69" y="82"/>
                  </a:lnTo>
                  <a:close/>
                  <a:moveTo>
                    <a:pt x="1" y="1"/>
                  </a:moveTo>
                  <a:lnTo>
                    <a:pt x="1" y="1336"/>
                  </a:lnTo>
                  <a:lnTo>
                    <a:pt x="69" y="1336"/>
                  </a:lnTo>
                  <a:lnTo>
                    <a:pt x="69" y="1310"/>
                  </a:lnTo>
                  <a:lnTo>
                    <a:pt x="1122" y="1310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2" name="Google Shape;4842;p52">
              <a:extLst>
                <a:ext uri="{FF2B5EF4-FFF2-40B4-BE49-F238E27FC236}">
                  <a16:creationId xmlns:a16="http://schemas.microsoft.com/office/drawing/2014/main" id="{DAEEB090-ED41-83CB-C4D5-98FADF76803D}"/>
                </a:ext>
              </a:extLst>
            </p:cNvPr>
            <p:cNvSpPr/>
            <p:nvPr/>
          </p:nvSpPr>
          <p:spPr>
            <a:xfrm>
              <a:off x="4273732" y="4127237"/>
              <a:ext cx="36555" cy="42794"/>
            </a:xfrm>
            <a:custGeom>
              <a:avLst/>
              <a:gdLst/>
              <a:ahLst/>
              <a:cxnLst/>
              <a:rect l="l" t="t" r="r" b="b"/>
              <a:pathLst>
                <a:path w="1119" h="1310" extrusionOk="0">
                  <a:moveTo>
                    <a:pt x="1054" y="82"/>
                  </a:moveTo>
                  <a:lnTo>
                    <a:pt x="1054" y="1216"/>
                  </a:lnTo>
                  <a:lnTo>
                    <a:pt x="82" y="1216"/>
                  </a:lnTo>
                  <a:lnTo>
                    <a:pt x="82" y="82"/>
                  </a:lnTo>
                  <a:close/>
                  <a:moveTo>
                    <a:pt x="1" y="1"/>
                  </a:moveTo>
                  <a:lnTo>
                    <a:pt x="1" y="1268"/>
                  </a:lnTo>
                  <a:lnTo>
                    <a:pt x="14" y="1310"/>
                  </a:lnTo>
                  <a:lnTo>
                    <a:pt x="1119" y="1310"/>
                  </a:lnTo>
                  <a:lnTo>
                    <a:pt x="111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3" name="Google Shape;4843;p52">
              <a:extLst>
                <a:ext uri="{FF2B5EF4-FFF2-40B4-BE49-F238E27FC236}">
                  <a16:creationId xmlns:a16="http://schemas.microsoft.com/office/drawing/2014/main" id="{55D8D46C-82E1-0578-76A7-85AB8E6627FE}"/>
                </a:ext>
              </a:extLst>
            </p:cNvPr>
            <p:cNvSpPr/>
            <p:nvPr/>
          </p:nvSpPr>
          <p:spPr>
            <a:xfrm>
              <a:off x="4273732" y="4127237"/>
              <a:ext cx="2679" cy="42794"/>
            </a:xfrm>
            <a:custGeom>
              <a:avLst/>
              <a:gdLst/>
              <a:ahLst/>
              <a:cxnLst/>
              <a:rect l="l" t="t" r="r" b="b"/>
              <a:pathLst>
                <a:path w="82" h="1310" extrusionOk="0">
                  <a:moveTo>
                    <a:pt x="1" y="1"/>
                  </a:moveTo>
                  <a:lnTo>
                    <a:pt x="1" y="1268"/>
                  </a:lnTo>
                  <a:lnTo>
                    <a:pt x="1" y="1310"/>
                  </a:lnTo>
                  <a:lnTo>
                    <a:pt x="82" y="1310"/>
                  </a:lnTo>
                  <a:lnTo>
                    <a:pt x="82" y="40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4" name="Google Shape;4844;p52">
              <a:extLst>
                <a:ext uri="{FF2B5EF4-FFF2-40B4-BE49-F238E27FC236}">
                  <a16:creationId xmlns:a16="http://schemas.microsoft.com/office/drawing/2014/main" id="{6108C932-88EA-C329-BA11-EF85241E1DF0}"/>
                </a:ext>
              </a:extLst>
            </p:cNvPr>
            <p:cNvSpPr/>
            <p:nvPr/>
          </p:nvSpPr>
          <p:spPr>
            <a:xfrm>
              <a:off x="4239757" y="4167778"/>
              <a:ext cx="36653" cy="43219"/>
            </a:xfrm>
            <a:custGeom>
              <a:avLst/>
              <a:gdLst/>
              <a:ahLst/>
              <a:cxnLst/>
              <a:rect l="l" t="t" r="r" b="b"/>
              <a:pathLst>
                <a:path w="1122" h="1323" extrusionOk="0">
                  <a:moveTo>
                    <a:pt x="1041" y="95"/>
                  </a:moveTo>
                  <a:lnTo>
                    <a:pt x="1041" y="1229"/>
                  </a:lnTo>
                  <a:lnTo>
                    <a:pt x="69" y="1229"/>
                  </a:lnTo>
                  <a:lnTo>
                    <a:pt x="69" y="95"/>
                  </a:lnTo>
                  <a:close/>
                  <a:moveTo>
                    <a:pt x="1" y="1"/>
                  </a:moveTo>
                  <a:lnTo>
                    <a:pt x="1" y="1323"/>
                  </a:lnTo>
                  <a:lnTo>
                    <a:pt x="1122" y="1323"/>
                  </a:lnTo>
                  <a:lnTo>
                    <a:pt x="1122" y="56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5" name="Google Shape;4845;p52">
              <a:extLst>
                <a:ext uri="{FF2B5EF4-FFF2-40B4-BE49-F238E27FC236}">
                  <a16:creationId xmlns:a16="http://schemas.microsoft.com/office/drawing/2014/main" id="{D2EE081A-567B-43C5-97C3-955212EF07AC}"/>
                </a:ext>
              </a:extLst>
            </p:cNvPr>
            <p:cNvSpPr/>
            <p:nvPr/>
          </p:nvSpPr>
          <p:spPr>
            <a:xfrm>
              <a:off x="4239757" y="4166929"/>
              <a:ext cx="36653" cy="3953"/>
            </a:xfrm>
            <a:custGeom>
              <a:avLst/>
              <a:gdLst/>
              <a:ahLst/>
              <a:cxnLst/>
              <a:rect l="l" t="t" r="r" b="b"/>
              <a:pathLst>
                <a:path w="112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22" y="121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6" name="Google Shape;4846;p52">
              <a:extLst>
                <a:ext uri="{FF2B5EF4-FFF2-40B4-BE49-F238E27FC236}">
                  <a16:creationId xmlns:a16="http://schemas.microsoft.com/office/drawing/2014/main" id="{A220DBE3-B92E-B726-5044-3C8108FFFFBC}"/>
                </a:ext>
              </a:extLst>
            </p:cNvPr>
            <p:cNvSpPr/>
            <p:nvPr/>
          </p:nvSpPr>
          <p:spPr>
            <a:xfrm>
              <a:off x="4273732" y="4166929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7" name="Google Shape;4847;p52">
              <a:extLst>
                <a:ext uri="{FF2B5EF4-FFF2-40B4-BE49-F238E27FC236}">
                  <a16:creationId xmlns:a16="http://schemas.microsoft.com/office/drawing/2014/main" id="{52AF5773-D4C5-94E7-0E9E-92B180F299EE}"/>
                </a:ext>
              </a:extLst>
            </p:cNvPr>
            <p:cNvSpPr/>
            <p:nvPr/>
          </p:nvSpPr>
          <p:spPr>
            <a:xfrm>
              <a:off x="4274156" y="4166929"/>
              <a:ext cx="36653" cy="44068"/>
            </a:xfrm>
            <a:custGeom>
              <a:avLst/>
              <a:gdLst/>
              <a:ahLst/>
              <a:cxnLst/>
              <a:rect l="l" t="t" r="r" b="b"/>
              <a:pathLst>
                <a:path w="1122" h="1349" extrusionOk="0">
                  <a:moveTo>
                    <a:pt x="1041" y="121"/>
                  </a:moveTo>
                  <a:lnTo>
                    <a:pt x="1041" y="1255"/>
                  </a:lnTo>
                  <a:lnTo>
                    <a:pt x="69" y="1255"/>
                  </a:lnTo>
                  <a:lnTo>
                    <a:pt x="69" y="121"/>
                  </a:lnTo>
                  <a:close/>
                  <a:moveTo>
                    <a:pt x="1041" y="1"/>
                  </a:moveTo>
                  <a:lnTo>
                    <a:pt x="1041" y="27"/>
                  </a:lnTo>
                  <a:lnTo>
                    <a:pt x="1" y="27"/>
                  </a:lnTo>
                  <a:lnTo>
                    <a:pt x="1" y="1349"/>
                  </a:lnTo>
                  <a:lnTo>
                    <a:pt x="1122" y="1349"/>
                  </a:lnTo>
                  <a:lnTo>
                    <a:pt x="1122" y="53"/>
                  </a:lnTo>
                  <a:lnTo>
                    <a:pt x="110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8" name="Google Shape;4848;p52">
              <a:extLst>
                <a:ext uri="{FF2B5EF4-FFF2-40B4-BE49-F238E27FC236}">
                  <a16:creationId xmlns:a16="http://schemas.microsoft.com/office/drawing/2014/main" id="{F21E49F6-D0FF-EF88-C34E-67EE1E1ABD62}"/>
                </a:ext>
              </a:extLst>
            </p:cNvPr>
            <p:cNvSpPr/>
            <p:nvPr/>
          </p:nvSpPr>
          <p:spPr>
            <a:xfrm>
              <a:off x="4274156" y="4166929"/>
              <a:ext cx="36130" cy="3953"/>
            </a:xfrm>
            <a:custGeom>
              <a:avLst/>
              <a:gdLst/>
              <a:ahLst/>
              <a:cxnLst/>
              <a:rect l="l" t="t" r="r" b="b"/>
              <a:pathLst>
                <a:path w="1106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06" y="121"/>
                  </a:lnTo>
                  <a:lnTo>
                    <a:pt x="110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9" name="Google Shape;4849;p52">
              <a:extLst>
                <a:ext uri="{FF2B5EF4-FFF2-40B4-BE49-F238E27FC236}">
                  <a16:creationId xmlns:a16="http://schemas.microsoft.com/office/drawing/2014/main" id="{809CF312-96A0-95BF-BA60-B8A71C4FD0F0}"/>
                </a:ext>
              </a:extLst>
            </p:cNvPr>
            <p:cNvSpPr/>
            <p:nvPr/>
          </p:nvSpPr>
          <p:spPr>
            <a:xfrm>
              <a:off x="4273732" y="4167778"/>
              <a:ext cx="2679" cy="43219"/>
            </a:xfrm>
            <a:custGeom>
              <a:avLst/>
              <a:gdLst/>
              <a:ahLst/>
              <a:cxnLst/>
              <a:rect l="l" t="t" r="r" b="b"/>
              <a:pathLst>
                <a:path w="82" h="1323" extrusionOk="0">
                  <a:moveTo>
                    <a:pt x="1" y="1"/>
                  </a:moveTo>
                  <a:lnTo>
                    <a:pt x="1" y="1323"/>
                  </a:lnTo>
                  <a:lnTo>
                    <a:pt x="82" y="1323"/>
                  </a:lnTo>
                  <a:lnTo>
                    <a:pt x="82" y="56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0" name="Google Shape;4850;p52">
              <a:extLst>
                <a:ext uri="{FF2B5EF4-FFF2-40B4-BE49-F238E27FC236}">
                  <a16:creationId xmlns:a16="http://schemas.microsoft.com/office/drawing/2014/main" id="{BA5A3B5A-BEE2-F314-3105-9F2B0D95C7D7}"/>
                </a:ext>
              </a:extLst>
            </p:cNvPr>
            <p:cNvSpPr/>
            <p:nvPr/>
          </p:nvSpPr>
          <p:spPr>
            <a:xfrm>
              <a:off x="4273732" y="4166929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1" name="Google Shape;4851;p52">
              <a:extLst>
                <a:ext uri="{FF2B5EF4-FFF2-40B4-BE49-F238E27FC236}">
                  <a16:creationId xmlns:a16="http://schemas.microsoft.com/office/drawing/2014/main" id="{9D2572CD-C6F1-4024-EC25-CDE36B6ABADA}"/>
                </a:ext>
              </a:extLst>
            </p:cNvPr>
            <p:cNvSpPr/>
            <p:nvPr/>
          </p:nvSpPr>
          <p:spPr>
            <a:xfrm>
              <a:off x="4273732" y="4166929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2" name="Google Shape;4852;p52">
              <a:extLst>
                <a:ext uri="{FF2B5EF4-FFF2-40B4-BE49-F238E27FC236}">
                  <a16:creationId xmlns:a16="http://schemas.microsoft.com/office/drawing/2014/main" id="{6E1D2799-87AA-7944-58A2-55763BD04EBA}"/>
                </a:ext>
              </a:extLst>
            </p:cNvPr>
            <p:cNvSpPr/>
            <p:nvPr/>
          </p:nvSpPr>
          <p:spPr>
            <a:xfrm>
              <a:off x="4148841" y="4129458"/>
              <a:ext cx="67556" cy="80264"/>
            </a:xfrm>
            <a:custGeom>
              <a:avLst/>
              <a:gdLst/>
              <a:ahLst/>
              <a:cxnLst/>
              <a:rect l="l" t="t" r="r" b="b"/>
              <a:pathLst>
                <a:path w="2068" h="2457" extrusionOk="0">
                  <a:moveTo>
                    <a:pt x="1" y="1"/>
                  </a:moveTo>
                  <a:lnTo>
                    <a:pt x="1" y="2457"/>
                  </a:lnTo>
                  <a:lnTo>
                    <a:pt x="2068" y="2457"/>
                  </a:lnTo>
                  <a:lnTo>
                    <a:pt x="206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3" name="Google Shape;4853;p52">
              <a:extLst>
                <a:ext uri="{FF2B5EF4-FFF2-40B4-BE49-F238E27FC236}">
                  <a16:creationId xmlns:a16="http://schemas.microsoft.com/office/drawing/2014/main" id="{D7F8B6D5-ABB2-3C14-39F7-6139E0414C93}"/>
                </a:ext>
              </a:extLst>
            </p:cNvPr>
            <p:cNvSpPr/>
            <p:nvPr/>
          </p:nvSpPr>
          <p:spPr>
            <a:xfrm>
              <a:off x="4147991" y="4127237"/>
              <a:ext cx="36653" cy="43644"/>
            </a:xfrm>
            <a:custGeom>
              <a:avLst/>
              <a:gdLst/>
              <a:ahLst/>
              <a:cxnLst/>
              <a:rect l="l" t="t" r="r" b="b"/>
              <a:pathLst>
                <a:path w="1122" h="1336" extrusionOk="0">
                  <a:moveTo>
                    <a:pt x="1054" y="82"/>
                  </a:moveTo>
                  <a:lnTo>
                    <a:pt x="1054" y="1216"/>
                  </a:lnTo>
                  <a:lnTo>
                    <a:pt x="82" y="1216"/>
                  </a:lnTo>
                  <a:lnTo>
                    <a:pt x="82" y="82"/>
                  </a:lnTo>
                  <a:close/>
                  <a:moveTo>
                    <a:pt x="1" y="1"/>
                  </a:moveTo>
                  <a:lnTo>
                    <a:pt x="1" y="1336"/>
                  </a:lnTo>
                  <a:lnTo>
                    <a:pt x="82" y="1336"/>
                  </a:lnTo>
                  <a:lnTo>
                    <a:pt x="82" y="1310"/>
                  </a:lnTo>
                  <a:lnTo>
                    <a:pt x="1122" y="1310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4" name="Google Shape;4854;p52">
              <a:extLst>
                <a:ext uri="{FF2B5EF4-FFF2-40B4-BE49-F238E27FC236}">
                  <a16:creationId xmlns:a16="http://schemas.microsoft.com/office/drawing/2014/main" id="{6D0137D6-51F3-84D5-C17C-9986665D6B70}"/>
                </a:ext>
              </a:extLst>
            </p:cNvPr>
            <p:cNvSpPr/>
            <p:nvPr/>
          </p:nvSpPr>
          <p:spPr>
            <a:xfrm>
              <a:off x="4182391" y="4127237"/>
              <a:ext cx="36653" cy="42794"/>
            </a:xfrm>
            <a:custGeom>
              <a:avLst/>
              <a:gdLst/>
              <a:ahLst/>
              <a:cxnLst/>
              <a:rect l="l" t="t" r="r" b="b"/>
              <a:pathLst>
                <a:path w="1122" h="1310" extrusionOk="0">
                  <a:moveTo>
                    <a:pt x="1041" y="82"/>
                  </a:moveTo>
                  <a:lnTo>
                    <a:pt x="1041" y="1216"/>
                  </a:lnTo>
                  <a:lnTo>
                    <a:pt x="69" y="1216"/>
                  </a:lnTo>
                  <a:lnTo>
                    <a:pt x="69" y="82"/>
                  </a:lnTo>
                  <a:close/>
                  <a:moveTo>
                    <a:pt x="1" y="1"/>
                  </a:moveTo>
                  <a:lnTo>
                    <a:pt x="1" y="1268"/>
                  </a:lnTo>
                  <a:lnTo>
                    <a:pt x="1" y="1310"/>
                  </a:lnTo>
                  <a:lnTo>
                    <a:pt x="1122" y="1310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5" name="Google Shape;4855;p52">
              <a:extLst>
                <a:ext uri="{FF2B5EF4-FFF2-40B4-BE49-F238E27FC236}">
                  <a16:creationId xmlns:a16="http://schemas.microsoft.com/office/drawing/2014/main" id="{8AC28A46-3424-A864-E5F4-D7472C8C0B25}"/>
                </a:ext>
              </a:extLst>
            </p:cNvPr>
            <p:cNvSpPr/>
            <p:nvPr/>
          </p:nvSpPr>
          <p:spPr>
            <a:xfrm>
              <a:off x="4182391" y="4127237"/>
              <a:ext cx="2254" cy="42794"/>
            </a:xfrm>
            <a:custGeom>
              <a:avLst/>
              <a:gdLst/>
              <a:ahLst/>
              <a:cxnLst/>
              <a:rect l="l" t="t" r="r" b="b"/>
              <a:pathLst>
                <a:path w="69" h="1310" extrusionOk="0">
                  <a:moveTo>
                    <a:pt x="1" y="1"/>
                  </a:moveTo>
                  <a:lnTo>
                    <a:pt x="1" y="1268"/>
                  </a:lnTo>
                  <a:lnTo>
                    <a:pt x="1" y="1310"/>
                  </a:lnTo>
                  <a:lnTo>
                    <a:pt x="69" y="1310"/>
                  </a:lnTo>
                  <a:lnTo>
                    <a:pt x="69" y="40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6" name="Google Shape;4856;p52">
              <a:extLst>
                <a:ext uri="{FF2B5EF4-FFF2-40B4-BE49-F238E27FC236}">
                  <a16:creationId xmlns:a16="http://schemas.microsoft.com/office/drawing/2014/main" id="{B1D80D9F-35AD-C975-9FAB-F70EFCD29076}"/>
                </a:ext>
              </a:extLst>
            </p:cNvPr>
            <p:cNvSpPr/>
            <p:nvPr/>
          </p:nvSpPr>
          <p:spPr>
            <a:xfrm>
              <a:off x="4147991" y="4167778"/>
              <a:ext cx="36653" cy="43219"/>
            </a:xfrm>
            <a:custGeom>
              <a:avLst/>
              <a:gdLst/>
              <a:ahLst/>
              <a:cxnLst/>
              <a:rect l="l" t="t" r="r" b="b"/>
              <a:pathLst>
                <a:path w="1122" h="1323" extrusionOk="0">
                  <a:moveTo>
                    <a:pt x="1054" y="95"/>
                  </a:moveTo>
                  <a:lnTo>
                    <a:pt x="1054" y="1229"/>
                  </a:lnTo>
                  <a:lnTo>
                    <a:pt x="82" y="1229"/>
                  </a:lnTo>
                  <a:lnTo>
                    <a:pt x="82" y="95"/>
                  </a:lnTo>
                  <a:close/>
                  <a:moveTo>
                    <a:pt x="1" y="1"/>
                  </a:moveTo>
                  <a:lnTo>
                    <a:pt x="1" y="1323"/>
                  </a:lnTo>
                  <a:lnTo>
                    <a:pt x="1122" y="1323"/>
                  </a:lnTo>
                  <a:lnTo>
                    <a:pt x="1122" y="56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7" name="Google Shape;4857;p52">
              <a:extLst>
                <a:ext uri="{FF2B5EF4-FFF2-40B4-BE49-F238E27FC236}">
                  <a16:creationId xmlns:a16="http://schemas.microsoft.com/office/drawing/2014/main" id="{E2B4CEF6-7325-8400-6EE2-F0356E2C50B9}"/>
                </a:ext>
              </a:extLst>
            </p:cNvPr>
            <p:cNvSpPr/>
            <p:nvPr/>
          </p:nvSpPr>
          <p:spPr>
            <a:xfrm>
              <a:off x="4147991" y="4166929"/>
              <a:ext cx="36653" cy="3953"/>
            </a:xfrm>
            <a:custGeom>
              <a:avLst/>
              <a:gdLst/>
              <a:ahLst/>
              <a:cxnLst/>
              <a:rect l="l" t="t" r="r" b="b"/>
              <a:pathLst>
                <a:path w="112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22" y="121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8" name="Google Shape;4858;p52">
              <a:extLst>
                <a:ext uri="{FF2B5EF4-FFF2-40B4-BE49-F238E27FC236}">
                  <a16:creationId xmlns:a16="http://schemas.microsoft.com/office/drawing/2014/main" id="{11DC5998-386C-AF09-C5F6-A49AF6C449F3}"/>
                </a:ext>
              </a:extLst>
            </p:cNvPr>
            <p:cNvSpPr/>
            <p:nvPr/>
          </p:nvSpPr>
          <p:spPr>
            <a:xfrm>
              <a:off x="4182391" y="4166929"/>
              <a:ext cx="2254" cy="3953"/>
            </a:xfrm>
            <a:custGeom>
              <a:avLst/>
              <a:gdLst/>
              <a:ahLst/>
              <a:cxnLst/>
              <a:rect l="l" t="t" r="r" b="b"/>
              <a:pathLst>
                <a:path w="69" h="121" extrusionOk="0">
                  <a:moveTo>
                    <a:pt x="1" y="1"/>
                  </a:moveTo>
                  <a:lnTo>
                    <a:pt x="1" y="121"/>
                  </a:lnTo>
                  <a:lnTo>
                    <a:pt x="69" y="121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9" name="Google Shape;4859;p52">
              <a:extLst>
                <a:ext uri="{FF2B5EF4-FFF2-40B4-BE49-F238E27FC236}">
                  <a16:creationId xmlns:a16="http://schemas.microsoft.com/office/drawing/2014/main" id="{A621D9D4-5749-2065-8DE2-97C431D16868}"/>
                </a:ext>
              </a:extLst>
            </p:cNvPr>
            <p:cNvSpPr/>
            <p:nvPr/>
          </p:nvSpPr>
          <p:spPr>
            <a:xfrm>
              <a:off x="4182391" y="4166929"/>
              <a:ext cx="36653" cy="44068"/>
            </a:xfrm>
            <a:custGeom>
              <a:avLst/>
              <a:gdLst/>
              <a:ahLst/>
              <a:cxnLst/>
              <a:rect l="l" t="t" r="r" b="b"/>
              <a:pathLst>
                <a:path w="1122" h="1349" extrusionOk="0">
                  <a:moveTo>
                    <a:pt x="1041" y="121"/>
                  </a:moveTo>
                  <a:lnTo>
                    <a:pt x="1041" y="1255"/>
                  </a:lnTo>
                  <a:lnTo>
                    <a:pt x="82" y="1255"/>
                  </a:lnTo>
                  <a:lnTo>
                    <a:pt x="82" y="121"/>
                  </a:lnTo>
                  <a:close/>
                  <a:moveTo>
                    <a:pt x="1041" y="1"/>
                  </a:moveTo>
                  <a:lnTo>
                    <a:pt x="1041" y="27"/>
                  </a:lnTo>
                  <a:lnTo>
                    <a:pt x="1" y="27"/>
                  </a:lnTo>
                  <a:lnTo>
                    <a:pt x="1" y="1349"/>
                  </a:lnTo>
                  <a:lnTo>
                    <a:pt x="1122" y="1349"/>
                  </a:lnTo>
                  <a:lnTo>
                    <a:pt x="1122" y="53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0" name="Google Shape;4860;p52">
              <a:extLst>
                <a:ext uri="{FF2B5EF4-FFF2-40B4-BE49-F238E27FC236}">
                  <a16:creationId xmlns:a16="http://schemas.microsoft.com/office/drawing/2014/main" id="{4BC45102-1571-4E41-0C64-19AA5B40C0FF}"/>
                </a:ext>
              </a:extLst>
            </p:cNvPr>
            <p:cNvSpPr/>
            <p:nvPr/>
          </p:nvSpPr>
          <p:spPr>
            <a:xfrm>
              <a:off x="4182391" y="4166929"/>
              <a:ext cx="36653" cy="3953"/>
            </a:xfrm>
            <a:custGeom>
              <a:avLst/>
              <a:gdLst/>
              <a:ahLst/>
              <a:cxnLst/>
              <a:rect l="l" t="t" r="r" b="b"/>
              <a:pathLst>
                <a:path w="112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22" y="121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1" name="Google Shape;4861;p52">
              <a:extLst>
                <a:ext uri="{FF2B5EF4-FFF2-40B4-BE49-F238E27FC236}">
                  <a16:creationId xmlns:a16="http://schemas.microsoft.com/office/drawing/2014/main" id="{A78B0026-C7C0-E6BC-53E2-0F234261D77A}"/>
                </a:ext>
              </a:extLst>
            </p:cNvPr>
            <p:cNvSpPr/>
            <p:nvPr/>
          </p:nvSpPr>
          <p:spPr>
            <a:xfrm>
              <a:off x="4182391" y="4167778"/>
              <a:ext cx="2679" cy="43219"/>
            </a:xfrm>
            <a:custGeom>
              <a:avLst/>
              <a:gdLst/>
              <a:ahLst/>
              <a:cxnLst/>
              <a:rect l="l" t="t" r="r" b="b"/>
              <a:pathLst>
                <a:path w="82" h="1323" extrusionOk="0">
                  <a:moveTo>
                    <a:pt x="1" y="1"/>
                  </a:moveTo>
                  <a:lnTo>
                    <a:pt x="1" y="1323"/>
                  </a:lnTo>
                  <a:lnTo>
                    <a:pt x="82" y="1323"/>
                  </a:lnTo>
                  <a:lnTo>
                    <a:pt x="82" y="56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2" name="Google Shape;4862;p52">
              <a:extLst>
                <a:ext uri="{FF2B5EF4-FFF2-40B4-BE49-F238E27FC236}">
                  <a16:creationId xmlns:a16="http://schemas.microsoft.com/office/drawing/2014/main" id="{EDC2B0FC-922E-710D-9CE0-048D3ED2F79C}"/>
                </a:ext>
              </a:extLst>
            </p:cNvPr>
            <p:cNvSpPr/>
            <p:nvPr/>
          </p:nvSpPr>
          <p:spPr>
            <a:xfrm>
              <a:off x="4182391" y="4166929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3" name="Google Shape;4863;p52">
              <a:extLst>
                <a:ext uri="{FF2B5EF4-FFF2-40B4-BE49-F238E27FC236}">
                  <a16:creationId xmlns:a16="http://schemas.microsoft.com/office/drawing/2014/main" id="{B4287FF8-C3E6-B7B5-7F5C-4E83DCFD553B}"/>
                </a:ext>
              </a:extLst>
            </p:cNvPr>
            <p:cNvSpPr/>
            <p:nvPr/>
          </p:nvSpPr>
          <p:spPr>
            <a:xfrm>
              <a:off x="4182391" y="4166929"/>
              <a:ext cx="2254" cy="3953"/>
            </a:xfrm>
            <a:custGeom>
              <a:avLst/>
              <a:gdLst/>
              <a:ahLst/>
              <a:cxnLst/>
              <a:rect l="l" t="t" r="r" b="b"/>
              <a:pathLst>
                <a:path w="69" h="121" extrusionOk="0">
                  <a:moveTo>
                    <a:pt x="1" y="1"/>
                  </a:moveTo>
                  <a:lnTo>
                    <a:pt x="1" y="121"/>
                  </a:lnTo>
                  <a:lnTo>
                    <a:pt x="69" y="121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4" name="Google Shape;4864;p52">
              <a:extLst>
                <a:ext uri="{FF2B5EF4-FFF2-40B4-BE49-F238E27FC236}">
                  <a16:creationId xmlns:a16="http://schemas.microsoft.com/office/drawing/2014/main" id="{1577F5D5-AC4E-5EAF-5B1A-889F06B3D4A6}"/>
                </a:ext>
              </a:extLst>
            </p:cNvPr>
            <p:cNvSpPr/>
            <p:nvPr/>
          </p:nvSpPr>
          <p:spPr>
            <a:xfrm>
              <a:off x="4074749" y="3940635"/>
              <a:ext cx="309198" cy="130637"/>
            </a:xfrm>
            <a:custGeom>
              <a:avLst/>
              <a:gdLst/>
              <a:ahLst/>
              <a:cxnLst/>
              <a:rect l="l" t="t" r="r" b="b"/>
              <a:pathLst>
                <a:path w="9465" h="3999" extrusionOk="0">
                  <a:moveTo>
                    <a:pt x="4715" y="1"/>
                  </a:moveTo>
                  <a:lnTo>
                    <a:pt x="4132" y="487"/>
                  </a:lnTo>
                  <a:lnTo>
                    <a:pt x="1" y="3970"/>
                  </a:lnTo>
                  <a:lnTo>
                    <a:pt x="1070" y="3999"/>
                  </a:lnTo>
                  <a:lnTo>
                    <a:pt x="4728" y="986"/>
                  </a:lnTo>
                  <a:lnTo>
                    <a:pt x="8386" y="3999"/>
                  </a:lnTo>
                  <a:lnTo>
                    <a:pt x="9465" y="3970"/>
                  </a:lnTo>
                  <a:lnTo>
                    <a:pt x="5334" y="487"/>
                  </a:lnTo>
                  <a:lnTo>
                    <a:pt x="475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5" name="Google Shape;4865;p52">
              <a:extLst>
                <a:ext uri="{FF2B5EF4-FFF2-40B4-BE49-F238E27FC236}">
                  <a16:creationId xmlns:a16="http://schemas.microsoft.com/office/drawing/2014/main" id="{2365086B-A10C-DC88-AC7C-2D3D17C3E356}"/>
                </a:ext>
              </a:extLst>
            </p:cNvPr>
            <p:cNvSpPr/>
            <p:nvPr/>
          </p:nvSpPr>
          <p:spPr>
            <a:xfrm>
              <a:off x="3761655" y="4038542"/>
              <a:ext cx="260719" cy="299986"/>
            </a:xfrm>
            <a:custGeom>
              <a:avLst/>
              <a:gdLst/>
              <a:ahLst/>
              <a:cxnLst/>
              <a:rect l="l" t="t" r="r" b="b"/>
              <a:pathLst>
                <a:path w="7981" h="9183" extrusionOk="0">
                  <a:moveTo>
                    <a:pt x="3944" y="1"/>
                  </a:moveTo>
                  <a:lnTo>
                    <a:pt x="1" y="3241"/>
                  </a:lnTo>
                  <a:lnTo>
                    <a:pt x="1" y="9183"/>
                  </a:lnTo>
                  <a:lnTo>
                    <a:pt x="7981" y="9183"/>
                  </a:lnTo>
                  <a:lnTo>
                    <a:pt x="7981" y="3335"/>
                  </a:lnTo>
                  <a:lnTo>
                    <a:pt x="394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6" name="Google Shape;4866;p52">
              <a:extLst>
                <a:ext uri="{FF2B5EF4-FFF2-40B4-BE49-F238E27FC236}">
                  <a16:creationId xmlns:a16="http://schemas.microsoft.com/office/drawing/2014/main" id="{DD8C378F-0712-53DF-2C2A-FF7ABE790EE9}"/>
                </a:ext>
              </a:extLst>
            </p:cNvPr>
            <p:cNvSpPr/>
            <p:nvPr/>
          </p:nvSpPr>
          <p:spPr>
            <a:xfrm>
              <a:off x="3893537" y="4227366"/>
              <a:ext cx="33582" cy="31263"/>
            </a:xfrm>
            <a:custGeom>
              <a:avLst/>
              <a:gdLst/>
              <a:ahLst/>
              <a:cxnLst/>
              <a:rect l="l" t="t" r="r" b="b"/>
              <a:pathLst>
                <a:path w="1028" h="957" extrusionOk="0">
                  <a:moveTo>
                    <a:pt x="1" y="1"/>
                  </a:moveTo>
                  <a:lnTo>
                    <a:pt x="1" y="957"/>
                  </a:lnTo>
                  <a:lnTo>
                    <a:pt x="1028" y="957"/>
                  </a:lnTo>
                  <a:lnTo>
                    <a:pt x="1028" y="513"/>
                  </a:lnTo>
                  <a:cubicBezTo>
                    <a:pt x="947" y="296"/>
                    <a:pt x="798" y="121"/>
                    <a:pt x="607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7" name="Google Shape;4867;p52">
              <a:extLst>
                <a:ext uri="{FF2B5EF4-FFF2-40B4-BE49-F238E27FC236}">
                  <a16:creationId xmlns:a16="http://schemas.microsoft.com/office/drawing/2014/main" id="{B2A997F9-56B3-9610-B626-8427DE9FB82B}"/>
                </a:ext>
              </a:extLst>
            </p:cNvPr>
            <p:cNvSpPr/>
            <p:nvPr/>
          </p:nvSpPr>
          <p:spPr>
            <a:xfrm>
              <a:off x="3876811" y="4220701"/>
              <a:ext cx="14112" cy="3103"/>
            </a:xfrm>
            <a:custGeom>
              <a:avLst/>
              <a:gdLst/>
              <a:ahLst/>
              <a:cxnLst/>
              <a:rect l="l" t="t" r="r" b="b"/>
              <a:pathLst>
                <a:path w="432" h="95" extrusionOk="0">
                  <a:moveTo>
                    <a:pt x="432" y="1"/>
                  </a:moveTo>
                  <a:cubicBezTo>
                    <a:pt x="283" y="1"/>
                    <a:pt x="134" y="43"/>
                    <a:pt x="1" y="95"/>
                  </a:cubicBezTo>
                  <a:lnTo>
                    <a:pt x="432" y="95"/>
                  </a:lnTo>
                  <a:lnTo>
                    <a:pt x="432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8" name="Google Shape;4868;p52">
              <a:extLst>
                <a:ext uri="{FF2B5EF4-FFF2-40B4-BE49-F238E27FC236}">
                  <a16:creationId xmlns:a16="http://schemas.microsoft.com/office/drawing/2014/main" id="{BF1BF47D-3D35-FAB1-D912-662CB909AA00}"/>
                </a:ext>
              </a:extLst>
            </p:cNvPr>
            <p:cNvSpPr/>
            <p:nvPr/>
          </p:nvSpPr>
          <p:spPr>
            <a:xfrm>
              <a:off x="3893537" y="4297439"/>
              <a:ext cx="33582" cy="33158"/>
            </a:xfrm>
            <a:custGeom>
              <a:avLst/>
              <a:gdLst/>
              <a:ahLst/>
              <a:cxnLst/>
              <a:rect l="l" t="t" r="r" b="b"/>
              <a:pathLst>
                <a:path w="1028" h="1015" extrusionOk="0">
                  <a:moveTo>
                    <a:pt x="1" y="1"/>
                  </a:moveTo>
                  <a:lnTo>
                    <a:pt x="1" y="1015"/>
                  </a:lnTo>
                  <a:lnTo>
                    <a:pt x="1028" y="1015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9" name="Google Shape;4869;p52">
              <a:extLst>
                <a:ext uri="{FF2B5EF4-FFF2-40B4-BE49-F238E27FC236}">
                  <a16:creationId xmlns:a16="http://schemas.microsoft.com/office/drawing/2014/main" id="{17B8AEF6-2B46-CFCD-E745-59D2478F4209}"/>
                </a:ext>
              </a:extLst>
            </p:cNvPr>
            <p:cNvSpPr/>
            <p:nvPr/>
          </p:nvSpPr>
          <p:spPr>
            <a:xfrm>
              <a:off x="3857341" y="4297439"/>
              <a:ext cx="33582" cy="33158"/>
            </a:xfrm>
            <a:custGeom>
              <a:avLst/>
              <a:gdLst/>
              <a:ahLst/>
              <a:cxnLst/>
              <a:rect l="l" t="t" r="r" b="b"/>
              <a:pathLst>
                <a:path w="1028" h="1015" extrusionOk="0">
                  <a:moveTo>
                    <a:pt x="1" y="1"/>
                  </a:moveTo>
                  <a:lnTo>
                    <a:pt x="1" y="1015"/>
                  </a:lnTo>
                  <a:lnTo>
                    <a:pt x="1028" y="1015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0" name="Google Shape;4870;p52">
              <a:extLst>
                <a:ext uri="{FF2B5EF4-FFF2-40B4-BE49-F238E27FC236}">
                  <a16:creationId xmlns:a16="http://schemas.microsoft.com/office/drawing/2014/main" id="{D8217C42-5078-5E43-0F0D-D7B27FF97B55}"/>
                </a:ext>
              </a:extLst>
            </p:cNvPr>
            <p:cNvSpPr/>
            <p:nvPr/>
          </p:nvSpPr>
          <p:spPr>
            <a:xfrm>
              <a:off x="3857341" y="4227366"/>
              <a:ext cx="33582" cy="31263"/>
            </a:xfrm>
            <a:custGeom>
              <a:avLst/>
              <a:gdLst/>
              <a:ahLst/>
              <a:cxnLst/>
              <a:rect l="l" t="t" r="r" b="b"/>
              <a:pathLst>
                <a:path w="1028" h="957" extrusionOk="0">
                  <a:moveTo>
                    <a:pt x="419" y="1"/>
                  </a:moveTo>
                  <a:cubicBezTo>
                    <a:pt x="231" y="121"/>
                    <a:pt x="82" y="296"/>
                    <a:pt x="1" y="500"/>
                  </a:cubicBezTo>
                  <a:lnTo>
                    <a:pt x="1" y="957"/>
                  </a:lnTo>
                  <a:lnTo>
                    <a:pt x="1028" y="957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1" name="Google Shape;4871;p52">
              <a:extLst>
                <a:ext uri="{FF2B5EF4-FFF2-40B4-BE49-F238E27FC236}">
                  <a16:creationId xmlns:a16="http://schemas.microsoft.com/office/drawing/2014/main" id="{EF460763-7A42-81EF-CCA4-C0CDC4B6B104}"/>
                </a:ext>
              </a:extLst>
            </p:cNvPr>
            <p:cNvSpPr/>
            <p:nvPr/>
          </p:nvSpPr>
          <p:spPr>
            <a:xfrm>
              <a:off x="3893537" y="4262615"/>
              <a:ext cx="33582" cy="31785"/>
            </a:xfrm>
            <a:custGeom>
              <a:avLst/>
              <a:gdLst/>
              <a:ahLst/>
              <a:cxnLst/>
              <a:rect l="l" t="t" r="r" b="b"/>
              <a:pathLst>
                <a:path w="1028" h="973" extrusionOk="0">
                  <a:moveTo>
                    <a:pt x="1" y="1"/>
                  </a:moveTo>
                  <a:lnTo>
                    <a:pt x="1" y="973"/>
                  </a:lnTo>
                  <a:lnTo>
                    <a:pt x="1028" y="973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2" name="Google Shape;4872;p52">
              <a:extLst>
                <a:ext uri="{FF2B5EF4-FFF2-40B4-BE49-F238E27FC236}">
                  <a16:creationId xmlns:a16="http://schemas.microsoft.com/office/drawing/2014/main" id="{49A5BF40-F78E-FFC8-CBE0-DCEA63D07A5B}"/>
                </a:ext>
              </a:extLst>
            </p:cNvPr>
            <p:cNvSpPr/>
            <p:nvPr/>
          </p:nvSpPr>
          <p:spPr>
            <a:xfrm>
              <a:off x="3857341" y="4262615"/>
              <a:ext cx="33582" cy="31785"/>
            </a:xfrm>
            <a:custGeom>
              <a:avLst/>
              <a:gdLst/>
              <a:ahLst/>
              <a:cxnLst/>
              <a:rect l="l" t="t" r="r" b="b"/>
              <a:pathLst>
                <a:path w="1028" h="973" extrusionOk="0">
                  <a:moveTo>
                    <a:pt x="1" y="1"/>
                  </a:moveTo>
                  <a:lnTo>
                    <a:pt x="1" y="973"/>
                  </a:lnTo>
                  <a:lnTo>
                    <a:pt x="1028" y="973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3" name="Google Shape;4873;p52">
              <a:extLst>
                <a:ext uri="{FF2B5EF4-FFF2-40B4-BE49-F238E27FC236}">
                  <a16:creationId xmlns:a16="http://schemas.microsoft.com/office/drawing/2014/main" id="{1D29DEF7-72F8-C138-1A46-C9D512B4F85E}"/>
                </a:ext>
              </a:extLst>
            </p:cNvPr>
            <p:cNvSpPr/>
            <p:nvPr/>
          </p:nvSpPr>
          <p:spPr>
            <a:xfrm>
              <a:off x="3893537" y="4220701"/>
              <a:ext cx="14112" cy="3103"/>
            </a:xfrm>
            <a:custGeom>
              <a:avLst/>
              <a:gdLst/>
              <a:ahLst/>
              <a:cxnLst/>
              <a:rect l="l" t="t" r="r" b="b"/>
              <a:pathLst>
                <a:path w="432" h="95" extrusionOk="0">
                  <a:moveTo>
                    <a:pt x="1" y="1"/>
                  </a:moveTo>
                  <a:lnTo>
                    <a:pt x="1" y="95"/>
                  </a:lnTo>
                  <a:lnTo>
                    <a:pt x="432" y="95"/>
                  </a:lnTo>
                  <a:cubicBezTo>
                    <a:pt x="299" y="43"/>
                    <a:pt x="150" y="1"/>
                    <a:pt x="1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4" name="Google Shape;4874;p52">
              <a:extLst>
                <a:ext uri="{FF2B5EF4-FFF2-40B4-BE49-F238E27FC236}">
                  <a16:creationId xmlns:a16="http://schemas.microsoft.com/office/drawing/2014/main" id="{441285F5-485D-B392-D25A-CF3EC314F73B}"/>
                </a:ext>
              </a:extLst>
            </p:cNvPr>
            <p:cNvSpPr/>
            <p:nvPr/>
          </p:nvSpPr>
          <p:spPr>
            <a:xfrm>
              <a:off x="3854270" y="4253827"/>
              <a:ext cx="457" cy="77193"/>
            </a:xfrm>
            <a:custGeom>
              <a:avLst/>
              <a:gdLst/>
              <a:ahLst/>
              <a:cxnLst/>
              <a:rect l="l" t="t" r="r" b="b"/>
              <a:pathLst>
                <a:path w="14" h="2363" extrusionOk="0">
                  <a:moveTo>
                    <a:pt x="14" y="1"/>
                  </a:moveTo>
                  <a:cubicBezTo>
                    <a:pt x="1" y="53"/>
                    <a:pt x="1" y="108"/>
                    <a:pt x="1" y="163"/>
                  </a:cubicBezTo>
                  <a:lnTo>
                    <a:pt x="14" y="163"/>
                  </a:lnTo>
                  <a:lnTo>
                    <a:pt x="14" y="1"/>
                  </a:lnTo>
                  <a:close/>
                  <a:moveTo>
                    <a:pt x="1" y="1349"/>
                  </a:moveTo>
                  <a:lnTo>
                    <a:pt x="1" y="2363"/>
                  </a:lnTo>
                  <a:lnTo>
                    <a:pt x="14" y="2363"/>
                  </a:lnTo>
                  <a:lnTo>
                    <a:pt x="14" y="1349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5" name="Google Shape;4875;p52">
              <a:extLst>
                <a:ext uri="{FF2B5EF4-FFF2-40B4-BE49-F238E27FC236}">
                  <a16:creationId xmlns:a16="http://schemas.microsoft.com/office/drawing/2014/main" id="{159633F1-3A2E-607A-5C9E-D348A51F4A02}"/>
                </a:ext>
              </a:extLst>
            </p:cNvPr>
            <p:cNvSpPr/>
            <p:nvPr/>
          </p:nvSpPr>
          <p:spPr>
            <a:xfrm>
              <a:off x="3929734" y="4254252"/>
              <a:ext cx="457" cy="76769"/>
            </a:xfrm>
            <a:custGeom>
              <a:avLst/>
              <a:gdLst/>
              <a:ahLst/>
              <a:cxnLst/>
              <a:rect l="l" t="t" r="r" b="b"/>
              <a:pathLst>
                <a:path w="14" h="2350" extrusionOk="0">
                  <a:moveTo>
                    <a:pt x="1" y="1"/>
                  </a:moveTo>
                  <a:lnTo>
                    <a:pt x="1" y="283"/>
                  </a:lnTo>
                  <a:lnTo>
                    <a:pt x="1" y="1242"/>
                  </a:lnTo>
                  <a:lnTo>
                    <a:pt x="1" y="1284"/>
                  </a:lnTo>
                  <a:lnTo>
                    <a:pt x="1" y="2350"/>
                  </a:lnTo>
                  <a:lnTo>
                    <a:pt x="14" y="2350"/>
                  </a:lnTo>
                  <a:lnTo>
                    <a:pt x="14" y="150"/>
                  </a:lnTo>
                  <a:cubicBezTo>
                    <a:pt x="14" y="95"/>
                    <a:pt x="1" y="53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6" name="Google Shape;4876;p52">
              <a:extLst>
                <a:ext uri="{FF2B5EF4-FFF2-40B4-BE49-F238E27FC236}">
                  <a16:creationId xmlns:a16="http://schemas.microsoft.com/office/drawing/2014/main" id="{777064F0-2BF7-F114-8D93-5C95BF3F757F}"/>
                </a:ext>
              </a:extLst>
            </p:cNvPr>
            <p:cNvSpPr/>
            <p:nvPr/>
          </p:nvSpPr>
          <p:spPr>
            <a:xfrm>
              <a:off x="3890466" y="4221126"/>
              <a:ext cx="457" cy="3103"/>
            </a:xfrm>
            <a:custGeom>
              <a:avLst/>
              <a:gdLst/>
              <a:ahLst/>
              <a:cxnLst/>
              <a:rect l="l" t="t" r="r" b="b"/>
              <a:pathLst>
                <a:path w="14" h="95" extrusionOk="0">
                  <a:moveTo>
                    <a:pt x="1" y="1"/>
                  </a:moveTo>
                  <a:lnTo>
                    <a:pt x="1" y="95"/>
                  </a:lnTo>
                  <a:lnTo>
                    <a:pt x="14" y="95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7" name="Google Shape;4877;p52">
              <a:extLst>
                <a:ext uri="{FF2B5EF4-FFF2-40B4-BE49-F238E27FC236}">
                  <a16:creationId xmlns:a16="http://schemas.microsoft.com/office/drawing/2014/main" id="{CA5B7EEC-04A7-DA3F-15B5-7DBD18B48709}"/>
                </a:ext>
              </a:extLst>
            </p:cNvPr>
            <p:cNvSpPr/>
            <p:nvPr/>
          </p:nvSpPr>
          <p:spPr>
            <a:xfrm>
              <a:off x="3893112" y="4221126"/>
              <a:ext cx="457" cy="3103"/>
            </a:xfrm>
            <a:custGeom>
              <a:avLst/>
              <a:gdLst/>
              <a:ahLst/>
              <a:cxnLst/>
              <a:rect l="l" t="t" r="r" b="b"/>
              <a:pathLst>
                <a:path w="14" h="95" extrusionOk="0">
                  <a:moveTo>
                    <a:pt x="1" y="1"/>
                  </a:moveTo>
                  <a:lnTo>
                    <a:pt x="1" y="95"/>
                  </a:lnTo>
                  <a:lnTo>
                    <a:pt x="14" y="95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8" name="Google Shape;4878;p52">
              <a:extLst>
                <a:ext uri="{FF2B5EF4-FFF2-40B4-BE49-F238E27FC236}">
                  <a16:creationId xmlns:a16="http://schemas.microsoft.com/office/drawing/2014/main" id="{91ABE9E7-44E6-B793-B5A0-D0E10BA09422}"/>
                </a:ext>
              </a:extLst>
            </p:cNvPr>
            <p:cNvSpPr/>
            <p:nvPr/>
          </p:nvSpPr>
          <p:spPr>
            <a:xfrm>
              <a:off x="3890891" y="4221126"/>
              <a:ext cx="2254" cy="3103"/>
            </a:xfrm>
            <a:custGeom>
              <a:avLst/>
              <a:gdLst/>
              <a:ahLst/>
              <a:cxnLst/>
              <a:rect l="l" t="t" r="r" b="b"/>
              <a:pathLst>
                <a:path w="69" h="95" extrusionOk="0">
                  <a:moveTo>
                    <a:pt x="1" y="1"/>
                  </a:moveTo>
                  <a:lnTo>
                    <a:pt x="1" y="95"/>
                  </a:lnTo>
                  <a:lnTo>
                    <a:pt x="69" y="95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9" name="Google Shape;4879;p52">
              <a:extLst>
                <a:ext uri="{FF2B5EF4-FFF2-40B4-BE49-F238E27FC236}">
                  <a16:creationId xmlns:a16="http://schemas.microsoft.com/office/drawing/2014/main" id="{8142AFE6-3952-17A8-5858-895D9DFBC998}"/>
                </a:ext>
              </a:extLst>
            </p:cNvPr>
            <p:cNvSpPr/>
            <p:nvPr/>
          </p:nvSpPr>
          <p:spPr>
            <a:xfrm>
              <a:off x="3856916" y="4261765"/>
              <a:ext cx="33582" cy="1731"/>
            </a:xfrm>
            <a:custGeom>
              <a:avLst/>
              <a:gdLst/>
              <a:ahLst/>
              <a:cxnLst/>
              <a:rect l="l" t="t" r="r" b="b"/>
              <a:pathLst>
                <a:path w="1028" h="53" extrusionOk="0">
                  <a:moveTo>
                    <a:pt x="1" y="1"/>
                  </a:moveTo>
                  <a:lnTo>
                    <a:pt x="1" y="53"/>
                  </a:lnTo>
                  <a:lnTo>
                    <a:pt x="1028" y="53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0" name="Google Shape;4880;p52">
              <a:extLst>
                <a:ext uri="{FF2B5EF4-FFF2-40B4-BE49-F238E27FC236}">
                  <a16:creationId xmlns:a16="http://schemas.microsoft.com/office/drawing/2014/main" id="{F060A772-60C0-9181-D474-706FB964EFFE}"/>
                </a:ext>
              </a:extLst>
            </p:cNvPr>
            <p:cNvSpPr/>
            <p:nvPr/>
          </p:nvSpPr>
          <p:spPr>
            <a:xfrm>
              <a:off x="3854694" y="4244092"/>
              <a:ext cx="2254" cy="15060"/>
            </a:xfrm>
            <a:custGeom>
              <a:avLst/>
              <a:gdLst/>
              <a:ahLst/>
              <a:cxnLst/>
              <a:rect l="l" t="t" r="r" b="b"/>
              <a:pathLst>
                <a:path w="69" h="461" extrusionOk="0">
                  <a:moveTo>
                    <a:pt x="69" y="1"/>
                  </a:moveTo>
                  <a:cubicBezTo>
                    <a:pt x="43" y="95"/>
                    <a:pt x="14" y="202"/>
                    <a:pt x="1" y="299"/>
                  </a:cubicBezTo>
                  <a:lnTo>
                    <a:pt x="1" y="461"/>
                  </a:lnTo>
                  <a:lnTo>
                    <a:pt x="69" y="461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1" name="Google Shape;4881;p52">
              <a:extLst>
                <a:ext uri="{FF2B5EF4-FFF2-40B4-BE49-F238E27FC236}">
                  <a16:creationId xmlns:a16="http://schemas.microsoft.com/office/drawing/2014/main" id="{A97C7A16-3BA0-F4E2-0E84-87A84BCB32D0}"/>
                </a:ext>
              </a:extLst>
            </p:cNvPr>
            <p:cNvSpPr/>
            <p:nvPr/>
          </p:nvSpPr>
          <p:spPr>
            <a:xfrm>
              <a:off x="3875439" y="4224197"/>
              <a:ext cx="15060" cy="980"/>
            </a:xfrm>
            <a:custGeom>
              <a:avLst/>
              <a:gdLst/>
              <a:ahLst/>
              <a:cxnLst/>
              <a:rect l="l" t="t" r="r" b="b"/>
              <a:pathLst>
                <a:path w="461" h="30" extrusionOk="0">
                  <a:moveTo>
                    <a:pt x="43" y="1"/>
                  </a:moveTo>
                  <a:cubicBezTo>
                    <a:pt x="27" y="17"/>
                    <a:pt x="14" y="17"/>
                    <a:pt x="1" y="30"/>
                  </a:cubicBezTo>
                  <a:lnTo>
                    <a:pt x="461" y="30"/>
                  </a:lnTo>
                  <a:lnTo>
                    <a:pt x="46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2" name="Google Shape;4882;p52">
              <a:extLst>
                <a:ext uri="{FF2B5EF4-FFF2-40B4-BE49-F238E27FC236}">
                  <a16:creationId xmlns:a16="http://schemas.microsoft.com/office/drawing/2014/main" id="{1C08957A-204F-4BB1-7E5D-7C7A1DC8C36E}"/>
                </a:ext>
              </a:extLst>
            </p:cNvPr>
            <p:cNvSpPr/>
            <p:nvPr/>
          </p:nvSpPr>
          <p:spPr>
            <a:xfrm>
              <a:off x="3870571" y="4226843"/>
              <a:ext cx="19927" cy="980"/>
            </a:xfrm>
            <a:custGeom>
              <a:avLst/>
              <a:gdLst/>
              <a:ahLst/>
              <a:cxnLst/>
              <a:rect l="l" t="t" r="r" b="b"/>
              <a:pathLst>
                <a:path w="610" h="30" extrusionOk="0">
                  <a:moveTo>
                    <a:pt x="43" y="1"/>
                  </a:moveTo>
                  <a:cubicBezTo>
                    <a:pt x="30" y="17"/>
                    <a:pt x="14" y="17"/>
                    <a:pt x="1" y="30"/>
                  </a:cubicBezTo>
                  <a:lnTo>
                    <a:pt x="610" y="30"/>
                  </a:lnTo>
                  <a:lnTo>
                    <a:pt x="61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3" name="Google Shape;4883;p52">
              <a:extLst>
                <a:ext uri="{FF2B5EF4-FFF2-40B4-BE49-F238E27FC236}">
                  <a16:creationId xmlns:a16="http://schemas.microsoft.com/office/drawing/2014/main" id="{C2EC0D1C-564B-3958-71E6-B1DAB2CBD7DD}"/>
                </a:ext>
              </a:extLst>
            </p:cNvPr>
            <p:cNvSpPr/>
            <p:nvPr/>
          </p:nvSpPr>
          <p:spPr>
            <a:xfrm>
              <a:off x="3871943" y="4225144"/>
              <a:ext cx="18555" cy="1731"/>
            </a:xfrm>
            <a:custGeom>
              <a:avLst/>
              <a:gdLst/>
              <a:ahLst/>
              <a:cxnLst/>
              <a:rect l="l" t="t" r="r" b="b"/>
              <a:pathLst>
                <a:path w="568" h="53" extrusionOk="0">
                  <a:moveTo>
                    <a:pt x="108" y="1"/>
                  </a:moveTo>
                  <a:cubicBezTo>
                    <a:pt x="69" y="14"/>
                    <a:pt x="27" y="40"/>
                    <a:pt x="1" y="53"/>
                  </a:cubicBezTo>
                  <a:lnTo>
                    <a:pt x="568" y="53"/>
                  </a:lnTo>
                  <a:lnTo>
                    <a:pt x="568" y="14"/>
                  </a:lnTo>
                  <a:lnTo>
                    <a:pt x="56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4" name="Google Shape;4884;p52">
              <a:extLst>
                <a:ext uri="{FF2B5EF4-FFF2-40B4-BE49-F238E27FC236}">
                  <a16:creationId xmlns:a16="http://schemas.microsoft.com/office/drawing/2014/main" id="{44DB4847-E462-E86E-74F9-31B470F910CC}"/>
                </a:ext>
              </a:extLst>
            </p:cNvPr>
            <p:cNvSpPr/>
            <p:nvPr/>
          </p:nvSpPr>
          <p:spPr>
            <a:xfrm>
              <a:off x="3890466" y="4224197"/>
              <a:ext cx="457" cy="980"/>
            </a:xfrm>
            <a:custGeom>
              <a:avLst/>
              <a:gdLst/>
              <a:ahLst/>
              <a:cxnLst/>
              <a:rect l="l" t="t" r="r" b="b"/>
              <a:pathLst>
                <a:path w="14" h="30" extrusionOk="0">
                  <a:moveTo>
                    <a:pt x="1" y="1"/>
                  </a:moveTo>
                  <a:lnTo>
                    <a:pt x="1" y="30"/>
                  </a:lnTo>
                  <a:lnTo>
                    <a:pt x="14" y="30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5" name="Google Shape;4885;p52">
              <a:extLst>
                <a:ext uri="{FF2B5EF4-FFF2-40B4-BE49-F238E27FC236}">
                  <a16:creationId xmlns:a16="http://schemas.microsoft.com/office/drawing/2014/main" id="{0A62E255-20BC-754A-9941-4292BCD11FB2}"/>
                </a:ext>
              </a:extLst>
            </p:cNvPr>
            <p:cNvSpPr/>
            <p:nvPr/>
          </p:nvSpPr>
          <p:spPr>
            <a:xfrm>
              <a:off x="3890466" y="4226843"/>
              <a:ext cx="457" cy="980"/>
            </a:xfrm>
            <a:custGeom>
              <a:avLst/>
              <a:gdLst/>
              <a:ahLst/>
              <a:cxnLst/>
              <a:rect l="l" t="t" r="r" b="b"/>
              <a:pathLst>
                <a:path w="14" h="30" extrusionOk="0">
                  <a:moveTo>
                    <a:pt x="1" y="1"/>
                  </a:moveTo>
                  <a:lnTo>
                    <a:pt x="1" y="30"/>
                  </a:lnTo>
                  <a:lnTo>
                    <a:pt x="14" y="30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6" name="Google Shape;4886;p52">
              <a:extLst>
                <a:ext uri="{FF2B5EF4-FFF2-40B4-BE49-F238E27FC236}">
                  <a16:creationId xmlns:a16="http://schemas.microsoft.com/office/drawing/2014/main" id="{15E0D098-C560-CEEF-D266-F5CC1649B696}"/>
                </a:ext>
              </a:extLst>
            </p:cNvPr>
            <p:cNvSpPr/>
            <p:nvPr/>
          </p:nvSpPr>
          <p:spPr>
            <a:xfrm>
              <a:off x="3890466" y="4225569"/>
              <a:ext cx="457" cy="1307"/>
            </a:xfrm>
            <a:custGeom>
              <a:avLst/>
              <a:gdLst/>
              <a:ahLst/>
              <a:cxnLst/>
              <a:rect l="l" t="t" r="r" b="b"/>
              <a:pathLst>
                <a:path w="14" h="40" extrusionOk="0">
                  <a:moveTo>
                    <a:pt x="1" y="1"/>
                  </a:moveTo>
                  <a:lnTo>
                    <a:pt x="1" y="40"/>
                  </a:lnTo>
                  <a:lnTo>
                    <a:pt x="14" y="4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7" name="Google Shape;4887;p52">
              <a:extLst>
                <a:ext uri="{FF2B5EF4-FFF2-40B4-BE49-F238E27FC236}">
                  <a16:creationId xmlns:a16="http://schemas.microsoft.com/office/drawing/2014/main" id="{837CAE56-5C71-103D-17CF-4A3E7F746C80}"/>
                </a:ext>
              </a:extLst>
            </p:cNvPr>
            <p:cNvSpPr/>
            <p:nvPr/>
          </p:nvSpPr>
          <p:spPr>
            <a:xfrm>
              <a:off x="3890466" y="4225144"/>
              <a:ext cx="457" cy="1731"/>
            </a:xfrm>
            <a:custGeom>
              <a:avLst/>
              <a:gdLst/>
              <a:ahLst/>
              <a:cxnLst/>
              <a:rect l="l" t="t" r="r" b="b"/>
              <a:pathLst>
                <a:path w="14" h="53" extrusionOk="0">
                  <a:moveTo>
                    <a:pt x="1" y="1"/>
                  </a:moveTo>
                  <a:lnTo>
                    <a:pt x="1" y="14"/>
                  </a:lnTo>
                  <a:lnTo>
                    <a:pt x="14" y="53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8" name="Google Shape;4888;p52">
              <a:extLst>
                <a:ext uri="{FF2B5EF4-FFF2-40B4-BE49-F238E27FC236}">
                  <a16:creationId xmlns:a16="http://schemas.microsoft.com/office/drawing/2014/main" id="{55A4D464-D63C-C188-6EF6-44FD6D1827C5}"/>
                </a:ext>
              </a:extLst>
            </p:cNvPr>
            <p:cNvSpPr/>
            <p:nvPr/>
          </p:nvSpPr>
          <p:spPr>
            <a:xfrm>
              <a:off x="3893537" y="4261765"/>
              <a:ext cx="33582" cy="1731"/>
            </a:xfrm>
            <a:custGeom>
              <a:avLst/>
              <a:gdLst/>
              <a:ahLst/>
              <a:cxnLst/>
              <a:rect l="l" t="t" r="r" b="b"/>
              <a:pathLst>
                <a:path w="1028" h="53" extrusionOk="0">
                  <a:moveTo>
                    <a:pt x="1" y="1"/>
                  </a:moveTo>
                  <a:lnTo>
                    <a:pt x="1" y="53"/>
                  </a:lnTo>
                  <a:lnTo>
                    <a:pt x="1028" y="53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9" name="Google Shape;4889;p52">
              <a:extLst>
                <a:ext uri="{FF2B5EF4-FFF2-40B4-BE49-F238E27FC236}">
                  <a16:creationId xmlns:a16="http://schemas.microsoft.com/office/drawing/2014/main" id="{546033D6-DAA6-6A8D-7510-8A8EC45921A0}"/>
                </a:ext>
              </a:extLst>
            </p:cNvPr>
            <p:cNvSpPr/>
            <p:nvPr/>
          </p:nvSpPr>
          <p:spPr>
            <a:xfrm>
              <a:off x="3927088" y="4244517"/>
              <a:ext cx="2679" cy="14635"/>
            </a:xfrm>
            <a:custGeom>
              <a:avLst/>
              <a:gdLst/>
              <a:ahLst/>
              <a:cxnLst/>
              <a:rect l="l" t="t" r="r" b="b"/>
              <a:pathLst>
                <a:path w="82" h="448" extrusionOk="0">
                  <a:moveTo>
                    <a:pt x="1" y="1"/>
                  </a:moveTo>
                  <a:lnTo>
                    <a:pt x="1" y="448"/>
                  </a:lnTo>
                  <a:lnTo>
                    <a:pt x="82" y="448"/>
                  </a:lnTo>
                  <a:lnTo>
                    <a:pt x="82" y="299"/>
                  </a:lnTo>
                  <a:cubicBezTo>
                    <a:pt x="66" y="189"/>
                    <a:pt x="40" y="95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0" name="Google Shape;4890;p52">
              <a:extLst>
                <a:ext uri="{FF2B5EF4-FFF2-40B4-BE49-F238E27FC236}">
                  <a16:creationId xmlns:a16="http://schemas.microsoft.com/office/drawing/2014/main" id="{F2EAA6B2-445D-811B-B85F-E61BE49FB081}"/>
                </a:ext>
              </a:extLst>
            </p:cNvPr>
            <p:cNvSpPr/>
            <p:nvPr/>
          </p:nvSpPr>
          <p:spPr>
            <a:xfrm>
              <a:off x="3893537" y="4224197"/>
              <a:ext cx="15484" cy="980"/>
            </a:xfrm>
            <a:custGeom>
              <a:avLst/>
              <a:gdLst/>
              <a:ahLst/>
              <a:cxnLst/>
              <a:rect l="l" t="t" r="r" b="b"/>
              <a:pathLst>
                <a:path w="474" h="30" extrusionOk="0">
                  <a:moveTo>
                    <a:pt x="1" y="1"/>
                  </a:moveTo>
                  <a:lnTo>
                    <a:pt x="1" y="30"/>
                  </a:lnTo>
                  <a:lnTo>
                    <a:pt x="474" y="30"/>
                  </a:lnTo>
                  <a:cubicBezTo>
                    <a:pt x="461" y="17"/>
                    <a:pt x="432" y="17"/>
                    <a:pt x="41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1" name="Google Shape;4891;p52">
              <a:extLst>
                <a:ext uri="{FF2B5EF4-FFF2-40B4-BE49-F238E27FC236}">
                  <a16:creationId xmlns:a16="http://schemas.microsoft.com/office/drawing/2014/main" id="{7F203A5B-B87A-77A2-C3B3-60C23478018A}"/>
                </a:ext>
              </a:extLst>
            </p:cNvPr>
            <p:cNvSpPr/>
            <p:nvPr/>
          </p:nvSpPr>
          <p:spPr>
            <a:xfrm>
              <a:off x="3893537" y="4226843"/>
              <a:ext cx="19829" cy="980"/>
            </a:xfrm>
            <a:custGeom>
              <a:avLst/>
              <a:gdLst/>
              <a:ahLst/>
              <a:cxnLst/>
              <a:rect l="l" t="t" r="r" b="b"/>
              <a:pathLst>
                <a:path w="607" h="30" extrusionOk="0">
                  <a:moveTo>
                    <a:pt x="1" y="1"/>
                  </a:moveTo>
                  <a:lnTo>
                    <a:pt x="1" y="30"/>
                  </a:lnTo>
                  <a:lnTo>
                    <a:pt x="607" y="30"/>
                  </a:lnTo>
                  <a:cubicBezTo>
                    <a:pt x="594" y="17"/>
                    <a:pt x="581" y="17"/>
                    <a:pt x="568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2" name="Google Shape;4892;p52">
              <a:extLst>
                <a:ext uri="{FF2B5EF4-FFF2-40B4-BE49-F238E27FC236}">
                  <a16:creationId xmlns:a16="http://schemas.microsoft.com/office/drawing/2014/main" id="{98453AA0-9563-1A03-5904-46B03AB0B6EE}"/>
                </a:ext>
              </a:extLst>
            </p:cNvPr>
            <p:cNvSpPr/>
            <p:nvPr/>
          </p:nvSpPr>
          <p:spPr>
            <a:xfrm>
              <a:off x="3893537" y="4225144"/>
              <a:ext cx="18555" cy="1731"/>
            </a:xfrm>
            <a:custGeom>
              <a:avLst/>
              <a:gdLst/>
              <a:ahLst/>
              <a:cxnLst/>
              <a:rect l="l" t="t" r="r" b="b"/>
              <a:pathLst>
                <a:path w="568" h="53" extrusionOk="0">
                  <a:moveTo>
                    <a:pt x="1" y="1"/>
                  </a:moveTo>
                  <a:lnTo>
                    <a:pt x="1" y="27"/>
                  </a:lnTo>
                  <a:lnTo>
                    <a:pt x="1" y="40"/>
                  </a:lnTo>
                  <a:lnTo>
                    <a:pt x="1" y="53"/>
                  </a:lnTo>
                  <a:lnTo>
                    <a:pt x="568" y="53"/>
                  </a:lnTo>
                  <a:cubicBezTo>
                    <a:pt x="542" y="40"/>
                    <a:pt x="500" y="14"/>
                    <a:pt x="47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3" name="Google Shape;4893;p52">
              <a:extLst>
                <a:ext uri="{FF2B5EF4-FFF2-40B4-BE49-F238E27FC236}">
                  <a16:creationId xmlns:a16="http://schemas.microsoft.com/office/drawing/2014/main" id="{019D3B8D-A23A-7F9E-FB04-72F4C2D9228B}"/>
                </a:ext>
              </a:extLst>
            </p:cNvPr>
            <p:cNvSpPr/>
            <p:nvPr/>
          </p:nvSpPr>
          <p:spPr>
            <a:xfrm>
              <a:off x="3890891" y="4227790"/>
              <a:ext cx="33" cy="31361"/>
            </a:xfrm>
            <a:custGeom>
              <a:avLst/>
              <a:gdLst/>
              <a:ahLst/>
              <a:cxnLst/>
              <a:rect l="l" t="t" r="r" b="b"/>
              <a:pathLst>
                <a:path w="1" h="960" extrusionOk="0">
                  <a:moveTo>
                    <a:pt x="1" y="1"/>
                  </a:moveTo>
                  <a:lnTo>
                    <a:pt x="1" y="960"/>
                  </a:lnTo>
                  <a:lnTo>
                    <a:pt x="1" y="960"/>
                  </a:lnTo>
                  <a:lnTo>
                    <a:pt x="1" y="96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4" name="Google Shape;4894;p52">
              <a:extLst>
                <a:ext uri="{FF2B5EF4-FFF2-40B4-BE49-F238E27FC236}">
                  <a16:creationId xmlns:a16="http://schemas.microsoft.com/office/drawing/2014/main" id="{E949864B-2E67-CEE8-B245-868D07A99E10}"/>
                </a:ext>
              </a:extLst>
            </p:cNvPr>
            <p:cNvSpPr/>
            <p:nvPr/>
          </p:nvSpPr>
          <p:spPr>
            <a:xfrm>
              <a:off x="3893537" y="4227790"/>
              <a:ext cx="33" cy="31361"/>
            </a:xfrm>
            <a:custGeom>
              <a:avLst/>
              <a:gdLst/>
              <a:ahLst/>
              <a:cxnLst/>
              <a:rect l="l" t="t" r="r" b="b"/>
              <a:pathLst>
                <a:path w="1" h="960" extrusionOk="0">
                  <a:moveTo>
                    <a:pt x="1" y="1"/>
                  </a:moveTo>
                  <a:lnTo>
                    <a:pt x="1" y="960"/>
                  </a:lnTo>
                  <a:lnTo>
                    <a:pt x="1" y="96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5" name="Google Shape;4895;p52">
              <a:extLst>
                <a:ext uri="{FF2B5EF4-FFF2-40B4-BE49-F238E27FC236}">
                  <a16:creationId xmlns:a16="http://schemas.microsoft.com/office/drawing/2014/main" id="{5A8501DB-9A57-0CB0-68DC-51B2A84FA99A}"/>
                </a:ext>
              </a:extLst>
            </p:cNvPr>
            <p:cNvSpPr/>
            <p:nvPr/>
          </p:nvSpPr>
          <p:spPr>
            <a:xfrm>
              <a:off x="3893537" y="4261765"/>
              <a:ext cx="33" cy="1731"/>
            </a:xfrm>
            <a:custGeom>
              <a:avLst/>
              <a:gdLst/>
              <a:ahLst/>
              <a:cxnLst/>
              <a:rect l="l" t="t" r="r" b="b"/>
              <a:pathLst>
                <a:path w="1" h="53" extrusionOk="0">
                  <a:moveTo>
                    <a:pt x="1" y="53"/>
                  </a:moveTo>
                  <a:lnTo>
                    <a:pt x="1" y="53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6" name="Google Shape;4896;p52">
              <a:extLst>
                <a:ext uri="{FF2B5EF4-FFF2-40B4-BE49-F238E27FC236}">
                  <a16:creationId xmlns:a16="http://schemas.microsoft.com/office/drawing/2014/main" id="{0547CCE7-3AE4-2DC7-9590-C69A2D6A7AD7}"/>
                </a:ext>
              </a:extLst>
            </p:cNvPr>
            <p:cNvSpPr/>
            <p:nvPr/>
          </p:nvSpPr>
          <p:spPr>
            <a:xfrm>
              <a:off x="3890891" y="4227790"/>
              <a:ext cx="2679" cy="31361"/>
            </a:xfrm>
            <a:custGeom>
              <a:avLst/>
              <a:gdLst/>
              <a:ahLst/>
              <a:cxnLst/>
              <a:rect l="l" t="t" r="r" b="b"/>
              <a:pathLst>
                <a:path w="82" h="960" extrusionOk="0">
                  <a:moveTo>
                    <a:pt x="1" y="1"/>
                  </a:moveTo>
                  <a:lnTo>
                    <a:pt x="1" y="960"/>
                  </a:lnTo>
                  <a:lnTo>
                    <a:pt x="82" y="960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7" name="Google Shape;4897;p52">
              <a:extLst>
                <a:ext uri="{FF2B5EF4-FFF2-40B4-BE49-F238E27FC236}">
                  <a16:creationId xmlns:a16="http://schemas.microsoft.com/office/drawing/2014/main" id="{D3C5938A-7B6B-6870-862C-085B3212B81D}"/>
                </a:ext>
              </a:extLst>
            </p:cNvPr>
            <p:cNvSpPr/>
            <p:nvPr/>
          </p:nvSpPr>
          <p:spPr>
            <a:xfrm>
              <a:off x="3893537" y="4226843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8" name="Google Shape;4898;p52">
              <a:extLst>
                <a:ext uri="{FF2B5EF4-FFF2-40B4-BE49-F238E27FC236}">
                  <a16:creationId xmlns:a16="http://schemas.microsoft.com/office/drawing/2014/main" id="{85D9E39A-784A-52CC-8A03-A01A0AC0CE62}"/>
                </a:ext>
              </a:extLst>
            </p:cNvPr>
            <p:cNvSpPr/>
            <p:nvPr/>
          </p:nvSpPr>
          <p:spPr>
            <a:xfrm>
              <a:off x="3893537" y="4225994"/>
              <a:ext cx="33" cy="882"/>
            </a:xfrm>
            <a:custGeom>
              <a:avLst/>
              <a:gdLst/>
              <a:ahLst/>
              <a:cxnLst/>
              <a:rect l="l" t="t" r="r" b="b"/>
              <a:pathLst>
                <a:path w="1" h="27" extrusionOk="0">
                  <a:moveTo>
                    <a:pt x="1" y="27"/>
                  </a:moveTo>
                  <a:lnTo>
                    <a:pt x="1" y="27"/>
                  </a:lnTo>
                  <a:lnTo>
                    <a:pt x="1" y="1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9" name="Google Shape;4899;p52">
              <a:extLst>
                <a:ext uri="{FF2B5EF4-FFF2-40B4-BE49-F238E27FC236}">
                  <a16:creationId xmlns:a16="http://schemas.microsoft.com/office/drawing/2014/main" id="{F97BB381-1DC3-D19B-976D-5DDC07ECA6A1}"/>
                </a:ext>
              </a:extLst>
            </p:cNvPr>
            <p:cNvSpPr/>
            <p:nvPr/>
          </p:nvSpPr>
          <p:spPr>
            <a:xfrm>
              <a:off x="3893537" y="4224197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3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0" name="Google Shape;4900;p52">
              <a:extLst>
                <a:ext uri="{FF2B5EF4-FFF2-40B4-BE49-F238E27FC236}">
                  <a16:creationId xmlns:a16="http://schemas.microsoft.com/office/drawing/2014/main" id="{17E319C2-8B95-058F-942B-E3AA21BCC190}"/>
                </a:ext>
              </a:extLst>
            </p:cNvPr>
            <p:cNvSpPr/>
            <p:nvPr/>
          </p:nvSpPr>
          <p:spPr>
            <a:xfrm>
              <a:off x="3893537" y="4224197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3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1" name="Google Shape;4901;p52">
              <a:extLst>
                <a:ext uri="{FF2B5EF4-FFF2-40B4-BE49-F238E27FC236}">
                  <a16:creationId xmlns:a16="http://schemas.microsoft.com/office/drawing/2014/main" id="{1830B6E6-8FEE-C009-8CEE-D9F6C79A79DA}"/>
                </a:ext>
              </a:extLst>
            </p:cNvPr>
            <p:cNvSpPr/>
            <p:nvPr/>
          </p:nvSpPr>
          <p:spPr>
            <a:xfrm>
              <a:off x="3893537" y="4225144"/>
              <a:ext cx="33" cy="882"/>
            </a:xfrm>
            <a:custGeom>
              <a:avLst/>
              <a:gdLst/>
              <a:ahLst/>
              <a:cxnLst/>
              <a:rect l="l" t="t" r="r" b="b"/>
              <a:pathLst>
                <a:path w="1" h="27" extrusionOk="0">
                  <a:moveTo>
                    <a:pt x="1" y="1"/>
                  </a:moveTo>
                  <a:lnTo>
                    <a:pt x="1" y="14"/>
                  </a:lnTo>
                  <a:lnTo>
                    <a:pt x="1" y="27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2" name="Google Shape;4902;p52">
              <a:extLst>
                <a:ext uri="{FF2B5EF4-FFF2-40B4-BE49-F238E27FC236}">
                  <a16:creationId xmlns:a16="http://schemas.microsoft.com/office/drawing/2014/main" id="{F713C4F4-5C73-1443-E97E-7AA6DA740CF9}"/>
                </a:ext>
              </a:extLst>
            </p:cNvPr>
            <p:cNvSpPr/>
            <p:nvPr/>
          </p:nvSpPr>
          <p:spPr>
            <a:xfrm>
              <a:off x="3893537" y="4225144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"/>
                  </a:moveTo>
                  <a:lnTo>
                    <a:pt x="1" y="1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3" name="Google Shape;4903;p52">
              <a:extLst>
                <a:ext uri="{FF2B5EF4-FFF2-40B4-BE49-F238E27FC236}">
                  <a16:creationId xmlns:a16="http://schemas.microsoft.com/office/drawing/2014/main" id="{D7E99C8D-507F-32E4-22C3-8C529F6C2642}"/>
                </a:ext>
              </a:extLst>
            </p:cNvPr>
            <p:cNvSpPr/>
            <p:nvPr/>
          </p:nvSpPr>
          <p:spPr>
            <a:xfrm>
              <a:off x="3893537" y="4226843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1"/>
                  </a:moveTo>
                  <a:lnTo>
                    <a:pt x="1" y="1"/>
                  </a:lnTo>
                  <a:lnTo>
                    <a:pt x="1" y="30"/>
                  </a:lnTo>
                  <a:lnTo>
                    <a:pt x="1" y="3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4" name="Google Shape;4904;p52">
              <a:extLst>
                <a:ext uri="{FF2B5EF4-FFF2-40B4-BE49-F238E27FC236}">
                  <a16:creationId xmlns:a16="http://schemas.microsoft.com/office/drawing/2014/main" id="{49831FCE-1094-66B9-E179-BBE1AB2AD206}"/>
                </a:ext>
              </a:extLst>
            </p:cNvPr>
            <p:cNvSpPr/>
            <p:nvPr/>
          </p:nvSpPr>
          <p:spPr>
            <a:xfrm>
              <a:off x="3893537" y="4225569"/>
              <a:ext cx="33" cy="1307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1"/>
                  </a:moveTo>
                  <a:lnTo>
                    <a:pt x="1" y="40"/>
                  </a:lnTo>
                  <a:lnTo>
                    <a:pt x="1" y="40"/>
                  </a:lnTo>
                  <a:lnTo>
                    <a:pt x="1" y="14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5" name="Google Shape;4905;p52">
              <a:extLst>
                <a:ext uri="{FF2B5EF4-FFF2-40B4-BE49-F238E27FC236}">
                  <a16:creationId xmlns:a16="http://schemas.microsoft.com/office/drawing/2014/main" id="{EF821B76-92EB-9A77-1D56-B44BB139EC96}"/>
                </a:ext>
              </a:extLst>
            </p:cNvPr>
            <p:cNvSpPr/>
            <p:nvPr/>
          </p:nvSpPr>
          <p:spPr>
            <a:xfrm>
              <a:off x="3893537" y="4225144"/>
              <a:ext cx="33" cy="1731"/>
            </a:xfrm>
            <a:custGeom>
              <a:avLst/>
              <a:gdLst/>
              <a:ahLst/>
              <a:cxnLst/>
              <a:rect l="l" t="t" r="r" b="b"/>
              <a:pathLst>
                <a:path w="1" h="53" extrusionOk="0">
                  <a:moveTo>
                    <a:pt x="1" y="53"/>
                  </a:moveTo>
                  <a:lnTo>
                    <a:pt x="1" y="53"/>
                  </a:lnTo>
                  <a:lnTo>
                    <a:pt x="1" y="1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6" name="Google Shape;4906;p52">
              <a:extLst>
                <a:ext uri="{FF2B5EF4-FFF2-40B4-BE49-F238E27FC236}">
                  <a16:creationId xmlns:a16="http://schemas.microsoft.com/office/drawing/2014/main" id="{6A775EF2-117D-DABE-7C39-6BF5E5F8FCA9}"/>
                </a:ext>
              </a:extLst>
            </p:cNvPr>
            <p:cNvSpPr/>
            <p:nvPr/>
          </p:nvSpPr>
          <p:spPr>
            <a:xfrm>
              <a:off x="3890891" y="4224197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3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7" name="Google Shape;4907;p52">
              <a:extLst>
                <a:ext uri="{FF2B5EF4-FFF2-40B4-BE49-F238E27FC236}">
                  <a16:creationId xmlns:a16="http://schemas.microsoft.com/office/drawing/2014/main" id="{F554583A-D094-0033-CE6B-C5FB5E0385FB}"/>
                </a:ext>
              </a:extLst>
            </p:cNvPr>
            <p:cNvSpPr/>
            <p:nvPr/>
          </p:nvSpPr>
          <p:spPr>
            <a:xfrm>
              <a:off x="3890891" y="4226843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3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8" name="Google Shape;4908;p52">
              <a:extLst>
                <a:ext uri="{FF2B5EF4-FFF2-40B4-BE49-F238E27FC236}">
                  <a16:creationId xmlns:a16="http://schemas.microsoft.com/office/drawing/2014/main" id="{6F99DB99-589B-673D-81A8-EBDB6AC486A9}"/>
                </a:ext>
              </a:extLst>
            </p:cNvPr>
            <p:cNvSpPr/>
            <p:nvPr/>
          </p:nvSpPr>
          <p:spPr>
            <a:xfrm>
              <a:off x="3890891" y="4225144"/>
              <a:ext cx="33" cy="1731"/>
            </a:xfrm>
            <a:custGeom>
              <a:avLst/>
              <a:gdLst/>
              <a:ahLst/>
              <a:cxnLst/>
              <a:rect l="l" t="t" r="r" b="b"/>
              <a:pathLst>
                <a:path w="1" h="53" extrusionOk="0">
                  <a:moveTo>
                    <a:pt x="1" y="53"/>
                  </a:moveTo>
                  <a:lnTo>
                    <a:pt x="1" y="53"/>
                  </a:lnTo>
                  <a:lnTo>
                    <a:pt x="1" y="1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9" name="Google Shape;4909;p52">
              <a:extLst>
                <a:ext uri="{FF2B5EF4-FFF2-40B4-BE49-F238E27FC236}">
                  <a16:creationId xmlns:a16="http://schemas.microsoft.com/office/drawing/2014/main" id="{8A67204C-9141-CB7A-BEBE-D0AE4336BDB0}"/>
                </a:ext>
              </a:extLst>
            </p:cNvPr>
            <p:cNvSpPr/>
            <p:nvPr/>
          </p:nvSpPr>
          <p:spPr>
            <a:xfrm>
              <a:off x="3890891" y="4224197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3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0" name="Google Shape;4910;p52">
              <a:extLst>
                <a:ext uri="{FF2B5EF4-FFF2-40B4-BE49-F238E27FC236}">
                  <a16:creationId xmlns:a16="http://schemas.microsoft.com/office/drawing/2014/main" id="{5CD4E3BC-C39F-FB80-9950-875FA691BCA7}"/>
                </a:ext>
              </a:extLst>
            </p:cNvPr>
            <p:cNvSpPr/>
            <p:nvPr/>
          </p:nvSpPr>
          <p:spPr>
            <a:xfrm>
              <a:off x="3893112" y="4224197"/>
              <a:ext cx="457" cy="980"/>
            </a:xfrm>
            <a:custGeom>
              <a:avLst/>
              <a:gdLst/>
              <a:ahLst/>
              <a:cxnLst/>
              <a:rect l="l" t="t" r="r" b="b"/>
              <a:pathLst>
                <a:path w="14" h="30" extrusionOk="0">
                  <a:moveTo>
                    <a:pt x="1" y="1"/>
                  </a:moveTo>
                  <a:lnTo>
                    <a:pt x="1" y="30"/>
                  </a:lnTo>
                  <a:lnTo>
                    <a:pt x="14" y="30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1" name="Google Shape;4911;p52">
              <a:extLst>
                <a:ext uri="{FF2B5EF4-FFF2-40B4-BE49-F238E27FC236}">
                  <a16:creationId xmlns:a16="http://schemas.microsoft.com/office/drawing/2014/main" id="{0BE4F5BD-E6B1-5245-8C19-4250EABDDF4B}"/>
                </a:ext>
              </a:extLst>
            </p:cNvPr>
            <p:cNvSpPr/>
            <p:nvPr/>
          </p:nvSpPr>
          <p:spPr>
            <a:xfrm>
              <a:off x="3893112" y="4224197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3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2" name="Google Shape;4912;p52">
              <a:extLst>
                <a:ext uri="{FF2B5EF4-FFF2-40B4-BE49-F238E27FC236}">
                  <a16:creationId xmlns:a16="http://schemas.microsoft.com/office/drawing/2014/main" id="{16F46796-0C56-C2A4-1309-F0B5E5CAC5FB}"/>
                </a:ext>
              </a:extLst>
            </p:cNvPr>
            <p:cNvSpPr/>
            <p:nvPr/>
          </p:nvSpPr>
          <p:spPr>
            <a:xfrm>
              <a:off x="3890891" y="4224197"/>
              <a:ext cx="2254" cy="980"/>
            </a:xfrm>
            <a:custGeom>
              <a:avLst/>
              <a:gdLst/>
              <a:ahLst/>
              <a:cxnLst/>
              <a:rect l="l" t="t" r="r" b="b"/>
              <a:pathLst>
                <a:path w="69" h="30" extrusionOk="0">
                  <a:moveTo>
                    <a:pt x="1" y="1"/>
                  </a:moveTo>
                  <a:lnTo>
                    <a:pt x="1" y="30"/>
                  </a:lnTo>
                  <a:lnTo>
                    <a:pt x="69" y="30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3" name="Google Shape;4913;p52">
              <a:extLst>
                <a:ext uri="{FF2B5EF4-FFF2-40B4-BE49-F238E27FC236}">
                  <a16:creationId xmlns:a16="http://schemas.microsoft.com/office/drawing/2014/main" id="{C145D249-9B26-5F38-113F-8D39E4E7C547}"/>
                </a:ext>
              </a:extLst>
            </p:cNvPr>
            <p:cNvSpPr/>
            <p:nvPr/>
          </p:nvSpPr>
          <p:spPr>
            <a:xfrm>
              <a:off x="3893537" y="4225144"/>
              <a:ext cx="33" cy="33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4" name="Google Shape;4914;p52">
              <a:extLst>
                <a:ext uri="{FF2B5EF4-FFF2-40B4-BE49-F238E27FC236}">
                  <a16:creationId xmlns:a16="http://schemas.microsoft.com/office/drawing/2014/main" id="{A29DE6A2-1544-B912-C5B5-E4E0DCB0CC31}"/>
                </a:ext>
              </a:extLst>
            </p:cNvPr>
            <p:cNvSpPr/>
            <p:nvPr/>
          </p:nvSpPr>
          <p:spPr>
            <a:xfrm>
              <a:off x="3890891" y="4226843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3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5" name="Google Shape;4915;p52">
              <a:extLst>
                <a:ext uri="{FF2B5EF4-FFF2-40B4-BE49-F238E27FC236}">
                  <a16:creationId xmlns:a16="http://schemas.microsoft.com/office/drawing/2014/main" id="{85461017-2D7D-E25E-ECCB-8F88836A36AC}"/>
                </a:ext>
              </a:extLst>
            </p:cNvPr>
            <p:cNvSpPr/>
            <p:nvPr/>
          </p:nvSpPr>
          <p:spPr>
            <a:xfrm>
              <a:off x="3890891" y="4225569"/>
              <a:ext cx="33" cy="1307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40"/>
                  </a:moveTo>
                  <a:lnTo>
                    <a:pt x="1" y="4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6" name="Google Shape;4916;p52">
              <a:extLst>
                <a:ext uri="{FF2B5EF4-FFF2-40B4-BE49-F238E27FC236}">
                  <a16:creationId xmlns:a16="http://schemas.microsoft.com/office/drawing/2014/main" id="{86EC16BF-B318-03B8-A805-2A752AD2D743}"/>
                </a:ext>
              </a:extLst>
            </p:cNvPr>
            <p:cNvSpPr/>
            <p:nvPr/>
          </p:nvSpPr>
          <p:spPr>
            <a:xfrm>
              <a:off x="3890891" y="4225144"/>
              <a:ext cx="33" cy="1731"/>
            </a:xfrm>
            <a:custGeom>
              <a:avLst/>
              <a:gdLst/>
              <a:ahLst/>
              <a:cxnLst/>
              <a:rect l="l" t="t" r="r" b="b"/>
              <a:pathLst>
                <a:path w="1" h="53" extrusionOk="0">
                  <a:moveTo>
                    <a:pt x="1" y="14"/>
                  </a:moveTo>
                  <a:lnTo>
                    <a:pt x="1" y="53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7" name="Google Shape;4917;p52">
              <a:extLst>
                <a:ext uri="{FF2B5EF4-FFF2-40B4-BE49-F238E27FC236}">
                  <a16:creationId xmlns:a16="http://schemas.microsoft.com/office/drawing/2014/main" id="{69EC6464-488B-04E2-0BC2-77BCF1601840}"/>
                </a:ext>
              </a:extLst>
            </p:cNvPr>
            <p:cNvSpPr/>
            <p:nvPr/>
          </p:nvSpPr>
          <p:spPr>
            <a:xfrm>
              <a:off x="3893537" y="4226843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1"/>
                  </a:moveTo>
                  <a:lnTo>
                    <a:pt x="1" y="30"/>
                  </a:lnTo>
                  <a:lnTo>
                    <a:pt x="1" y="3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8" name="Google Shape;4918;p52">
              <a:extLst>
                <a:ext uri="{FF2B5EF4-FFF2-40B4-BE49-F238E27FC236}">
                  <a16:creationId xmlns:a16="http://schemas.microsoft.com/office/drawing/2014/main" id="{4533448E-C1F9-36A4-8C3B-749AEA219FF4}"/>
                </a:ext>
              </a:extLst>
            </p:cNvPr>
            <p:cNvSpPr/>
            <p:nvPr/>
          </p:nvSpPr>
          <p:spPr>
            <a:xfrm>
              <a:off x="3893112" y="4225144"/>
              <a:ext cx="457" cy="1307"/>
            </a:xfrm>
            <a:custGeom>
              <a:avLst/>
              <a:gdLst/>
              <a:ahLst/>
              <a:cxnLst/>
              <a:rect l="l" t="t" r="r" b="b"/>
              <a:pathLst>
                <a:path w="14" h="40" extrusionOk="0">
                  <a:moveTo>
                    <a:pt x="1" y="1"/>
                  </a:moveTo>
                  <a:lnTo>
                    <a:pt x="1" y="14"/>
                  </a:lnTo>
                  <a:lnTo>
                    <a:pt x="14" y="40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9" name="Google Shape;4919;p52">
              <a:extLst>
                <a:ext uri="{FF2B5EF4-FFF2-40B4-BE49-F238E27FC236}">
                  <a16:creationId xmlns:a16="http://schemas.microsoft.com/office/drawing/2014/main" id="{FD27235A-01A1-2F0D-4D56-2E6CDCBC37FE}"/>
                </a:ext>
              </a:extLst>
            </p:cNvPr>
            <p:cNvSpPr/>
            <p:nvPr/>
          </p:nvSpPr>
          <p:spPr>
            <a:xfrm>
              <a:off x="3893537" y="4226843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0" name="Google Shape;4920;p52">
              <a:extLst>
                <a:ext uri="{FF2B5EF4-FFF2-40B4-BE49-F238E27FC236}">
                  <a16:creationId xmlns:a16="http://schemas.microsoft.com/office/drawing/2014/main" id="{6EECB1C6-150C-7911-6C89-2EC05E53B74F}"/>
                </a:ext>
              </a:extLst>
            </p:cNvPr>
            <p:cNvSpPr/>
            <p:nvPr/>
          </p:nvSpPr>
          <p:spPr>
            <a:xfrm>
              <a:off x="3893112" y="4225569"/>
              <a:ext cx="457" cy="1307"/>
            </a:xfrm>
            <a:custGeom>
              <a:avLst/>
              <a:gdLst/>
              <a:ahLst/>
              <a:cxnLst/>
              <a:rect l="l" t="t" r="r" b="b"/>
              <a:pathLst>
                <a:path w="14" h="40" extrusionOk="0">
                  <a:moveTo>
                    <a:pt x="1" y="1"/>
                  </a:moveTo>
                  <a:lnTo>
                    <a:pt x="14" y="40"/>
                  </a:lnTo>
                  <a:lnTo>
                    <a:pt x="14" y="2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1" name="Google Shape;4921;p52">
              <a:extLst>
                <a:ext uri="{FF2B5EF4-FFF2-40B4-BE49-F238E27FC236}">
                  <a16:creationId xmlns:a16="http://schemas.microsoft.com/office/drawing/2014/main" id="{0AC2A0BF-5C35-B1EC-AF03-8362BFAD4249}"/>
                </a:ext>
              </a:extLst>
            </p:cNvPr>
            <p:cNvSpPr/>
            <p:nvPr/>
          </p:nvSpPr>
          <p:spPr>
            <a:xfrm>
              <a:off x="3893112" y="4225144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"/>
                  </a:moveTo>
                  <a:lnTo>
                    <a:pt x="1" y="14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2" name="Google Shape;4922;p52">
              <a:extLst>
                <a:ext uri="{FF2B5EF4-FFF2-40B4-BE49-F238E27FC236}">
                  <a16:creationId xmlns:a16="http://schemas.microsoft.com/office/drawing/2014/main" id="{D43F2463-F05B-F2A4-D196-5ACCD89DAD63}"/>
                </a:ext>
              </a:extLst>
            </p:cNvPr>
            <p:cNvSpPr/>
            <p:nvPr/>
          </p:nvSpPr>
          <p:spPr>
            <a:xfrm>
              <a:off x="3893112" y="4226843"/>
              <a:ext cx="457" cy="980"/>
            </a:xfrm>
            <a:custGeom>
              <a:avLst/>
              <a:gdLst/>
              <a:ahLst/>
              <a:cxnLst/>
              <a:rect l="l" t="t" r="r" b="b"/>
              <a:pathLst>
                <a:path w="14" h="30" extrusionOk="0">
                  <a:moveTo>
                    <a:pt x="1" y="1"/>
                  </a:moveTo>
                  <a:lnTo>
                    <a:pt x="1" y="30"/>
                  </a:lnTo>
                  <a:lnTo>
                    <a:pt x="14" y="30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3" name="Google Shape;4923;p52">
              <a:extLst>
                <a:ext uri="{FF2B5EF4-FFF2-40B4-BE49-F238E27FC236}">
                  <a16:creationId xmlns:a16="http://schemas.microsoft.com/office/drawing/2014/main" id="{70552FB5-312D-8975-5888-397F31DE3E73}"/>
                </a:ext>
              </a:extLst>
            </p:cNvPr>
            <p:cNvSpPr/>
            <p:nvPr/>
          </p:nvSpPr>
          <p:spPr>
            <a:xfrm>
              <a:off x="3893112" y="4225569"/>
              <a:ext cx="457" cy="1307"/>
            </a:xfrm>
            <a:custGeom>
              <a:avLst/>
              <a:gdLst/>
              <a:ahLst/>
              <a:cxnLst/>
              <a:rect l="l" t="t" r="r" b="b"/>
              <a:pathLst>
                <a:path w="14" h="40" extrusionOk="0">
                  <a:moveTo>
                    <a:pt x="1" y="1"/>
                  </a:moveTo>
                  <a:lnTo>
                    <a:pt x="1" y="40"/>
                  </a:lnTo>
                  <a:lnTo>
                    <a:pt x="14" y="4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4" name="Google Shape;4924;p52">
              <a:extLst>
                <a:ext uri="{FF2B5EF4-FFF2-40B4-BE49-F238E27FC236}">
                  <a16:creationId xmlns:a16="http://schemas.microsoft.com/office/drawing/2014/main" id="{D5FCC815-3250-01C8-AE75-72F4F7324C64}"/>
                </a:ext>
              </a:extLst>
            </p:cNvPr>
            <p:cNvSpPr/>
            <p:nvPr/>
          </p:nvSpPr>
          <p:spPr>
            <a:xfrm>
              <a:off x="3890891" y="4226843"/>
              <a:ext cx="2254" cy="980"/>
            </a:xfrm>
            <a:custGeom>
              <a:avLst/>
              <a:gdLst/>
              <a:ahLst/>
              <a:cxnLst/>
              <a:rect l="l" t="t" r="r" b="b"/>
              <a:pathLst>
                <a:path w="69" h="30" extrusionOk="0">
                  <a:moveTo>
                    <a:pt x="1" y="1"/>
                  </a:moveTo>
                  <a:lnTo>
                    <a:pt x="1" y="30"/>
                  </a:lnTo>
                  <a:lnTo>
                    <a:pt x="69" y="30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5" name="Google Shape;4925;p52">
              <a:extLst>
                <a:ext uri="{FF2B5EF4-FFF2-40B4-BE49-F238E27FC236}">
                  <a16:creationId xmlns:a16="http://schemas.microsoft.com/office/drawing/2014/main" id="{9AA39A12-3BDC-2190-3370-B22ADD1FA9C9}"/>
                </a:ext>
              </a:extLst>
            </p:cNvPr>
            <p:cNvSpPr/>
            <p:nvPr/>
          </p:nvSpPr>
          <p:spPr>
            <a:xfrm>
              <a:off x="3890891" y="4225144"/>
              <a:ext cx="2254" cy="1731"/>
            </a:xfrm>
            <a:custGeom>
              <a:avLst/>
              <a:gdLst/>
              <a:ahLst/>
              <a:cxnLst/>
              <a:rect l="l" t="t" r="r" b="b"/>
              <a:pathLst>
                <a:path w="69" h="53" extrusionOk="0">
                  <a:moveTo>
                    <a:pt x="1" y="1"/>
                  </a:moveTo>
                  <a:lnTo>
                    <a:pt x="1" y="53"/>
                  </a:lnTo>
                  <a:lnTo>
                    <a:pt x="69" y="53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6" name="Google Shape;4926;p52">
              <a:extLst>
                <a:ext uri="{FF2B5EF4-FFF2-40B4-BE49-F238E27FC236}">
                  <a16:creationId xmlns:a16="http://schemas.microsoft.com/office/drawing/2014/main" id="{B1068747-B270-6BDC-5989-DD47BDB0EE2D}"/>
                </a:ext>
              </a:extLst>
            </p:cNvPr>
            <p:cNvSpPr/>
            <p:nvPr/>
          </p:nvSpPr>
          <p:spPr>
            <a:xfrm>
              <a:off x="3856916" y="4259119"/>
              <a:ext cx="33582" cy="1731"/>
            </a:xfrm>
            <a:custGeom>
              <a:avLst/>
              <a:gdLst/>
              <a:ahLst/>
              <a:cxnLst/>
              <a:rect l="l" t="t" r="r" b="b"/>
              <a:pathLst>
                <a:path w="1028" h="53" extrusionOk="0">
                  <a:moveTo>
                    <a:pt x="1" y="1"/>
                  </a:moveTo>
                  <a:lnTo>
                    <a:pt x="1" y="53"/>
                  </a:lnTo>
                  <a:lnTo>
                    <a:pt x="1028" y="53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7" name="Google Shape;4927;p52">
              <a:extLst>
                <a:ext uri="{FF2B5EF4-FFF2-40B4-BE49-F238E27FC236}">
                  <a16:creationId xmlns:a16="http://schemas.microsoft.com/office/drawing/2014/main" id="{4F83161F-8DF5-9904-99B3-7654CF3662EA}"/>
                </a:ext>
              </a:extLst>
            </p:cNvPr>
            <p:cNvSpPr/>
            <p:nvPr/>
          </p:nvSpPr>
          <p:spPr>
            <a:xfrm>
              <a:off x="3854270" y="4259119"/>
              <a:ext cx="2679" cy="38776"/>
            </a:xfrm>
            <a:custGeom>
              <a:avLst/>
              <a:gdLst/>
              <a:ahLst/>
              <a:cxnLst/>
              <a:rect l="l" t="t" r="r" b="b"/>
              <a:pathLst>
                <a:path w="82" h="1187" extrusionOk="0">
                  <a:moveTo>
                    <a:pt x="1" y="1"/>
                  </a:moveTo>
                  <a:lnTo>
                    <a:pt x="1" y="1187"/>
                  </a:lnTo>
                  <a:lnTo>
                    <a:pt x="14" y="1187"/>
                  </a:lnTo>
                  <a:lnTo>
                    <a:pt x="14" y="1106"/>
                  </a:lnTo>
                  <a:lnTo>
                    <a:pt x="14" y="1093"/>
                  </a:lnTo>
                  <a:lnTo>
                    <a:pt x="82" y="1093"/>
                  </a:lnTo>
                  <a:lnTo>
                    <a:pt x="82" y="134"/>
                  </a:lnTo>
                  <a:lnTo>
                    <a:pt x="14" y="134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8" name="Google Shape;4928;p52">
              <a:extLst>
                <a:ext uri="{FF2B5EF4-FFF2-40B4-BE49-F238E27FC236}">
                  <a16:creationId xmlns:a16="http://schemas.microsoft.com/office/drawing/2014/main" id="{3161D856-9629-DF15-955A-47B7557CA43D}"/>
                </a:ext>
              </a:extLst>
            </p:cNvPr>
            <p:cNvSpPr/>
            <p:nvPr/>
          </p:nvSpPr>
          <p:spPr>
            <a:xfrm>
              <a:off x="3854694" y="4259119"/>
              <a:ext cx="35804" cy="4377"/>
            </a:xfrm>
            <a:custGeom>
              <a:avLst/>
              <a:gdLst/>
              <a:ahLst/>
              <a:cxnLst/>
              <a:rect l="l" t="t" r="r" b="b"/>
              <a:pathLst>
                <a:path w="1096" h="134" extrusionOk="0">
                  <a:moveTo>
                    <a:pt x="1" y="1"/>
                  </a:moveTo>
                  <a:lnTo>
                    <a:pt x="1" y="134"/>
                  </a:lnTo>
                  <a:lnTo>
                    <a:pt x="69" y="134"/>
                  </a:lnTo>
                  <a:lnTo>
                    <a:pt x="69" y="82"/>
                  </a:lnTo>
                  <a:lnTo>
                    <a:pt x="1096" y="82"/>
                  </a:lnTo>
                  <a:lnTo>
                    <a:pt x="1096" y="53"/>
                  </a:lnTo>
                  <a:lnTo>
                    <a:pt x="69" y="53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9" name="Google Shape;4929;p52">
              <a:extLst>
                <a:ext uri="{FF2B5EF4-FFF2-40B4-BE49-F238E27FC236}">
                  <a16:creationId xmlns:a16="http://schemas.microsoft.com/office/drawing/2014/main" id="{7B352CA7-FBD9-5789-33DB-BCADE40D4095}"/>
                </a:ext>
              </a:extLst>
            </p:cNvPr>
            <p:cNvSpPr/>
            <p:nvPr/>
          </p:nvSpPr>
          <p:spPr>
            <a:xfrm>
              <a:off x="3893537" y="4259119"/>
              <a:ext cx="33582" cy="1731"/>
            </a:xfrm>
            <a:custGeom>
              <a:avLst/>
              <a:gdLst/>
              <a:ahLst/>
              <a:cxnLst/>
              <a:rect l="l" t="t" r="r" b="b"/>
              <a:pathLst>
                <a:path w="1028" h="53" extrusionOk="0">
                  <a:moveTo>
                    <a:pt x="1" y="1"/>
                  </a:moveTo>
                  <a:lnTo>
                    <a:pt x="1" y="53"/>
                  </a:lnTo>
                  <a:lnTo>
                    <a:pt x="1028" y="53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0" name="Google Shape;4930;p52">
              <a:extLst>
                <a:ext uri="{FF2B5EF4-FFF2-40B4-BE49-F238E27FC236}">
                  <a16:creationId xmlns:a16="http://schemas.microsoft.com/office/drawing/2014/main" id="{0E727559-763E-AFD0-D21E-20E5705D7143}"/>
                </a:ext>
              </a:extLst>
            </p:cNvPr>
            <p:cNvSpPr/>
            <p:nvPr/>
          </p:nvSpPr>
          <p:spPr>
            <a:xfrm>
              <a:off x="3927088" y="4263464"/>
              <a:ext cx="2679" cy="31361"/>
            </a:xfrm>
            <a:custGeom>
              <a:avLst/>
              <a:gdLst/>
              <a:ahLst/>
              <a:cxnLst/>
              <a:rect l="l" t="t" r="r" b="b"/>
              <a:pathLst>
                <a:path w="82" h="960" extrusionOk="0">
                  <a:moveTo>
                    <a:pt x="1" y="1"/>
                  </a:moveTo>
                  <a:lnTo>
                    <a:pt x="1" y="960"/>
                  </a:lnTo>
                  <a:lnTo>
                    <a:pt x="82" y="960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1" name="Google Shape;4931;p52">
              <a:extLst>
                <a:ext uri="{FF2B5EF4-FFF2-40B4-BE49-F238E27FC236}">
                  <a16:creationId xmlns:a16="http://schemas.microsoft.com/office/drawing/2014/main" id="{5C3A3C66-1D03-A270-0C98-AE7596F5AACB}"/>
                </a:ext>
              </a:extLst>
            </p:cNvPr>
            <p:cNvSpPr/>
            <p:nvPr/>
          </p:nvSpPr>
          <p:spPr>
            <a:xfrm>
              <a:off x="3893537" y="4259119"/>
              <a:ext cx="36228" cy="4377"/>
            </a:xfrm>
            <a:custGeom>
              <a:avLst/>
              <a:gdLst/>
              <a:ahLst/>
              <a:cxnLst/>
              <a:rect l="l" t="t" r="r" b="b"/>
              <a:pathLst>
                <a:path w="1109" h="134" extrusionOk="0">
                  <a:moveTo>
                    <a:pt x="1028" y="1"/>
                  </a:moveTo>
                  <a:lnTo>
                    <a:pt x="1028" y="53"/>
                  </a:lnTo>
                  <a:lnTo>
                    <a:pt x="1" y="53"/>
                  </a:lnTo>
                  <a:lnTo>
                    <a:pt x="1" y="82"/>
                  </a:lnTo>
                  <a:lnTo>
                    <a:pt x="1028" y="82"/>
                  </a:lnTo>
                  <a:lnTo>
                    <a:pt x="1028" y="134"/>
                  </a:lnTo>
                  <a:lnTo>
                    <a:pt x="1109" y="134"/>
                  </a:lnTo>
                  <a:lnTo>
                    <a:pt x="110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2" name="Google Shape;4932;p52">
              <a:extLst>
                <a:ext uri="{FF2B5EF4-FFF2-40B4-BE49-F238E27FC236}">
                  <a16:creationId xmlns:a16="http://schemas.microsoft.com/office/drawing/2014/main" id="{8EA15F5B-9A36-B1A5-144F-E110751E31F6}"/>
                </a:ext>
              </a:extLst>
            </p:cNvPr>
            <p:cNvSpPr/>
            <p:nvPr/>
          </p:nvSpPr>
          <p:spPr>
            <a:xfrm>
              <a:off x="3893537" y="4259119"/>
              <a:ext cx="33" cy="2679"/>
            </a:xfrm>
            <a:custGeom>
              <a:avLst/>
              <a:gdLst/>
              <a:ahLst/>
              <a:cxnLst/>
              <a:rect l="l" t="t" r="r" b="b"/>
              <a:pathLst>
                <a:path w="1" h="82" extrusionOk="0">
                  <a:moveTo>
                    <a:pt x="1" y="27"/>
                  </a:moveTo>
                  <a:lnTo>
                    <a:pt x="1" y="40"/>
                  </a:lnTo>
                  <a:lnTo>
                    <a:pt x="1" y="82"/>
                  </a:lnTo>
                  <a:lnTo>
                    <a:pt x="1" y="82"/>
                  </a:lnTo>
                  <a:lnTo>
                    <a:pt x="1" y="53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3" name="Google Shape;4933;p52">
              <a:extLst>
                <a:ext uri="{FF2B5EF4-FFF2-40B4-BE49-F238E27FC236}">
                  <a16:creationId xmlns:a16="http://schemas.microsoft.com/office/drawing/2014/main" id="{B65B7929-5272-765C-152F-91F6F6FF7170}"/>
                </a:ext>
              </a:extLst>
            </p:cNvPr>
            <p:cNvSpPr/>
            <p:nvPr/>
          </p:nvSpPr>
          <p:spPr>
            <a:xfrm>
              <a:off x="3893112" y="4259119"/>
              <a:ext cx="457" cy="882"/>
            </a:xfrm>
            <a:custGeom>
              <a:avLst/>
              <a:gdLst/>
              <a:ahLst/>
              <a:cxnLst/>
              <a:rect l="l" t="t" r="r" b="b"/>
              <a:pathLst>
                <a:path w="14" h="27" extrusionOk="0">
                  <a:moveTo>
                    <a:pt x="1" y="1"/>
                  </a:moveTo>
                  <a:lnTo>
                    <a:pt x="14" y="27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4" name="Google Shape;4934;p52">
              <a:extLst>
                <a:ext uri="{FF2B5EF4-FFF2-40B4-BE49-F238E27FC236}">
                  <a16:creationId xmlns:a16="http://schemas.microsoft.com/office/drawing/2014/main" id="{129143B6-BFBC-AE29-D5EB-09DEF41CB9F5}"/>
                </a:ext>
              </a:extLst>
            </p:cNvPr>
            <p:cNvSpPr/>
            <p:nvPr/>
          </p:nvSpPr>
          <p:spPr>
            <a:xfrm>
              <a:off x="3890466" y="4263464"/>
              <a:ext cx="457" cy="31361"/>
            </a:xfrm>
            <a:custGeom>
              <a:avLst/>
              <a:gdLst/>
              <a:ahLst/>
              <a:cxnLst/>
              <a:rect l="l" t="t" r="r" b="b"/>
              <a:pathLst>
                <a:path w="14" h="960" extrusionOk="0">
                  <a:moveTo>
                    <a:pt x="1" y="1"/>
                  </a:moveTo>
                  <a:lnTo>
                    <a:pt x="1" y="960"/>
                  </a:lnTo>
                  <a:lnTo>
                    <a:pt x="14" y="960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5" name="Google Shape;4935;p52">
              <a:extLst>
                <a:ext uri="{FF2B5EF4-FFF2-40B4-BE49-F238E27FC236}">
                  <a16:creationId xmlns:a16="http://schemas.microsoft.com/office/drawing/2014/main" id="{00BDBD72-CDB6-7A33-F54B-1B8DB17EDFE5}"/>
                </a:ext>
              </a:extLst>
            </p:cNvPr>
            <p:cNvSpPr/>
            <p:nvPr/>
          </p:nvSpPr>
          <p:spPr>
            <a:xfrm>
              <a:off x="3890466" y="4259119"/>
              <a:ext cx="457" cy="1731"/>
            </a:xfrm>
            <a:custGeom>
              <a:avLst/>
              <a:gdLst/>
              <a:ahLst/>
              <a:cxnLst/>
              <a:rect l="l" t="t" r="r" b="b"/>
              <a:pathLst>
                <a:path w="14" h="53" extrusionOk="0">
                  <a:moveTo>
                    <a:pt x="1" y="1"/>
                  </a:moveTo>
                  <a:lnTo>
                    <a:pt x="1" y="53"/>
                  </a:lnTo>
                  <a:lnTo>
                    <a:pt x="14" y="53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6" name="Google Shape;4936;p52">
              <a:extLst>
                <a:ext uri="{FF2B5EF4-FFF2-40B4-BE49-F238E27FC236}">
                  <a16:creationId xmlns:a16="http://schemas.microsoft.com/office/drawing/2014/main" id="{6B9DEDC8-5011-D0B5-C90F-7FC0079C308D}"/>
                </a:ext>
              </a:extLst>
            </p:cNvPr>
            <p:cNvSpPr/>
            <p:nvPr/>
          </p:nvSpPr>
          <p:spPr>
            <a:xfrm>
              <a:off x="3890466" y="4260818"/>
              <a:ext cx="457" cy="2679"/>
            </a:xfrm>
            <a:custGeom>
              <a:avLst/>
              <a:gdLst/>
              <a:ahLst/>
              <a:cxnLst/>
              <a:rect l="l" t="t" r="r" b="b"/>
              <a:pathLst>
                <a:path w="14" h="82" extrusionOk="0">
                  <a:moveTo>
                    <a:pt x="1" y="1"/>
                  </a:moveTo>
                  <a:lnTo>
                    <a:pt x="1" y="30"/>
                  </a:lnTo>
                  <a:lnTo>
                    <a:pt x="1" y="82"/>
                  </a:lnTo>
                  <a:lnTo>
                    <a:pt x="14" y="82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7" name="Google Shape;4937;p52">
              <a:extLst>
                <a:ext uri="{FF2B5EF4-FFF2-40B4-BE49-F238E27FC236}">
                  <a16:creationId xmlns:a16="http://schemas.microsoft.com/office/drawing/2014/main" id="{93D4D736-F737-11CA-15E0-7791B7B13B46}"/>
                </a:ext>
              </a:extLst>
            </p:cNvPr>
            <p:cNvSpPr/>
            <p:nvPr/>
          </p:nvSpPr>
          <p:spPr>
            <a:xfrm>
              <a:off x="3890891" y="4259119"/>
              <a:ext cx="33" cy="4377"/>
            </a:xfrm>
            <a:custGeom>
              <a:avLst/>
              <a:gdLst/>
              <a:ahLst/>
              <a:cxnLst/>
              <a:rect l="l" t="t" r="r" b="b"/>
              <a:pathLst>
                <a:path w="1" h="134" extrusionOk="0">
                  <a:moveTo>
                    <a:pt x="1" y="53"/>
                  </a:moveTo>
                  <a:lnTo>
                    <a:pt x="1" y="134"/>
                  </a:lnTo>
                  <a:lnTo>
                    <a:pt x="1" y="13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8" name="Google Shape;4938;p52">
              <a:extLst>
                <a:ext uri="{FF2B5EF4-FFF2-40B4-BE49-F238E27FC236}">
                  <a16:creationId xmlns:a16="http://schemas.microsoft.com/office/drawing/2014/main" id="{9DADA058-2199-4A9C-549E-9C1E3F3B1E58}"/>
                </a:ext>
              </a:extLst>
            </p:cNvPr>
            <p:cNvSpPr/>
            <p:nvPr/>
          </p:nvSpPr>
          <p:spPr>
            <a:xfrm>
              <a:off x="3893112" y="4263464"/>
              <a:ext cx="457" cy="31361"/>
            </a:xfrm>
            <a:custGeom>
              <a:avLst/>
              <a:gdLst/>
              <a:ahLst/>
              <a:cxnLst/>
              <a:rect l="l" t="t" r="r" b="b"/>
              <a:pathLst>
                <a:path w="14" h="960" extrusionOk="0">
                  <a:moveTo>
                    <a:pt x="1" y="1"/>
                  </a:moveTo>
                  <a:lnTo>
                    <a:pt x="1" y="960"/>
                  </a:lnTo>
                  <a:lnTo>
                    <a:pt x="14" y="960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9" name="Google Shape;4939;p52">
              <a:extLst>
                <a:ext uri="{FF2B5EF4-FFF2-40B4-BE49-F238E27FC236}">
                  <a16:creationId xmlns:a16="http://schemas.microsoft.com/office/drawing/2014/main" id="{90E872F2-0D04-F254-92DB-F619C21F7109}"/>
                </a:ext>
              </a:extLst>
            </p:cNvPr>
            <p:cNvSpPr/>
            <p:nvPr/>
          </p:nvSpPr>
          <p:spPr>
            <a:xfrm>
              <a:off x="3893537" y="4259969"/>
              <a:ext cx="33" cy="3528"/>
            </a:xfrm>
            <a:custGeom>
              <a:avLst/>
              <a:gdLst/>
              <a:ahLst/>
              <a:cxnLst/>
              <a:rect l="l" t="t" r="r" b="b"/>
              <a:pathLst>
                <a:path w="1" h="108" extrusionOk="0">
                  <a:moveTo>
                    <a:pt x="1" y="108"/>
                  </a:moveTo>
                  <a:lnTo>
                    <a:pt x="1" y="108"/>
                  </a:lnTo>
                  <a:lnTo>
                    <a:pt x="1" y="56"/>
                  </a:lnTo>
                  <a:lnTo>
                    <a:pt x="1" y="1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0" name="Google Shape;4940;p52">
              <a:extLst>
                <a:ext uri="{FF2B5EF4-FFF2-40B4-BE49-F238E27FC236}">
                  <a16:creationId xmlns:a16="http://schemas.microsoft.com/office/drawing/2014/main" id="{386BCD3C-9EBD-D71C-CD09-E82326489CF0}"/>
                </a:ext>
              </a:extLst>
            </p:cNvPr>
            <p:cNvSpPr/>
            <p:nvPr/>
          </p:nvSpPr>
          <p:spPr>
            <a:xfrm>
              <a:off x="3893112" y="4259119"/>
              <a:ext cx="457" cy="4377"/>
            </a:xfrm>
            <a:custGeom>
              <a:avLst/>
              <a:gdLst/>
              <a:ahLst/>
              <a:cxnLst/>
              <a:rect l="l" t="t" r="r" b="b"/>
              <a:pathLst>
                <a:path w="14" h="134" extrusionOk="0">
                  <a:moveTo>
                    <a:pt x="1" y="1"/>
                  </a:moveTo>
                  <a:lnTo>
                    <a:pt x="1" y="134"/>
                  </a:lnTo>
                  <a:lnTo>
                    <a:pt x="14" y="134"/>
                  </a:lnTo>
                  <a:lnTo>
                    <a:pt x="14" y="2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1" name="Google Shape;4941;p52">
              <a:extLst>
                <a:ext uri="{FF2B5EF4-FFF2-40B4-BE49-F238E27FC236}">
                  <a16:creationId xmlns:a16="http://schemas.microsoft.com/office/drawing/2014/main" id="{7ABFF912-EEEB-2943-0869-CA2912F30726}"/>
                </a:ext>
              </a:extLst>
            </p:cNvPr>
            <p:cNvSpPr/>
            <p:nvPr/>
          </p:nvSpPr>
          <p:spPr>
            <a:xfrm>
              <a:off x="3890891" y="4263464"/>
              <a:ext cx="2254" cy="31361"/>
            </a:xfrm>
            <a:custGeom>
              <a:avLst/>
              <a:gdLst/>
              <a:ahLst/>
              <a:cxnLst/>
              <a:rect l="l" t="t" r="r" b="b"/>
              <a:pathLst>
                <a:path w="69" h="960" extrusionOk="0">
                  <a:moveTo>
                    <a:pt x="1" y="1"/>
                  </a:moveTo>
                  <a:lnTo>
                    <a:pt x="1" y="960"/>
                  </a:lnTo>
                  <a:lnTo>
                    <a:pt x="69" y="960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2" name="Google Shape;4942;p52">
              <a:extLst>
                <a:ext uri="{FF2B5EF4-FFF2-40B4-BE49-F238E27FC236}">
                  <a16:creationId xmlns:a16="http://schemas.microsoft.com/office/drawing/2014/main" id="{2B09AF93-AFAB-6437-DB95-1FEE8483FAA1}"/>
                </a:ext>
              </a:extLst>
            </p:cNvPr>
            <p:cNvSpPr/>
            <p:nvPr/>
          </p:nvSpPr>
          <p:spPr>
            <a:xfrm>
              <a:off x="3890891" y="4259119"/>
              <a:ext cx="33" cy="4377"/>
            </a:xfrm>
            <a:custGeom>
              <a:avLst/>
              <a:gdLst/>
              <a:ahLst/>
              <a:cxnLst/>
              <a:rect l="l" t="t" r="r" b="b"/>
              <a:pathLst>
                <a:path w="1" h="134" extrusionOk="0">
                  <a:moveTo>
                    <a:pt x="1" y="134"/>
                  </a:moveTo>
                  <a:lnTo>
                    <a:pt x="1" y="13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3" name="Google Shape;4943;p52">
              <a:extLst>
                <a:ext uri="{FF2B5EF4-FFF2-40B4-BE49-F238E27FC236}">
                  <a16:creationId xmlns:a16="http://schemas.microsoft.com/office/drawing/2014/main" id="{02763CC4-B5BC-7BBA-8124-3B71B9DE18DA}"/>
                </a:ext>
              </a:extLst>
            </p:cNvPr>
            <p:cNvSpPr/>
            <p:nvPr/>
          </p:nvSpPr>
          <p:spPr>
            <a:xfrm>
              <a:off x="3890891" y="4259119"/>
              <a:ext cx="2254" cy="4377"/>
            </a:xfrm>
            <a:custGeom>
              <a:avLst/>
              <a:gdLst/>
              <a:ahLst/>
              <a:cxnLst/>
              <a:rect l="l" t="t" r="r" b="b"/>
              <a:pathLst>
                <a:path w="69" h="134" extrusionOk="0">
                  <a:moveTo>
                    <a:pt x="1" y="1"/>
                  </a:moveTo>
                  <a:lnTo>
                    <a:pt x="1" y="134"/>
                  </a:lnTo>
                  <a:lnTo>
                    <a:pt x="69" y="134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4" name="Google Shape;4944;p52">
              <a:extLst>
                <a:ext uri="{FF2B5EF4-FFF2-40B4-BE49-F238E27FC236}">
                  <a16:creationId xmlns:a16="http://schemas.microsoft.com/office/drawing/2014/main" id="{11D8B71B-C631-DA10-6200-4F20B8BFF98A}"/>
                </a:ext>
              </a:extLst>
            </p:cNvPr>
            <p:cNvSpPr/>
            <p:nvPr/>
          </p:nvSpPr>
          <p:spPr>
            <a:xfrm>
              <a:off x="3854694" y="4330990"/>
              <a:ext cx="36228" cy="2679"/>
            </a:xfrm>
            <a:custGeom>
              <a:avLst/>
              <a:gdLst/>
              <a:ahLst/>
              <a:cxnLst/>
              <a:rect l="l" t="t" r="r" b="b"/>
              <a:pathLst>
                <a:path w="1109" h="82" extrusionOk="0">
                  <a:moveTo>
                    <a:pt x="1" y="1"/>
                  </a:moveTo>
                  <a:lnTo>
                    <a:pt x="1" y="82"/>
                  </a:lnTo>
                  <a:lnTo>
                    <a:pt x="1109" y="82"/>
                  </a:lnTo>
                  <a:lnTo>
                    <a:pt x="110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5" name="Google Shape;4945;p52">
              <a:extLst>
                <a:ext uri="{FF2B5EF4-FFF2-40B4-BE49-F238E27FC236}">
                  <a16:creationId xmlns:a16="http://schemas.microsoft.com/office/drawing/2014/main" id="{4E28B539-39DE-70F9-1DEB-71E3C5ECA70F}"/>
                </a:ext>
              </a:extLst>
            </p:cNvPr>
            <p:cNvSpPr/>
            <p:nvPr/>
          </p:nvSpPr>
          <p:spPr>
            <a:xfrm>
              <a:off x="3854694" y="4297864"/>
              <a:ext cx="2254" cy="33158"/>
            </a:xfrm>
            <a:custGeom>
              <a:avLst/>
              <a:gdLst/>
              <a:ahLst/>
              <a:cxnLst/>
              <a:rect l="l" t="t" r="r" b="b"/>
              <a:pathLst>
                <a:path w="69" h="1015" extrusionOk="0">
                  <a:moveTo>
                    <a:pt x="1" y="1"/>
                  </a:moveTo>
                  <a:lnTo>
                    <a:pt x="1" y="1015"/>
                  </a:lnTo>
                  <a:lnTo>
                    <a:pt x="69" y="1015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6" name="Google Shape;4946;p52">
              <a:extLst>
                <a:ext uri="{FF2B5EF4-FFF2-40B4-BE49-F238E27FC236}">
                  <a16:creationId xmlns:a16="http://schemas.microsoft.com/office/drawing/2014/main" id="{13F1F123-773B-FD16-EFCD-A43F941435B7}"/>
                </a:ext>
              </a:extLst>
            </p:cNvPr>
            <p:cNvSpPr/>
            <p:nvPr/>
          </p:nvSpPr>
          <p:spPr>
            <a:xfrm>
              <a:off x="3854694" y="4294793"/>
              <a:ext cx="35804" cy="457"/>
            </a:xfrm>
            <a:custGeom>
              <a:avLst/>
              <a:gdLst/>
              <a:ahLst/>
              <a:cxnLst/>
              <a:rect l="l" t="t" r="r" b="b"/>
              <a:pathLst>
                <a:path w="1096" h="14" extrusionOk="0">
                  <a:moveTo>
                    <a:pt x="1" y="1"/>
                  </a:moveTo>
                  <a:lnTo>
                    <a:pt x="1" y="14"/>
                  </a:lnTo>
                  <a:lnTo>
                    <a:pt x="1096" y="14"/>
                  </a:lnTo>
                  <a:lnTo>
                    <a:pt x="1096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7" name="Google Shape;4947;p52">
              <a:extLst>
                <a:ext uri="{FF2B5EF4-FFF2-40B4-BE49-F238E27FC236}">
                  <a16:creationId xmlns:a16="http://schemas.microsoft.com/office/drawing/2014/main" id="{1B8402F1-CE7F-B038-F000-81F31BFEAB0E}"/>
                </a:ext>
              </a:extLst>
            </p:cNvPr>
            <p:cNvSpPr/>
            <p:nvPr/>
          </p:nvSpPr>
          <p:spPr>
            <a:xfrm>
              <a:off x="3856916" y="4297439"/>
              <a:ext cx="33582" cy="457"/>
            </a:xfrm>
            <a:custGeom>
              <a:avLst/>
              <a:gdLst/>
              <a:ahLst/>
              <a:cxnLst/>
              <a:rect l="l" t="t" r="r" b="b"/>
              <a:pathLst>
                <a:path w="1028" h="14" extrusionOk="0">
                  <a:moveTo>
                    <a:pt x="1" y="1"/>
                  </a:moveTo>
                  <a:lnTo>
                    <a:pt x="1" y="14"/>
                  </a:lnTo>
                  <a:lnTo>
                    <a:pt x="1028" y="14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8" name="Google Shape;4948;p52">
              <a:extLst>
                <a:ext uri="{FF2B5EF4-FFF2-40B4-BE49-F238E27FC236}">
                  <a16:creationId xmlns:a16="http://schemas.microsoft.com/office/drawing/2014/main" id="{461143A9-780B-3913-DCBB-F14B91055650}"/>
                </a:ext>
              </a:extLst>
            </p:cNvPr>
            <p:cNvSpPr/>
            <p:nvPr/>
          </p:nvSpPr>
          <p:spPr>
            <a:xfrm>
              <a:off x="3854694" y="4295218"/>
              <a:ext cx="35804" cy="2679"/>
            </a:xfrm>
            <a:custGeom>
              <a:avLst/>
              <a:gdLst/>
              <a:ahLst/>
              <a:cxnLst/>
              <a:rect l="l" t="t" r="r" b="b"/>
              <a:pathLst>
                <a:path w="1096" h="82" extrusionOk="0">
                  <a:moveTo>
                    <a:pt x="1" y="1"/>
                  </a:moveTo>
                  <a:lnTo>
                    <a:pt x="1" y="82"/>
                  </a:lnTo>
                  <a:lnTo>
                    <a:pt x="69" y="82"/>
                  </a:lnTo>
                  <a:lnTo>
                    <a:pt x="69" y="69"/>
                  </a:lnTo>
                  <a:lnTo>
                    <a:pt x="1096" y="69"/>
                  </a:lnTo>
                  <a:lnTo>
                    <a:pt x="1096" y="30"/>
                  </a:lnTo>
                  <a:lnTo>
                    <a:pt x="1096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9" name="Google Shape;4949;p52">
              <a:extLst>
                <a:ext uri="{FF2B5EF4-FFF2-40B4-BE49-F238E27FC236}">
                  <a16:creationId xmlns:a16="http://schemas.microsoft.com/office/drawing/2014/main" id="{1F0E991C-0509-74D3-C50C-7D2E41F37CEC}"/>
                </a:ext>
              </a:extLst>
            </p:cNvPr>
            <p:cNvSpPr/>
            <p:nvPr/>
          </p:nvSpPr>
          <p:spPr>
            <a:xfrm>
              <a:off x="3890466" y="4294793"/>
              <a:ext cx="457" cy="457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1" y="1"/>
                  </a:moveTo>
                  <a:lnTo>
                    <a:pt x="1" y="14"/>
                  </a:lnTo>
                  <a:lnTo>
                    <a:pt x="14" y="14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0" name="Google Shape;4950;p52">
              <a:extLst>
                <a:ext uri="{FF2B5EF4-FFF2-40B4-BE49-F238E27FC236}">
                  <a16:creationId xmlns:a16="http://schemas.microsoft.com/office/drawing/2014/main" id="{15C23C01-BAA4-2967-6CD4-1A5E4C0794A9}"/>
                </a:ext>
              </a:extLst>
            </p:cNvPr>
            <p:cNvSpPr/>
            <p:nvPr/>
          </p:nvSpPr>
          <p:spPr>
            <a:xfrm>
              <a:off x="3890466" y="4297439"/>
              <a:ext cx="457" cy="457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1" y="1"/>
                  </a:moveTo>
                  <a:lnTo>
                    <a:pt x="1" y="14"/>
                  </a:lnTo>
                  <a:lnTo>
                    <a:pt x="14" y="14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1" name="Google Shape;4951;p52">
              <a:extLst>
                <a:ext uri="{FF2B5EF4-FFF2-40B4-BE49-F238E27FC236}">
                  <a16:creationId xmlns:a16="http://schemas.microsoft.com/office/drawing/2014/main" id="{8E583709-4AFA-B2E2-CF46-ED9C32907849}"/>
                </a:ext>
              </a:extLst>
            </p:cNvPr>
            <p:cNvSpPr/>
            <p:nvPr/>
          </p:nvSpPr>
          <p:spPr>
            <a:xfrm>
              <a:off x="3890466" y="4296165"/>
              <a:ext cx="457" cy="1307"/>
            </a:xfrm>
            <a:custGeom>
              <a:avLst/>
              <a:gdLst/>
              <a:ahLst/>
              <a:cxnLst/>
              <a:rect l="l" t="t" r="r" b="b"/>
              <a:pathLst>
                <a:path w="14" h="40" extrusionOk="0">
                  <a:moveTo>
                    <a:pt x="1" y="1"/>
                  </a:moveTo>
                  <a:lnTo>
                    <a:pt x="1" y="40"/>
                  </a:lnTo>
                  <a:lnTo>
                    <a:pt x="14" y="4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2" name="Google Shape;4952;p52">
              <a:extLst>
                <a:ext uri="{FF2B5EF4-FFF2-40B4-BE49-F238E27FC236}">
                  <a16:creationId xmlns:a16="http://schemas.microsoft.com/office/drawing/2014/main" id="{7ACA63F9-00B6-D6AE-E60E-10F4ACAA0861}"/>
                </a:ext>
              </a:extLst>
            </p:cNvPr>
            <p:cNvSpPr/>
            <p:nvPr/>
          </p:nvSpPr>
          <p:spPr>
            <a:xfrm>
              <a:off x="3890466" y="4295218"/>
              <a:ext cx="457" cy="2254"/>
            </a:xfrm>
            <a:custGeom>
              <a:avLst/>
              <a:gdLst/>
              <a:ahLst/>
              <a:cxnLst/>
              <a:rect l="l" t="t" r="r" b="b"/>
              <a:pathLst>
                <a:path w="14" h="69" extrusionOk="0">
                  <a:moveTo>
                    <a:pt x="1" y="1"/>
                  </a:moveTo>
                  <a:lnTo>
                    <a:pt x="1" y="30"/>
                  </a:lnTo>
                  <a:lnTo>
                    <a:pt x="14" y="69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3" name="Google Shape;4953;p52">
              <a:extLst>
                <a:ext uri="{FF2B5EF4-FFF2-40B4-BE49-F238E27FC236}">
                  <a16:creationId xmlns:a16="http://schemas.microsoft.com/office/drawing/2014/main" id="{FB2B3CC2-8503-3629-24AB-A0C29D64B3D3}"/>
                </a:ext>
              </a:extLst>
            </p:cNvPr>
            <p:cNvSpPr/>
            <p:nvPr/>
          </p:nvSpPr>
          <p:spPr>
            <a:xfrm>
              <a:off x="3893537" y="4330990"/>
              <a:ext cx="36228" cy="2679"/>
            </a:xfrm>
            <a:custGeom>
              <a:avLst/>
              <a:gdLst/>
              <a:ahLst/>
              <a:cxnLst/>
              <a:rect l="l" t="t" r="r" b="b"/>
              <a:pathLst>
                <a:path w="1109" h="82" extrusionOk="0">
                  <a:moveTo>
                    <a:pt x="1" y="1"/>
                  </a:moveTo>
                  <a:lnTo>
                    <a:pt x="1" y="82"/>
                  </a:lnTo>
                  <a:lnTo>
                    <a:pt x="1109" y="82"/>
                  </a:lnTo>
                  <a:lnTo>
                    <a:pt x="110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4" name="Google Shape;4954;p52">
              <a:extLst>
                <a:ext uri="{FF2B5EF4-FFF2-40B4-BE49-F238E27FC236}">
                  <a16:creationId xmlns:a16="http://schemas.microsoft.com/office/drawing/2014/main" id="{75EFD26A-306E-C896-887E-61795D3E21C2}"/>
                </a:ext>
              </a:extLst>
            </p:cNvPr>
            <p:cNvSpPr/>
            <p:nvPr/>
          </p:nvSpPr>
          <p:spPr>
            <a:xfrm>
              <a:off x="3927088" y="4297864"/>
              <a:ext cx="2679" cy="33158"/>
            </a:xfrm>
            <a:custGeom>
              <a:avLst/>
              <a:gdLst/>
              <a:ahLst/>
              <a:cxnLst/>
              <a:rect l="l" t="t" r="r" b="b"/>
              <a:pathLst>
                <a:path w="82" h="1015" extrusionOk="0">
                  <a:moveTo>
                    <a:pt x="1" y="1"/>
                  </a:moveTo>
                  <a:lnTo>
                    <a:pt x="1" y="1015"/>
                  </a:lnTo>
                  <a:lnTo>
                    <a:pt x="82" y="1015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5" name="Google Shape;4955;p52">
              <a:extLst>
                <a:ext uri="{FF2B5EF4-FFF2-40B4-BE49-F238E27FC236}">
                  <a16:creationId xmlns:a16="http://schemas.microsoft.com/office/drawing/2014/main" id="{A91DDA0A-F953-3DA7-F18D-207355540865}"/>
                </a:ext>
              </a:extLst>
            </p:cNvPr>
            <p:cNvSpPr/>
            <p:nvPr/>
          </p:nvSpPr>
          <p:spPr>
            <a:xfrm>
              <a:off x="3893537" y="4294793"/>
              <a:ext cx="33582" cy="457"/>
            </a:xfrm>
            <a:custGeom>
              <a:avLst/>
              <a:gdLst/>
              <a:ahLst/>
              <a:cxnLst/>
              <a:rect l="l" t="t" r="r" b="b"/>
              <a:pathLst>
                <a:path w="1028" h="14" extrusionOk="0">
                  <a:moveTo>
                    <a:pt x="1" y="1"/>
                  </a:moveTo>
                  <a:lnTo>
                    <a:pt x="1" y="14"/>
                  </a:lnTo>
                  <a:lnTo>
                    <a:pt x="1028" y="14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6" name="Google Shape;4956;p52">
              <a:extLst>
                <a:ext uri="{FF2B5EF4-FFF2-40B4-BE49-F238E27FC236}">
                  <a16:creationId xmlns:a16="http://schemas.microsoft.com/office/drawing/2014/main" id="{D022D793-CA6F-E5E7-2679-DCD033A6022D}"/>
                </a:ext>
              </a:extLst>
            </p:cNvPr>
            <p:cNvSpPr/>
            <p:nvPr/>
          </p:nvSpPr>
          <p:spPr>
            <a:xfrm>
              <a:off x="3893537" y="4297439"/>
              <a:ext cx="36228" cy="457"/>
            </a:xfrm>
            <a:custGeom>
              <a:avLst/>
              <a:gdLst/>
              <a:ahLst/>
              <a:cxnLst/>
              <a:rect l="l" t="t" r="r" b="b"/>
              <a:pathLst>
                <a:path w="1109" h="14" extrusionOk="0">
                  <a:moveTo>
                    <a:pt x="1" y="1"/>
                  </a:moveTo>
                  <a:lnTo>
                    <a:pt x="1" y="14"/>
                  </a:lnTo>
                  <a:lnTo>
                    <a:pt x="1109" y="14"/>
                  </a:lnTo>
                  <a:lnTo>
                    <a:pt x="110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7" name="Google Shape;4957;p52">
              <a:extLst>
                <a:ext uri="{FF2B5EF4-FFF2-40B4-BE49-F238E27FC236}">
                  <a16:creationId xmlns:a16="http://schemas.microsoft.com/office/drawing/2014/main" id="{14B5EC08-F8D4-54BC-E4D7-414A44D7322D}"/>
                </a:ext>
              </a:extLst>
            </p:cNvPr>
            <p:cNvSpPr/>
            <p:nvPr/>
          </p:nvSpPr>
          <p:spPr>
            <a:xfrm>
              <a:off x="3893537" y="4294793"/>
              <a:ext cx="36228" cy="2679"/>
            </a:xfrm>
            <a:custGeom>
              <a:avLst/>
              <a:gdLst/>
              <a:ahLst/>
              <a:cxnLst/>
              <a:rect l="l" t="t" r="r" b="b"/>
              <a:pathLst>
                <a:path w="1109" h="82" extrusionOk="0">
                  <a:moveTo>
                    <a:pt x="1028" y="1"/>
                  </a:moveTo>
                  <a:lnTo>
                    <a:pt x="1028" y="14"/>
                  </a:lnTo>
                  <a:lnTo>
                    <a:pt x="1" y="14"/>
                  </a:lnTo>
                  <a:lnTo>
                    <a:pt x="1" y="56"/>
                  </a:lnTo>
                  <a:lnTo>
                    <a:pt x="1" y="82"/>
                  </a:lnTo>
                  <a:lnTo>
                    <a:pt x="1109" y="82"/>
                  </a:lnTo>
                  <a:lnTo>
                    <a:pt x="110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8" name="Google Shape;4958;p52">
              <a:extLst>
                <a:ext uri="{FF2B5EF4-FFF2-40B4-BE49-F238E27FC236}">
                  <a16:creationId xmlns:a16="http://schemas.microsoft.com/office/drawing/2014/main" id="{5B7B71D4-723F-E740-1956-A5A728713030}"/>
                </a:ext>
              </a:extLst>
            </p:cNvPr>
            <p:cNvSpPr/>
            <p:nvPr/>
          </p:nvSpPr>
          <p:spPr>
            <a:xfrm>
              <a:off x="3890891" y="4330990"/>
              <a:ext cx="33" cy="2679"/>
            </a:xfrm>
            <a:custGeom>
              <a:avLst/>
              <a:gdLst/>
              <a:ahLst/>
              <a:cxnLst/>
              <a:rect l="l" t="t" r="r" b="b"/>
              <a:pathLst>
                <a:path w="1" h="82" extrusionOk="0">
                  <a:moveTo>
                    <a:pt x="1" y="82"/>
                  </a:moveTo>
                  <a:lnTo>
                    <a:pt x="1" y="82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9" name="Google Shape;4959;p52">
              <a:extLst>
                <a:ext uri="{FF2B5EF4-FFF2-40B4-BE49-F238E27FC236}">
                  <a16:creationId xmlns:a16="http://schemas.microsoft.com/office/drawing/2014/main" id="{24692506-2651-84FF-A5C2-F754902AA278}"/>
                </a:ext>
              </a:extLst>
            </p:cNvPr>
            <p:cNvSpPr/>
            <p:nvPr/>
          </p:nvSpPr>
          <p:spPr>
            <a:xfrm>
              <a:off x="3890891" y="4297864"/>
              <a:ext cx="33" cy="33158"/>
            </a:xfrm>
            <a:custGeom>
              <a:avLst/>
              <a:gdLst/>
              <a:ahLst/>
              <a:cxnLst/>
              <a:rect l="l" t="t" r="r" b="b"/>
              <a:pathLst>
                <a:path w="1" h="1015" extrusionOk="0">
                  <a:moveTo>
                    <a:pt x="1" y="1"/>
                  </a:moveTo>
                  <a:lnTo>
                    <a:pt x="1" y="1015"/>
                  </a:lnTo>
                  <a:lnTo>
                    <a:pt x="1" y="1015"/>
                  </a:lnTo>
                  <a:lnTo>
                    <a:pt x="1" y="101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0" name="Google Shape;4960;p52">
              <a:extLst>
                <a:ext uri="{FF2B5EF4-FFF2-40B4-BE49-F238E27FC236}">
                  <a16:creationId xmlns:a16="http://schemas.microsoft.com/office/drawing/2014/main" id="{7FAD4A09-227D-8512-0990-D9A56B489F57}"/>
                </a:ext>
              </a:extLst>
            </p:cNvPr>
            <p:cNvSpPr/>
            <p:nvPr/>
          </p:nvSpPr>
          <p:spPr>
            <a:xfrm>
              <a:off x="3893537" y="4330990"/>
              <a:ext cx="33" cy="2679"/>
            </a:xfrm>
            <a:custGeom>
              <a:avLst/>
              <a:gdLst/>
              <a:ahLst/>
              <a:cxnLst/>
              <a:rect l="l" t="t" r="r" b="b"/>
              <a:pathLst>
                <a:path w="1" h="82" extrusionOk="0">
                  <a:moveTo>
                    <a:pt x="1" y="82"/>
                  </a:moveTo>
                  <a:lnTo>
                    <a:pt x="1" y="82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1" name="Google Shape;4961;p52">
              <a:extLst>
                <a:ext uri="{FF2B5EF4-FFF2-40B4-BE49-F238E27FC236}">
                  <a16:creationId xmlns:a16="http://schemas.microsoft.com/office/drawing/2014/main" id="{776ED7DD-7B05-B5F1-3014-07013549FDDD}"/>
                </a:ext>
              </a:extLst>
            </p:cNvPr>
            <p:cNvSpPr/>
            <p:nvPr/>
          </p:nvSpPr>
          <p:spPr>
            <a:xfrm>
              <a:off x="3893537" y="4297864"/>
              <a:ext cx="33" cy="33158"/>
            </a:xfrm>
            <a:custGeom>
              <a:avLst/>
              <a:gdLst/>
              <a:ahLst/>
              <a:cxnLst/>
              <a:rect l="l" t="t" r="r" b="b"/>
              <a:pathLst>
                <a:path w="1" h="1015" extrusionOk="0">
                  <a:moveTo>
                    <a:pt x="1" y="1"/>
                  </a:moveTo>
                  <a:lnTo>
                    <a:pt x="1" y="1015"/>
                  </a:lnTo>
                  <a:lnTo>
                    <a:pt x="1" y="1015"/>
                  </a:lnTo>
                  <a:lnTo>
                    <a:pt x="1" y="101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2" name="Google Shape;4962;p52">
              <a:extLst>
                <a:ext uri="{FF2B5EF4-FFF2-40B4-BE49-F238E27FC236}">
                  <a16:creationId xmlns:a16="http://schemas.microsoft.com/office/drawing/2014/main" id="{A162D510-EF29-9A03-B104-9DCCD1C7E252}"/>
                </a:ext>
              </a:extLst>
            </p:cNvPr>
            <p:cNvSpPr/>
            <p:nvPr/>
          </p:nvSpPr>
          <p:spPr>
            <a:xfrm>
              <a:off x="3890891" y="4330990"/>
              <a:ext cx="2679" cy="2679"/>
            </a:xfrm>
            <a:custGeom>
              <a:avLst/>
              <a:gdLst/>
              <a:ahLst/>
              <a:cxnLst/>
              <a:rect l="l" t="t" r="r" b="b"/>
              <a:pathLst>
                <a:path w="82" h="82" extrusionOk="0">
                  <a:moveTo>
                    <a:pt x="1" y="1"/>
                  </a:moveTo>
                  <a:lnTo>
                    <a:pt x="1" y="82"/>
                  </a:lnTo>
                  <a:lnTo>
                    <a:pt x="82" y="82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3" name="Google Shape;4963;p52">
              <a:extLst>
                <a:ext uri="{FF2B5EF4-FFF2-40B4-BE49-F238E27FC236}">
                  <a16:creationId xmlns:a16="http://schemas.microsoft.com/office/drawing/2014/main" id="{45086DA3-C4B4-89E8-1574-09C601EC9464}"/>
                </a:ext>
              </a:extLst>
            </p:cNvPr>
            <p:cNvSpPr/>
            <p:nvPr/>
          </p:nvSpPr>
          <p:spPr>
            <a:xfrm>
              <a:off x="3890891" y="4297864"/>
              <a:ext cx="2679" cy="33158"/>
            </a:xfrm>
            <a:custGeom>
              <a:avLst/>
              <a:gdLst/>
              <a:ahLst/>
              <a:cxnLst/>
              <a:rect l="l" t="t" r="r" b="b"/>
              <a:pathLst>
                <a:path w="82" h="1015" extrusionOk="0">
                  <a:moveTo>
                    <a:pt x="1" y="1"/>
                  </a:moveTo>
                  <a:lnTo>
                    <a:pt x="1" y="1015"/>
                  </a:lnTo>
                  <a:lnTo>
                    <a:pt x="82" y="1015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4" name="Google Shape;4964;p52">
              <a:extLst>
                <a:ext uri="{FF2B5EF4-FFF2-40B4-BE49-F238E27FC236}">
                  <a16:creationId xmlns:a16="http://schemas.microsoft.com/office/drawing/2014/main" id="{8A0181F9-2B38-2262-9216-26119B67E66D}"/>
                </a:ext>
              </a:extLst>
            </p:cNvPr>
            <p:cNvSpPr/>
            <p:nvPr/>
          </p:nvSpPr>
          <p:spPr>
            <a:xfrm>
              <a:off x="3893537" y="4297439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5" name="Google Shape;4965;p52">
              <a:extLst>
                <a:ext uri="{FF2B5EF4-FFF2-40B4-BE49-F238E27FC236}">
                  <a16:creationId xmlns:a16="http://schemas.microsoft.com/office/drawing/2014/main" id="{32E7EC36-A9BE-1495-BEAB-03375E5470B3}"/>
                </a:ext>
              </a:extLst>
            </p:cNvPr>
            <p:cNvSpPr/>
            <p:nvPr/>
          </p:nvSpPr>
          <p:spPr>
            <a:xfrm>
              <a:off x="3893537" y="4296590"/>
              <a:ext cx="33" cy="882"/>
            </a:xfrm>
            <a:custGeom>
              <a:avLst/>
              <a:gdLst/>
              <a:ahLst/>
              <a:cxnLst/>
              <a:rect l="l" t="t" r="r" b="b"/>
              <a:pathLst>
                <a:path w="1" h="27" extrusionOk="0">
                  <a:moveTo>
                    <a:pt x="1" y="27"/>
                  </a:moveTo>
                  <a:lnTo>
                    <a:pt x="1" y="27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6" name="Google Shape;4966;p52">
              <a:extLst>
                <a:ext uri="{FF2B5EF4-FFF2-40B4-BE49-F238E27FC236}">
                  <a16:creationId xmlns:a16="http://schemas.microsoft.com/office/drawing/2014/main" id="{25887D86-B66B-E2DB-BD08-5651B6F60A0D}"/>
                </a:ext>
              </a:extLst>
            </p:cNvPr>
            <p:cNvSpPr/>
            <p:nvPr/>
          </p:nvSpPr>
          <p:spPr>
            <a:xfrm>
              <a:off x="3893537" y="4294793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7" name="Google Shape;4967;p52">
              <a:extLst>
                <a:ext uri="{FF2B5EF4-FFF2-40B4-BE49-F238E27FC236}">
                  <a16:creationId xmlns:a16="http://schemas.microsoft.com/office/drawing/2014/main" id="{7EA2F90A-BBDE-F951-6B45-F88B70C7E7F0}"/>
                </a:ext>
              </a:extLst>
            </p:cNvPr>
            <p:cNvSpPr/>
            <p:nvPr/>
          </p:nvSpPr>
          <p:spPr>
            <a:xfrm>
              <a:off x="3893537" y="4294793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8" name="Google Shape;4968;p52">
              <a:extLst>
                <a:ext uri="{FF2B5EF4-FFF2-40B4-BE49-F238E27FC236}">
                  <a16:creationId xmlns:a16="http://schemas.microsoft.com/office/drawing/2014/main" id="{E42B90B3-FB0D-382C-8FE5-7684061D0513}"/>
                </a:ext>
              </a:extLst>
            </p:cNvPr>
            <p:cNvSpPr/>
            <p:nvPr/>
          </p:nvSpPr>
          <p:spPr>
            <a:xfrm>
              <a:off x="3893537" y="4295218"/>
              <a:ext cx="33" cy="1405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1"/>
                  </a:moveTo>
                  <a:lnTo>
                    <a:pt x="1" y="30"/>
                  </a:lnTo>
                  <a:lnTo>
                    <a:pt x="1" y="43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9" name="Google Shape;4969;p52">
              <a:extLst>
                <a:ext uri="{FF2B5EF4-FFF2-40B4-BE49-F238E27FC236}">
                  <a16:creationId xmlns:a16="http://schemas.microsoft.com/office/drawing/2014/main" id="{1D641E3F-F209-9902-26AF-C70316AFE1E3}"/>
                </a:ext>
              </a:extLst>
            </p:cNvPr>
            <p:cNvSpPr/>
            <p:nvPr/>
          </p:nvSpPr>
          <p:spPr>
            <a:xfrm>
              <a:off x="3893537" y="4295218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14"/>
                  </a:moveTo>
                  <a:lnTo>
                    <a:pt x="1" y="3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0" name="Google Shape;4970;p52">
              <a:extLst>
                <a:ext uri="{FF2B5EF4-FFF2-40B4-BE49-F238E27FC236}">
                  <a16:creationId xmlns:a16="http://schemas.microsoft.com/office/drawing/2014/main" id="{81FC3955-55E0-5174-0D21-4BF62591BFB6}"/>
                </a:ext>
              </a:extLst>
            </p:cNvPr>
            <p:cNvSpPr/>
            <p:nvPr/>
          </p:nvSpPr>
          <p:spPr>
            <a:xfrm>
              <a:off x="3893537" y="4297439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"/>
                  </a:moveTo>
                  <a:lnTo>
                    <a:pt x="1" y="1"/>
                  </a:ln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1" name="Google Shape;4971;p52">
              <a:extLst>
                <a:ext uri="{FF2B5EF4-FFF2-40B4-BE49-F238E27FC236}">
                  <a16:creationId xmlns:a16="http://schemas.microsoft.com/office/drawing/2014/main" id="{6A1FFA33-311F-95E1-9921-6C953794E8B8}"/>
                </a:ext>
              </a:extLst>
            </p:cNvPr>
            <p:cNvSpPr/>
            <p:nvPr/>
          </p:nvSpPr>
          <p:spPr>
            <a:xfrm>
              <a:off x="3893537" y="4296165"/>
              <a:ext cx="33" cy="1307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1"/>
                  </a:moveTo>
                  <a:lnTo>
                    <a:pt x="1" y="40"/>
                  </a:lnTo>
                  <a:lnTo>
                    <a:pt x="1" y="40"/>
                  </a:lnTo>
                  <a:lnTo>
                    <a:pt x="1" y="14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2" name="Google Shape;4972;p52">
              <a:extLst>
                <a:ext uri="{FF2B5EF4-FFF2-40B4-BE49-F238E27FC236}">
                  <a16:creationId xmlns:a16="http://schemas.microsoft.com/office/drawing/2014/main" id="{93A1F92F-7E96-713A-B85F-44C4040A38BC}"/>
                </a:ext>
              </a:extLst>
            </p:cNvPr>
            <p:cNvSpPr/>
            <p:nvPr/>
          </p:nvSpPr>
          <p:spPr>
            <a:xfrm>
              <a:off x="3893537" y="4295643"/>
              <a:ext cx="33" cy="1829"/>
            </a:xfrm>
            <a:custGeom>
              <a:avLst/>
              <a:gdLst/>
              <a:ahLst/>
              <a:cxnLst/>
              <a:rect l="l" t="t" r="r" b="b"/>
              <a:pathLst>
                <a:path w="1" h="56" extrusionOk="0">
                  <a:moveTo>
                    <a:pt x="1" y="56"/>
                  </a:moveTo>
                  <a:lnTo>
                    <a:pt x="1" y="56"/>
                  </a:lnTo>
                  <a:lnTo>
                    <a:pt x="1" y="1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3" name="Google Shape;4973;p52">
              <a:extLst>
                <a:ext uri="{FF2B5EF4-FFF2-40B4-BE49-F238E27FC236}">
                  <a16:creationId xmlns:a16="http://schemas.microsoft.com/office/drawing/2014/main" id="{B160F9DE-8F87-A2F9-0DD3-5CC9177ACF3C}"/>
                </a:ext>
              </a:extLst>
            </p:cNvPr>
            <p:cNvSpPr/>
            <p:nvPr/>
          </p:nvSpPr>
          <p:spPr>
            <a:xfrm>
              <a:off x="3890891" y="4294793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4" name="Google Shape;4974;p52">
              <a:extLst>
                <a:ext uri="{FF2B5EF4-FFF2-40B4-BE49-F238E27FC236}">
                  <a16:creationId xmlns:a16="http://schemas.microsoft.com/office/drawing/2014/main" id="{CDD771C8-95AA-934F-D20E-A2E8611B3129}"/>
                </a:ext>
              </a:extLst>
            </p:cNvPr>
            <p:cNvSpPr/>
            <p:nvPr/>
          </p:nvSpPr>
          <p:spPr>
            <a:xfrm>
              <a:off x="3890891" y="4297439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5" name="Google Shape;4975;p52">
              <a:extLst>
                <a:ext uri="{FF2B5EF4-FFF2-40B4-BE49-F238E27FC236}">
                  <a16:creationId xmlns:a16="http://schemas.microsoft.com/office/drawing/2014/main" id="{AA42EFEB-56E1-814D-50BC-C3C878F5945B}"/>
                </a:ext>
              </a:extLst>
            </p:cNvPr>
            <p:cNvSpPr/>
            <p:nvPr/>
          </p:nvSpPr>
          <p:spPr>
            <a:xfrm>
              <a:off x="3890891" y="4295218"/>
              <a:ext cx="33" cy="2254"/>
            </a:xfrm>
            <a:custGeom>
              <a:avLst/>
              <a:gdLst/>
              <a:ahLst/>
              <a:cxnLst/>
              <a:rect l="l" t="t" r="r" b="b"/>
              <a:pathLst>
                <a:path w="1" h="69" extrusionOk="0">
                  <a:moveTo>
                    <a:pt x="1" y="69"/>
                  </a:moveTo>
                  <a:lnTo>
                    <a:pt x="1" y="69"/>
                  </a:lnTo>
                  <a:lnTo>
                    <a:pt x="1" y="3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6" name="Google Shape;4976;p52">
              <a:extLst>
                <a:ext uri="{FF2B5EF4-FFF2-40B4-BE49-F238E27FC236}">
                  <a16:creationId xmlns:a16="http://schemas.microsoft.com/office/drawing/2014/main" id="{1CD80037-0FD6-CB0B-6591-33A0A9DA9FF9}"/>
                </a:ext>
              </a:extLst>
            </p:cNvPr>
            <p:cNvSpPr/>
            <p:nvPr/>
          </p:nvSpPr>
          <p:spPr>
            <a:xfrm>
              <a:off x="3890891" y="4294793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7" name="Google Shape;4977;p52">
              <a:extLst>
                <a:ext uri="{FF2B5EF4-FFF2-40B4-BE49-F238E27FC236}">
                  <a16:creationId xmlns:a16="http://schemas.microsoft.com/office/drawing/2014/main" id="{9FA5E3B1-7C7E-7EA4-AEF4-2642AF256E4F}"/>
                </a:ext>
              </a:extLst>
            </p:cNvPr>
            <p:cNvSpPr/>
            <p:nvPr/>
          </p:nvSpPr>
          <p:spPr>
            <a:xfrm>
              <a:off x="3893112" y="4294793"/>
              <a:ext cx="457" cy="457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1" y="1"/>
                  </a:moveTo>
                  <a:lnTo>
                    <a:pt x="1" y="14"/>
                  </a:lnTo>
                  <a:lnTo>
                    <a:pt x="14" y="14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8" name="Google Shape;4978;p52">
              <a:extLst>
                <a:ext uri="{FF2B5EF4-FFF2-40B4-BE49-F238E27FC236}">
                  <a16:creationId xmlns:a16="http://schemas.microsoft.com/office/drawing/2014/main" id="{760D8FA0-0267-7E24-98E3-E576673C08D7}"/>
                </a:ext>
              </a:extLst>
            </p:cNvPr>
            <p:cNvSpPr/>
            <p:nvPr/>
          </p:nvSpPr>
          <p:spPr>
            <a:xfrm>
              <a:off x="3893112" y="4294793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9" name="Google Shape;4979;p52">
              <a:extLst>
                <a:ext uri="{FF2B5EF4-FFF2-40B4-BE49-F238E27FC236}">
                  <a16:creationId xmlns:a16="http://schemas.microsoft.com/office/drawing/2014/main" id="{6E11FE35-988D-F07F-DBAB-30E2EBD7D9DA}"/>
                </a:ext>
              </a:extLst>
            </p:cNvPr>
            <p:cNvSpPr/>
            <p:nvPr/>
          </p:nvSpPr>
          <p:spPr>
            <a:xfrm>
              <a:off x="3890891" y="4294793"/>
              <a:ext cx="2254" cy="457"/>
            </a:xfrm>
            <a:custGeom>
              <a:avLst/>
              <a:gdLst/>
              <a:ahLst/>
              <a:cxnLst/>
              <a:rect l="l" t="t" r="r" b="b"/>
              <a:pathLst>
                <a:path w="69" h="14" extrusionOk="0">
                  <a:moveTo>
                    <a:pt x="1" y="1"/>
                  </a:moveTo>
                  <a:lnTo>
                    <a:pt x="1" y="14"/>
                  </a:lnTo>
                  <a:lnTo>
                    <a:pt x="69" y="14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0" name="Google Shape;4980;p52">
              <a:extLst>
                <a:ext uri="{FF2B5EF4-FFF2-40B4-BE49-F238E27FC236}">
                  <a16:creationId xmlns:a16="http://schemas.microsoft.com/office/drawing/2014/main" id="{097039BF-EDF7-AF3B-E9D8-3A378959BDBE}"/>
                </a:ext>
              </a:extLst>
            </p:cNvPr>
            <p:cNvSpPr/>
            <p:nvPr/>
          </p:nvSpPr>
          <p:spPr>
            <a:xfrm>
              <a:off x="3893537" y="4295218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"/>
                  </a:moveTo>
                  <a:lnTo>
                    <a:pt x="1" y="14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1" name="Google Shape;4981;p52">
              <a:extLst>
                <a:ext uri="{FF2B5EF4-FFF2-40B4-BE49-F238E27FC236}">
                  <a16:creationId xmlns:a16="http://schemas.microsoft.com/office/drawing/2014/main" id="{84B9B7EA-31A9-B1AE-329B-EFCEB8833885}"/>
                </a:ext>
              </a:extLst>
            </p:cNvPr>
            <p:cNvSpPr/>
            <p:nvPr/>
          </p:nvSpPr>
          <p:spPr>
            <a:xfrm>
              <a:off x="3890891" y="4297439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2" name="Google Shape;4982;p52">
              <a:extLst>
                <a:ext uri="{FF2B5EF4-FFF2-40B4-BE49-F238E27FC236}">
                  <a16:creationId xmlns:a16="http://schemas.microsoft.com/office/drawing/2014/main" id="{E439C068-8CF3-15A2-3C37-F2BBC8750824}"/>
                </a:ext>
              </a:extLst>
            </p:cNvPr>
            <p:cNvSpPr/>
            <p:nvPr/>
          </p:nvSpPr>
          <p:spPr>
            <a:xfrm>
              <a:off x="3890891" y="4296165"/>
              <a:ext cx="33" cy="1307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40"/>
                  </a:moveTo>
                  <a:lnTo>
                    <a:pt x="1" y="4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3" name="Google Shape;4983;p52">
              <a:extLst>
                <a:ext uri="{FF2B5EF4-FFF2-40B4-BE49-F238E27FC236}">
                  <a16:creationId xmlns:a16="http://schemas.microsoft.com/office/drawing/2014/main" id="{9DD7C114-31FC-D56F-E713-1F77C1437C99}"/>
                </a:ext>
              </a:extLst>
            </p:cNvPr>
            <p:cNvSpPr/>
            <p:nvPr/>
          </p:nvSpPr>
          <p:spPr>
            <a:xfrm>
              <a:off x="3890891" y="4295218"/>
              <a:ext cx="33" cy="2254"/>
            </a:xfrm>
            <a:custGeom>
              <a:avLst/>
              <a:gdLst/>
              <a:ahLst/>
              <a:cxnLst/>
              <a:rect l="l" t="t" r="r" b="b"/>
              <a:pathLst>
                <a:path w="1" h="69" extrusionOk="0">
                  <a:moveTo>
                    <a:pt x="1" y="30"/>
                  </a:moveTo>
                  <a:lnTo>
                    <a:pt x="1" y="69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4" name="Google Shape;4984;p52">
              <a:extLst>
                <a:ext uri="{FF2B5EF4-FFF2-40B4-BE49-F238E27FC236}">
                  <a16:creationId xmlns:a16="http://schemas.microsoft.com/office/drawing/2014/main" id="{BDE36D7E-009E-7B03-A877-4919A9FD9DF6}"/>
                </a:ext>
              </a:extLst>
            </p:cNvPr>
            <p:cNvSpPr/>
            <p:nvPr/>
          </p:nvSpPr>
          <p:spPr>
            <a:xfrm>
              <a:off x="3893537" y="4297439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5" name="Google Shape;4985;p52">
              <a:extLst>
                <a:ext uri="{FF2B5EF4-FFF2-40B4-BE49-F238E27FC236}">
                  <a16:creationId xmlns:a16="http://schemas.microsoft.com/office/drawing/2014/main" id="{D0AA4BF6-8D24-F878-E0F6-402DC934378E}"/>
                </a:ext>
              </a:extLst>
            </p:cNvPr>
            <p:cNvSpPr/>
            <p:nvPr/>
          </p:nvSpPr>
          <p:spPr>
            <a:xfrm>
              <a:off x="3893112" y="4295218"/>
              <a:ext cx="457" cy="1405"/>
            </a:xfrm>
            <a:custGeom>
              <a:avLst/>
              <a:gdLst/>
              <a:ahLst/>
              <a:cxnLst/>
              <a:rect l="l" t="t" r="r" b="b"/>
              <a:pathLst>
                <a:path w="14" h="43" extrusionOk="0">
                  <a:moveTo>
                    <a:pt x="1" y="1"/>
                  </a:moveTo>
                  <a:lnTo>
                    <a:pt x="1" y="14"/>
                  </a:lnTo>
                  <a:lnTo>
                    <a:pt x="14" y="43"/>
                  </a:lnTo>
                  <a:lnTo>
                    <a:pt x="14" y="14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6" name="Google Shape;4986;p52">
              <a:extLst>
                <a:ext uri="{FF2B5EF4-FFF2-40B4-BE49-F238E27FC236}">
                  <a16:creationId xmlns:a16="http://schemas.microsoft.com/office/drawing/2014/main" id="{91F5633E-582E-BCFC-3E82-A50FB3C90333}"/>
                </a:ext>
              </a:extLst>
            </p:cNvPr>
            <p:cNvSpPr/>
            <p:nvPr/>
          </p:nvSpPr>
          <p:spPr>
            <a:xfrm>
              <a:off x="3893537" y="4297439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7" name="Google Shape;4987;p52">
              <a:extLst>
                <a:ext uri="{FF2B5EF4-FFF2-40B4-BE49-F238E27FC236}">
                  <a16:creationId xmlns:a16="http://schemas.microsoft.com/office/drawing/2014/main" id="{D48F0DBF-026E-F863-6339-F575E5FB99C2}"/>
                </a:ext>
              </a:extLst>
            </p:cNvPr>
            <p:cNvSpPr/>
            <p:nvPr/>
          </p:nvSpPr>
          <p:spPr>
            <a:xfrm>
              <a:off x="3893112" y="4295643"/>
              <a:ext cx="457" cy="1829"/>
            </a:xfrm>
            <a:custGeom>
              <a:avLst/>
              <a:gdLst/>
              <a:ahLst/>
              <a:cxnLst/>
              <a:rect l="l" t="t" r="r" b="b"/>
              <a:pathLst>
                <a:path w="14" h="56" extrusionOk="0">
                  <a:moveTo>
                    <a:pt x="1" y="1"/>
                  </a:moveTo>
                  <a:lnTo>
                    <a:pt x="14" y="56"/>
                  </a:lnTo>
                  <a:lnTo>
                    <a:pt x="14" y="3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8" name="Google Shape;4988;p52">
              <a:extLst>
                <a:ext uri="{FF2B5EF4-FFF2-40B4-BE49-F238E27FC236}">
                  <a16:creationId xmlns:a16="http://schemas.microsoft.com/office/drawing/2014/main" id="{629EABA5-D365-1983-C361-E805D434D5E5}"/>
                </a:ext>
              </a:extLst>
            </p:cNvPr>
            <p:cNvSpPr/>
            <p:nvPr/>
          </p:nvSpPr>
          <p:spPr>
            <a:xfrm>
              <a:off x="3893112" y="4295218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"/>
                  </a:moveTo>
                  <a:lnTo>
                    <a:pt x="1" y="14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9" name="Google Shape;4989;p52">
              <a:extLst>
                <a:ext uri="{FF2B5EF4-FFF2-40B4-BE49-F238E27FC236}">
                  <a16:creationId xmlns:a16="http://schemas.microsoft.com/office/drawing/2014/main" id="{6E50AC84-3104-5B5F-1951-882CF2588673}"/>
                </a:ext>
              </a:extLst>
            </p:cNvPr>
            <p:cNvSpPr/>
            <p:nvPr/>
          </p:nvSpPr>
          <p:spPr>
            <a:xfrm>
              <a:off x="3893112" y="4297439"/>
              <a:ext cx="457" cy="457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1" y="1"/>
                  </a:moveTo>
                  <a:lnTo>
                    <a:pt x="1" y="14"/>
                  </a:lnTo>
                  <a:lnTo>
                    <a:pt x="14" y="14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0" name="Google Shape;4990;p52">
              <a:extLst>
                <a:ext uri="{FF2B5EF4-FFF2-40B4-BE49-F238E27FC236}">
                  <a16:creationId xmlns:a16="http://schemas.microsoft.com/office/drawing/2014/main" id="{8987777A-D98B-491B-BCD5-4EF4348298AC}"/>
                </a:ext>
              </a:extLst>
            </p:cNvPr>
            <p:cNvSpPr/>
            <p:nvPr/>
          </p:nvSpPr>
          <p:spPr>
            <a:xfrm>
              <a:off x="3893112" y="4295643"/>
              <a:ext cx="457" cy="1829"/>
            </a:xfrm>
            <a:custGeom>
              <a:avLst/>
              <a:gdLst/>
              <a:ahLst/>
              <a:cxnLst/>
              <a:rect l="l" t="t" r="r" b="b"/>
              <a:pathLst>
                <a:path w="14" h="56" extrusionOk="0">
                  <a:moveTo>
                    <a:pt x="1" y="1"/>
                  </a:moveTo>
                  <a:lnTo>
                    <a:pt x="1" y="56"/>
                  </a:lnTo>
                  <a:lnTo>
                    <a:pt x="14" y="56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1" name="Google Shape;4991;p52">
              <a:extLst>
                <a:ext uri="{FF2B5EF4-FFF2-40B4-BE49-F238E27FC236}">
                  <a16:creationId xmlns:a16="http://schemas.microsoft.com/office/drawing/2014/main" id="{39C2689E-A77F-0E6E-CF72-1BBE45CAB555}"/>
                </a:ext>
              </a:extLst>
            </p:cNvPr>
            <p:cNvSpPr/>
            <p:nvPr/>
          </p:nvSpPr>
          <p:spPr>
            <a:xfrm>
              <a:off x="3890891" y="4297439"/>
              <a:ext cx="2254" cy="457"/>
            </a:xfrm>
            <a:custGeom>
              <a:avLst/>
              <a:gdLst/>
              <a:ahLst/>
              <a:cxnLst/>
              <a:rect l="l" t="t" r="r" b="b"/>
              <a:pathLst>
                <a:path w="69" h="14" extrusionOk="0">
                  <a:moveTo>
                    <a:pt x="1" y="1"/>
                  </a:moveTo>
                  <a:lnTo>
                    <a:pt x="1" y="14"/>
                  </a:lnTo>
                  <a:lnTo>
                    <a:pt x="69" y="14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2" name="Google Shape;4992;p52">
              <a:extLst>
                <a:ext uri="{FF2B5EF4-FFF2-40B4-BE49-F238E27FC236}">
                  <a16:creationId xmlns:a16="http://schemas.microsoft.com/office/drawing/2014/main" id="{9F857D9C-3293-86CD-1141-60C157A9809F}"/>
                </a:ext>
              </a:extLst>
            </p:cNvPr>
            <p:cNvSpPr/>
            <p:nvPr/>
          </p:nvSpPr>
          <p:spPr>
            <a:xfrm>
              <a:off x="3890891" y="4295218"/>
              <a:ext cx="2254" cy="2254"/>
            </a:xfrm>
            <a:custGeom>
              <a:avLst/>
              <a:gdLst/>
              <a:ahLst/>
              <a:cxnLst/>
              <a:rect l="l" t="t" r="r" b="b"/>
              <a:pathLst>
                <a:path w="69" h="69" extrusionOk="0">
                  <a:moveTo>
                    <a:pt x="1" y="1"/>
                  </a:moveTo>
                  <a:lnTo>
                    <a:pt x="1" y="69"/>
                  </a:lnTo>
                  <a:lnTo>
                    <a:pt x="69" y="69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3" name="Google Shape;4993;p52">
              <a:extLst>
                <a:ext uri="{FF2B5EF4-FFF2-40B4-BE49-F238E27FC236}">
                  <a16:creationId xmlns:a16="http://schemas.microsoft.com/office/drawing/2014/main" id="{7BEAB97E-DF0F-DADC-2A54-B86AC09F08D6}"/>
                </a:ext>
              </a:extLst>
            </p:cNvPr>
            <p:cNvSpPr/>
            <p:nvPr/>
          </p:nvSpPr>
          <p:spPr>
            <a:xfrm>
              <a:off x="3852473" y="4221126"/>
              <a:ext cx="79415" cy="113389"/>
            </a:xfrm>
            <a:custGeom>
              <a:avLst/>
              <a:gdLst/>
              <a:ahLst/>
              <a:cxnLst/>
              <a:rect l="l" t="t" r="r" b="b"/>
              <a:pathLst>
                <a:path w="2431" h="3471" extrusionOk="0">
                  <a:moveTo>
                    <a:pt x="1216" y="111"/>
                  </a:moveTo>
                  <a:cubicBezTo>
                    <a:pt x="1825" y="111"/>
                    <a:pt x="2324" y="610"/>
                    <a:pt x="2324" y="1216"/>
                  </a:cubicBezTo>
                  <a:lnTo>
                    <a:pt x="2324" y="3364"/>
                  </a:lnTo>
                  <a:lnTo>
                    <a:pt x="111" y="3364"/>
                  </a:lnTo>
                  <a:lnTo>
                    <a:pt x="111" y="1216"/>
                  </a:lnTo>
                  <a:cubicBezTo>
                    <a:pt x="111" y="610"/>
                    <a:pt x="597" y="111"/>
                    <a:pt x="1216" y="111"/>
                  </a:cubicBezTo>
                  <a:close/>
                  <a:moveTo>
                    <a:pt x="1216" y="1"/>
                  </a:moveTo>
                  <a:cubicBezTo>
                    <a:pt x="542" y="1"/>
                    <a:pt x="1" y="542"/>
                    <a:pt x="1" y="1216"/>
                  </a:cubicBezTo>
                  <a:lnTo>
                    <a:pt x="1" y="3471"/>
                  </a:lnTo>
                  <a:lnTo>
                    <a:pt x="2431" y="3471"/>
                  </a:lnTo>
                  <a:lnTo>
                    <a:pt x="2431" y="1216"/>
                  </a:lnTo>
                  <a:cubicBezTo>
                    <a:pt x="2431" y="542"/>
                    <a:pt x="1880" y="1"/>
                    <a:pt x="1216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4" name="Google Shape;4994;p52">
              <a:extLst>
                <a:ext uri="{FF2B5EF4-FFF2-40B4-BE49-F238E27FC236}">
                  <a16:creationId xmlns:a16="http://schemas.microsoft.com/office/drawing/2014/main" id="{F4E5B42C-B183-FAC9-8725-88D507EDC58F}"/>
                </a:ext>
              </a:extLst>
            </p:cNvPr>
            <p:cNvSpPr/>
            <p:nvPr/>
          </p:nvSpPr>
          <p:spPr>
            <a:xfrm>
              <a:off x="3720689" y="4003718"/>
              <a:ext cx="343074" cy="144717"/>
            </a:xfrm>
            <a:custGeom>
              <a:avLst/>
              <a:gdLst/>
              <a:ahLst/>
              <a:cxnLst/>
              <a:rect l="l" t="t" r="r" b="b"/>
              <a:pathLst>
                <a:path w="10502" h="4430" extrusionOk="0">
                  <a:moveTo>
                    <a:pt x="5224" y="1"/>
                  </a:moveTo>
                  <a:lnTo>
                    <a:pt x="4589" y="542"/>
                  </a:lnTo>
                  <a:lnTo>
                    <a:pt x="1" y="4401"/>
                  </a:lnTo>
                  <a:lnTo>
                    <a:pt x="1187" y="4430"/>
                  </a:lnTo>
                  <a:lnTo>
                    <a:pt x="5250" y="1080"/>
                  </a:lnTo>
                  <a:lnTo>
                    <a:pt x="9316" y="4430"/>
                  </a:lnTo>
                  <a:lnTo>
                    <a:pt x="10502" y="4401"/>
                  </a:lnTo>
                  <a:lnTo>
                    <a:pt x="5914" y="542"/>
                  </a:lnTo>
                  <a:lnTo>
                    <a:pt x="5266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5" name="Google Shape;4995;p52">
              <a:extLst>
                <a:ext uri="{FF2B5EF4-FFF2-40B4-BE49-F238E27FC236}">
                  <a16:creationId xmlns:a16="http://schemas.microsoft.com/office/drawing/2014/main" id="{2C180C5D-EE24-A26F-F907-DDA5938474D8}"/>
                </a:ext>
              </a:extLst>
            </p:cNvPr>
            <p:cNvSpPr/>
            <p:nvPr/>
          </p:nvSpPr>
          <p:spPr>
            <a:xfrm>
              <a:off x="3546468" y="3808328"/>
              <a:ext cx="274276" cy="470608"/>
            </a:xfrm>
            <a:custGeom>
              <a:avLst/>
              <a:gdLst/>
              <a:ahLst/>
              <a:cxnLst/>
              <a:rect l="l" t="t" r="r" b="b"/>
              <a:pathLst>
                <a:path w="8396" h="14406" extrusionOk="0">
                  <a:moveTo>
                    <a:pt x="4145" y="150"/>
                  </a:moveTo>
                  <a:cubicBezTo>
                    <a:pt x="2431" y="1"/>
                    <a:pt x="1511" y="4498"/>
                    <a:pt x="879" y="7158"/>
                  </a:cubicBezTo>
                  <a:cubicBezTo>
                    <a:pt x="1" y="10910"/>
                    <a:pt x="27" y="14406"/>
                    <a:pt x="3429" y="14312"/>
                  </a:cubicBezTo>
                  <a:cubicBezTo>
                    <a:pt x="5522" y="14244"/>
                    <a:pt x="8396" y="14299"/>
                    <a:pt x="6912" y="7385"/>
                  </a:cubicBezTo>
                  <a:cubicBezTo>
                    <a:pt x="6290" y="4456"/>
                    <a:pt x="5927" y="312"/>
                    <a:pt x="4145" y="15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6" name="Google Shape;4996;p52">
              <a:extLst>
                <a:ext uri="{FF2B5EF4-FFF2-40B4-BE49-F238E27FC236}">
                  <a16:creationId xmlns:a16="http://schemas.microsoft.com/office/drawing/2014/main" id="{C7137F51-83DB-359D-C68D-54A12D288EBE}"/>
                </a:ext>
              </a:extLst>
            </p:cNvPr>
            <p:cNvSpPr/>
            <p:nvPr/>
          </p:nvSpPr>
          <p:spPr>
            <a:xfrm>
              <a:off x="3669040" y="4171797"/>
              <a:ext cx="6174" cy="25971"/>
            </a:xfrm>
            <a:custGeom>
              <a:avLst/>
              <a:gdLst/>
              <a:ahLst/>
              <a:cxnLst/>
              <a:rect l="l" t="t" r="r" b="b"/>
              <a:pathLst>
                <a:path w="189" h="795" extrusionOk="0">
                  <a:moveTo>
                    <a:pt x="124" y="108"/>
                  </a:moveTo>
                  <a:lnTo>
                    <a:pt x="176" y="202"/>
                  </a:lnTo>
                  <a:cubicBezTo>
                    <a:pt x="189" y="688"/>
                    <a:pt x="189" y="539"/>
                    <a:pt x="163" y="688"/>
                  </a:cubicBezTo>
                  <a:lnTo>
                    <a:pt x="82" y="795"/>
                  </a:lnTo>
                  <a:lnTo>
                    <a:pt x="1" y="581"/>
                  </a:lnTo>
                  <a:cubicBezTo>
                    <a:pt x="14" y="1"/>
                    <a:pt x="95" y="82"/>
                    <a:pt x="124" y="10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7" name="Google Shape;4997;p52">
              <a:extLst>
                <a:ext uri="{FF2B5EF4-FFF2-40B4-BE49-F238E27FC236}">
                  <a16:creationId xmlns:a16="http://schemas.microsoft.com/office/drawing/2014/main" id="{0A0B9CFE-A5A2-A0F4-DA0E-AD9496F8ACD1}"/>
                </a:ext>
              </a:extLst>
            </p:cNvPr>
            <p:cNvSpPr/>
            <p:nvPr/>
          </p:nvSpPr>
          <p:spPr>
            <a:xfrm>
              <a:off x="3708732" y="4167778"/>
              <a:ext cx="8396" cy="27865"/>
            </a:xfrm>
            <a:custGeom>
              <a:avLst/>
              <a:gdLst/>
              <a:ahLst/>
              <a:cxnLst/>
              <a:rect l="l" t="t" r="r" b="b"/>
              <a:pathLst>
                <a:path w="257" h="853" extrusionOk="0">
                  <a:moveTo>
                    <a:pt x="189" y="1"/>
                  </a:moveTo>
                  <a:lnTo>
                    <a:pt x="257" y="82"/>
                  </a:lnTo>
                  <a:cubicBezTo>
                    <a:pt x="244" y="205"/>
                    <a:pt x="244" y="351"/>
                    <a:pt x="244" y="351"/>
                  </a:cubicBezTo>
                  <a:cubicBezTo>
                    <a:pt x="231" y="500"/>
                    <a:pt x="205" y="675"/>
                    <a:pt x="205" y="675"/>
                  </a:cubicBezTo>
                  <a:cubicBezTo>
                    <a:pt x="189" y="730"/>
                    <a:pt x="150" y="798"/>
                    <a:pt x="150" y="798"/>
                  </a:cubicBezTo>
                  <a:lnTo>
                    <a:pt x="82" y="853"/>
                  </a:lnTo>
                  <a:lnTo>
                    <a:pt x="43" y="756"/>
                  </a:lnTo>
                  <a:cubicBezTo>
                    <a:pt x="1" y="542"/>
                    <a:pt x="56" y="351"/>
                    <a:pt x="82" y="95"/>
                  </a:cubicBezTo>
                  <a:lnTo>
                    <a:pt x="16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8" name="Google Shape;4998;p52">
              <a:extLst>
                <a:ext uri="{FF2B5EF4-FFF2-40B4-BE49-F238E27FC236}">
                  <a16:creationId xmlns:a16="http://schemas.microsoft.com/office/drawing/2014/main" id="{F46F17C4-131E-D127-8EDC-4F6F609365E6}"/>
                </a:ext>
              </a:extLst>
            </p:cNvPr>
            <p:cNvSpPr/>
            <p:nvPr/>
          </p:nvSpPr>
          <p:spPr>
            <a:xfrm>
              <a:off x="3614843" y="4165132"/>
              <a:ext cx="3953" cy="19927"/>
            </a:xfrm>
            <a:custGeom>
              <a:avLst/>
              <a:gdLst/>
              <a:ahLst/>
              <a:cxnLst/>
              <a:rect l="l" t="t" r="r" b="b"/>
              <a:pathLst>
                <a:path w="121" h="610" extrusionOk="0">
                  <a:moveTo>
                    <a:pt x="95" y="43"/>
                  </a:moveTo>
                  <a:lnTo>
                    <a:pt x="121" y="176"/>
                  </a:lnTo>
                  <a:lnTo>
                    <a:pt x="121" y="393"/>
                  </a:lnTo>
                  <a:cubicBezTo>
                    <a:pt x="121" y="461"/>
                    <a:pt x="108" y="555"/>
                    <a:pt x="108" y="555"/>
                  </a:cubicBezTo>
                  <a:lnTo>
                    <a:pt x="53" y="610"/>
                  </a:lnTo>
                  <a:lnTo>
                    <a:pt x="1" y="555"/>
                  </a:lnTo>
                  <a:cubicBezTo>
                    <a:pt x="14" y="69"/>
                    <a:pt x="1" y="189"/>
                    <a:pt x="53" y="69"/>
                  </a:cubicBezTo>
                  <a:cubicBezTo>
                    <a:pt x="53" y="69"/>
                    <a:pt x="66" y="1"/>
                    <a:pt x="95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9" name="Google Shape;4999;p52">
              <a:extLst>
                <a:ext uri="{FF2B5EF4-FFF2-40B4-BE49-F238E27FC236}">
                  <a16:creationId xmlns:a16="http://schemas.microsoft.com/office/drawing/2014/main" id="{89C92EAC-A016-0D42-592F-33DD99C8D5B8}"/>
                </a:ext>
              </a:extLst>
            </p:cNvPr>
            <p:cNvSpPr/>
            <p:nvPr/>
          </p:nvSpPr>
          <p:spPr>
            <a:xfrm>
              <a:off x="3570284" y="4159840"/>
              <a:ext cx="6174" cy="24697"/>
            </a:xfrm>
            <a:custGeom>
              <a:avLst/>
              <a:gdLst/>
              <a:ahLst/>
              <a:cxnLst/>
              <a:rect l="l" t="t" r="r" b="b"/>
              <a:pathLst>
                <a:path w="189" h="756" extrusionOk="0">
                  <a:moveTo>
                    <a:pt x="95" y="43"/>
                  </a:moveTo>
                  <a:lnTo>
                    <a:pt x="150" y="150"/>
                  </a:lnTo>
                  <a:cubicBezTo>
                    <a:pt x="150" y="325"/>
                    <a:pt x="163" y="500"/>
                    <a:pt x="189" y="675"/>
                  </a:cubicBezTo>
                  <a:lnTo>
                    <a:pt x="150" y="756"/>
                  </a:lnTo>
                  <a:cubicBezTo>
                    <a:pt x="150" y="756"/>
                    <a:pt x="95" y="717"/>
                    <a:pt x="82" y="704"/>
                  </a:cubicBezTo>
                  <a:cubicBezTo>
                    <a:pt x="1" y="432"/>
                    <a:pt x="1" y="176"/>
                    <a:pt x="1" y="150"/>
                  </a:cubicBezTo>
                  <a:cubicBezTo>
                    <a:pt x="14" y="108"/>
                    <a:pt x="1" y="137"/>
                    <a:pt x="40" y="82"/>
                  </a:cubicBezTo>
                  <a:cubicBezTo>
                    <a:pt x="40" y="82"/>
                    <a:pt x="53" y="1"/>
                    <a:pt x="95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0" name="Google Shape;5000;p52">
              <a:extLst>
                <a:ext uri="{FF2B5EF4-FFF2-40B4-BE49-F238E27FC236}">
                  <a16:creationId xmlns:a16="http://schemas.microsoft.com/office/drawing/2014/main" id="{7D41DF31-7107-F7CD-7925-B690996AAB57}"/>
                </a:ext>
              </a:extLst>
            </p:cNvPr>
            <p:cNvSpPr/>
            <p:nvPr/>
          </p:nvSpPr>
          <p:spPr>
            <a:xfrm>
              <a:off x="3643951" y="4139096"/>
              <a:ext cx="6174" cy="19927"/>
            </a:xfrm>
            <a:custGeom>
              <a:avLst/>
              <a:gdLst/>
              <a:ahLst/>
              <a:cxnLst/>
              <a:rect l="l" t="t" r="r" b="b"/>
              <a:pathLst>
                <a:path w="189" h="610" extrusionOk="0">
                  <a:moveTo>
                    <a:pt x="82" y="14"/>
                  </a:moveTo>
                  <a:lnTo>
                    <a:pt x="163" y="14"/>
                  </a:lnTo>
                  <a:lnTo>
                    <a:pt x="189" y="205"/>
                  </a:lnTo>
                  <a:cubicBezTo>
                    <a:pt x="163" y="448"/>
                    <a:pt x="134" y="487"/>
                    <a:pt x="134" y="487"/>
                  </a:cubicBezTo>
                  <a:lnTo>
                    <a:pt x="66" y="610"/>
                  </a:lnTo>
                  <a:lnTo>
                    <a:pt x="1" y="367"/>
                  </a:lnTo>
                  <a:cubicBezTo>
                    <a:pt x="14" y="231"/>
                    <a:pt x="27" y="30"/>
                    <a:pt x="27" y="30"/>
                  </a:cubicBezTo>
                  <a:cubicBezTo>
                    <a:pt x="27" y="30"/>
                    <a:pt x="53" y="1"/>
                    <a:pt x="82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1" name="Google Shape;5001;p52">
              <a:extLst>
                <a:ext uri="{FF2B5EF4-FFF2-40B4-BE49-F238E27FC236}">
                  <a16:creationId xmlns:a16="http://schemas.microsoft.com/office/drawing/2014/main" id="{CCA04421-D771-0ADF-9936-020E63BB62E8}"/>
                </a:ext>
              </a:extLst>
            </p:cNvPr>
            <p:cNvSpPr/>
            <p:nvPr/>
          </p:nvSpPr>
          <p:spPr>
            <a:xfrm>
              <a:off x="3685766" y="4134228"/>
              <a:ext cx="6272" cy="19502"/>
            </a:xfrm>
            <a:custGeom>
              <a:avLst/>
              <a:gdLst/>
              <a:ahLst/>
              <a:cxnLst/>
              <a:rect l="l" t="t" r="r" b="b"/>
              <a:pathLst>
                <a:path w="192" h="597" extrusionOk="0">
                  <a:moveTo>
                    <a:pt x="124" y="1"/>
                  </a:moveTo>
                  <a:lnTo>
                    <a:pt x="192" y="69"/>
                  </a:lnTo>
                  <a:cubicBezTo>
                    <a:pt x="192" y="286"/>
                    <a:pt x="150" y="542"/>
                    <a:pt x="150" y="542"/>
                  </a:cubicBezTo>
                  <a:lnTo>
                    <a:pt x="82" y="597"/>
                  </a:lnTo>
                  <a:lnTo>
                    <a:pt x="30" y="529"/>
                  </a:lnTo>
                  <a:cubicBezTo>
                    <a:pt x="1" y="487"/>
                    <a:pt x="1" y="474"/>
                    <a:pt x="1" y="474"/>
                  </a:cubicBezTo>
                  <a:cubicBezTo>
                    <a:pt x="30" y="273"/>
                    <a:pt x="69" y="30"/>
                    <a:pt x="69" y="30"/>
                  </a:cubicBezTo>
                  <a:cubicBezTo>
                    <a:pt x="69" y="30"/>
                    <a:pt x="98" y="1"/>
                    <a:pt x="12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2" name="Google Shape;5002;p52">
              <a:extLst>
                <a:ext uri="{FF2B5EF4-FFF2-40B4-BE49-F238E27FC236}">
                  <a16:creationId xmlns:a16="http://schemas.microsoft.com/office/drawing/2014/main" id="{07B734FD-22C6-3BBB-97DD-30F37E247F69}"/>
                </a:ext>
              </a:extLst>
            </p:cNvPr>
            <p:cNvSpPr/>
            <p:nvPr/>
          </p:nvSpPr>
          <p:spPr>
            <a:xfrm>
              <a:off x="3585736" y="4132529"/>
              <a:ext cx="5325" cy="21201"/>
            </a:xfrm>
            <a:custGeom>
              <a:avLst/>
              <a:gdLst/>
              <a:ahLst/>
              <a:cxnLst/>
              <a:rect l="l" t="t" r="r" b="b"/>
              <a:pathLst>
                <a:path w="163" h="649" extrusionOk="0">
                  <a:moveTo>
                    <a:pt x="121" y="1"/>
                  </a:moveTo>
                  <a:lnTo>
                    <a:pt x="163" y="95"/>
                  </a:lnTo>
                  <a:lnTo>
                    <a:pt x="163" y="189"/>
                  </a:lnTo>
                  <a:cubicBezTo>
                    <a:pt x="163" y="244"/>
                    <a:pt x="163" y="296"/>
                    <a:pt x="147" y="338"/>
                  </a:cubicBezTo>
                  <a:cubicBezTo>
                    <a:pt x="147" y="445"/>
                    <a:pt x="121" y="526"/>
                    <a:pt x="108" y="607"/>
                  </a:cubicBezTo>
                  <a:lnTo>
                    <a:pt x="53" y="649"/>
                  </a:lnTo>
                  <a:lnTo>
                    <a:pt x="1" y="458"/>
                  </a:lnTo>
                  <a:cubicBezTo>
                    <a:pt x="14" y="364"/>
                    <a:pt x="27" y="244"/>
                    <a:pt x="27" y="244"/>
                  </a:cubicBezTo>
                  <a:lnTo>
                    <a:pt x="27" y="150"/>
                  </a:lnTo>
                  <a:cubicBezTo>
                    <a:pt x="40" y="27"/>
                    <a:pt x="53" y="27"/>
                    <a:pt x="53" y="27"/>
                  </a:cubicBezTo>
                  <a:cubicBezTo>
                    <a:pt x="53" y="27"/>
                    <a:pt x="82" y="1"/>
                    <a:pt x="12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3" name="Google Shape;5003;p52">
              <a:extLst>
                <a:ext uri="{FF2B5EF4-FFF2-40B4-BE49-F238E27FC236}">
                  <a16:creationId xmlns:a16="http://schemas.microsoft.com/office/drawing/2014/main" id="{2D22492F-C895-D19B-5FBA-FEDF70D83F55}"/>
                </a:ext>
              </a:extLst>
            </p:cNvPr>
            <p:cNvSpPr/>
            <p:nvPr/>
          </p:nvSpPr>
          <p:spPr>
            <a:xfrm>
              <a:off x="3711803" y="4118874"/>
              <a:ext cx="6697" cy="25121"/>
            </a:xfrm>
            <a:custGeom>
              <a:avLst/>
              <a:gdLst/>
              <a:ahLst/>
              <a:cxnLst/>
              <a:rect l="l" t="t" r="r" b="b"/>
              <a:pathLst>
                <a:path w="205" h="769" extrusionOk="0">
                  <a:moveTo>
                    <a:pt x="137" y="40"/>
                  </a:moveTo>
                  <a:cubicBezTo>
                    <a:pt x="137" y="40"/>
                    <a:pt x="205" y="163"/>
                    <a:pt x="205" y="338"/>
                  </a:cubicBezTo>
                  <a:lnTo>
                    <a:pt x="192" y="487"/>
                  </a:lnTo>
                  <a:cubicBezTo>
                    <a:pt x="192" y="581"/>
                    <a:pt x="163" y="675"/>
                    <a:pt x="82" y="769"/>
                  </a:cubicBezTo>
                  <a:lnTo>
                    <a:pt x="43" y="701"/>
                  </a:lnTo>
                  <a:cubicBezTo>
                    <a:pt x="1" y="552"/>
                    <a:pt x="1" y="688"/>
                    <a:pt x="14" y="487"/>
                  </a:cubicBezTo>
                  <a:cubicBezTo>
                    <a:pt x="14" y="487"/>
                    <a:pt x="30" y="257"/>
                    <a:pt x="56" y="95"/>
                  </a:cubicBezTo>
                  <a:cubicBezTo>
                    <a:pt x="56" y="95"/>
                    <a:pt x="111" y="1"/>
                    <a:pt x="137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4" name="Google Shape;5004;p52">
              <a:extLst>
                <a:ext uri="{FF2B5EF4-FFF2-40B4-BE49-F238E27FC236}">
                  <a16:creationId xmlns:a16="http://schemas.microsoft.com/office/drawing/2014/main" id="{9A25AA55-9333-7A07-EF79-E85D928FC38B}"/>
                </a:ext>
              </a:extLst>
            </p:cNvPr>
            <p:cNvSpPr/>
            <p:nvPr/>
          </p:nvSpPr>
          <p:spPr>
            <a:xfrm>
              <a:off x="3614321" y="4108714"/>
              <a:ext cx="7971" cy="28715"/>
            </a:xfrm>
            <a:custGeom>
              <a:avLst/>
              <a:gdLst/>
              <a:ahLst/>
              <a:cxnLst/>
              <a:rect l="l" t="t" r="r" b="b"/>
              <a:pathLst>
                <a:path w="244" h="879" extrusionOk="0">
                  <a:moveTo>
                    <a:pt x="179" y="53"/>
                  </a:moveTo>
                  <a:cubicBezTo>
                    <a:pt x="244" y="82"/>
                    <a:pt x="218" y="121"/>
                    <a:pt x="218" y="121"/>
                  </a:cubicBezTo>
                  <a:cubicBezTo>
                    <a:pt x="218" y="150"/>
                    <a:pt x="205" y="189"/>
                    <a:pt x="205" y="215"/>
                  </a:cubicBezTo>
                  <a:cubicBezTo>
                    <a:pt x="192" y="377"/>
                    <a:pt x="163" y="620"/>
                    <a:pt x="163" y="620"/>
                  </a:cubicBezTo>
                  <a:cubicBezTo>
                    <a:pt x="69" y="879"/>
                    <a:pt x="1" y="688"/>
                    <a:pt x="1" y="688"/>
                  </a:cubicBezTo>
                  <a:cubicBezTo>
                    <a:pt x="1" y="568"/>
                    <a:pt x="43" y="364"/>
                    <a:pt x="43" y="364"/>
                  </a:cubicBezTo>
                  <a:cubicBezTo>
                    <a:pt x="69" y="257"/>
                    <a:pt x="98" y="95"/>
                    <a:pt x="98" y="95"/>
                  </a:cubicBezTo>
                  <a:cubicBezTo>
                    <a:pt x="150" y="1"/>
                    <a:pt x="111" y="40"/>
                    <a:pt x="179" y="5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5" name="Google Shape;5005;p52">
              <a:extLst>
                <a:ext uri="{FF2B5EF4-FFF2-40B4-BE49-F238E27FC236}">
                  <a16:creationId xmlns:a16="http://schemas.microsoft.com/office/drawing/2014/main" id="{574C99F4-D72F-B254-3F89-3C73267997B6}"/>
                </a:ext>
              </a:extLst>
            </p:cNvPr>
            <p:cNvSpPr/>
            <p:nvPr/>
          </p:nvSpPr>
          <p:spPr>
            <a:xfrm>
              <a:off x="3661526" y="4102050"/>
              <a:ext cx="5749" cy="20777"/>
            </a:xfrm>
            <a:custGeom>
              <a:avLst/>
              <a:gdLst/>
              <a:ahLst/>
              <a:cxnLst/>
              <a:rect l="l" t="t" r="r" b="b"/>
              <a:pathLst>
                <a:path w="176" h="636" extrusionOk="0">
                  <a:moveTo>
                    <a:pt x="137" y="1"/>
                  </a:moveTo>
                  <a:lnTo>
                    <a:pt x="176" y="69"/>
                  </a:lnTo>
                  <a:lnTo>
                    <a:pt x="176" y="500"/>
                  </a:lnTo>
                  <a:cubicBezTo>
                    <a:pt x="150" y="581"/>
                    <a:pt x="124" y="581"/>
                    <a:pt x="124" y="581"/>
                  </a:cubicBezTo>
                  <a:lnTo>
                    <a:pt x="69" y="636"/>
                  </a:lnTo>
                  <a:lnTo>
                    <a:pt x="14" y="542"/>
                  </a:lnTo>
                  <a:cubicBezTo>
                    <a:pt x="1" y="393"/>
                    <a:pt x="43" y="231"/>
                    <a:pt x="56" y="69"/>
                  </a:cubicBezTo>
                  <a:cubicBezTo>
                    <a:pt x="56" y="69"/>
                    <a:pt x="82" y="1"/>
                    <a:pt x="13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6" name="Google Shape;5006;p52">
              <a:extLst>
                <a:ext uri="{FF2B5EF4-FFF2-40B4-BE49-F238E27FC236}">
                  <a16:creationId xmlns:a16="http://schemas.microsoft.com/office/drawing/2014/main" id="{864A7C28-7064-7B6B-8A5B-4DB08D584A64}"/>
                </a:ext>
              </a:extLst>
            </p:cNvPr>
            <p:cNvSpPr/>
            <p:nvPr/>
          </p:nvSpPr>
          <p:spPr>
            <a:xfrm>
              <a:off x="3571558" y="4094111"/>
              <a:ext cx="4475" cy="20777"/>
            </a:xfrm>
            <a:custGeom>
              <a:avLst/>
              <a:gdLst/>
              <a:ahLst/>
              <a:cxnLst/>
              <a:rect l="l" t="t" r="r" b="b"/>
              <a:pathLst>
                <a:path w="137" h="636" extrusionOk="0">
                  <a:moveTo>
                    <a:pt x="137" y="30"/>
                  </a:moveTo>
                  <a:lnTo>
                    <a:pt x="111" y="529"/>
                  </a:lnTo>
                  <a:cubicBezTo>
                    <a:pt x="95" y="568"/>
                    <a:pt x="95" y="597"/>
                    <a:pt x="95" y="597"/>
                  </a:cubicBezTo>
                  <a:lnTo>
                    <a:pt x="43" y="636"/>
                  </a:lnTo>
                  <a:lnTo>
                    <a:pt x="1" y="500"/>
                  </a:lnTo>
                  <a:cubicBezTo>
                    <a:pt x="14" y="354"/>
                    <a:pt x="56" y="124"/>
                    <a:pt x="56" y="124"/>
                  </a:cubicBezTo>
                  <a:cubicBezTo>
                    <a:pt x="82" y="56"/>
                    <a:pt x="82" y="69"/>
                    <a:pt x="82" y="69"/>
                  </a:cubicBezTo>
                  <a:cubicBezTo>
                    <a:pt x="82" y="69"/>
                    <a:pt x="111" y="1"/>
                    <a:pt x="137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7" name="Google Shape;5007;p52">
              <a:extLst>
                <a:ext uri="{FF2B5EF4-FFF2-40B4-BE49-F238E27FC236}">
                  <a16:creationId xmlns:a16="http://schemas.microsoft.com/office/drawing/2014/main" id="{E73A5124-7E7A-B578-5721-B23AA1229B00}"/>
                </a:ext>
              </a:extLst>
            </p:cNvPr>
            <p:cNvSpPr/>
            <p:nvPr/>
          </p:nvSpPr>
          <p:spPr>
            <a:xfrm>
              <a:off x="3730326" y="4091890"/>
              <a:ext cx="7546" cy="19502"/>
            </a:xfrm>
            <a:custGeom>
              <a:avLst/>
              <a:gdLst/>
              <a:ahLst/>
              <a:cxnLst/>
              <a:rect l="l" t="t" r="r" b="b"/>
              <a:pathLst>
                <a:path w="231" h="597" extrusionOk="0">
                  <a:moveTo>
                    <a:pt x="124" y="43"/>
                  </a:moveTo>
                  <a:cubicBezTo>
                    <a:pt x="231" y="179"/>
                    <a:pt x="218" y="1"/>
                    <a:pt x="218" y="273"/>
                  </a:cubicBezTo>
                  <a:lnTo>
                    <a:pt x="176" y="516"/>
                  </a:lnTo>
                  <a:lnTo>
                    <a:pt x="124" y="597"/>
                  </a:lnTo>
                  <a:lnTo>
                    <a:pt x="56" y="516"/>
                  </a:lnTo>
                  <a:lnTo>
                    <a:pt x="30" y="448"/>
                  </a:lnTo>
                  <a:cubicBezTo>
                    <a:pt x="1" y="163"/>
                    <a:pt x="1" y="218"/>
                    <a:pt x="1" y="163"/>
                  </a:cubicBezTo>
                  <a:cubicBezTo>
                    <a:pt x="1" y="163"/>
                    <a:pt x="69" y="1"/>
                    <a:pt x="124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8" name="Google Shape;5008;p52">
              <a:extLst>
                <a:ext uri="{FF2B5EF4-FFF2-40B4-BE49-F238E27FC236}">
                  <a16:creationId xmlns:a16="http://schemas.microsoft.com/office/drawing/2014/main" id="{9FA78D30-3951-A9A8-FA8E-6A8E877595DD}"/>
                </a:ext>
              </a:extLst>
            </p:cNvPr>
            <p:cNvSpPr/>
            <p:nvPr/>
          </p:nvSpPr>
          <p:spPr>
            <a:xfrm>
              <a:off x="3695077" y="4087120"/>
              <a:ext cx="6599" cy="25971"/>
            </a:xfrm>
            <a:custGeom>
              <a:avLst/>
              <a:gdLst/>
              <a:ahLst/>
              <a:cxnLst/>
              <a:rect l="l" t="t" r="r" b="b"/>
              <a:pathLst>
                <a:path w="202" h="795" extrusionOk="0">
                  <a:moveTo>
                    <a:pt x="137" y="121"/>
                  </a:moveTo>
                  <a:cubicBezTo>
                    <a:pt x="189" y="134"/>
                    <a:pt x="202" y="176"/>
                    <a:pt x="202" y="176"/>
                  </a:cubicBezTo>
                  <a:cubicBezTo>
                    <a:pt x="189" y="270"/>
                    <a:pt x="137" y="662"/>
                    <a:pt x="137" y="662"/>
                  </a:cubicBezTo>
                  <a:cubicBezTo>
                    <a:pt x="40" y="795"/>
                    <a:pt x="27" y="675"/>
                    <a:pt x="27" y="675"/>
                  </a:cubicBezTo>
                  <a:cubicBezTo>
                    <a:pt x="1" y="607"/>
                    <a:pt x="1" y="675"/>
                    <a:pt x="1" y="568"/>
                  </a:cubicBezTo>
                  <a:cubicBezTo>
                    <a:pt x="1" y="526"/>
                    <a:pt x="14" y="325"/>
                    <a:pt x="14" y="325"/>
                  </a:cubicBezTo>
                  <a:cubicBezTo>
                    <a:pt x="40" y="1"/>
                    <a:pt x="82" y="108"/>
                    <a:pt x="137" y="1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9" name="Google Shape;5009;p52">
              <a:extLst>
                <a:ext uri="{FF2B5EF4-FFF2-40B4-BE49-F238E27FC236}">
                  <a16:creationId xmlns:a16="http://schemas.microsoft.com/office/drawing/2014/main" id="{D62C02F2-F0AC-F4A0-7F24-D495E22938B3}"/>
                </a:ext>
              </a:extLst>
            </p:cNvPr>
            <p:cNvSpPr/>
            <p:nvPr/>
          </p:nvSpPr>
          <p:spPr>
            <a:xfrm>
              <a:off x="3594948" y="4079606"/>
              <a:ext cx="6174" cy="26069"/>
            </a:xfrm>
            <a:custGeom>
              <a:avLst/>
              <a:gdLst/>
              <a:ahLst/>
              <a:cxnLst/>
              <a:rect l="l" t="t" r="r" b="b"/>
              <a:pathLst>
                <a:path w="189" h="798" extrusionOk="0">
                  <a:moveTo>
                    <a:pt x="163" y="108"/>
                  </a:moveTo>
                  <a:lnTo>
                    <a:pt x="189" y="377"/>
                  </a:lnTo>
                  <a:cubicBezTo>
                    <a:pt x="189" y="445"/>
                    <a:pt x="163" y="555"/>
                    <a:pt x="163" y="555"/>
                  </a:cubicBezTo>
                  <a:cubicBezTo>
                    <a:pt x="1" y="798"/>
                    <a:pt x="27" y="539"/>
                    <a:pt x="27" y="539"/>
                  </a:cubicBezTo>
                  <a:cubicBezTo>
                    <a:pt x="27" y="487"/>
                    <a:pt x="43" y="445"/>
                    <a:pt x="43" y="393"/>
                  </a:cubicBezTo>
                  <a:cubicBezTo>
                    <a:pt x="95" y="1"/>
                    <a:pt x="108" y="121"/>
                    <a:pt x="137" y="95"/>
                  </a:cubicBezTo>
                  <a:cubicBezTo>
                    <a:pt x="137" y="95"/>
                    <a:pt x="137" y="69"/>
                    <a:pt x="163" y="10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0" name="Google Shape;5010;p52">
              <a:extLst>
                <a:ext uri="{FF2B5EF4-FFF2-40B4-BE49-F238E27FC236}">
                  <a16:creationId xmlns:a16="http://schemas.microsoft.com/office/drawing/2014/main" id="{19816BCC-C9B8-ECE0-34D4-D06563CE922F}"/>
                </a:ext>
              </a:extLst>
            </p:cNvPr>
            <p:cNvSpPr/>
            <p:nvPr/>
          </p:nvSpPr>
          <p:spPr>
            <a:xfrm>
              <a:off x="3627551" y="4069022"/>
              <a:ext cx="5847" cy="21626"/>
            </a:xfrm>
            <a:custGeom>
              <a:avLst/>
              <a:gdLst/>
              <a:ahLst/>
              <a:cxnLst/>
              <a:rect l="l" t="t" r="r" b="b"/>
              <a:pathLst>
                <a:path w="179" h="662" extrusionOk="0">
                  <a:moveTo>
                    <a:pt x="124" y="40"/>
                  </a:moveTo>
                  <a:cubicBezTo>
                    <a:pt x="124" y="40"/>
                    <a:pt x="179" y="163"/>
                    <a:pt x="179" y="176"/>
                  </a:cubicBezTo>
                  <a:cubicBezTo>
                    <a:pt x="179" y="325"/>
                    <a:pt x="150" y="539"/>
                    <a:pt x="150" y="539"/>
                  </a:cubicBezTo>
                  <a:cubicBezTo>
                    <a:pt x="137" y="607"/>
                    <a:pt x="137" y="620"/>
                    <a:pt x="137" y="620"/>
                  </a:cubicBezTo>
                  <a:lnTo>
                    <a:pt x="98" y="662"/>
                  </a:lnTo>
                  <a:lnTo>
                    <a:pt x="17" y="649"/>
                  </a:lnTo>
                  <a:lnTo>
                    <a:pt x="1" y="513"/>
                  </a:lnTo>
                  <a:cubicBezTo>
                    <a:pt x="30" y="325"/>
                    <a:pt x="56" y="82"/>
                    <a:pt x="56" y="82"/>
                  </a:cubicBezTo>
                  <a:cubicBezTo>
                    <a:pt x="56" y="82"/>
                    <a:pt x="98" y="1"/>
                    <a:pt x="124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1" name="Google Shape;5011;p52">
              <a:extLst>
                <a:ext uri="{FF2B5EF4-FFF2-40B4-BE49-F238E27FC236}">
                  <a16:creationId xmlns:a16="http://schemas.microsoft.com/office/drawing/2014/main" id="{5C072603-F631-892C-A0EF-13EE23486435}"/>
                </a:ext>
              </a:extLst>
            </p:cNvPr>
            <p:cNvSpPr/>
            <p:nvPr/>
          </p:nvSpPr>
          <p:spPr>
            <a:xfrm>
              <a:off x="3711378" y="4060659"/>
              <a:ext cx="7122" cy="22475"/>
            </a:xfrm>
            <a:custGeom>
              <a:avLst/>
              <a:gdLst/>
              <a:ahLst/>
              <a:cxnLst/>
              <a:rect l="l" t="t" r="r" b="b"/>
              <a:pathLst>
                <a:path w="218" h="688" extrusionOk="0">
                  <a:moveTo>
                    <a:pt x="137" y="14"/>
                  </a:moveTo>
                  <a:lnTo>
                    <a:pt x="205" y="40"/>
                  </a:lnTo>
                  <a:lnTo>
                    <a:pt x="218" y="526"/>
                  </a:lnTo>
                  <a:lnTo>
                    <a:pt x="124" y="688"/>
                  </a:lnTo>
                  <a:cubicBezTo>
                    <a:pt x="14" y="539"/>
                    <a:pt x="27" y="568"/>
                    <a:pt x="27" y="568"/>
                  </a:cubicBezTo>
                  <a:lnTo>
                    <a:pt x="14" y="445"/>
                  </a:lnTo>
                  <a:cubicBezTo>
                    <a:pt x="1" y="283"/>
                    <a:pt x="14" y="53"/>
                    <a:pt x="14" y="53"/>
                  </a:cubicBezTo>
                  <a:cubicBezTo>
                    <a:pt x="82" y="1"/>
                    <a:pt x="108" y="14"/>
                    <a:pt x="137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2" name="Google Shape;5012;p52">
              <a:extLst>
                <a:ext uri="{FF2B5EF4-FFF2-40B4-BE49-F238E27FC236}">
                  <a16:creationId xmlns:a16="http://schemas.microsoft.com/office/drawing/2014/main" id="{8CBDEB9C-72AC-821E-10DC-AACDD98B677A}"/>
                </a:ext>
              </a:extLst>
            </p:cNvPr>
            <p:cNvSpPr/>
            <p:nvPr/>
          </p:nvSpPr>
          <p:spPr>
            <a:xfrm>
              <a:off x="3655385" y="4053994"/>
              <a:ext cx="7122" cy="22573"/>
            </a:xfrm>
            <a:custGeom>
              <a:avLst/>
              <a:gdLst/>
              <a:ahLst/>
              <a:cxnLst/>
              <a:rect l="l" t="t" r="r" b="b"/>
              <a:pathLst>
                <a:path w="218" h="691" extrusionOk="0">
                  <a:moveTo>
                    <a:pt x="163" y="56"/>
                  </a:moveTo>
                  <a:lnTo>
                    <a:pt x="218" y="244"/>
                  </a:lnTo>
                  <a:cubicBezTo>
                    <a:pt x="176" y="636"/>
                    <a:pt x="189" y="529"/>
                    <a:pt x="150" y="594"/>
                  </a:cubicBezTo>
                  <a:lnTo>
                    <a:pt x="69" y="691"/>
                  </a:lnTo>
                  <a:lnTo>
                    <a:pt x="27" y="623"/>
                  </a:lnTo>
                  <a:cubicBezTo>
                    <a:pt x="1" y="542"/>
                    <a:pt x="1" y="529"/>
                    <a:pt x="1" y="529"/>
                  </a:cubicBezTo>
                  <a:cubicBezTo>
                    <a:pt x="14" y="406"/>
                    <a:pt x="1" y="338"/>
                    <a:pt x="56" y="150"/>
                  </a:cubicBezTo>
                  <a:cubicBezTo>
                    <a:pt x="56" y="150"/>
                    <a:pt x="121" y="1"/>
                    <a:pt x="163" y="5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3" name="Google Shape;5013;p52">
              <a:extLst>
                <a:ext uri="{FF2B5EF4-FFF2-40B4-BE49-F238E27FC236}">
                  <a16:creationId xmlns:a16="http://schemas.microsoft.com/office/drawing/2014/main" id="{A7D44501-FFF5-54F0-62B9-F139DA960A4B}"/>
                </a:ext>
              </a:extLst>
            </p:cNvPr>
            <p:cNvSpPr/>
            <p:nvPr/>
          </p:nvSpPr>
          <p:spPr>
            <a:xfrm>
              <a:off x="3591877" y="4037693"/>
              <a:ext cx="6174" cy="19829"/>
            </a:xfrm>
            <a:custGeom>
              <a:avLst/>
              <a:gdLst/>
              <a:ahLst/>
              <a:cxnLst/>
              <a:rect l="l" t="t" r="r" b="b"/>
              <a:pathLst>
                <a:path w="189" h="607" extrusionOk="0">
                  <a:moveTo>
                    <a:pt x="163" y="40"/>
                  </a:moveTo>
                  <a:lnTo>
                    <a:pt x="189" y="163"/>
                  </a:lnTo>
                  <a:cubicBezTo>
                    <a:pt x="163" y="338"/>
                    <a:pt x="108" y="555"/>
                    <a:pt x="108" y="555"/>
                  </a:cubicBezTo>
                  <a:lnTo>
                    <a:pt x="40" y="607"/>
                  </a:lnTo>
                  <a:cubicBezTo>
                    <a:pt x="40" y="607"/>
                    <a:pt x="1" y="445"/>
                    <a:pt x="1" y="419"/>
                  </a:cubicBezTo>
                  <a:cubicBezTo>
                    <a:pt x="1" y="393"/>
                    <a:pt x="1" y="364"/>
                    <a:pt x="14" y="338"/>
                  </a:cubicBezTo>
                  <a:cubicBezTo>
                    <a:pt x="40" y="218"/>
                    <a:pt x="82" y="95"/>
                    <a:pt x="82" y="95"/>
                  </a:cubicBezTo>
                  <a:cubicBezTo>
                    <a:pt x="82" y="95"/>
                    <a:pt x="137" y="1"/>
                    <a:pt x="163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4" name="Google Shape;5014;p52">
              <a:extLst>
                <a:ext uri="{FF2B5EF4-FFF2-40B4-BE49-F238E27FC236}">
                  <a16:creationId xmlns:a16="http://schemas.microsoft.com/office/drawing/2014/main" id="{E343D188-880B-DEF3-2BE9-DB173E7CB370}"/>
                </a:ext>
              </a:extLst>
            </p:cNvPr>
            <p:cNvSpPr/>
            <p:nvPr/>
          </p:nvSpPr>
          <p:spPr>
            <a:xfrm>
              <a:off x="3687563" y="4031029"/>
              <a:ext cx="6697" cy="21724"/>
            </a:xfrm>
            <a:custGeom>
              <a:avLst/>
              <a:gdLst/>
              <a:ahLst/>
              <a:cxnLst/>
              <a:rect l="l" t="t" r="r" b="b"/>
              <a:pathLst>
                <a:path w="205" h="665" extrusionOk="0">
                  <a:moveTo>
                    <a:pt x="124" y="30"/>
                  </a:moveTo>
                  <a:cubicBezTo>
                    <a:pt x="124" y="30"/>
                    <a:pt x="205" y="163"/>
                    <a:pt x="205" y="299"/>
                  </a:cubicBezTo>
                  <a:cubicBezTo>
                    <a:pt x="189" y="354"/>
                    <a:pt x="176" y="516"/>
                    <a:pt x="150" y="610"/>
                  </a:cubicBezTo>
                  <a:lnTo>
                    <a:pt x="108" y="665"/>
                  </a:lnTo>
                  <a:lnTo>
                    <a:pt x="43" y="555"/>
                  </a:lnTo>
                  <a:cubicBezTo>
                    <a:pt x="1" y="393"/>
                    <a:pt x="14" y="111"/>
                    <a:pt x="56" y="69"/>
                  </a:cubicBezTo>
                  <a:cubicBezTo>
                    <a:pt x="56" y="69"/>
                    <a:pt x="82" y="1"/>
                    <a:pt x="124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5" name="Google Shape;5015;p52">
              <a:extLst>
                <a:ext uri="{FF2B5EF4-FFF2-40B4-BE49-F238E27FC236}">
                  <a16:creationId xmlns:a16="http://schemas.microsoft.com/office/drawing/2014/main" id="{F6C4750F-C146-2D22-72A8-BC7D66017BE7}"/>
                </a:ext>
              </a:extLst>
            </p:cNvPr>
            <p:cNvSpPr/>
            <p:nvPr/>
          </p:nvSpPr>
          <p:spPr>
            <a:xfrm>
              <a:off x="3729052" y="4025736"/>
              <a:ext cx="7546" cy="22998"/>
            </a:xfrm>
            <a:custGeom>
              <a:avLst/>
              <a:gdLst/>
              <a:ahLst/>
              <a:cxnLst/>
              <a:rect l="l" t="t" r="r" b="b"/>
              <a:pathLst>
                <a:path w="231" h="704" extrusionOk="0">
                  <a:moveTo>
                    <a:pt x="150" y="17"/>
                  </a:moveTo>
                  <a:lnTo>
                    <a:pt x="202" y="56"/>
                  </a:lnTo>
                  <a:cubicBezTo>
                    <a:pt x="215" y="273"/>
                    <a:pt x="231" y="529"/>
                    <a:pt x="231" y="529"/>
                  </a:cubicBezTo>
                  <a:cubicBezTo>
                    <a:pt x="215" y="584"/>
                    <a:pt x="202" y="610"/>
                    <a:pt x="202" y="610"/>
                  </a:cubicBezTo>
                  <a:lnTo>
                    <a:pt x="150" y="704"/>
                  </a:lnTo>
                  <a:lnTo>
                    <a:pt x="82" y="623"/>
                  </a:lnTo>
                  <a:cubicBezTo>
                    <a:pt x="40" y="555"/>
                    <a:pt x="27" y="516"/>
                    <a:pt x="27" y="516"/>
                  </a:cubicBezTo>
                  <a:cubicBezTo>
                    <a:pt x="14" y="367"/>
                    <a:pt x="1" y="150"/>
                    <a:pt x="1" y="150"/>
                  </a:cubicBezTo>
                  <a:cubicBezTo>
                    <a:pt x="1" y="56"/>
                    <a:pt x="14" y="1"/>
                    <a:pt x="150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6" name="Google Shape;5016;p52">
              <a:extLst>
                <a:ext uri="{FF2B5EF4-FFF2-40B4-BE49-F238E27FC236}">
                  <a16:creationId xmlns:a16="http://schemas.microsoft.com/office/drawing/2014/main" id="{41CDE452-BA18-0339-35EF-DACB54822E1A}"/>
                </a:ext>
              </a:extLst>
            </p:cNvPr>
            <p:cNvSpPr/>
            <p:nvPr/>
          </p:nvSpPr>
          <p:spPr>
            <a:xfrm>
              <a:off x="3621834" y="4025736"/>
              <a:ext cx="7546" cy="16432"/>
            </a:xfrm>
            <a:custGeom>
              <a:avLst/>
              <a:gdLst/>
              <a:ahLst/>
              <a:cxnLst/>
              <a:rect l="l" t="t" r="r" b="b"/>
              <a:pathLst>
                <a:path w="231" h="503" extrusionOk="0">
                  <a:moveTo>
                    <a:pt x="192" y="1"/>
                  </a:moveTo>
                  <a:cubicBezTo>
                    <a:pt x="192" y="1"/>
                    <a:pt x="231" y="163"/>
                    <a:pt x="192" y="380"/>
                  </a:cubicBezTo>
                  <a:lnTo>
                    <a:pt x="124" y="503"/>
                  </a:lnTo>
                  <a:lnTo>
                    <a:pt x="30" y="448"/>
                  </a:lnTo>
                  <a:cubicBezTo>
                    <a:pt x="1" y="273"/>
                    <a:pt x="56" y="192"/>
                    <a:pt x="95" y="56"/>
                  </a:cubicBezTo>
                  <a:cubicBezTo>
                    <a:pt x="95" y="56"/>
                    <a:pt x="150" y="1"/>
                    <a:pt x="19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7" name="Google Shape;5017;p52">
              <a:extLst>
                <a:ext uri="{FF2B5EF4-FFF2-40B4-BE49-F238E27FC236}">
                  <a16:creationId xmlns:a16="http://schemas.microsoft.com/office/drawing/2014/main" id="{EE715BCF-A967-A604-7C6E-510868DC8157}"/>
                </a:ext>
              </a:extLst>
            </p:cNvPr>
            <p:cNvSpPr/>
            <p:nvPr/>
          </p:nvSpPr>
          <p:spPr>
            <a:xfrm>
              <a:off x="3651889" y="4010807"/>
              <a:ext cx="10617" cy="15484"/>
            </a:xfrm>
            <a:custGeom>
              <a:avLst/>
              <a:gdLst/>
              <a:ahLst/>
              <a:cxnLst/>
              <a:rect l="l" t="t" r="r" b="b"/>
              <a:pathLst>
                <a:path w="325" h="474" extrusionOk="0">
                  <a:moveTo>
                    <a:pt x="257" y="27"/>
                  </a:moveTo>
                  <a:cubicBezTo>
                    <a:pt x="296" y="108"/>
                    <a:pt x="283" y="53"/>
                    <a:pt x="325" y="134"/>
                  </a:cubicBezTo>
                  <a:lnTo>
                    <a:pt x="296" y="377"/>
                  </a:lnTo>
                  <a:lnTo>
                    <a:pt x="270" y="406"/>
                  </a:lnTo>
                  <a:lnTo>
                    <a:pt x="228" y="474"/>
                  </a:lnTo>
                  <a:cubicBezTo>
                    <a:pt x="1" y="283"/>
                    <a:pt x="66" y="445"/>
                    <a:pt x="121" y="163"/>
                  </a:cubicBezTo>
                  <a:lnTo>
                    <a:pt x="176" y="82"/>
                  </a:lnTo>
                  <a:lnTo>
                    <a:pt x="228" y="27"/>
                  </a:lnTo>
                  <a:cubicBezTo>
                    <a:pt x="228" y="27"/>
                    <a:pt x="228" y="1"/>
                    <a:pt x="257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8" name="Google Shape;5018;p52">
              <a:extLst>
                <a:ext uri="{FF2B5EF4-FFF2-40B4-BE49-F238E27FC236}">
                  <a16:creationId xmlns:a16="http://schemas.microsoft.com/office/drawing/2014/main" id="{B699306F-7FFC-2E73-4D9E-896EDA337F5E}"/>
                </a:ext>
              </a:extLst>
            </p:cNvPr>
            <p:cNvSpPr/>
            <p:nvPr/>
          </p:nvSpPr>
          <p:spPr>
            <a:xfrm>
              <a:off x="3594524" y="4003718"/>
              <a:ext cx="5749" cy="18980"/>
            </a:xfrm>
            <a:custGeom>
              <a:avLst/>
              <a:gdLst/>
              <a:ahLst/>
              <a:cxnLst/>
              <a:rect l="l" t="t" r="r" b="b"/>
              <a:pathLst>
                <a:path w="176" h="581" extrusionOk="0">
                  <a:moveTo>
                    <a:pt x="95" y="27"/>
                  </a:moveTo>
                  <a:lnTo>
                    <a:pt x="163" y="150"/>
                  </a:lnTo>
                  <a:cubicBezTo>
                    <a:pt x="176" y="299"/>
                    <a:pt x="163" y="351"/>
                    <a:pt x="163" y="351"/>
                  </a:cubicBezTo>
                  <a:cubicBezTo>
                    <a:pt x="163" y="419"/>
                    <a:pt x="150" y="513"/>
                    <a:pt x="150" y="513"/>
                  </a:cubicBezTo>
                  <a:lnTo>
                    <a:pt x="82" y="581"/>
                  </a:lnTo>
                  <a:cubicBezTo>
                    <a:pt x="82" y="581"/>
                    <a:pt x="40" y="529"/>
                    <a:pt x="14" y="231"/>
                  </a:cubicBezTo>
                  <a:cubicBezTo>
                    <a:pt x="1" y="82"/>
                    <a:pt x="27" y="95"/>
                    <a:pt x="27" y="95"/>
                  </a:cubicBezTo>
                  <a:cubicBezTo>
                    <a:pt x="27" y="95"/>
                    <a:pt x="56" y="1"/>
                    <a:pt x="95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9" name="Google Shape;5019;p52">
              <a:extLst>
                <a:ext uri="{FF2B5EF4-FFF2-40B4-BE49-F238E27FC236}">
                  <a16:creationId xmlns:a16="http://schemas.microsoft.com/office/drawing/2014/main" id="{CAD50B60-DC29-CECC-CC09-C660C7667431}"/>
                </a:ext>
              </a:extLst>
            </p:cNvPr>
            <p:cNvSpPr/>
            <p:nvPr/>
          </p:nvSpPr>
          <p:spPr>
            <a:xfrm>
              <a:off x="3707458" y="4001496"/>
              <a:ext cx="6599" cy="19502"/>
            </a:xfrm>
            <a:custGeom>
              <a:avLst/>
              <a:gdLst/>
              <a:ahLst/>
              <a:cxnLst/>
              <a:rect l="l" t="t" r="r" b="b"/>
              <a:pathLst>
                <a:path w="202" h="597" extrusionOk="0">
                  <a:moveTo>
                    <a:pt x="108" y="30"/>
                  </a:moveTo>
                  <a:cubicBezTo>
                    <a:pt x="176" y="111"/>
                    <a:pt x="189" y="111"/>
                    <a:pt x="189" y="111"/>
                  </a:cubicBezTo>
                  <a:cubicBezTo>
                    <a:pt x="189" y="124"/>
                    <a:pt x="202" y="435"/>
                    <a:pt x="202" y="435"/>
                  </a:cubicBezTo>
                  <a:cubicBezTo>
                    <a:pt x="189" y="487"/>
                    <a:pt x="176" y="529"/>
                    <a:pt x="176" y="529"/>
                  </a:cubicBezTo>
                  <a:lnTo>
                    <a:pt x="121" y="597"/>
                  </a:lnTo>
                  <a:lnTo>
                    <a:pt x="14" y="448"/>
                  </a:lnTo>
                  <a:cubicBezTo>
                    <a:pt x="14" y="354"/>
                    <a:pt x="1" y="325"/>
                    <a:pt x="14" y="150"/>
                  </a:cubicBezTo>
                  <a:lnTo>
                    <a:pt x="53" y="56"/>
                  </a:lnTo>
                  <a:cubicBezTo>
                    <a:pt x="95" y="30"/>
                    <a:pt x="82" y="1"/>
                    <a:pt x="108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0" name="Google Shape;5020;p52">
              <a:extLst>
                <a:ext uri="{FF2B5EF4-FFF2-40B4-BE49-F238E27FC236}">
                  <a16:creationId xmlns:a16="http://schemas.microsoft.com/office/drawing/2014/main" id="{47944E83-E356-B500-2687-26E8568A64DC}"/>
                </a:ext>
              </a:extLst>
            </p:cNvPr>
            <p:cNvSpPr/>
            <p:nvPr/>
          </p:nvSpPr>
          <p:spPr>
            <a:xfrm>
              <a:off x="3616117" y="3982124"/>
              <a:ext cx="6697" cy="23847"/>
            </a:xfrm>
            <a:custGeom>
              <a:avLst/>
              <a:gdLst/>
              <a:ahLst/>
              <a:cxnLst/>
              <a:rect l="l" t="t" r="r" b="b"/>
              <a:pathLst>
                <a:path w="205" h="730" extrusionOk="0">
                  <a:moveTo>
                    <a:pt x="137" y="27"/>
                  </a:moveTo>
                  <a:cubicBezTo>
                    <a:pt x="137" y="27"/>
                    <a:pt x="205" y="176"/>
                    <a:pt x="176" y="406"/>
                  </a:cubicBezTo>
                  <a:lnTo>
                    <a:pt x="124" y="607"/>
                  </a:lnTo>
                  <a:lnTo>
                    <a:pt x="43" y="730"/>
                  </a:lnTo>
                  <a:lnTo>
                    <a:pt x="1" y="474"/>
                  </a:lnTo>
                  <a:cubicBezTo>
                    <a:pt x="56" y="14"/>
                    <a:pt x="108" y="1"/>
                    <a:pt x="137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1" name="Google Shape;5021;p52">
              <a:extLst>
                <a:ext uri="{FF2B5EF4-FFF2-40B4-BE49-F238E27FC236}">
                  <a16:creationId xmlns:a16="http://schemas.microsoft.com/office/drawing/2014/main" id="{A56CE78F-81B8-450B-98FD-382657C56605}"/>
                </a:ext>
              </a:extLst>
            </p:cNvPr>
            <p:cNvSpPr/>
            <p:nvPr/>
          </p:nvSpPr>
          <p:spPr>
            <a:xfrm>
              <a:off x="3678351" y="3975982"/>
              <a:ext cx="9670" cy="19829"/>
            </a:xfrm>
            <a:custGeom>
              <a:avLst/>
              <a:gdLst/>
              <a:ahLst/>
              <a:cxnLst/>
              <a:rect l="l" t="t" r="r" b="b"/>
              <a:pathLst>
                <a:path w="296" h="607" extrusionOk="0">
                  <a:moveTo>
                    <a:pt x="134" y="95"/>
                  </a:moveTo>
                  <a:cubicBezTo>
                    <a:pt x="296" y="147"/>
                    <a:pt x="215" y="53"/>
                    <a:pt x="215" y="419"/>
                  </a:cubicBezTo>
                  <a:lnTo>
                    <a:pt x="215" y="526"/>
                  </a:lnTo>
                  <a:cubicBezTo>
                    <a:pt x="202" y="581"/>
                    <a:pt x="176" y="607"/>
                    <a:pt x="176" y="607"/>
                  </a:cubicBezTo>
                  <a:lnTo>
                    <a:pt x="82" y="607"/>
                  </a:lnTo>
                  <a:lnTo>
                    <a:pt x="27" y="471"/>
                  </a:lnTo>
                  <a:cubicBezTo>
                    <a:pt x="14" y="1"/>
                    <a:pt x="1" y="176"/>
                    <a:pt x="53" y="108"/>
                  </a:cubicBezTo>
                  <a:cubicBezTo>
                    <a:pt x="53" y="108"/>
                    <a:pt x="108" y="95"/>
                    <a:pt x="134" y="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2" name="Google Shape;5022;p52">
              <a:extLst>
                <a:ext uri="{FF2B5EF4-FFF2-40B4-BE49-F238E27FC236}">
                  <a16:creationId xmlns:a16="http://schemas.microsoft.com/office/drawing/2014/main" id="{3C1087D9-CD44-6ED9-580F-96112C251C2D}"/>
                </a:ext>
              </a:extLst>
            </p:cNvPr>
            <p:cNvSpPr/>
            <p:nvPr/>
          </p:nvSpPr>
          <p:spPr>
            <a:xfrm>
              <a:off x="3713600" y="3965822"/>
              <a:ext cx="11466" cy="20254"/>
            </a:xfrm>
            <a:custGeom>
              <a:avLst/>
              <a:gdLst/>
              <a:ahLst/>
              <a:cxnLst/>
              <a:rect l="l" t="t" r="r" b="b"/>
              <a:pathLst>
                <a:path w="351" h="620" extrusionOk="0">
                  <a:moveTo>
                    <a:pt x="312" y="40"/>
                  </a:moveTo>
                  <a:cubicBezTo>
                    <a:pt x="351" y="296"/>
                    <a:pt x="338" y="325"/>
                    <a:pt x="338" y="393"/>
                  </a:cubicBezTo>
                  <a:cubicBezTo>
                    <a:pt x="351" y="594"/>
                    <a:pt x="338" y="581"/>
                    <a:pt x="338" y="581"/>
                  </a:cubicBezTo>
                  <a:lnTo>
                    <a:pt x="312" y="620"/>
                  </a:lnTo>
                  <a:lnTo>
                    <a:pt x="176" y="594"/>
                  </a:lnTo>
                  <a:cubicBezTo>
                    <a:pt x="176" y="594"/>
                    <a:pt x="150" y="296"/>
                    <a:pt x="121" y="82"/>
                  </a:cubicBezTo>
                  <a:cubicBezTo>
                    <a:pt x="121" y="82"/>
                    <a:pt x="1" y="1"/>
                    <a:pt x="312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3" name="Google Shape;5023;p52">
              <a:extLst>
                <a:ext uri="{FF2B5EF4-FFF2-40B4-BE49-F238E27FC236}">
                  <a16:creationId xmlns:a16="http://schemas.microsoft.com/office/drawing/2014/main" id="{6A57CB28-F731-A439-8729-9682D5CDA1A8}"/>
                </a:ext>
              </a:extLst>
            </p:cNvPr>
            <p:cNvSpPr/>
            <p:nvPr/>
          </p:nvSpPr>
          <p:spPr>
            <a:xfrm>
              <a:off x="3646597" y="3955663"/>
              <a:ext cx="7024" cy="21626"/>
            </a:xfrm>
            <a:custGeom>
              <a:avLst/>
              <a:gdLst/>
              <a:ahLst/>
              <a:cxnLst/>
              <a:rect l="l" t="t" r="r" b="b"/>
              <a:pathLst>
                <a:path w="215" h="662" extrusionOk="0">
                  <a:moveTo>
                    <a:pt x="163" y="40"/>
                  </a:moveTo>
                  <a:lnTo>
                    <a:pt x="215" y="202"/>
                  </a:lnTo>
                  <a:cubicBezTo>
                    <a:pt x="215" y="283"/>
                    <a:pt x="215" y="218"/>
                    <a:pt x="202" y="338"/>
                  </a:cubicBezTo>
                  <a:lnTo>
                    <a:pt x="189" y="487"/>
                  </a:lnTo>
                  <a:cubicBezTo>
                    <a:pt x="176" y="542"/>
                    <a:pt x="147" y="607"/>
                    <a:pt x="147" y="607"/>
                  </a:cubicBezTo>
                  <a:lnTo>
                    <a:pt x="95" y="662"/>
                  </a:lnTo>
                  <a:lnTo>
                    <a:pt x="27" y="500"/>
                  </a:lnTo>
                  <a:cubicBezTo>
                    <a:pt x="14" y="406"/>
                    <a:pt x="1" y="500"/>
                    <a:pt x="27" y="283"/>
                  </a:cubicBezTo>
                  <a:cubicBezTo>
                    <a:pt x="40" y="121"/>
                    <a:pt x="121" y="1"/>
                    <a:pt x="163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4" name="Google Shape;5024;p52">
              <a:extLst>
                <a:ext uri="{FF2B5EF4-FFF2-40B4-BE49-F238E27FC236}">
                  <a16:creationId xmlns:a16="http://schemas.microsoft.com/office/drawing/2014/main" id="{B6F32020-3E41-9586-16B7-4C4283D8FC05}"/>
                </a:ext>
              </a:extLst>
            </p:cNvPr>
            <p:cNvSpPr/>
            <p:nvPr/>
          </p:nvSpPr>
          <p:spPr>
            <a:xfrm>
              <a:off x="3693705" y="3941060"/>
              <a:ext cx="7122" cy="22998"/>
            </a:xfrm>
            <a:custGeom>
              <a:avLst/>
              <a:gdLst/>
              <a:ahLst/>
              <a:cxnLst/>
              <a:rect l="l" t="t" r="r" b="b"/>
              <a:pathLst>
                <a:path w="218" h="704" extrusionOk="0">
                  <a:moveTo>
                    <a:pt x="137" y="1"/>
                  </a:moveTo>
                  <a:cubicBezTo>
                    <a:pt x="218" y="43"/>
                    <a:pt x="192" y="69"/>
                    <a:pt x="192" y="69"/>
                  </a:cubicBezTo>
                  <a:lnTo>
                    <a:pt x="192" y="367"/>
                  </a:lnTo>
                  <a:cubicBezTo>
                    <a:pt x="192" y="542"/>
                    <a:pt x="137" y="649"/>
                    <a:pt x="137" y="649"/>
                  </a:cubicBezTo>
                  <a:lnTo>
                    <a:pt x="82" y="704"/>
                  </a:lnTo>
                  <a:lnTo>
                    <a:pt x="30" y="636"/>
                  </a:lnTo>
                  <a:cubicBezTo>
                    <a:pt x="1" y="422"/>
                    <a:pt x="1" y="623"/>
                    <a:pt x="1" y="354"/>
                  </a:cubicBezTo>
                  <a:lnTo>
                    <a:pt x="30" y="69"/>
                  </a:lnTo>
                  <a:lnTo>
                    <a:pt x="43" y="30"/>
                  </a:lnTo>
                  <a:cubicBezTo>
                    <a:pt x="43" y="30"/>
                    <a:pt x="82" y="1"/>
                    <a:pt x="13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5" name="Google Shape;5025;p52">
              <a:extLst>
                <a:ext uri="{FF2B5EF4-FFF2-40B4-BE49-F238E27FC236}">
                  <a16:creationId xmlns:a16="http://schemas.microsoft.com/office/drawing/2014/main" id="{5E01C0DA-81BB-ED4F-CB41-9849B886B7DC}"/>
                </a:ext>
              </a:extLst>
            </p:cNvPr>
            <p:cNvSpPr/>
            <p:nvPr/>
          </p:nvSpPr>
          <p:spPr>
            <a:xfrm>
              <a:off x="3607330" y="3933644"/>
              <a:ext cx="6599" cy="27343"/>
            </a:xfrm>
            <a:custGeom>
              <a:avLst/>
              <a:gdLst/>
              <a:ahLst/>
              <a:cxnLst/>
              <a:rect l="l" t="t" r="r" b="b"/>
              <a:pathLst>
                <a:path w="202" h="837" extrusionOk="0">
                  <a:moveTo>
                    <a:pt x="202" y="108"/>
                  </a:moveTo>
                  <a:cubicBezTo>
                    <a:pt x="202" y="108"/>
                    <a:pt x="202" y="364"/>
                    <a:pt x="150" y="620"/>
                  </a:cubicBezTo>
                  <a:lnTo>
                    <a:pt x="108" y="782"/>
                  </a:lnTo>
                  <a:lnTo>
                    <a:pt x="53" y="837"/>
                  </a:lnTo>
                  <a:lnTo>
                    <a:pt x="1" y="769"/>
                  </a:lnTo>
                  <a:cubicBezTo>
                    <a:pt x="14" y="552"/>
                    <a:pt x="53" y="338"/>
                    <a:pt x="82" y="121"/>
                  </a:cubicBezTo>
                  <a:cubicBezTo>
                    <a:pt x="82" y="121"/>
                    <a:pt x="121" y="1"/>
                    <a:pt x="202" y="10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6" name="Google Shape;5026;p52">
              <a:extLst>
                <a:ext uri="{FF2B5EF4-FFF2-40B4-BE49-F238E27FC236}">
                  <a16:creationId xmlns:a16="http://schemas.microsoft.com/office/drawing/2014/main" id="{1114F21E-21DF-0DC3-2D48-63619B219A66}"/>
                </a:ext>
              </a:extLst>
            </p:cNvPr>
            <p:cNvSpPr/>
            <p:nvPr/>
          </p:nvSpPr>
          <p:spPr>
            <a:xfrm>
              <a:off x="3637711" y="3928352"/>
              <a:ext cx="6697" cy="14112"/>
            </a:xfrm>
            <a:custGeom>
              <a:avLst/>
              <a:gdLst/>
              <a:ahLst/>
              <a:cxnLst/>
              <a:rect l="l" t="t" r="r" b="b"/>
              <a:pathLst>
                <a:path w="205" h="432" extrusionOk="0">
                  <a:moveTo>
                    <a:pt x="124" y="1"/>
                  </a:moveTo>
                  <a:lnTo>
                    <a:pt x="205" y="53"/>
                  </a:lnTo>
                  <a:cubicBezTo>
                    <a:pt x="192" y="189"/>
                    <a:pt x="163" y="338"/>
                    <a:pt x="163" y="338"/>
                  </a:cubicBezTo>
                  <a:cubicBezTo>
                    <a:pt x="137" y="351"/>
                    <a:pt x="124" y="377"/>
                    <a:pt x="124" y="377"/>
                  </a:cubicBezTo>
                  <a:lnTo>
                    <a:pt x="82" y="432"/>
                  </a:lnTo>
                  <a:lnTo>
                    <a:pt x="1" y="309"/>
                  </a:lnTo>
                  <a:cubicBezTo>
                    <a:pt x="14" y="176"/>
                    <a:pt x="1" y="228"/>
                    <a:pt x="30" y="82"/>
                  </a:cubicBezTo>
                  <a:lnTo>
                    <a:pt x="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7" name="Google Shape;5027;p52">
              <a:extLst>
                <a:ext uri="{FF2B5EF4-FFF2-40B4-BE49-F238E27FC236}">
                  <a16:creationId xmlns:a16="http://schemas.microsoft.com/office/drawing/2014/main" id="{74350842-6192-BDC5-7EFE-97604083F554}"/>
                </a:ext>
              </a:extLst>
            </p:cNvPr>
            <p:cNvSpPr/>
            <p:nvPr/>
          </p:nvSpPr>
          <p:spPr>
            <a:xfrm>
              <a:off x="3668615" y="3923059"/>
              <a:ext cx="5749" cy="25121"/>
            </a:xfrm>
            <a:custGeom>
              <a:avLst/>
              <a:gdLst/>
              <a:ahLst/>
              <a:cxnLst/>
              <a:rect l="l" t="t" r="r" b="b"/>
              <a:pathLst>
                <a:path w="176" h="769" extrusionOk="0">
                  <a:moveTo>
                    <a:pt x="121" y="1"/>
                  </a:moveTo>
                  <a:lnTo>
                    <a:pt x="163" y="95"/>
                  </a:lnTo>
                  <a:cubicBezTo>
                    <a:pt x="163" y="176"/>
                    <a:pt x="176" y="215"/>
                    <a:pt x="176" y="338"/>
                  </a:cubicBezTo>
                  <a:lnTo>
                    <a:pt x="163" y="445"/>
                  </a:lnTo>
                  <a:cubicBezTo>
                    <a:pt x="1" y="769"/>
                    <a:pt x="14" y="419"/>
                    <a:pt x="14" y="419"/>
                  </a:cubicBezTo>
                  <a:cubicBezTo>
                    <a:pt x="14" y="176"/>
                    <a:pt x="27" y="14"/>
                    <a:pt x="27" y="14"/>
                  </a:cubicBezTo>
                  <a:cubicBezTo>
                    <a:pt x="27" y="14"/>
                    <a:pt x="56" y="1"/>
                    <a:pt x="12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8" name="Google Shape;5028;p52">
              <a:extLst>
                <a:ext uri="{FF2B5EF4-FFF2-40B4-BE49-F238E27FC236}">
                  <a16:creationId xmlns:a16="http://schemas.microsoft.com/office/drawing/2014/main" id="{1F3D1C67-82AE-CAD7-28FA-BF43D6E606CE}"/>
                </a:ext>
              </a:extLst>
            </p:cNvPr>
            <p:cNvSpPr/>
            <p:nvPr/>
          </p:nvSpPr>
          <p:spPr>
            <a:xfrm>
              <a:off x="3714024" y="3909829"/>
              <a:ext cx="5749" cy="23325"/>
            </a:xfrm>
            <a:custGeom>
              <a:avLst/>
              <a:gdLst/>
              <a:ahLst/>
              <a:cxnLst/>
              <a:rect l="l" t="t" r="r" b="b"/>
              <a:pathLst>
                <a:path w="176" h="714" extrusionOk="0">
                  <a:moveTo>
                    <a:pt x="137" y="40"/>
                  </a:moveTo>
                  <a:lnTo>
                    <a:pt x="176" y="568"/>
                  </a:lnTo>
                  <a:cubicBezTo>
                    <a:pt x="163" y="620"/>
                    <a:pt x="137" y="675"/>
                    <a:pt x="108" y="714"/>
                  </a:cubicBezTo>
                  <a:lnTo>
                    <a:pt x="27" y="552"/>
                  </a:lnTo>
                  <a:cubicBezTo>
                    <a:pt x="14" y="325"/>
                    <a:pt x="1" y="228"/>
                    <a:pt x="1" y="95"/>
                  </a:cubicBezTo>
                  <a:lnTo>
                    <a:pt x="82" y="1"/>
                  </a:lnTo>
                  <a:cubicBezTo>
                    <a:pt x="95" y="14"/>
                    <a:pt x="124" y="27"/>
                    <a:pt x="137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9" name="Google Shape;5029;p52">
              <a:extLst>
                <a:ext uri="{FF2B5EF4-FFF2-40B4-BE49-F238E27FC236}">
                  <a16:creationId xmlns:a16="http://schemas.microsoft.com/office/drawing/2014/main" id="{D72181FE-9F3C-CEA0-3F2C-2B289356ADB2}"/>
                </a:ext>
              </a:extLst>
            </p:cNvPr>
            <p:cNvSpPr/>
            <p:nvPr/>
          </p:nvSpPr>
          <p:spPr>
            <a:xfrm>
              <a:off x="3691059" y="3895651"/>
              <a:ext cx="6697" cy="22998"/>
            </a:xfrm>
            <a:custGeom>
              <a:avLst/>
              <a:gdLst/>
              <a:ahLst/>
              <a:cxnLst/>
              <a:rect l="l" t="t" r="r" b="b"/>
              <a:pathLst>
                <a:path w="205" h="704" extrusionOk="0">
                  <a:moveTo>
                    <a:pt x="111" y="56"/>
                  </a:moveTo>
                  <a:lnTo>
                    <a:pt x="179" y="192"/>
                  </a:lnTo>
                  <a:cubicBezTo>
                    <a:pt x="192" y="325"/>
                    <a:pt x="205" y="419"/>
                    <a:pt x="150" y="581"/>
                  </a:cubicBezTo>
                  <a:cubicBezTo>
                    <a:pt x="150" y="581"/>
                    <a:pt x="124" y="649"/>
                    <a:pt x="69" y="704"/>
                  </a:cubicBezTo>
                  <a:lnTo>
                    <a:pt x="1" y="555"/>
                  </a:lnTo>
                  <a:cubicBezTo>
                    <a:pt x="1" y="393"/>
                    <a:pt x="17" y="192"/>
                    <a:pt x="17" y="192"/>
                  </a:cubicBezTo>
                  <a:lnTo>
                    <a:pt x="30" y="150"/>
                  </a:lnTo>
                  <a:cubicBezTo>
                    <a:pt x="30" y="150"/>
                    <a:pt x="69" y="1"/>
                    <a:pt x="111" y="5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0" name="Google Shape;5030;p52">
              <a:extLst>
                <a:ext uri="{FF2B5EF4-FFF2-40B4-BE49-F238E27FC236}">
                  <a16:creationId xmlns:a16="http://schemas.microsoft.com/office/drawing/2014/main" id="{956D28B3-A72B-575D-B00B-C162D54B003C}"/>
                </a:ext>
              </a:extLst>
            </p:cNvPr>
            <p:cNvSpPr/>
            <p:nvPr/>
          </p:nvSpPr>
          <p:spPr>
            <a:xfrm>
              <a:off x="3627551" y="3890783"/>
              <a:ext cx="6697" cy="21201"/>
            </a:xfrm>
            <a:custGeom>
              <a:avLst/>
              <a:gdLst/>
              <a:ahLst/>
              <a:cxnLst/>
              <a:rect l="l" t="t" r="r" b="b"/>
              <a:pathLst>
                <a:path w="205" h="649" extrusionOk="0">
                  <a:moveTo>
                    <a:pt x="163" y="30"/>
                  </a:moveTo>
                  <a:cubicBezTo>
                    <a:pt x="163" y="30"/>
                    <a:pt x="205" y="111"/>
                    <a:pt x="192" y="244"/>
                  </a:cubicBezTo>
                  <a:lnTo>
                    <a:pt x="163" y="380"/>
                  </a:lnTo>
                  <a:cubicBezTo>
                    <a:pt x="124" y="529"/>
                    <a:pt x="82" y="610"/>
                    <a:pt x="82" y="610"/>
                  </a:cubicBezTo>
                  <a:lnTo>
                    <a:pt x="30" y="649"/>
                  </a:lnTo>
                  <a:cubicBezTo>
                    <a:pt x="30" y="649"/>
                    <a:pt x="1" y="435"/>
                    <a:pt x="1" y="422"/>
                  </a:cubicBezTo>
                  <a:cubicBezTo>
                    <a:pt x="17" y="286"/>
                    <a:pt x="69" y="111"/>
                    <a:pt x="69" y="111"/>
                  </a:cubicBezTo>
                  <a:cubicBezTo>
                    <a:pt x="98" y="17"/>
                    <a:pt x="82" y="82"/>
                    <a:pt x="137" y="30"/>
                  </a:cubicBezTo>
                  <a:cubicBezTo>
                    <a:pt x="137" y="30"/>
                    <a:pt x="137" y="1"/>
                    <a:pt x="163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1" name="Google Shape;5031;p52">
              <a:extLst>
                <a:ext uri="{FF2B5EF4-FFF2-40B4-BE49-F238E27FC236}">
                  <a16:creationId xmlns:a16="http://schemas.microsoft.com/office/drawing/2014/main" id="{2720EFC3-6099-D356-4587-231DFAA8EED2}"/>
                </a:ext>
              </a:extLst>
            </p:cNvPr>
            <p:cNvSpPr/>
            <p:nvPr/>
          </p:nvSpPr>
          <p:spPr>
            <a:xfrm>
              <a:off x="3661102" y="3877552"/>
              <a:ext cx="10192" cy="25219"/>
            </a:xfrm>
            <a:custGeom>
              <a:avLst/>
              <a:gdLst/>
              <a:ahLst/>
              <a:cxnLst/>
              <a:rect l="l" t="t" r="r" b="b"/>
              <a:pathLst>
                <a:path w="312" h="772" extrusionOk="0">
                  <a:moveTo>
                    <a:pt x="150" y="137"/>
                  </a:moveTo>
                  <a:cubicBezTo>
                    <a:pt x="257" y="299"/>
                    <a:pt x="312" y="1"/>
                    <a:pt x="189" y="568"/>
                  </a:cubicBezTo>
                  <a:cubicBezTo>
                    <a:pt x="176" y="623"/>
                    <a:pt x="137" y="704"/>
                    <a:pt x="137" y="704"/>
                  </a:cubicBezTo>
                  <a:lnTo>
                    <a:pt x="69" y="772"/>
                  </a:lnTo>
                  <a:lnTo>
                    <a:pt x="1" y="542"/>
                  </a:lnTo>
                  <a:cubicBezTo>
                    <a:pt x="1" y="218"/>
                    <a:pt x="56" y="192"/>
                    <a:pt x="56" y="192"/>
                  </a:cubicBezTo>
                  <a:cubicBezTo>
                    <a:pt x="56" y="192"/>
                    <a:pt x="124" y="111"/>
                    <a:pt x="150" y="13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2" name="Google Shape;5032;p52">
              <a:extLst>
                <a:ext uri="{FF2B5EF4-FFF2-40B4-BE49-F238E27FC236}">
                  <a16:creationId xmlns:a16="http://schemas.microsoft.com/office/drawing/2014/main" id="{93487D0F-D22D-2EDB-A26B-81126AD9095F}"/>
                </a:ext>
              </a:extLst>
            </p:cNvPr>
            <p:cNvSpPr/>
            <p:nvPr/>
          </p:nvSpPr>
          <p:spPr>
            <a:xfrm>
              <a:off x="3692431" y="3851614"/>
              <a:ext cx="7122" cy="22475"/>
            </a:xfrm>
            <a:custGeom>
              <a:avLst/>
              <a:gdLst/>
              <a:ahLst/>
              <a:cxnLst/>
              <a:rect l="l" t="t" r="r" b="b"/>
              <a:pathLst>
                <a:path w="218" h="688" extrusionOk="0">
                  <a:moveTo>
                    <a:pt x="150" y="53"/>
                  </a:moveTo>
                  <a:lnTo>
                    <a:pt x="202" y="163"/>
                  </a:lnTo>
                  <a:cubicBezTo>
                    <a:pt x="218" y="215"/>
                    <a:pt x="202" y="228"/>
                    <a:pt x="202" y="228"/>
                  </a:cubicBezTo>
                  <a:cubicBezTo>
                    <a:pt x="202" y="228"/>
                    <a:pt x="189" y="445"/>
                    <a:pt x="189" y="633"/>
                  </a:cubicBezTo>
                  <a:lnTo>
                    <a:pt x="163" y="688"/>
                  </a:lnTo>
                  <a:lnTo>
                    <a:pt x="40" y="662"/>
                  </a:lnTo>
                  <a:cubicBezTo>
                    <a:pt x="1" y="487"/>
                    <a:pt x="27" y="432"/>
                    <a:pt x="40" y="283"/>
                  </a:cubicBezTo>
                  <a:cubicBezTo>
                    <a:pt x="40" y="283"/>
                    <a:pt x="108" y="1"/>
                    <a:pt x="150" y="5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3" name="Google Shape;5033;p52">
              <a:extLst>
                <a:ext uri="{FF2B5EF4-FFF2-40B4-BE49-F238E27FC236}">
                  <a16:creationId xmlns:a16="http://schemas.microsoft.com/office/drawing/2014/main" id="{18D5BC42-22C7-F83B-037C-BA7CB7095D8B}"/>
                </a:ext>
              </a:extLst>
            </p:cNvPr>
            <p:cNvSpPr/>
            <p:nvPr/>
          </p:nvSpPr>
          <p:spPr>
            <a:xfrm>
              <a:off x="3637711" y="3850666"/>
              <a:ext cx="8918" cy="19927"/>
            </a:xfrm>
            <a:custGeom>
              <a:avLst/>
              <a:gdLst/>
              <a:ahLst/>
              <a:cxnLst/>
              <a:rect l="l" t="t" r="r" b="b"/>
              <a:pathLst>
                <a:path w="273" h="610" extrusionOk="0">
                  <a:moveTo>
                    <a:pt x="257" y="30"/>
                  </a:moveTo>
                  <a:lnTo>
                    <a:pt x="273" y="163"/>
                  </a:lnTo>
                  <a:cubicBezTo>
                    <a:pt x="218" y="325"/>
                    <a:pt x="205" y="393"/>
                    <a:pt x="124" y="542"/>
                  </a:cubicBezTo>
                  <a:lnTo>
                    <a:pt x="43" y="610"/>
                  </a:lnTo>
                  <a:cubicBezTo>
                    <a:pt x="43" y="610"/>
                    <a:pt x="1" y="529"/>
                    <a:pt x="30" y="393"/>
                  </a:cubicBezTo>
                  <a:lnTo>
                    <a:pt x="137" y="111"/>
                  </a:lnTo>
                  <a:cubicBezTo>
                    <a:pt x="176" y="30"/>
                    <a:pt x="192" y="43"/>
                    <a:pt x="192" y="43"/>
                  </a:cubicBezTo>
                  <a:cubicBezTo>
                    <a:pt x="192" y="43"/>
                    <a:pt x="244" y="1"/>
                    <a:pt x="257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4" name="Google Shape;5034;p52">
              <a:extLst>
                <a:ext uri="{FF2B5EF4-FFF2-40B4-BE49-F238E27FC236}">
                  <a16:creationId xmlns:a16="http://schemas.microsoft.com/office/drawing/2014/main" id="{89A1C270-E11C-6DDF-1379-A90272942196}"/>
                </a:ext>
              </a:extLst>
            </p:cNvPr>
            <p:cNvSpPr/>
            <p:nvPr/>
          </p:nvSpPr>
          <p:spPr>
            <a:xfrm>
              <a:off x="3661951" y="3836162"/>
              <a:ext cx="7546" cy="19404"/>
            </a:xfrm>
            <a:custGeom>
              <a:avLst/>
              <a:gdLst/>
              <a:ahLst/>
              <a:cxnLst/>
              <a:rect l="l" t="t" r="r" b="b"/>
              <a:pathLst>
                <a:path w="231" h="594" extrusionOk="0">
                  <a:moveTo>
                    <a:pt x="231" y="40"/>
                  </a:moveTo>
                  <a:cubicBezTo>
                    <a:pt x="231" y="40"/>
                    <a:pt x="218" y="312"/>
                    <a:pt x="163" y="500"/>
                  </a:cubicBezTo>
                  <a:lnTo>
                    <a:pt x="69" y="594"/>
                  </a:lnTo>
                  <a:lnTo>
                    <a:pt x="30" y="500"/>
                  </a:lnTo>
                  <a:cubicBezTo>
                    <a:pt x="1" y="432"/>
                    <a:pt x="17" y="445"/>
                    <a:pt x="43" y="393"/>
                  </a:cubicBezTo>
                  <a:cubicBezTo>
                    <a:pt x="82" y="231"/>
                    <a:pt x="137" y="69"/>
                    <a:pt x="137" y="69"/>
                  </a:cubicBezTo>
                  <a:cubicBezTo>
                    <a:pt x="137" y="69"/>
                    <a:pt x="218" y="1"/>
                    <a:pt x="231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5" name="Google Shape;5035;p52">
              <a:extLst>
                <a:ext uri="{FF2B5EF4-FFF2-40B4-BE49-F238E27FC236}">
                  <a16:creationId xmlns:a16="http://schemas.microsoft.com/office/drawing/2014/main" id="{6FB272C6-E0D0-1230-B5A8-9674B1C29391}"/>
                </a:ext>
              </a:extLst>
            </p:cNvPr>
            <p:cNvSpPr/>
            <p:nvPr/>
          </p:nvSpPr>
          <p:spPr>
            <a:xfrm>
              <a:off x="3680474" y="3821134"/>
              <a:ext cx="4900" cy="19927"/>
            </a:xfrm>
            <a:custGeom>
              <a:avLst/>
              <a:gdLst/>
              <a:ahLst/>
              <a:cxnLst/>
              <a:rect l="l" t="t" r="r" b="b"/>
              <a:pathLst>
                <a:path w="150" h="610" extrusionOk="0">
                  <a:moveTo>
                    <a:pt x="124" y="27"/>
                  </a:moveTo>
                  <a:lnTo>
                    <a:pt x="150" y="137"/>
                  </a:lnTo>
                  <a:cubicBezTo>
                    <a:pt x="137" y="380"/>
                    <a:pt x="124" y="367"/>
                    <a:pt x="124" y="406"/>
                  </a:cubicBezTo>
                  <a:lnTo>
                    <a:pt x="82" y="568"/>
                  </a:lnTo>
                  <a:lnTo>
                    <a:pt x="56" y="610"/>
                  </a:lnTo>
                  <a:lnTo>
                    <a:pt x="17" y="419"/>
                  </a:lnTo>
                  <a:cubicBezTo>
                    <a:pt x="1" y="218"/>
                    <a:pt x="1" y="312"/>
                    <a:pt x="30" y="124"/>
                  </a:cubicBezTo>
                  <a:cubicBezTo>
                    <a:pt x="43" y="27"/>
                    <a:pt x="69" y="43"/>
                    <a:pt x="69" y="43"/>
                  </a:cubicBezTo>
                  <a:cubicBezTo>
                    <a:pt x="69" y="43"/>
                    <a:pt x="98" y="1"/>
                    <a:pt x="124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6" name="Google Shape;5036;p52">
              <a:extLst>
                <a:ext uri="{FF2B5EF4-FFF2-40B4-BE49-F238E27FC236}">
                  <a16:creationId xmlns:a16="http://schemas.microsoft.com/office/drawing/2014/main" id="{BCCF2B22-782C-7C93-F7A4-42762176DA20}"/>
                </a:ext>
              </a:extLst>
            </p:cNvPr>
            <p:cNvSpPr/>
            <p:nvPr/>
          </p:nvSpPr>
          <p:spPr>
            <a:xfrm>
              <a:off x="3664173" y="4253304"/>
              <a:ext cx="37078" cy="89999"/>
            </a:xfrm>
            <a:custGeom>
              <a:avLst/>
              <a:gdLst/>
              <a:ahLst/>
              <a:cxnLst/>
              <a:rect l="l" t="t" r="r" b="b"/>
              <a:pathLst>
                <a:path w="1135" h="2755" extrusionOk="0">
                  <a:moveTo>
                    <a:pt x="1" y="2755"/>
                  </a:moveTo>
                  <a:lnTo>
                    <a:pt x="1" y="568"/>
                  </a:lnTo>
                  <a:cubicBezTo>
                    <a:pt x="1" y="260"/>
                    <a:pt x="257" y="1"/>
                    <a:pt x="568" y="1"/>
                  </a:cubicBezTo>
                  <a:cubicBezTo>
                    <a:pt x="879" y="1"/>
                    <a:pt x="1135" y="260"/>
                    <a:pt x="1135" y="568"/>
                  </a:cubicBezTo>
                  <a:lnTo>
                    <a:pt x="1135" y="2674"/>
                  </a:lnTo>
                  <a:lnTo>
                    <a:pt x="1041" y="2674"/>
                  </a:lnTo>
                  <a:cubicBezTo>
                    <a:pt x="743" y="2674"/>
                    <a:pt x="435" y="2703"/>
                    <a:pt x="137" y="2742"/>
                  </a:cubicBezTo>
                  <a:cubicBezTo>
                    <a:pt x="95" y="2742"/>
                    <a:pt x="43" y="2755"/>
                    <a:pt x="1" y="2755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7" name="Google Shape;5037;p52">
              <a:extLst>
                <a:ext uri="{FF2B5EF4-FFF2-40B4-BE49-F238E27FC236}">
                  <a16:creationId xmlns:a16="http://schemas.microsoft.com/office/drawing/2014/main" id="{6E86CCE9-4E3B-54C7-AD50-BD9B4DB8367F}"/>
                </a:ext>
              </a:extLst>
            </p:cNvPr>
            <p:cNvSpPr/>
            <p:nvPr/>
          </p:nvSpPr>
          <p:spPr>
            <a:xfrm>
              <a:off x="3650517" y="4248959"/>
              <a:ext cx="51680" cy="27343"/>
            </a:xfrm>
            <a:custGeom>
              <a:avLst/>
              <a:gdLst/>
              <a:ahLst/>
              <a:cxnLst/>
              <a:rect l="l" t="t" r="r" b="b"/>
              <a:pathLst>
                <a:path w="1582" h="837" extrusionOk="0">
                  <a:moveTo>
                    <a:pt x="176" y="432"/>
                  </a:moveTo>
                  <a:cubicBezTo>
                    <a:pt x="124" y="500"/>
                    <a:pt x="69" y="568"/>
                    <a:pt x="27" y="636"/>
                  </a:cubicBezTo>
                  <a:cubicBezTo>
                    <a:pt x="27" y="649"/>
                    <a:pt x="1" y="701"/>
                    <a:pt x="1" y="701"/>
                  </a:cubicBezTo>
                  <a:cubicBezTo>
                    <a:pt x="108" y="756"/>
                    <a:pt x="286" y="636"/>
                    <a:pt x="351" y="581"/>
                  </a:cubicBezTo>
                  <a:cubicBezTo>
                    <a:pt x="380" y="555"/>
                    <a:pt x="406" y="526"/>
                    <a:pt x="432" y="513"/>
                  </a:cubicBezTo>
                  <a:lnTo>
                    <a:pt x="474" y="474"/>
                  </a:lnTo>
                  <a:cubicBezTo>
                    <a:pt x="448" y="513"/>
                    <a:pt x="419" y="555"/>
                    <a:pt x="406" y="594"/>
                  </a:cubicBezTo>
                  <a:cubicBezTo>
                    <a:pt x="380" y="636"/>
                    <a:pt x="299" y="798"/>
                    <a:pt x="406" y="782"/>
                  </a:cubicBezTo>
                  <a:cubicBezTo>
                    <a:pt x="487" y="782"/>
                    <a:pt x="581" y="717"/>
                    <a:pt x="636" y="662"/>
                  </a:cubicBezTo>
                  <a:cubicBezTo>
                    <a:pt x="649" y="636"/>
                    <a:pt x="675" y="607"/>
                    <a:pt x="691" y="594"/>
                  </a:cubicBezTo>
                  <a:cubicBezTo>
                    <a:pt x="704" y="581"/>
                    <a:pt x="704" y="555"/>
                    <a:pt x="730" y="555"/>
                  </a:cubicBezTo>
                  <a:cubicBezTo>
                    <a:pt x="798" y="594"/>
                    <a:pt x="934" y="837"/>
                    <a:pt x="1015" y="688"/>
                  </a:cubicBezTo>
                  <a:cubicBezTo>
                    <a:pt x="1028" y="662"/>
                    <a:pt x="1028" y="649"/>
                    <a:pt x="1028" y="620"/>
                  </a:cubicBezTo>
                  <a:cubicBezTo>
                    <a:pt x="1041" y="594"/>
                    <a:pt x="1041" y="568"/>
                    <a:pt x="1028" y="539"/>
                  </a:cubicBezTo>
                  <a:cubicBezTo>
                    <a:pt x="1028" y="526"/>
                    <a:pt x="1041" y="555"/>
                    <a:pt x="1054" y="555"/>
                  </a:cubicBezTo>
                  <a:cubicBezTo>
                    <a:pt x="1067" y="568"/>
                    <a:pt x="1067" y="581"/>
                    <a:pt x="1080" y="594"/>
                  </a:cubicBezTo>
                  <a:cubicBezTo>
                    <a:pt x="1122" y="620"/>
                    <a:pt x="1148" y="662"/>
                    <a:pt x="1190" y="675"/>
                  </a:cubicBezTo>
                  <a:cubicBezTo>
                    <a:pt x="1310" y="756"/>
                    <a:pt x="1446" y="756"/>
                    <a:pt x="1540" y="649"/>
                  </a:cubicBezTo>
                  <a:cubicBezTo>
                    <a:pt x="1582" y="581"/>
                    <a:pt x="1553" y="500"/>
                    <a:pt x="1527" y="432"/>
                  </a:cubicBezTo>
                  <a:cubicBezTo>
                    <a:pt x="1446" y="270"/>
                    <a:pt x="1258" y="163"/>
                    <a:pt x="1054" y="108"/>
                  </a:cubicBezTo>
                  <a:cubicBezTo>
                    <a:pt x="675" y="1"/>
                    <a:pt x="325" y="176"/>
                    <a:pt x="108" y="432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8" name="Google Shape;5038;p52">
              <a:extLst>
                <a:ext uri="{FF2B5EF4-FFF2-40B4-BE49-F238E27FC236}">
                  <a16:creationId xmlns:a16="http://schemas.microsoft.com/office/drawing/2014/main" id="{1EF9F26D-56D1-9CDF-4162-603A554392C0}"/>
                </a:ext>
              </a:extLst>
            </p:cNvPr>
            <p:cNvSpPr/>
            <p:nvPr/>
          </p:nvSpPr>
          <p:spPr>
            <a:xfrm>
              <a:off x="3667243" y="4233932"/>
              <a:ext cx="7546" cy="17706"/>
            </a:xfrm>
            <a:custGeom>
              <a:avLst/>
              <a:gdLst/>
              <a:ahLst/>
              <a:cxnLst/>
              <a:rect l="l" t="t" r="r" b="b"/>
              <a:pathLst>
                <a:path w="231" h="542" extrusionOk="0">
                  <a:moveTo>
                    <a:pt x="137" y="27"/>
                  </a:moveTo>
                  <a:lnTo>
                    <a:pt x="205" y="124"/>
                  </a:lnTo>
                  <a:cubicBezTo>
                    <a:pt x="231" y="163"/>
                    <a:pt x="231" y="108"/>
                    <a:pt x="218" y="257"/>
                  </a:cubicBezTo>
                  <a:cubicBezTo>
                    <a:pt x="218" y="257"/>
                    <a:pt x="192" y="448"/>
                    <a:pt x="192" y="474"/>
                  </a:cubicBezTo>
                  <a:lnTo>
                    <a:pt x="137" y="542"/>
                  </a:lnTo>
                  <a:lnTo>
                    <a:pt x="69" y="432"/>
                  </a:lnTo>
                  <a:cubicBezTo>
                    <a:pt x="17" y="231"/>
                    <a:pt x="1" y="286"/>
                    <a:pt x="30" y="150"/>
                  </a:cubicBezTo>
                  <a:cubicBezTo>
                    <a:pt x="30" y="150"/>
                    <a:pt x="98" y="1"/>
                    <a:pt x="137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9" name="Google Shape;5039;p52">
              <a:extLst>
                <a:ext uri="{FF2B5EF4-FFF2-40B4-BE49-F238E27FC236}">
                  <a16:creationId xmlns:a16="http://schemas.microsoft.com/office/drawing/2014/main" id="{C04E2E2F-287D-3E34-A6E9-43108766DA17}"/>
                </a:ext>
              </a:extLst>
            </p:cNvPr>
            <p:cNvSpPr/>
            <p:nvPr/>
          </p:nvSpPr>
          <p:spPr>
            <a:xfrm>
              <a:off x="3713175" y="4234781"/>
              <a:ext cx="6599" cy="15909"/>
            </a:xfrm>
            <a:custGeom>
              <a:avLst/>
              <a:gdLst/>
              <a:ahLst/>
              <a:cxnLst/>
              <a:rect l="l" t="t" r="r" b="b"/>
              <a:pathLst>
                <a:path w="202" h="487" extrusionOk="0">
                  <a:moveTo>
                    <a:pt x="163" y="69"/>
                  </a:moveTo>
                  <a:lnTo>
                    <a:pt x="202" y="163"/>
                  </a:lnTo>
                  <a:cubicBezTo>
                    <a:pt x="176" y="273"/>
                    <a:pt x="121" y="448"/>
                    <a:pt x="121" y="448"/>
                  </a:cubicBezTo>
                  <a:lnTo>
                    <a:pt x="40" y="487"/>
                  </a:lnTo>
                  <a:cubicBezTo>
                    <a:pt x="40" y="487"/>
                    <a:pt x="14" y="448"/>
                    <a:pt x="1" y="422"/>
                  </a:cubicBezTo>
                  <a:cubicBezTo>
                    <a:pt x="95" y="1"/>
                    <a:pt x="134" y="69"/>
                    <a:pt x="163" y="69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0" name="Google Shape;5040;p52">
              <a:extLst>
                <a:ext uri="{FF2B5EF4-FFF2-40B4-BE49-F238E27FC236}">
                  <a16:creationId xmlns:a16="http://schemas.microsoft.com/office/drawing/2014/main" id="{EBAEEA8A-EFE3-452A-4D22-BFCBEDEE519E}"/>
                </a:ext>
              </a:extLst>
            </p:cNvPr>
            <p:cNvSpPr/>
            <p:nvPr/>
          </p:nvSpPr>
          <p:spPr>
            <a:xfrm>
              <a:off x="3622782" y="4223772"/>
              <a:ext cx="12316" cy="23423"/>
            </a:xfrm>
            <a:custGeom>
              <a:avLst/>
              <a:gdLst/>
              <a:ahLst/>
              <a:cxnLst/>
              <a:rect l="l" t="t" r="r" b="b"/>
              <a:pathLst>
                <a:path w="377" h="717" extrusionOk="0">
                  <a:moveTo>
                    <a:pt x="163" y="30"/>
                  </a:moveTo>
                  <a:cubicBezTo>
                    <a:pt x="163" y="30"/>
                    <a:pt x="189" y="111"/>
                    <a:pt x="283" y="354"/>
                  </a:cubicBezTo>
                  <a:lnTo>
                    <a:pt x="351" y="568"/>
                  </a:lnTo>
                  <a:cubicBezTo>
                    <a:pt x="351" y="581"/>
                    <a:pt x="364" y="610"/>
                    <a:pt x="377" y="623"/>
                  </a:cubicBezTo>
                  <a:lnTo>
                    <a:pt x="351" y="717"/>
                  </a:lnTo>
                  <a:cubicBezTo>
                    <a:pt x="351" y="717"/>
                    <a:pt x="270" y="717"/>
                    <a:pt x="134" y="529"/>
                  </a:cubicBezTo>
                  <a:lnTo>
                    <a:pt x="95" y="448"/>
                  </a:lnTo>
                  <a:cubicBezTo>
                    <a:pt x="40" y="312"/>
                    <a:pt x="27" y="231"/>
                    <a:pt x="1" y="82"/>
                  </a:cubicBezTo>
                  <a:lnTo>
                    <a:pt x="40" y="43"/>
                  </a:lnTo>
                  <a:cubicBezTo>
                    <a:pt x="40" y="43"/>
                    <a:pt x="121" y="1"/>
                    <a:pt x="163" y="3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1" name="Google Shape;5041;p52">
              <a:extLst>
                <a:ext uri="{FF2B5EF4-FFF2-40B4-BE49-F238E27FC236}">
                  <a16:creationId xmlns:a16="http://schemas.microsoft.com/office/drawing/2014/main" id="{718C0235-58B4-A6E1-A56D-F78CA339C299}"/>
                </a:ext>
              </a:extLst>
            </p:cNvPr>
            <p:cNvSpPr/>
            <p:nvPr/>
          </p:nvSpPr>
          <p:spPr>
            <a:xfrm>
              <a:off x="3732547" y="4216781"/>
              <a:ext cx="10617" cy="28617"/>
            </a:xfrm>
            <a:custGeom>
              <a:avLst/>
              <a:gdLst/>
              <a:ahLst/>
              <a:cxnLst/>
              <a:rect l="l" t="t" r="r" b="b"/>
              <a:pathLst>
                <a:path w="325" h="876" extrusionOk="0">
                  <a:moveTo>
                    <a:pt x="286" y="27"/>
                  </a:moveTo>
                  <a:cubicBezTo>
                    <a:pt x="312" y="121"/>
                    <a:pt x="325" y="66"/>
                    <a:pt x="312" y="147"/>
                  </a:cubicBezTo>
                  <a:lnTo>
                    <a:pt x="257" y="364"/>
                  </a:lnTo>
                  <a:cubicBezTo>
                    <a:pt x="231" y="513"/>
                    <a:pt x="189" y="633"/>
                    <a:pt x="176" y="649"/>
                  </a:cubicBezTo>
                  <a:cubicBezTo>
                    <a:pt x="163" y="688"/>
                    <a:pt x="124" y="756"/>
                    <a:pt x="124" y="756"/>
                  </a:cubicBezTo>
                  <a:lnTo>
                    <a:pt x="27" y="876"/>
                  </a:lnTo>
                  <a:cubicBezTo>
                    <a:pt x="27" y="876"/>
                    <a:pt x="1" y="743"/>
                    <a:pt x="27" y="594"/>
                  </a:cubicBezTo>
                  <a:lnTo>
                    <a:pt x="205" y="53"/>
                  </a:lnTo>
                  <a:cubicBezTo>
                    <a:pt x="205" y="53"/>
                    <a:pt x="257" y="1"/>
                    <a:pt x="286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2" name="Google Shape;5042;p52">
              <a:extLst>
                <a:ext uri="{FF2B5EF4-FFF2-40B4-BE49-F238E27FC236}">
                  <a16:creationId xmlns:a16="http://schemas.microsoft.com/office/drawing/2014/main" id="{895F8CF6-D376-7DBE-A7DB-7AACD2330E6B}"/>
                </a:ext>
              </a:extLst>
            </p:cNvPr>
            <p:cNvSpPr/>
            <p:nvPr/>
          </p:nvSpPr>
          <p:spPr>
            <a:xfrm>
              <a:off x="3584788" y="4216781"/>
              <a:ext cx="15909" cy="25971"/>
            </a:xfrm>
            <a:custGeom>
              <a:avLst/>
              <a:gdLst/>
              <a:ahLst/>
              <a:cxnLst/>
              <a:rect l="l" t="t" r="r" b="b"/>
              <a:pathLst>
                <a:path w="487" h="795" extrusionOk="0">
                  <a:moveTo>
                    <a:pt x="406" y="782"/>
                  </a:moveTo>
                  <a:cubicBezTo>
                    <a:pt x="312" y="688"/>
                    <a:pt x="192" y="526"/>
                    <a:pt x="176" y="500"/>
                  </a:cubicBezTo>
                  <a:cubicBezTo>
                    <a:pt x="163" y="471"/>
                    <a:pt x="150" y="445"/>
                    <a:pt x="137" y="432"/>
                  </a:cubicBezTo>
                  <a:cubicBezTo>
                    <a:pt x="124" y="390"/>
                    <a:pt x="111" y="364"/>
                    <a:pt x="95" y="338"/>
                  </a:cubicBezTo>
                  <a:cubicBezTo>
                    <a:pt x="43" y="228"/>
                    <a:pt x="1" y="53"/>
                    <a:pt x="1" y="53"/>
                  </a:cubicBezTo>
                  <a:lnTo>
                    <a:pt x="43" y="1"/>
                  </a:lnTo>
                  <a:cubicBezTo>
                    <a:pt x="43" y="1"/>
                    <a:pt x="124" y="1"/>
                    <a:pt x="299" y="351"/>
                  </a:cubicBezTo>
                  <a:cubicBezTo>
                    <a:pt x="461" y="662"/>
                    <a:pt x="312" y="390"/>
                    <a:pt x="487" y="743"/>
                  </a:cubicBezTo>
                  <a:lnTo>
                    <a:pt x="474" y="795"/>
                  </a:lnTo>
                  <a:cubicBezTo>
                    <a:pt x="474" y="795"/>
                    <a:pt x="435" y="795"/>
                    <a:pt x="406" y="782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3" name="Google Shape;5043;p52">
              <a:extLst>
                <a:ext uri="{FF2B5EF4-FFF2-40B4-BE49-F238E27FC236}">
                  <a16:creationId xmlns:a16="http://schemas.microsoft.com/office/drawing/2014/main" id="{CD14BAE9-DD9F-D95D-3BD4-66C948061FB2}"/>
                </a:ext>
              </a:extLst>
            </p:cNvPr>
            <p:cNvSpPr/>
            <p:nvPr/>
          </p:nvSpPr>
          <p:spPr>
            <a:xfrm>
              <a:off x="3696351" y="4202178"/>
              <a:ext cx="7122" cy="23423"/>
            </a:xfrm>
            <a:custGeom>
              <a:avLst/>
              <a:gdLst/>
              <a:ahLst/>
              <a:cxnLst/>
              <a:rect l="l" t="t" r="r" b="b"/>
              <a:pathLst>
                <a:path w="218" h="717" extrusionOk="0">
                  <a:moveTo>
                    <a:pt x="150" y="27"/>
                  </a:moveTo>
                  <a:lnTo>
                    <a:pt x="218" y="189"/>
                  </a:lnTo>
                  <a:lnTo>
                    <a:pt x="218" y="312"/>
                  </a:lnTo>
                  <a:cubicBezTo>
                    <a:pt x="192" y="649"/>
                    <a:pt x="192" y="581"/>
                    <a:pt x="179" y="610"/>
                  </a:cubicBezTo>
                  <a:lnTo>
                    <a:pt x="98" y="717"/>
                  </a:lnTo>
                  <a:lnTo>
                    <a:pt x="30" y="636"/>
                  </a:lnTo>
                  <a:cubicBezTo>
                    <a:pt x="1" y="419"/>
                    <a:pt x="17" y="529"/>
                    <a:pt x="30" y="325"/>
                  </a:cubicBezTo>
                  <a:lnTo>
                    <a:pt x="30" y="205"/>
                  </a:lnTo>
                  <a:cubicBezTo>
                    <a:pt x="56" y="95"/>
                    <a:pt x="98" y="69"/>
                    <a:pt x="98" y="69"/>
                  </a:cubicBezTo>
                  <a:cubicBezTo>
                    <a:pt x="98" y="69"/>
                    <a:pt x="124" y="1"/>
                    <a:pt x="150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4" name="Google Shape;5044;p52">
              <a:extLst>
                <a:ext uri="{FF2B5EF4-FFF2-40B4-BE49-F238E27FC236}">
                  <a16:creationId xmlns:a16="http://schemas.microsoft.com/office/drawing/2014/main" id="{9D735C9A-D2B2-5D16-5DFE-DF45A4A428B3}"/>
                </a:ext>
              </a:extLst>
            </p:cNvPr>
            <p:cNvSpPr/>
            <p:nvPr/>
          </p:nvSpPr>
          <p:spPr>
            <a:xfrm>
              <a:off x="3642579" y="4191594"/>
              <a:ext cx="9768" cy="35804"/>
            </a:xfrm>
            <a:custGeom>
              <a:avLst/>
              <a:gdLst/>
              <a:ahLst/>
              <a:cxnLst/>
              <a:rect l="l" t="t" r="r" b="b"/>
              <a:pathLst>
                <a:path w="299" h="1096" extrusionOk="0">
                  <a:moveTo>
                    <a:pt x="95" y="27"/>
                  </a:moveTo>
                  <a:lnTo>
                    <a:pt x="163" y="137"/>
                  </a:lnTo>
                  <a:cubicBezTo>
                    <a:pt x="189" y="286"/>
                    <a:pt x="124" y="43"/>
                    <a:pt x="244" y="594"/>
                  </a:cubicBezTo>
                  <a:cubicBezTo>
                    <a:pt x="286" y="743"/>
                    <a:pt x="299" y="905"/>
                    <a:pt x="299" y="905"/>
                  </a:cubicBezTo>
                  <a:cubicBezTo>
                    <a:pt x="257" y="1096"/>
                    <a:pt x="218" y="973"/>
                    <a:pt x="218" y="973"/>
                  </a:cubicBezTo>
                  <a:cubicBezTo>
                    <a:pt x="1" y="772"/>
                    <a:pt x="82" y="918"/>
                    <a:pt x="14" y="286"/>
                  </a:cubicBezTo>
                  <a:cubicBezTo>
                    <a:pt x="1" y="69"/>
                    <a:pt x="43" y="82"/>
                    <a:pt x="43" y="82"/>
                  </a:cubicBezTo>
                  <a:cubicBezTo>
                    <a:pt x="43" y="82"/>
                    <a:pt x="56" y="1"/>
                    <a:pt x="95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5" name="Google Shape;5045;p52">
              <a:extLst>
                <a:ext uri="{FF2B5EF4-FFF2-40B4-BE49-F238E27FC236}">
                  <a16:creationId xmlns:a16="http://schemas.microsoft.com/office/drawing/2014/main" id="{DF4ADCAF-E2E5-55B5-F9EC-C86C832D3DCA}"/>
                </a:ext>
              </a:extLst>
            </p:cNvPr>
            <p:cNvSpPr/>
            <p:nvPr/>
          </p:nvSpPr>
          <p:spPr>
            <a:xfrm>
              <a:off x="3593674" y="4188523"/>
              <a:ext cx="8396" cy="23847"/>
            </a:xfrm>
            <a:custGeom>
              <a:avLst/>
              <a:gdLst/>
              <a:ahLst/>
              <a:cxnLst/>
              <a:rect l="l" t="t" r="r" b="b"/>
              <a:pathLst>
                <a:path w="257" h="730" extrusionOk="0">
                  <a:moveTo>
                    <a:pt x="134" y="27"/>
                  </a:moveTo>
                  <a:cubicBezTo>
                    <a:pt x="134" y="27"/>
                    <a:pt x="228" y="351"/>
                    <a:pt x="257" y="581"/>
                  </a:cubicBezTo>
                  <a:lnTo>
                    <a:pt x="202" y="730"/>
                  </a:lnTo>
                  <a:lnTo>
                    <a:pt x="134" y="662"/>
                  </a:lnTo>
                  <a:cubicBezTo>
                    <a:pt x="27" y="568"/>
                    <a:pt x="82" y="607"/>
                    <a:pt x="53" y="513"/>
                  </a:cubicBezTo>
                  <a:cubicBezTo>
                    <a:pt x="1" y="283"/>
                    <a:pt x="27" y="27"/>
                    <a:pt x="27" y="27"/>
                  </a:cubicBezTo>
                  <a:cubicBezTo>
                    <a:pt x="27" y="27"/>
                    <a:pt x="82" y="1"/>
                    <a:pt x="134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6" name="Google Shape;5046;p52">
              <a:extLst>
                <a:ext uri="{FF2B5EF4-FFF2-40B4-BE49-F238E27FC236}">
                  <a16:creationId xmlns:a16="http://schemas.microsoft.com/office/drawing/2014/main" id="{960F203B-C700-0249-8DE1-6ADCAD9B1A50}"/>
                </a:ext>
              </a:extLst>
            </p:cNvPr>
            <p:cNvSpPr/>
            <p:nvPr/>
          </p:nvSpPr>
          <p:spPr>
            <a:xfrm>
              <a:off x="3725034" y="4179212"/>
              <a:ext cx="7971" cy="30936"/>
            </a:xfrm>
            <a:custGeom>
              <a:avLst/>
              <a:gdLst/>
              <a:ahLst/>
              <a:cxnLst/>
              <a:rect l="l" t="t" r="r" b="b"/>
              <a:pathLst>
                <a:path w="244" h="947" extrusionOk="0">
                  <a:moveTo>
                    <a:pt x="163" y="17"/>
                  </a:moveTo>
                  <a:cubicBezTo>
                    <a:pt x="244" y="43"/>
                    <a:pt x="205" y="69"/>
                    <a:pt x="205" y="124"/>
                  </a:cubicBezTo>
                  <a:cubicBezTo>
                    <a:pt x="205" y="312"/>
                    <a:pt x="205" y="516"/>
                    <a:pt x="192" y="704"/>
                  </a:cubicBezTo>
                  <a:lnTo>
                    <a:pt x="150" y="879"/>
                  </a:lnTo>
                  <a:lnTo>
                    <a:pt x="82" y="947"/>
                  </a:lnTo>
                  <a:lnTo>
                    <a:pt x="30" y="866"/>
                  </a:lnTo>
                  <a:cubicBezTo>
                    <a:pt x="1" y="584"/>
                    <a:pt x="56" y="367"/>
                    <a:pt x="95" y="56"/>
                  </a:cubicBezTo>
                  <a:cubicBezTo>
                    <a:pt x="95" y="56"/>
                    <a:pt x="124" y="1"/>
                    <a:pt x="163" y="1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7" name="Google Shape;5047;p52">
              <a:extLst>
                <a:ext uri="{FF2B5EF4-FFF2-40B4-BE49-F238E27FC236}">
                  <a16:creationId xmlns:a16="http://schemas.microsoft.com/office/drawing/2014/main" id="{B4D2384E-786B-F8A5-B087-810EBF2CDE56}"/>
                </a:ext>
              </a:extLst>
            </p:cNvPr>
            <p:cNvSpPr/>
            <p:nvPr/>
          </p:nvSpPr>
          <p:spPr>
            <a:xfrm>
              <a:off x="3739212" y="3931423"/>
              <a:ext cx="5325" cy="19404"/>
            </a:xfrm>
            <a:custGeom>
              <a:avLst/>
              <a:gdLst/>
              <a:ahLst/>
              <a:cxnLst/>
              <a:rect l="l" t="t" r="r" b="b"/>
              <a:pathLst>
                <a:path w="163" h="594" extrusionOk="0">
                  <a:moveTo>
                    <a:pt x="108" y="69"/>
                  </a:moveTo>
                  <a:cubicBezTo>
                    <a:pt x="108" y="69"/>
                    <a:pt x="147" y="312"/>
                    <a:pt x="163" y="526"/>
                  </a:cubicBezTo>
                  <a:lnTo>
                    <a:pt x="108" y="594"/>
                  </a:lnTo>
                  <a:cubicBezTo>
                    <a:pt x="108" y="594"/>
                    <a:pt x="14" y="296"/>
                    <a:pt x="14" y="108"/>
                  </a:cubicBezTo>
                  <a:cubicBezTo>
                    <a:pt x="1" y="27"/>
                    <a:pt x="40" y="1"/>
                    <a:pt x="108" y="69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8" name="Google Shape;5048;p52">
              <a:extLst>
                <a:ext uri="{FF2B5EF4-FFF2-40B4-BE49-F238E27FC236}">
                  <a16:creationId xmlns:a16="http://schemas.microsoft.com/office/drawing/2014/main" id="{A3831A33-B2D3-AE06-A96B-EB4746D6B300}"/>
                </a:ext>
              </a:extLst>
            </p:cNvPr>
            <p:cNvSpPr/>
            <p:nvPr/>
          </p:nvSpPr>
          <p:spPr>
            <a:xfrm>
              <a:off x="3727255" y="3881146"/>
              <a:ext cx="9343" cy="22475"/>
            </a:xfrm>
            <a:custGeom>
              <a:avLst/>
              <a:gdLst/>
              <a:ahLst/>
              <a:cxnLst/>
              <a:rect l="l" t="t" r="r" b="b"/>
              <a:pathLst>
                <a:path w="286" h="688" extrusionOk="0">
                  <a:moveTo>
                    <a:pt x="56" y="40"/>
                  </a:moveTo>
                  <a:lnTo>
                    <a:pt x="163" y="150"/>
                  </a:lnTo>
                  <a:cubicBezTo>
                    <a:pt x="218" y="283"/>
                    <a:pt x="270" y="474"/>
                    <a:pt x="270" y="474"/>
                  </a:cubicBezTo>
                  <a:cubicBezTo>
                    <a:pt x="286" y="513"/>
                    <a:pt x="270" y="539"/>
                    <a:pt x="270" y="539"/>
                  </a:cubicBezTo>
                  <a:cubicBezTo>
                    <a:pt x="270" y="539"/>
                    <a:pt x="270" y="688"/>
                    <a:pt x="150" y="526"/>
                  </a:cubicBezTo>
                  <a:lnTo>
                    <a:pt x="1" y="121"/>
                  </a:lnTo>
                  <a:cubicBezTo>
                    <a:pt x="14" y="1"/>
                    <a:pt x="27" y="27"/>
                    <a:pt x="56" y="4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9" name="Google Shape;5049;p52">
              <a:extLst>
                <a:ext uri="{FF2B5EF4-FFF2-40B4-BE49-F238E27FC236}">
                  <a16:creationId xmlns:a16="http://schemas.microsoft.com/office/drawing/2014/main" id="{B12436D9-FFCC-F701-34A7-2ACE91EE0603}"/>
                </a:ext>
              </a:extLst>
            </p:cNvPr>
            <p:cNvSpPr/>
            <p:nvPr/>
          </p:nvSpPr>
          <p:spPr>
            <a:xfrm>
              <a:off x="3427817" y="3948574"/>
              <a:ext cx="202408" cy="347615"/>
            </a:xfrm>
            <a:custGeom>
              <a:avLst/>
              <a:gdLst/>
              <a:ahLst/>
              <a:cxnLst/>
              <a:rect l="l" t="t" r="r" b="b"/>
              <a:pathLst>
                <a:path w="6196" h="10641" extrusionOk="0">
                  <a:moveTo>
                    <a:pt x="3066" y="111"/>
                  </a:moveTo>
                  <a:cubicBezTo>
                    <a:pt x="1796" y="1"/>
                    <a:pt x="1122" y="3322"/>
                    <a:pt x="662" y="5279"/>
                  </a:cubicBezTo>
                  <a:cubicBezTo>
                    <a:pt x="1" y="8049"/>
                    <a:pt x="27" y="10641"/>
                    <a:pt x="2538" y="10560"/>
                  </a:cubicBezTo>
                  <a:cubicBezTo>
                    <a:pt x="4077" y="10505"/>
                    <a:pt x="6196" y="10544"/>
                    <a:pt x="5104" y="5457"/>
                  </a:cubicBezTo>
                  <a:cubicBezTo>
                    <a:pt x="4644" y="3283"/>
                    <a:pt x="4375" y="231"/>
                    <a:pt x="3066" y="11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0" name="Google Shape;5050;p52">
              <a:extLst>
                <a:ext uri="{FF2B5EF4-FFF2-40B4-BE49-F238E27FC236}">
                  <a16:creationId xmlns:a16="http://schemas.microsoft.com/office/drawing/2014/main" id="{A6D8B092-97CF-179F-0543-EE3E8F5B5703}"/>
                </a:ext>
              </a:extLst>
            </p:cNvPr>
            <p:cNvSpPr/>
            <p:nvPr/>
          </p:nvSpPr>
          <p:spPr>
            <a:xfrm>
              <a:off x="3518210" y="4216781"/>
              <a:ext cx="4900" cy="18980"/>
            </a:xfrm>
            <a:custGeom>
              <a:avLst/>
              <a:gdLst/>
              <a:ahLst/>
              <a:cxnLst/>
              <a:rect l="l" t="t" r="r" b="b"/>
              <a:pathLst>
                <a:path w="150" h="581" extrusionOk="0">
                  <a:moveTo>
                    <a:pt x="95" y="82"/>
                  </a:moveTo>
                  <a:lnTo>
                    <a:pt x="150" y="147"/>
                  </a:lnTo>
                  <a:cubicBezTo>
                    <a:pt x="150" y="513"/>
                    <a:pt x="150" y="390"/>
                    <a:pt x="124" y="500"/>
                  </a:cubicBezTo>
                  <a:lnTo>
                    <a:pt x="69" y="581"/>
                  </a:lnTo>
                  <a:lnTo>
                    <a:pt x="1" y="419"/>
                  </a:lnTo>
                  <a:cubicBezTo>
                    <a:pt x="14" y="1"/>
                    <a:pt x="82" y="53"/>
                    <a:pt x="95" y="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1" name="Google Shape;5051;p52">
              <a:extLst>
                <a:ext uri="{FF2B5EF4-FFF2-40B4-BE49-F238E27FC236}">
                  <a16:creationId xmlns:a16="http://schemas.microsoft.com/office/drawing/2014/main" id="{4517FDF7-D50F-F248-0A24-8AC36AD63888}"/>
                </a:ext>
              </a:extLst>
            </p:cNvPr>
            <p:cNvSpPr/>
            <p:nvPr/>
          </p:nvSpPr>
          <p:spPr>
            <a:xfrm>
              <a:off x="3547742" y="4213612"/>
              <a:ext cx="6272" cy="20777"/>
            </a:xfrm>
            <a:custGeom>
              <a:avLst/>
              <a:gdLst/>
              <a:ahLst/>
              <a:cxnLst/>
              <a:rect l="l" t="t" r="r" b="b"/>
              <a:pathLst>
                <a:path w="192" h="636" extrusionOk="0">
                  <a:moveTo>
                    <a:pt x="137" y="1"/>
                  </a:moveTo>
                  <a:lnTo>
                    <a:pt x="192" y="69"/>
                  </a:lnTo>
                  <a:cubicBezTo>
                    <a:pt x="176" y="150"/>
                    <a:pt x="176" y="273"/>
                    <a:pt x="176" y="273"/>
                  </a:cubicBezTo>
                  <a:cubicBezTo>
                    <a:pt x="163" y="380"/>
                    <a:pt x="150" y="503"/>
                    <a:pt x="150" y="503"/>
                  </a:cubicBezTo>
                  <a:cubicBezTo>
                    <a:pt x="137" y="542"/>
                    <a:pt x="111" y="597"/>
                    <a:pt x="111" y="597"/>
                  </a:cubicBezTo>
                  <a:lnTo>
                    <a:pt x="69" y="636"/>
                  </a:lnTo>
                  <a:lnTo>
                    <a:pt x="30" y="568"/>
                  </a:lnTo>
                  <a:cubicBezTo>
                    <a:pt x="1" y="406"/>
                    <a:pt x="43" y="273"/>
                    <a:pt x="69" y="69"/>
                  </a:cubicBezTo>
                  <a:lnTo>
                    <a:pt x="12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2" name="Google Shape;5052;p52">
              <a:extLst>
                <a:ext uri="{FF2B5EF4-FFF2-40B4-BE49-F238E27FC236}">
                  <a16:creationId xmlns:a16="http://schemas.microsoft.com/office/drawing/2014/main" id="{59E9F967-3FED-3781-B7FB-782036AE41B7}"/>
                </a:ext>
              </a:extLst>
            </p:cNvPr>
            <p:cNvSpPr/>
            <p:nvPr/>
          </p:nvSpPr>
          <p:spPr>
            <a:xfrm>
              <a:off x="3478518" y="4211913"/>
              <a:ext cx="3103" cy="14537"/>
            </a:xfrm>
            <a:custGeom>
              <a:avLst/>
              <a:gdLst/>
              <a:ahLst/>
              <a:cxnLst/>
              <a:rect l="l" t="t" r="r" b="b"/>
              <a:pathLst>
                <a:path w="95" h="445" extrusionOk="0">
                  <a:moveTo>
                    <a:pt x="69" y="27"/>
                  </a:moveTo>
                  <a:lnTo>
                    <a:pt x="95" y="134"/>
                  </a:lnTo>
                  <a:cubicBezTo>
                    <a:pt x="95" y="189"/>
                    <a:pt x="95" y="244"/>
                    <a:pt x="82" y="296"/>
                  </a:cubicBezTo>
                  <a:lnTo>
                    <a:pt x="82" y="406"/>
                  </a:lnTo>
                  <a:lnTo>
                    <a:pt x="43" y="445"/>
                  </a:lnTo>
                  <a:lnTo>
                    <a:pt x="1" y="406"/>
                  </a:lnTo>
                  <a:cubicBezTo>
                    <a:pt x="14" y="40"/>
                    <a:pt x="1" y="134"/>
                    <a:pt x="43" y="40"/>
                  </a:cubicBezTo>
                  <a:cubicBezTo>
                    <a:pt x="43" y="40"/>
                    <a:pt x="43" y="1"/>
                    <a:pt x="69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3" name="Google Shape;5053;p52">
              <a:extLst>
                <a:ext uri="{FF2B5EF4-FFF2-40B4-BE49-F238E27FC236}">
                  <a16:creationId xmlns:a16="http://schemas.microsoft.com/office/drawing/2014/main" id="{00DEC317-6F5F-D3B7-2966-BFAE834367DF}"/>
                </a:ext>
              </a:extLst>
            </p:cNvPr>
            <p:cNvSpPr/>
            <p:nvPr/>
          </p:nvSpPr>
          <p:spPr>
            <a:xfrm>
              <a:off x="3445490" y="4207895"/>
              <a:ext cx="4802" cy="18130"/>
            </a:xfrm>
            <a:custGeom>
              <a:avLst/>
              <a:gdLst/>
              <a:ahLst/>
              <a:cxnLst/>
              <a:rect l="l" t="t" r="r" b="b"/>
              <a:pathLst>
                <a:path w="147" h="555" extrusionOk="0">
                  <a:moveTo>
                    <a:pt x="66" y="30"/>
                  </a:moveTo>
                  <a:lnTo>
                    <a:pt x="108" y="111"/>
                  </a:lnTo>
                  <a:cubicBezTo>
                    <a:pt x="121" y="244"/>
                    <a:pt x="121" y="367"/>
                    <a:pt x="147" y="500"/>
                  </a:cubicBezTo>
                  <a:lnTo>
                    <a:pt x="108" y="555"/>
                  </a:lnTo>
                  <a:cubicBezTo>
                    <a:pt x="108" y="555"/>
                    <a:pt x="82" y="529"/>
                    <a:pt x="53" y="529"/>
                  </a:cubicBezTo>
                  <a:cubicBezTo>
                    <a:pt x="1" y="325"/>
                    <a:pt x="1" y="137"/>
                    <a:pt x="14" y="111"/>
                  </a:cubicBezTo>
                  <a:cubicBezTo>
                    <a:pt x="14" y="82"/>
                    <a:pt x="1" y="95"/>
                    <a:pt x="27" y="56"/>
                  </a:cubicBezTo>
                  <a:cubicBezTo>
                    <a:pt x="27" y="56"/>
                    <a:pt x="40" y="1"/>
                    <a:pt x="66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4" name="Google Shape;5054;p52">
              <a:extLst>
                <a:ext uri="{FF2B5EF4-FFF2-40B4-BE49-F238E27FC236}">
                  <a16:creationId xmlns:a16="http://schemas.microsoft.com/office/drawing/2014/main" id="{8892755C-0AA2-C5C0-1494-39FD501FA6A3}"/>
                </a:ext>
              </a:extLst>
            </p:cNvPr>
            <p:cNvSpPr/>
            <p:nvPr/>
          </p:nvSpPr>
          <p:spPr>
            <a:xfrm>
              <a:off x="3500112" y="4192966"/>
              <a:ext cx="4051" cy="14112"/>
            </a:xfrm>
            <a:custGeom>
              <a:avLst/>
              <a:gdLst/>
              <a:ahLst/>
              <a:cxnLst/>
              <a:rect l="l" t="t" r="r" b="b"/>
              <a:pathLst>
                <a:path w="124" h="432" extrusionOk="0">
                  <a:moveTo>
                    <a:pt x="56" y="1"/>
                  </a:moveTo>
                  <a:lnTo>
                    <a:pt x="124" y="1"/>
                  </a:lnTo>
                  <a:lnTo>
                    <a:pt x="124" y="134"/>
                  </a:lnTo>
                  <a:cubicBezTo>
                    <a:pt x="124" y="325"/>
                    <a:pt x="95" y="351"/>
                    <a:pt x="95" y="351"/>
                  </a:cubicBezTo>
                  <a:lnTo>
                    <a:pt x="43" y="432"/>
                  </a:lnTo>
                  <a:lnTo>
                    <a:pt x="1" y="257"/>
                  </a:lnTo>
                  <a:cubicBezTo>
                    <a:pt x="1" y="163"/>
                    <a:pt x="14" y="14"/>
                    <a:pt x="14" y="14"/>
                  </a:cubicBezTo>
                  <a:cubicBezTo>
                    <a:pt x="14" y="14"/>
                    <a:pt x="30" y="1"/>
                    <a:pt x="5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5" name="Google Shape;5055;p52">
              <a:extLst>
                <a:ext uri="{FF2B5EF4-FFF2-40B4-BE49-F238E27FC236}">
                  <a16:creationId xmlns:a16="http://schemas.microsoft.com/office/drawing/2014/main" id="{12E4AEFE-84E7-8B11-2D11-9F2F7CDF7DC0}"/>
                </a:ext>
              </a:extLst>
            </p:cNvPr>
            <p:cNvSpPr/>
            <p:nvPr/>
          </p:nvSpPr>
          <p:spPr>
            <a:xfrm>
              <a:off x="3531016" y="4188948"/>
              <a:ext cx="4475" cy="14635"/>
            </a:xfrm>
            <a:custGeom>
              <a:avLst/>
              <a:gdLst/>
              <a:ahLst/>
              <a:cxnLst/>
              <a:rect l="l" t="t" r="r" b="b"/>
              <a:pathLst>
                <a:path w="137" h="448" extrusionOk="0">
                  <a:moveTo>
                    <a:pt x="82" y="1"/>
                  </a:moveTo>
                  <a:lnTo>
                    <a:pt x="137" y="56"/>
                  </a:lnTo>
                  <a:cubicBezTo>
                    <a:pt x="137" y="218"/>
                    <a:pt x="95" y="406"/>
                    <a:pt x="95" y="406"/>
                  </a:cubicBezTo>
                  <a:lnTo>
                    <a:pt x="56" y="448"/>
                  </a:lnTo>
                  <a:lnTo>
                    <a:pt x="14" y="393"/>
                  </a:lnTo>
                  <a:cubicBezTo>
                    <a:pt x="1" y="367"/>
                    <a:pt x="1" y="351"/>
                    <a:pt x="1" y="351"/>
                  </a:cubicBezTo>
                  <a:cubicBezTo>
                    <a:pt x="14" y="205"/>
                    <a:pt x="40" y="27"/>
                    <a:pt x="40" y="27"/>
                  </a:cubicBezTo>
                  <a:cubicBezTo>
                    <a:pt x="40" y="27"/>
                    <a:pt x="56" y="1"/>
                    <a:pt x="8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6" name="Google Shape;5056;p52">
              <a:extLst>
                <a:ext uri="{FF2B5EF4-FFF2-40B4-BE49-F238E27FC236}">
                  <a16:creationId xmlns:a16="http://schemas.microsoft.com/office/drawing/2014/main" id="{9FA11971-EC05-1C1B-73C0-6DFAA40798B6}"/>
                </a:ext>
              </a:extLst>
            </p:cNvPr>
            <p:cNvSpPr/>
            <p:nvPr/>
          </p:nvSpPr>
          <p:spPr>
            <a:xfrm>
              <a:off x="3456924" y="4187674"/>
              <a:ext cx="3953" cy="15909"/>
            </a:xfrm>
            <a:custGeom>
              <a:avLst/>
              <a:gdLst/>
              <a:ahLst/>
              <a:cxnLst/>
              <a:rect l="l" t="t" r="r" b="b"/>
              <a:pathLst>
                <a:path w="121" h="487" extrusionOk="0">
                  <a:moveTo>
                    <a:pt x="95" y="1"/>
                  </a:moveTo>
                  <a:lnTo>
                    <a:pt x="121" y="66"/>
                  </a:lnTo>
                  <a:lnTo>
                    <a:pt x="121" y="147"/>
                  </a:lnTo>
                  <a:cubicBezTo>
                    <a:pt x="121" y="176"/>
                    <a:pt x="121" y="215"/>
                    <a:pt x="108" y="257"/>
                  </a:cubicBezTo>
                  <a:cubicBezTo>
                    <a:pt x="108" y="338"/>
                    <a:pt x="95" y="390"/>
                    <a:pt x="82" y="445"/>
                  </a:cubicBezTo>
                  <a:lnTo>
                    <a:pt x="40" y="487"/>
                  </a:lnTo>
                  <a:lnTo>
                    <a:pt x="1" y="338"/>
                  </a:lnTo>
                  <a:cubicBezTo>
                    <a:pt x="14" y="270"/>
                    <a:pt x="14" y="176"/>
                    <a:pt x="14" y="176"/>
                  </a:cubicBezTo>
                  <a:cubicBezTo>
                    <a:pt x="14" y="163"/>
                    <a:pt x="27" y="134"/>
                    <a:pt x="27" y="108"/>
                  </a:cubicBezTo>
                  <a:cubicBezTo>
                    <a:pt x="27" y="14"/>
                    <a:pt x="40" y="27"/>
                    <a:pt x="40" y="27"/>
                  </a:cubicBezTo>
                  <a:cubicBezTo>
                    <a:pt x="40" y="27"/>
                    <a:pt x="69" y="1"/>
                    <a:pt x="9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7" name="Google Shape;5057;p52">
              <a:extLst>
                <a:ext uri="{FF2B5EF4-FFF2-40B4-BE49-F238E27FC236}">
                  <a16:creationId xmlns:a16="http://schemas.microsoft.com/office/drawing/2014/main" id="{7EAF5A1E-0BD0-ED75-E27F-6872DDD9159D}"/>
                </a:ext>
              </a:extLst>
            </p:cNvPr>
            <p:cNvSpPr/>
            <p:nvPr/>
          </p:nvSpPr>
          <p:spPr>
            <a:xfrm>
              <a:off x="3549964" y="4177938"/>
              <a:ext cx="4900" cy="18130"/>
            </a:xfrm>
            <a:custGeom>
              <a:avLst/>
              <a:gdLst/>
              <a:ahLst/>
              <a:cxnLst/>
              <a:rect l="l" t="t" r="r" b="b"/>
              <a:pathLst>
                <a:path w="150" h="555" extrusionOk="0">
                  <a:moveTo>
                    <a:pt x="108" y="27"/>
                  </a:moveTo>
                  <a:cubicBezTo>
                    <a:pt x="108" y="27"/>
                    <a:pt x="150" y="108"/>
                    <a:pt x="150" y="244"/>
                  </a:cubicBezTo>
                  <a:lnTo>
                    <a:pt x="150" y="351"/>
                  </a:lnTo>
                  <a:cubicBezTo>
                    <a:pt x="137" y="419"/>
                    <a:pt x="124" y="487"/>
                    <a:pt x="69" y="555"/>
                  </a:cubicBezTo>
                  <a:lnTo>
                    <a:pt x="27" y="500"/>
                  </a:lnTo>
                  <a:cubicBezTo>
                    <a:pt x="1" y="406"/>
                    <a:pt x="1" y="500"/>
                    <a:pt x="14" y="351"/>
                  </a:cubicBezTo>
                  <a:cubicBezTo>
                    <a:pt x="14" y="351"/>
                    <a:pt x="14" y="189"/>
                    <a:pt x="43" y="69"/>
                  </a:cubicBezTo>
                  <a:cubicBezTo>
                    <a:pt x="43" y="69"/>
                    <a:pt x="82" y="1"/>
                    <a:pt x="108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8" name="Google Shape;5058;p52">
              <a:extLst>
                <a:ext uri="{FF2B5EF4-FFF2-40B4-BE49-F238E27FC236}">
                  <a16:creationId xmlns:a16="http://schemas.microsoft.com/office/drawing/2014/main" id="{F8A200A7-24E4-123D-0DD1-4BC3CD0657EE}"/>
                </a:ext>
              </a:extLst>
            </p:cNvPr>
            <p:cNvSpPr/>
            <p:nvPr/>
          </p:nvSpPr>
          <p:spPr>
            <a:xfrm>
              <a:off x="3478093" y="4170000"/>
              <a:ext cx="5749" cy="21201"/>
            </a:xfrm>
            <a:custGeom>
              <a:avLst/>
              <a:gdLst/>
              <a:ahLst/>
              <a:cxnLst/>
              <a:rect l="l" t="t" r="r" b="b"/>
              <a:pathLst>
                <a:path w="176" h="649" extrusionOk="0">
                  <a:moveTo>
                    <a:pt x="137" y="40"/>
                  </a:moveTo>
                  <a:cubicBezTo>
                    <a:pt x="176" y="69"/>
                    <a:pt x="163" y="95"/>
                    <a:pt x="163" y="95"/>
                  </a:cubicBezTo>
                  <a:cubicBezTo>
                    <a:pt x="163" y="121"/>
                    <a:pt x="150" y="150"/>
                    <a:pt x="150" y="163"/>
                  </a:cubicBezTo>
                  <a:cubicBezTo>
                    <a:pt x="137" y="283"/>
                    <a:pt x="121" y="461"/>
                    <a:pt x="121" y="461"/>
                  </a:cubicBezTo>
                  <a:cubicBezTo>
                    <a:pt x="56" y="649"/>
                    <a:pt x="1" y="513"/>
                    <a:pt x="1" y="513"/>
                  </a:cubicBezTo>
                  <a:cubicBezTo>
                    <a:pt x="1" y="419"/>
                    <a:pt x="40" y="270"/>
                    <a:pt x="40" y="270"/>
                  </a:cubicBezTo>
                  <a:cubicBezTo>
                    <a:pt x="56" y="189"/>
                    <a:pt x="69" y="82"/>
                    <a:pt x="69" y="82"/>
                  </a:cubicBezTo>
                  <a:cubicBezTo>
                    <a:pt x="108" y="1"/>
                    <a:pt x="82" y="40"/>
                    <a:pt x="137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9" name="Google Shape;5059;p52">
              <a:extLst>
                <a:ext uri="{FF2B5EF4-FFF2-40B4-BE49-F238E27FC236}">
                  <a16:creationId xmlns:a16="http://schemas.microsoft.com/office/drawing/2014/main" id="{D1C24C93-EFAB-F63A-F005-C85A1F9D8A21}"/>
                </a:ext>
              </a:extLst>
            </p:cNvPr>
            <p:cNvSpPr/>
            <p:nvPr/>
          </p:nvSpPr>
          <p:spPr>
            <a:xfrm>
              <a:off x="3512918" y="4165557"/>
              <a:ext cx="4475" cy="15060"/>
            </a:xfrm>
            <a:custGeom>
              <a:avLst/>
              <a:gdLst/>
              <a:ahLst/>
              <a:cxnLst/>
              <a:rect l="l" t="t" r="r" b="b"/>
              <a:pathLst>
                <a:path w="137" h="461" extrusionOk="0">
                  <a:moveTo>
                    <a:pt x="95" y="1"/>
                  </a:moveTo>
                  <a:lnTo>
                    <a:pt x="137" y="43"/>
                  </a:lnTo>
                  <a:cubicBezTo>
                    <a:pt x="137" y="231"/>
                    <a:pt x="124" y="367"/>
                    <a:pt x="124" y="367"/>
                  </a:cubicBezTo>
                  <a:cubicBezTo>
                    <a:pt x="108" y="419"/>
                    <a:pt x="95" y="419"/>
                    <a:pt x="95" y="419"/>
                  </a:cubicBezTo>
                  <a:lnTo>
                    <a:pt x="56" y="461"/>
                  </a:lnTo>
                  <a:lnTo>
                    <a:pt x="14" y="393"/>
                  </a:lnTo>
                  <a:cubicBezTo>
                    <a:pt x="1" y="286"/>
                    <a:pt x="27" y="163"/>
                    <a:pt x="43" y="43"/>
                  </a:cubicBezTo>
                  <a:cubicBezTo>
                    <a:pt x="43" y="43"/>
                    <a:pt x="69" y="1"/>
                    <a:pt x="9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0" name="Google Shape;5060;p52">
              <a:extLst>
                <a:ext uri="{FF2B5EF4-FFF2-40B4-BE49-F238E27FC236}">
                  <a16:creationId xmlns:a16="http://schemas.microsoft.com/office/drawing/2014/main" id="{28E66D9F-51D9-5AC9-46E6-3A415E9C1184}"/>
                </a:ext>
              </a:extLst>
            </p:cNvPr>
            <p:cNvSpPr/>
            <p:nvPr/>
          </p:nvSpPr>
          <p:spPr>
            <a:xfrm>
              <a:off x="3446340" y="4159415"/>
              <a:ext cx="3528" cy="15484"/>
            </a:xfrm>
            <a:custGeom>
              <a:avLst/>
              <a:gdLst/>
              <a:ahLst/>
              <a:cxnLst/>
              <a:rect l="l" t="t" r="r" b="b"/>
              <a:pathLst>
                <a:path w="108" h="474" extrusionOk="0">
                  <a:moveTo>
                    <a:pt x="108" y="27"/>
                  </a:moveTo>
                  <a:lnTo>
                    <a:pt x="95" y="393"/>
                  </a:lnTo>
                  <a:cubicBezTo>
                    <a:pt x="82" y="419"/>
                    <a:pt x="69" y="445"/>
                    <a:pt x="69" y="445"/>
                  </a:cubicBezTo>
                  <a:lnTo>
                    <a:pt x="40" y="474"/>
                  </a:lnTo>
                  <a:lnTo>
                    <a:pt x="1" y="364"/>
                  </a:lnTo>
                  <a:cubicBezTo>
                    <a:pt x="14" y="257"/>
                    <a:pt x="40" y="95"/>
                    <a:pt x="40" y="95"/>
                  </a:cubicBezTo>
                  <a:cubicBezTo>
                    <a:pt x="69" y="40"/>
                    <a:pt x="69" y="56"/>
                    <a:pt x="69" y="56"/>
                  </a:cubicBezTo>
                  <a:cubicBezTo>
                    <a:pt x="69" y="56"/>
                    <a:pt x="82" y="1"/>
                    <a:pt x="108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1" name="Google Shape;5061;p52">
              <a:extLst>
                <a:ext uri="{FF2B5EF4-FFF2-40B4-BE49-F238E27FC236}">
                  <a16:creationId xmlns:a16="http://schemas.microsoft.com/office/drawing/2014/main" id="{C6EF6668-7E49-4A8C-8C5E-D1BC8C00CFFF}"/>
                </a:ext>
              </a:extLst>
            </p:cNvPr>
            <p:cNvSpPr/>
            <p:nvPr/>
          </p:nvSpPr>
          <p:spPr>
            <a:xfrm>
              <a:off x="3563619" y="4157619"/>
              <a:ext cx="5749" cy="14635"/>
            </a:xfrm>
            <a:custGeom>
              <a:avLst/>
              <a:gdLst/>
              <a:ahLst/>
              <a:cxnLst/>
              <a:rect l="l" t="t" r="r" b="b"/>
              <a:pathLst>
                <a:path w="176" h="448" extrusionOk="0">
                  <a:moveTo>
                    <a:pt x="95" y="43"/>
                  </a:moveTo>
                  <a:cubicBezTo>
                    <a:pt x="176" y="137"/>
                    <a:pt x="163" y="14"/>
                    <a:pt x="163" y="205"/>
                  </a:cubicBezTo>
                  <a:lnTo>
                    <a:pt x="137" y="380"/>
                  </a:lnTo>
                  <a:lnTo>
                    <a:pt x="82" y="448"/>
                  </a:lnTo>
                  <a:lnTo>
                    <a:pt x="43" y="380"/>
                  </a:lnTo>
                  <a:lnTo>
                    <a:pt x="14" y="338"/>
                  </a:lnTo>
                  <a:cubicBezTo>
                    <a:pt x="1" y="124"/>
                    <a:pt x="1" y="176"/>
                    <a:pt x="1" y="124"/>
                  </a:cubicBezTo>
                  <a:cubicBezTo>
                    <a:pt x="1" y="124"/>
                    <a:pt x="56" y="1"/>
                    <a:pt x="95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2" name="Google Shape;5062;p52">
              <a:extLst>
                <a:ext uri="{FF2B5EF4-FFF2-40B4-BE49-F238E27FC236}">
                  <a16:creationId xmlns:a16="http://schemas.microsoft.com/office/drawing/2014/main" id="{33E070D2-AA2D-FD12-CA9A-7C53815E8357}"/>
                </a:ext>
              </a:extLst>
            </p:cNvPr>
            <p:cNvSpPr/>
            <p:nvPr/>
          </p:nvSpPr>
          <p:spPr>
            <a:xfrm>
              <a:off x="3537583" y="4154123"/>
              <a:ext cx="4900" cy="19404"/>
            </a:xfrm>
            <a:custGeom>
              <a:avLst/>
              <a:gdLst/>
              <a:ahLst/>
              <a:cxnLst/>
              <a:rect l="l" t="t" r="r" b="b"/>
              <a:pathLst>
                <a:path w="150" h="594" extrusionOk="0">
                  <a:moveTo>
                    <a:pt x="98" y="95"/>
                  </a:moveTo>
                  <a:cubicBezTo>
                    <a:pt x="150" y="108"/>
                    <a:pt x="150" y="137"/>
                    <a:pt x="150" y="137"/>
                  </a:cubicBezTo>
                  <a:cubicBezTo>
                    <a:pt x="150" y="202"/>
                    <a:pt x="98" y="487"/>
                    <a:pt x="98" y="487"/>
                  </a:cubicBezTo>
                  <a:cubicBezTo>
                    <a:pt x="30" y="594"/>
                    <a:pt x="30" y="500"/>
                    <a:pt x="30" y="500"/>
                  </a:cubicBezTo>
                  <a:cubicBezTo>
                    <a:pt x="1" y="461"/>
                    <a:pt x="1" y="500"/>
                    <a:pt x="1" y="419"/>
                  </a:cubicBezTo>
                  <a:cubicBezTo>
                    <a:pt x="1" y="393"/>
                    <a:pt x="17" y="244"/>
                    <a:pt x="17" y="244"/>
                  </a:cubicBezTo>
                  <a:cubicBezTo>
                    <a:pt x="30" y="1"/>
                    <a:pt x="56" y="82"/>
                    <a:pt x="98" y="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3" name="Google Shape;5063;p52">
              <a:extLst>
                <a:ext uri="{FF2B5EF4-FFF2-40B4-BE49-F238E27FC236}">
                  <a16:creationId xmlns:a16="http://schemas.microsoft.com/office/drawing/2014/main" id="{86C66543-325A-18DD-2ABE-505D8A3EDD0E}"/>
                </a:ext>
              </a:extLst>
            </p:cNvPr>
            <p:cNvSpPr/>
            <p:nvPr/>
          </p:nvSpPr>
          <p:spPr>
            <a:xfrm>
              <a:off x="3463491" y="4148831"/>
              <a:ext cx="4900" cy="18980"/>
            </a:xfrm>
            <a:custGeom>
              <a:avLst/>
              <a:gdLst/>
              <a:ahLst/>
              <a:cxnLst/>
              <a:rect l="l" t="t" r="r" b="b"/>
              <a:pathLst>
                <a:path w="150" h="581" extrusionOk="0">
                  <a:moveTo>
                    <a:pt x="137" y="69"/>
                  </a:moveTo>
                  <a:lnTo>
                    <a:pt x="150" y="270"/>
                  </a:lnTo>
                  <a:cubicBezTo>
                    <a:pt x="150" y="325"/>
                    <a:pt x="137" y="406"/>
                    <a:pt x="137" y="406"/>
                  </a:cubicBezTo>
                  <a:cubicBezTo>
                    <a:pt x="1" y="581"/>
                    <a:pt x="30" y="393"/>
                    <a:pt x="30" y="393"/>
                  </a:cubicBezTo>
                  <a:cubicBezTo>
                    <a:pt x="30" y="364"/>
                    <a:pt x="30" y="325"/>
                    <a:pt x="43" y="283"/>
                  </a:cubicBezTo>
                  <a:cubicBezTo>
                    <a:pt x="82" y="1"/>
                    <a:pt x="98" y="95"/>
                    <a:pt x="111" y="69"/>
                  </a:cubicBezTo>
                  <a:cubicBezTo>
                    <a:pt x="111" y="69"/>
                    <a:pt x="111" y="56"/>
                    <a:pt x="137" y="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4" name="Google Shape;5064;p52">
              <a:extLst>
                <a:ext uri="{FF2B5EF4-FFF2-40B4-BE49-F238E27FC236}">
                  <a16:creationId xmlns:a16="http://schemas.microsoft.com/office/drawing/2014/main" id="{15285ACF-1D1E-CC10-A93D-AC1B153EF9CC}"/>
                </a:ext>
              </a:extLst>
            </p:cNvPr>
            <p:cNvSpPr/>
            <p:nvPr/>
          </p:nvSpPr>
          <p:spPr>
            <a:xfrm>
              <a:off x="3487829" y="4140892"/>
              <a:ext cx="4377" cy="15909"/>
            </a:xfrm>
            <a:custGeom>
              <a:avLst/>
              <a:gdLst/>
              <a:ahLst/>
              <a:cxnLst/>
              <a:rect l="l" t="t" r="r" b="b"/>
              <a:pathLst>
                <a:path w="134" h="487" extrusionOk="0">
                  <a:moveTo>
                    <a:pt x="95" y="27"/>
                  </a:moveTo>
                  <a:cubicBezTo>
                    <a:pt x="95" y="27"/>
                    <a:pt x="134" y="121"/>
                    <a:pt x="134" y="137"/>
                  </a:cubicBezTo>
                  <a:cubicBezTo>
                    <a:pt x="134" y="244"/>
                    <a:pt x="108" y="393"/>
                    <a:pt x="108" y="393"/>
                  </a:cubicBezTo>
                  <a:cubicBezTo>
                    <a:pt x="108" y="445"/>
                    <a:pt x="95" y="461"/>
                    <a:pt x="95" y="461"/>
                  </a:cubicBezTo>
                  <a:lnTo>
                    <a:pt x="82" y="487"/>
                  </a:lnTo>
                  <a:lnTo>
                    <a:pt x="14" y="487"/>
                  </a:lnTo>
                  <a:lnTo>
                    <a:pt x="1" y="380"/>
                  </a:lnTo>
                  <a:cubicBezTo>
                    <a:pt x="27" y="244"/>
                    <a:pt x="40" y="56"/>
                    <a:pt x="40" y="56"/>
                  </a:cubicBezTo>
                  <a:cubicBezTo>
                    <a:pt x="40" y="56"/>
                    <a:pt x="66" y="1"/>
                    <a:pt x="95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5" name="Google Shape;5065;p52">
              <a:extLst>
                <a:ext uri="{FF2B5EF4-FFF2-40B4-BE49-F238E27FC236}">
                  <a16:creationId xmlns:a16="http://schemas.microsoft.com/office/drawing/2014/main" id="{CFE2A40C-7BB9-4BCA-9CC0-D92ACA65B659}"/>
                </a:ext>
              </a:extLst>
            </p:cNvPr>
            <p:cNvSpPr/>
            <p:nvPr/>
          </p:nvSpPr>
          <p:spPr>
            <a:xfrm>
              <a:off x="3549964" y="4134751"/>
              <a:ext cx="4900" cy="16758"/>
            </a:xfrm>
            <a:custGeom>
              <a:avLst/>
              <a:gdLst/>
              <a:ahLst/>
              <a:cxnLst/>
              <a:rect l="l" t="t" r="r" b="b"/>
              <a:pathLst>
                <a:path w="150" h="513" extrusionOk="0">
                  <a:moveTo>
                    <a:pt x="95" y="14"/>
                  </a:moveTo>
                  <a:lnTo>
                    <a:pt x="137" y="27"/>
                  </a:lnTo>
                  <a:lnTo>
                    <a:pt x="150" y="390"/>
                  </a:lnTo>
                  <a:lnTo>
                    <a:pt x="82" y="513"/>
                  </a:lnTo>
                  <a:cubicBezTo>
                    <a:pt x="1" y="406"/>
                    <a:pt x="14" y="419"/>
                    <a:pt x="14" y="419"/>
                  </a:cubicBezTo>
                  <a:lnTo>
                    <a:pt x="1" y="338"/>
                  </a:lnTo>
                  <a:lnTo>
                    <a:pt x="1" y="40"/>
                  </a:lnTo>
                  <a:cubicBezTo>
                    <a:pt x="56" y="1"/>
                    <a:pt x="69" y="14"/>
                    <a:pt x="95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6" name="Google Shape;5066;p52">
              <a:extLst>
                <a:ext uri="{FF2B5EF4-FFF2-40B4-BE49-F238E27FC236}">
                  <a16:creationId xmlns:a16="http://schemas.microsoft.com/office/drawing/2014/main" id="{13C24A99-BD7A-95D7-B600-3F6DC7135BF7}"/>
                </a:ext>
              </a:extLst>
            </p:cNvPr>
            <p:cNvSpPr/>
            <p:nvPr/>
          </p:nvSpPr>
          <p:spPr>
            <a:xfrm>
              <a:off x="3508475" y="4129883"/>
              <a:ext cx="5325" cy="16758"/>
            </a:xfrm>
            <a:custGeom>
              <a:avLst/>
              <a:gdLst/>
              <a:ahLst/>
              <a:cxnLst/>
              <a:rect l="l" t="t" r="r" b="b"/>
              <a:pathLst>
                <a:path w="163" h="513" extrusionOk="0">
                  <a:moveTo>
                    <a:pt x="124" y="40"/>
                  </a:moveTo>
                  <a:lnTo>
                    <a:pt x="163" y="176"/>
                  </a:lnTo>
                  <a:cubicBezTo>
                    <a:pt x="124" y="458"/>
                    <a:pt x="137" y="393"/>
                    <a:pt x="111" y="432"/>
                  </a:cubicBezTo>
                  <a:lnTo>
                    <a:pt x="56" y="513"/>
                  </a:lnTo>
                  <a:lnTo>
                    <a:pt x="17" y="458"/>
                  </a:lnTo>
                  <a:cubicBezTo>
                    <a:pt x="1" y="406"/>
                    <a:pt x="1" y="393"/>
                    <a:pt x="1" y="393"/>
                  </a:cubicBezTo>
                  <a:cubicBezTo>
                    <a:pt x="1" y="296"/>
                    <a:pt x="1" y="244"/>
                    <a:pt x="30" y="108"/>
                  </a:cubicBezTo>
                  <a:cubicBezTo>
                    <a:pt x="30" y="108"/>
                    <a:pt x="98" y="1"/>
                    <a:pt x="124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7" name="Google Shape;5067;p52">
              <a:extLst>
                <a:ext uri="{FF2B5EF4-FFF2-40B4-BE49-F238E27FC236}">
                  <a16:creationId xmlns:a16="http://schemas.microsoft.com/office/drawing/2014/main" id="{BB031732-0325-3BEE-DBC5-747D326C94E0}"/>
                </a:ext>
              </a:extLst>
            </p:cNvPr>
            <p:cNvSpPr/>
            <p:nvPr/>
          </p:nvSpPr>
          <p:spPr>
            <a:xfrm>
              <a:off x="3461367" y="4117927"/>
              <a:ext cx="4802" cy="14635"/>
            </a:xfrm>
            <a:custGeom>
              <a:avLst/>
              <a:gdLst/>
              <a:ahLst/>
              <a:cxnLst/>
              <a:rect l="l" t="t" r="r" b="b"/>
              <a:pathLst>
                <a:path w="147" h="448" extrusionOk="0">
                  <a:moveTo>
                    <a:pt x="121" y="30"/>
                  </a:moveTo>
                  <a:lnTo>
                    <a:pt x="147" y="111"/>
                  </a:lnTo>
                  <a:cubicBezTo>
                    <a:pt x="121" y="244"/>
                    <a:pt x="82" y="406"/>
                    <a:pt x="82" y="406"/>
                  </a:cubicBezTo>
                  <a:lnTo>
                    <a:pt x="40" y="448"/>
                  </a:lnTo>
                  <a:cubicBezTo>
                    <a:pt x="40" y="448"/>
                    <a:pt x="1" y="325"/>
                    <a:pt x="1" y="312"/>
                  </a:cubicBezTo>
                  <a:cubicBezTo>
                    <a:pt x="14" y="286"/>
                    <a:pt x="14" y="273"/>
                    <a:pt x="14" y="244"/>
                  </a:cubicBezTo>
                  <a:cubicBezTo>
                    <a:pt x="40" y="150"/>
                    <a:pt x="66" y="69"/>
                    <a:pt x="66" y="69"/>
                  </a:cubicBezTo>
                  <a:cubicBezTo>
                    <a:pt x="66" y="69"/>
                    <a:pt x="108" y="1"/>
                    <a:pt x="121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8" name="Google Shape;5068;p52">
              <a:extLst>
                <a:ext uri="{FF2B5EF4-FFF2-40B4-BE49-F238E27FC236}">
                  <a16:creationId xmlns:a16="http://schemas.microsoft.com/office/drawing/2014/main" id="{03621676-3EB8-C94F-D8BF-67F09FDFD4BA}"/>
                </a:ext>
              </a:extLst>
            </p:cNvPr>
            <p:cNvSpPr/>
            <p:nvPr/>
          </p:nvSpPr>
          <p:spPr>
            <a:xfrm>
              <a:off x="3531866" y="4112634"/>
              <a:ext cx="4900" cy="16334"/>
            </a:xfrm>
            <a:custGeom>
              <a:avLst/>
              <a:gdLst/>
              <a:ahLst/>
              <a:cxnLst/>
              <a:rect l="l" t="t" r="r" b="b"/>
              <a:pathLst>
                <a:path w="150" h="500" extrusionOk="0">
                  <a:moveTo>
                    <a:pt x="95" y="30"/>
                  </a:moveTo>
                  <a:cubicBezTo>
                    <a:pt x="95" y="30"/>
                    <a:pt x="150" y="124"/>
                    <a:pt x="150" y="231"/>
                  </a:cubicBezTo>
                  <a:cubicBezTo>
                    <a:pt x="150" y="273"/>
                    <a:pt x="137" y="380"/>
                    <a:pt x="124" y="448"/>
                  </a:cubicBezTo>
                  <a:lnTo>
                    <a:pt x="82" y="500"/>
                  </a:lnTo>
                  <a:lnTo>
                    <a:pt x="43" y="419"/>
                  </a:lnTo>
                  <a:cubicBezTo>
                    <a:pt x="1" y="299"/>
                    <a:pt x="30" y="95"/>
                    <a:pt x="56" y="56"/>
                  </a:cubicBezTo>
                  <a:cubicBezTo>
                    <a:pt x="56" y="56"/>
                    <a:pt x="69" y="1"/>
                    <a:pt x="95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9" name="Google Shape;5069;p52">
              <a:extLst>
                <a:ext uri="{FF2B5EF4-FFF2-40B4-BE49-F238E27FC236}">
                  <a16:creationId xmlns:a16="http://schemas.microsoft.com/office/drawing/2014/main" id="{C04FBB21-CADD-29CC-183B-AD3EDFAB9E61}"/>
                </a:ext>
              </a:extLst>
            </p:cNvPr>
            <p:cNvSpPr/>
            <p:nvPr/>
          </p:nvSpPr>
          <p:spPr>
            <a:xfrm>
              <a:off x="3562770" y="4109139"/>
              <a:ext cx="5325" cy="16758"/>
            </a:xfrm>
            <a:custGeom>
              <a:avLst/>
              <a:gdLst/>
              <a:ahLst/>
              <a:cxnLst/>
              <a:rect l="l" t="t" r="r" b="b"/>
              <a:pathLst>
                <a:path w="163" h="513" extrusionOk="0">
                  <a:moveTo>
                    <a:pt x="108" y="14"/>
                  </a:moveTo>
                  <a:lnTo>
                    <a:pt x="150" y="40"/>
                  </a:lnTo>
                  <a:cubicBezTo>
                    <a:pt x="163" y="202"/>
                    <a:pt x="163" y="380"/>
                    <a:pt x="163" y="380"/>
                  </a:cubicBezTo>
                  <a:cubicBezTo>
                    <a:pt x="163" y="419"/>
                    <a:pt x="150" y="445"/>
                    <a:pt x="150" y="445"/>
                  </a:cubicBezTo>
                  <a:lnTo>
                    <a:pt x="108" y="513"/>
                  </a:lnTo>
                  <a:lnTo>
                    <a:pt x="56" y="461"/>
                  </a:lnTo>
                  <a:cubicBezTo>
                    <a:pt x="27" y="406"/>
                    <a:pt x="27" y="380"/>
                    <a:pt x="27" y="380"/>
                  </a:cubicBezTo>
                  <a:cubicBezTo>
                    <a:pt x="14" y="270"/>
                    <a:pt x="1" y="108"/>
                    <a:pt x="1" y="108"/>
                  </a:cubicBezTo>
                  <a:cubicBezTo>
                    <a:pt x="1" y="40"/>
                    <a:pt x="14" y="1"/>
                    <a:pt x="108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0" name="Google Shape;5070;p52">
              <a:extLst>
                <a:ext uri="{FF2B5EF4-FFF2-40B4-BE49-F238E27FC236}">
                  <a16:creationId xmlns:a16="http://schemas.microsoft.com/office/drawing/2014/main" id="{D68409A0-2095-765A-6238-82651C3E20A4}"/>
                </a:ext>
              </a:extLst>
            </p:cNvPr>
            <p:cNvSpPr/>
            <p:nvPr/>
          </p:nvSpPr>
          <p:spPr>
            <a:xfrm>
              <a:off x="3483810" y="4109139"/>
              <a:ext cx="5325" cy="11891"/>
            </a:xfrm>
            <a:custGeom>
              <a:avLst/>
              <a:gdLst/>
              <a:ahLst/>
              <a:cxnLst/>
              <a:rect l="l" t="t" r="r" b="b"/>
              <a:pathLst>
                <a:path w="163" h="364" extrusionOk="0">
                  <a:moveTo>
                    <a:pt x="137" y="1"/>
                  </a:moveTo>
                  <a:cubicBezTo>
                    <a:pt x="137" y="1"/>
                    <a:pt x="163" y="121"/>
                    <a:pt x="137" y="283"/>
                  </a:cubicBezTo>
                  <a:lnTo>
                    <a:pt x="82" y="364"/>
                  </a:lnTo>
                  <a:lnTo>
                    <a:pt x="14" y="325"/>
                  </a:lnTo>
                  <a:cubicBezTo>
                    <a:pt x="1" y="189"/>
                    <a:pt x="43" y="137"/>
                    <a:pt x="69" y="27"/>
                  </a:cubicBezTo>
                  <a:cubicBezTo>
                    <a:pt x="69" y="27"/>
                    <a:pt x="108" y="1"/>
                    <a:pt x="13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1" name="Google Shape;5071;p52">
              <a:extLst>
                <a:ext uri="{FF2B5EF4-FFF2-40B4-BE49-F238E27FC236}">
                  <a16:creationId xmlns:a16="http://schemas.microsoft.com/office/drawing/2014/main" id="{F7CA3FA9-A8F3-4844-A9A1-89B383692C7E}"/>
                </a:ext>
              </a:extLst>
            </p:cNvPr>
            <p:cNvSpPr/>
            <p:nvPr/>
          </p:nvSpPr>
          <p:spPr>
            <a:xfrm>
              <a:off x="3505829" y="4098129"/>
              <a:ext cx="7971" cy="11466"/>
            </a:xfrm>
            <a:custGeom>
              <a:avLst/>
              <a:gdLst/>
              <a:ahLst/>
              <a:cxnLst/>
              <a:rect l="l" t="t" r="r" b="b"/>
              <a:pathLst>
                <a:path w="244" h="351" extrusionOk="0">
                  <a:moveTo>
                    <a:pt x="192" y="14"/>
                  </a:moveTo>
                  <a:cubicBezTo>
                    <a:pt x="218" y="69"/>
                    <a:pt x="205" y="40"/>
                    <a:pt x="244" y="95"/>
                  </a:cubicBezTo>
                  <a:lnTo>
                    <a:pt x="218" y="270"/>
                  </a:lnTo>
                  <a:cubicBezTo>
                    <a:pt x="218" y="283"/>
                    <a:pt x="205" y="296"/>
                    <a:pt x="205" y="296"/>
                  </a:cubicBezTo>
                  <a:lnTo>
                    <a:pt x="163" y="351"/>
                  </a:lnTo>
                  <a:cubicBezTo>
                    <a:pt x="1" y="202"/>
                    <a:pt x="43" y="325"/>
                    <a:pt x="98" y="108"/>
                  </a:cubicBezTo>
                  <a:lnTo>
                    <a:pt x="137" y="53"/>
                  </a:lnTo>
                  <a:lnTo>
                    <a:pt x="163" y="14"/>
                  </a:lnTo>
                  <a:cubicBezTo>
                    <a:pt x="163" y="14"/>
                    <a:pt x="163" y="1"/>
                    <a:pt x="192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2" name="Google Shape;5072;p52">
              <a:extLst>
                <a:ext uri="{FF2B5EF4-FFF2-40B4-BE49-F238E27FC236}">
                  <a16:creationId xmlns:a16="http://schemas.microsoft.com/office/drawing/2014/main" id="{30D45B20-6524-D466-4032-BB73B03E5229}"/>
                </a:ext>
              </a:extLst>
            </p:cNvPr>
            <p:cNvSpPr/>
            <p:nvPr/>
          </p:nvSpPr>
          <p:spPr>
            <a:xfrm>
              <a:off x="3463491" y="4092837"/>
              <a:ext cx="4475" cy="13688"/>
            </a:xfrm>
            <a:custGeom>
              <a:avLst/>
              <a:gdLst/>
              <a:ahLst/>
              <a:cxnLst/>
              <a:rect l="l" t="t" r="r" b="b"/>
              <a:pathLst>
                <a:path w="137" h="419" extrusionOk="0">
                  <a:moveTo>
                    <a:pt x="69" y="14"/>
                  </a:moveTo>
                  <a:lnTo>
                    <a:pt x="124" y="108"/>
                  </a:lnTo>
                  <a:cubicBezTo>
                    <a:pt x="137" y="215"/>
                    <a:pt x="124" y="257"/>
                    <a:pt x="124" y="257"/>
                  </a:cubicBezTo>
                  <a:cubicBezTo>
                    <a:pt x="111" y="312"/>
                    <a:pt x="111" y="377"/>
                    <a:pt x="111" y="377"/>
                  </a:cubicBezTo>
                  <a:lnTo>
                    <a:pt x="56" y="419"/>
                  </a:lnTo>
                  <a:cubicBezTo>
                    <a:pt x="56" y="419"/>
                    <a:pt x="30" y="393"/>
                    <a:pt x="17" y="163"/>
                  </a:cubicBezTo>
                  <a:cubicBezTo>
                    <a:pt x="1" y="53"/>
                    <a:pt x="17" y="69"/>
                    <a:pt x="17" y="69"/>
                  </a:cubicBezTo>
                  <a:cubicBezTo>
                    <a:pt x="17" y="69"/>
                    <a:pt x="43" y="1"/>
                    <a:pt x="69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3" name="Google Shape;5073;p52">
              <a:extLst>
                <a:ext uri="{FF2B5EF4-FFF2-40B4-BE49-F238E27FC236}">
                  <a16:creationId xmlns:a16="http://schemas.microsoft.com/office/drawing/2014/main" id="{A43A574E-1531-ECF5-55B5-F0FB2FD21B2F}"/>
                </a:ext>
              </a:extLst>
            </p:cNvPr>
            <p:cNvSpPr/>
            <p:nvPr/>
          </p:nvSpPr>
          <p:spPr>
            <a:xfrm>
              <a:off x="3546893" y="4091040"/>
              <a:ext cx="4900" cy="14635"/>
            </a:xfrm>
            <a:custGeom>
              <a:avLst/>
              <a:gdLst/>
              <a:ahLst/>
              <a:cxnLst/>
              <a:rect l="l" t="t" r="r" b="b"/>
              <a:pathLst>
                <a:path w="150" h="448" extrusionOk="0">
                  <a:moveTo>
                    <a:pt x="82" y="14"/>
                  </a:moveTo>
                  <a:lnTo>
                    <a:pt x="137" y="82"/>
                  </a:lnTo>
                  <a:cubicBezTo>
                    <a:pt x="137" y="95"/>
                    <a:pt x="150" y="325"/>
                    <a:pt x="150" y="325"/>
                  </a:cubicBezTo>
                  <a:cubicBezTo>
                    <a:pt x="137" y="367"/>
                    <a:pt x="121" y="393"/>
                    <a:pt x="121" y="393"/>
                  </a:cubicBezTo>
                  <a:lnTo>
                    <a:pt x="82" y="448"/>
                  </a:lnTo>
                  <a:lnTo>
                    <a:pt x="14" y="325"/>
                  </a:lnTo>
                  <a:cubicBezTo>
                    <a:pt x="1" y="257"/>
                    <a:pt x="1" y="244"/>
                    <a:pt x="1" y="108"/>
                  </a:cubicBezTo>
                  <a:lnTo>
                    <a:pt x="40" y="43"/>
                  </a:lnTo>
                  <a:cubicBezTo>
                    <a:pt x="69" y="27"/>
                    <a:pt x="56" y="1"/>
                    <a:pt x="82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4" name="Google Shape;5074;p52">
              <a:extLst>
                <a:ext uri="{FF2B5EF4-FFF2-40B4-BE49-F238E27FC236}">
                  <a16:creationId xmlns:a16="http://schemas.microsoft.com/office/drawing/2014/main" id="{57A8DC4B-7804-F230-EF28-3CFFA05E6BA7}"/>
                </a:ext>
              </a:extLst>
            </p:cNvPr>
            <p:cNvSpPr/>
            <p:nvPr/>
          </p:nvSpPr>
          <p:spPr>
            <a:xfrm>
              <a:off x="3479368" y="4076960"/>
              <a:ext cx="4900" cy="17608"/>
            </a:xfrm>
            <a:custGeom>
              <a:avLst/>
              <a:gdLst/>
              <a:ahLst/>
              <a:cxnLst/>
              <a:rect l="l" t="t" r="r" b="b"/>
              <a:pathLst>
                <a:path w="150" h="539" extrusionOk="0">
                  <a:moveTo>
                    <a:pt x="111" y="14"/>
                  </a:moveTo>
                  <a:cubicBezTo>
                    <a:pt x="111" y="14"/>
                    <a:pt x="150" y="134"/>
                    <a:pt x="137" y="296"/>
                  </a:cubicBezTo>
                  <a:lnTo>
                    <a:pt x="98" y="445"/>
                  </a:lnTo>
                  <a:lnTo>
                    <a:pt x="43" y="539"/>
                  </a:lnTo>
                  <a:lnTo>
                    <a:pt x="1" y="351"/>
                  </a:lnTo>
                  <a:cubicBezTo>
                    <a:pt x="43" y="14"/>
                    <a:pt x="82" y="1"/>
                    <a:pt x="111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5" name="Google Shape;5075;p52">
              <a:extLst>
                <a:ext uri="{FF2B5EF4-FFF2-40B4-BE49-F238E27FC236}">
                  <a16:creationId xmlns:a16="http://schemas.microsoft.com/office/drawing/2014/main" id="{AD384613-ABF1-76C4-CB6B-291EAC586E72}"/>
                </a:ext>
              </a:extLst>
            </p:cNvPr>
            <p:cNvSpPr/>
            <p:nvPr/>
          </p:nvSpPr>
          <p:spPr>
            <a:xfrm>
              <a:off x="3525299" y="4072517"/>
              <a:ext cx="7024" cy="14112"/>
            </a:xfrm>
            <a:custGeom>
              <a:avLst/>
              <a:gdLst/>
              <a:ahLst/>
              <a:cxnLst/>
              <a:rect l="l" t="t" r="r" b="b"/>
              <a:pathLst>
                <a:path w="215" h="432" extrusionOk="0">
                  <a:moveTo>
                    <a:pt x="108" y="69"/>
                  </a:moveTo>
                  <a:cubicBezTo>
                    <a:pt x="215" y="95"/>
                    <a:pt x="163" y="27"/>
                    <a:pt x="163" y="299"/>
                  </a:cubicBezTo>
                  <a:lnTo>
                    <a:pt x="163" y="380"/>
                  </a:lnTo>
                  <a:cubicBezTo>
                    <a:pt x="150" y="419"/>
                    <a:pt x="134" y="432"/>
                    <a:pt x="134" y="432"/>
                  </a:cubicBezTo>
                  <a:lnTo>
                    <a:pt x="53" y="432"/>
                  </a:lnTo>
                  <a:lnTo>
                    <a:pt x="27" y="338"/>
                  </a:lnTo>
                  <a:cubicBezTo>
                    <a:pt x="14" y="1"/>
                    <a:pt x="1" y="124"/>
                    <a:pt x="40" y="82"/>
                  </a:cubicBezTo>
                  <a:cubicBezTo>
                    <a:pt x="40" y="82"/>
                    <a:pt x="82" y="69"/>
                    <a:pt x="108" y="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6" name="Google Shape;5076;p52">
              <a:extLst>
                <a:ext uri="{FF2B5EF4-FFF2-40B4-BE49-F238E27FC236}">
                  <a16:creationId xmlns:a16="http://schemas.microsoft.com/office/drawing/2014/main" id="{3BD9402E-29FA-2DEC-438D-21FF8187EBDC}"/>
                </a:ext>
              </a:extLst>
            </p:cNvPr>
            <p:cNvSpPr/>
            <p:nvPr/>
          </p:nvSpPr>
          <p:spPr>
            <a:xfrm>
              <a:off x="3551336" y="4065004"/>
              <a:ext cx="8396" cy="14635"/>
            </a:xfrm>
            <a:custGeom>
              <a:avLst/>
              <a:gdLst/>
              <a:ahLst/>
              <a:cxnLst/>
              <a:rect l="l" t="t" r="r" b="b"/>
              <a:pathLst>
                <a:path w="257" h="448" extrusionOk="0">
                  <a:moveTo>
                    <a:pt x="228" y="14"/>
                  </a:moveTo>
                  <a:cubicBezTo>
                    <a:pt x="257" y="218"/>
                    <a:pt x="244" y="231"/>
                    <a:pt x="257" y="286"/>
                  </a:cubicBezTo>
                  <a:lnTo>
                    <a:pt x="257" y="419"/>
                  </a:lnTo>
                  <a:lnTo>
                    <a:pt x="228" y="448"/>
                  </a:lnTo>
                  <a:lnTo>
                    <a:pt x="134" y="435"/>
                  </a:lnTo>
                  <a:cubicBezTo>
                    <a:pt x="134" y="435"/>
                    <a:pt x="108" y="205"/>
                    <a:pt x="95" y="56"/>
                  </a:cubicBezTo>
                  <a:cubicBezTo>
                    <a:pt x="95" y="56"/>
                    <a:pt x="1" y="1"/>
                    <a:pt x="228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7" name="Google Shape;5077;p52">
              <a:extLst>
                <a:ext uri="{FF2B5EF4-FFF2-40B4-BE49-F238E27FC236}">
                  <a16:creationId xmlns:a16="http://schemas.microsoft.com/office/drawing/2014/main" id="{B683911B-66B3-3735-4EB7-F895087CAA36}"/>
                </a:ext>
              </a:extLst>
            </p:cNvPr>
            <p:cNvSpPr/>
            <p:nvPr/>
          </p:nvSpPr>
          <p:spPr>
            <a:xfrm>
              <a:off x="3501909" y="4057065"/>
              <a:ext cx="5325" cy="16334"/>
            </a:xfrm>
            <a:custGeom>
              <a:avLst/>
              <a:gdLst/>
              <a:ahLst/>
              <a:cxnLst/>
              <a:rect l="l" t="t" r="r" b="b"/>
              <a:pathLst>
                <a:path w="163" h="500" extrusionOk="0">
                  <a:moveTo>
                    <a:pt x="121" y="43"/>
                  </a:moveTo>
                  <a:lnTo>
                    <a:pt x="163" y="163"/>
                  </a:lnTo>
                  <a:cubicBezTo>
                    <a:pt x="163" y="218"/>
                    <a:pt x="163" y="163"/>
                    <a:pt x="150" y="257"/>
                  </a:cubicBezTo>
                  <a:lnTo>
                    <a:pt x="137" y="367"/>
                  </a:lnTo>
                  <a:cubicBezTo>
                    <a:pt x="121" y="406"/>
                    <a:pt x="108" y="448"/>
                    <a:pt x="108" y="448"/>
                  </a:cubicBezTo>
                  <a:lnTo>
                    <a:pt x="69" y="500"/>
                  </a:lnTo>
                  <a:lnTo>
                    <a:pt x="14" y="380"/>
                  </a:lnTo>
                  <a:cubicBezTo>
                    <a:pt x="1" y="299"/>
                    <a:pt x="1" y="380"/>
                    <a:pt x="14" y="218"/>
                  </a:cubicBezTo>
                  <a:cubicBezTo>
                    <a:pt x="27" y="95"/>
                    <a:pt x="95" y="1"/>
                    <a:pt x="121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8" name="Google Shape;5078;p52">
              <a:extLst>
                <a:ext uri="{FF2B5EF4-FFF2-40B4-BE49-F238E27FC236}">
                  <a16:creationId xmlns:a16="http://schemas.microsoft.com/office/drawing/2014/main" id="{95FDDF7C-C09A-FA07-D357-9F2B318BF972}"/>
                </a:ext>
              </a:extLst>
            </p:cNvPr>
            <p:cNvSpPr/>
            <p:nvPr/>
          </p:nvSpPr>
          <p:spPr>
            <a:xfrm>
              <a:off x="3536733" y="4046481"/>
              <a:ext cx="4900" cy="17281"/>
            </a:xfrm>
            <a:custGeom>
              <a:avLst/>
              <a:gdLst/>
              <a:ahLst/>
              <a:cxnLst/>
              <a:rect l="l" t="t" r="r" b="b"/>
              <a:pathLst>
                <a:path w="150" h="529" extrusionOk="0">
                  <a:moveTo>
                    <a:pt x="95" y="1"/>
                  </a:moveTo>
                  <a:cubicBezTo>
                    <a:pt x="150" y="30"/>
                    <a:pt x="150" y="56"/>
                    <a:pt x="150" y="56"/>
                  </a:cubicBezTo>
                  <a:cubicBezTo>
                    <a:pt x="137" y="150"/>
                    <a:pt x="137" y="257"/>
                    <a:pt x="137" y="273"/>
                  </a:cubicBezTo>
                  <a:cubicBezTo>
                    <a:pt x="137" y="406"/>
                    <a:pt x="95" y="487"/>
                    <a:pt x="95" y="487"/>
                  </a:cubicBezTo>
                  <a:lnTo>
                    <a:pt x="56" y="529"/>
                  </a:lnTo>
                  <a:lnTo>
                    <a:pt x="14" y="474"/>
                  </a:lnTo>
                  <a:cubicBezTo>
                    <a:pt x="1" y="312"/>
                    <a:pt x="1" y="461"/>
                    <a:pt x="1" y="273"/>
                  </a:cubicBezTo>
                  <a:lnTo>
                    <a:pt x="14" y="56"/>
                  </a:lnTo>
                  <a:lnTo>
                    <a:pt x="27" y="14"/>
                  </a:lnTo>
                  <a:cubicBezTo>
                    <a:pt x="27" y="14"/>
                    <a:pt x="69" y="1"/>
                    <a:pt x="9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9" name="Google Shape;5079;p52">
              <a:extLst>
                <a:ext uri="{FF2B5EF4-FFF2-40B4-BE49-F238E27FC236}">
                  <a16:creationId xmlns:a16="http://schemas.microsoft.com/office/drawing/2014/main" id="{80FC5C97-45B8-FCCC-BE20-FCBA55B42644}"/>
                </a:ext>
              </a:extLst>
            </p:cNvPr>
            <p:cNvSpPr/>
            <p:nvPr/>
          </p:nvSpPr>
          <p:spPr>
            <a:xfrm>
              <a:off x="3472801" y="4041188"/>
              <a:ext cx="4900" cy="19927"/>
            </a:xfrm>
            <a:custGeom>
              <a:avLst/>
              <a:gdLst/>
              <a:ahLst/>
              <a:cxnLst/>
              <a:rect l="l" t="t" r="r" b="b"/>
              <a:pathLst>
                <a:path w="150" h="610" extrusionOk="0">
                  <a:moveTo>
                    <a:pt x="150" y="69"/>
                  </a:moveTo>
                  <a:cubicBezTo>
                    <a:pt x="150" y="69"/>
                    <a:pt x="150" y="273"/>
                    <a:pt x="108" y="448"/>
                  </a:cubicBezTo>
                  <a:lnTo>
                    <a:pt x="82" y="568"/>
                  </a:lnTo>
                  <a:lnTo>
                    <a:pt x="40" y="610"/>
                  </a:lnTo>
                  <a:lnTo>
                    <a:pt x="1" y="568"/>
                  </a:lnTo>
                  <a:cubicBezTo>
                    <a:pt x="14" y="406"/>
                    <a:pt x="40" y="244"/>
                    <a:pt x="69" y="82"/>
                  </a:cubicBezTo>
                  <a:cubicBezTo>
                    <a:pt x="69" y="82"/>
                    <a:pt x="95" y="1"/>
                    <a:pt x="150" y="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0" name="Google Shape;5080;p52">
              <a:extLst>
                <a:ext uri="{FF2B5EF4-FFF2-40B4-BE49-F238E27FC236}">
                  <a16:creationId xmlns:a16="http://schemas.microsoft.com/office/drawing/2014/main" id="{BDF75925-8C9B-BEBC-694F-5930505F82D4}"/>
                </a:ext>
              </a:extLst>
            </p:cNvPr>
            <p:cNvSpPr/>
            <p:nvPr/>
          </p:nvSpPr>
          <p:spPr>
            <a:xfrm>
              <a:off x="3495244" y="4037268"/>
              <a:ext cx="4900" cy="10192"/>
            </a:xfrm>
            <a:custGeom>
              <a:avLst/>
              <a:gdLst/>
              <a:ahLst/>
              <a:cxnLst/>
              <a:rect l="l" t="t" r="r" b="b"/>
              <a:pathLst>
                <a:path w="150" h="312" extrusionOk="0">
                  <a:moveTo>
                    <a:pt x="98" y="1"/>
                  </a:moveTo>
                  <a:lnTo>
                    <a:pt x="150" y="40"/>
                  </a:lnTo>
                  <a:cubicBezTo>
                    <a:pt x="137" y="134"/>
                    <a:pt x="124" y="244"/>
                    <a:pt x="124" y="244"/>
                  </a:cubicBezTo>
                  <a:lnTo>
                    <a:pt x="98" y="270"/>
                  </a:lnTo>
                  <a:lnTo>
                    <a:pt x="56" y="312"/>
                  </a:lnTo>
                  <a:lnTo>
                    <a:pt x="1" y="231"/>
                  </a:lnTo>
                  <a:cubicBezTo>
                    <a:pt x="17" y="134"/>
                    <a:pt x="17" y="176"/>
                    <a:pt x="17" y="53"/>
                  </a:cubicBez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1" name="Google Shape;5081;p52">
              <a:extLst>
                <a:ext uri="{FF2B5EF4-FFF2-40B4-BE49-F238E27FC236}">
                  <a16:creationId xmlns:a16="http://schemas.microsoft.com/office/drawing/2014/main" id="{C5A8D4E0-61A0-95DB-B5DC-EE2A712B8BE3}"/>
                </a:ext>
              </a:extLst>
            </p:cNvPr>
            <p:cNvSpPr/>
            <p:nvPr/>
          </p:nvSpPr>
          <p:spPr>
            <a:xfrm>
              <a:off x="3518210" y="4033250"/>
              <a:ext cx="4051" cy="18555"/>
            </a:xfrm>
            <a:custGeom>
              <a:avLst/>
              <a:gdLst/>
              <a:ahLst/>
              <a:cxnLst/>
              <a:rect l="l" t="t" r="r" b="b"/>
              <a:pathLst>
                <a:path w="124" h="568" extrusionOk="0">
                  <a:moveTo>
                    <a:pt x="95" y="1"/>
                  </a:moveTo>
                  <a:lnTo>
                    <a:pt x="124" y="69"/>
                  </a:lnTo>
                  <a:lnTo>
                    <a:pt x="124" y="244"/>
                  </a:lnTo>
                  <a:lnTo>
                    <a:pt x="124" y="325"/>
                  </a:lnTo>
                  <a:cubicBezTo>
                    <a:pt x="1" y="568"/>
                    <a:pt x="1" y="312"/>
                    <a:pt x="1" y="312"/>
                  </a:cubicBezTo>
                  <a:cubicBezTo>
                    <a:pt x="14" y="137"/>
                    <a:pt x="14" y="14"/>
                    <a:pt x="14" y="14"/>
                  </a:cubicBezTo>
                  <a:cubicBezTo>
                    <a:pt x="14" y="14"/>
                    <a:pt x="43" y="1"/>
                    <a:pt x="9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2" name="Google Shape;5082;p52">
              <a:extLst>
                <a:ext uri="{FF2B5EF4-FFF2-40B4-BE49-F238E27FC236}">
                  <a16:creationId xmlns:a16="http://schemas.microsoft.com/office/drawing/2014/main" id="{5B6CC5C0-3246-EAD6-82AB-10D8CD7C9C64}"/>
                </a:ext>
              </a:extLst>
            </p:cNvPr>
            <p:cNvSpPr/>
            <p:nvPr/>
          </p:nvSpPr>
          <p:spPr>
            <a:xfrm>
              <a:off x="3551761" y="4023613"/>
              <a:ext cx="4377" cy="17183"/>
            </a:xfrm>
            <a:custGeom>
              <a:avLst/>
              <a:gdLst/>
              <a:ahLst/>
              <a:cxnLst/>
              <a:rect l="l" t="t" r="r" b="b"/>
              <a:pathLst>
                <a:path w="134" h="526" extrusionOk="0">
                  <a:moveTo>
                    <a:pt x="95" y="27"/>
                  </a:moveTo>
                  <a:lnTo>
                    <a:pt x="134" y="419"/>
                  </a:lnTo>
                  <a:cubicBezTo>
                    <a:pt x="121" y="458"/>
                    <a:pt x="95" y="487"/>
                    <a:pt x="82" y="526"/>
                  </a:cubicBezTo>
                  <a:lnTo>
                    <a:pt x="14" y="406"/>
                  </a:lnTo>
                  <a:cubicBezTo>
                    <a:pt x="1" y="228"/>
                    <a:pt x="1" y="163"/>
                    <a:pt x="1" y="66"/>
                  </a:cubicBezTo>
                  <a:lnTo>
                    <a:pt x="53" y="1"/>
                  </a:lnTo>
                  <a:cubicBezTo>
                    <a:pt x="69" y="1"/>
                    <a:pt x="82" y="14"/>
                    <a:pt x="95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3" name="Google Shape;5083;p52">
              <a:extLst>
                <a:ext uri="{FF2B5EF4-FFF2-40B4-BE49-F238E27FC236}">
                  <a16:creationId xmlns:a16="http://schemas.microsoft.com/office/drawing/2014/main" id="{115D8716-4632-D2C1-F83F-9A62D14BD3E8}"/>
                </a:ext>
              </a:extLst>
            </p:cNvPr>
            <p:cNvSpPr/>
            <p:nvPr/>
          </p:nvSpPr>
          <p:spPr>
            <a:xfrm>
              <a:off x="3534936" y="4013028"/>
              <a:ext cx="4475" cy="17183"/>
            </a:xfrm>
            <a:custGeom>
              <a:avLst/>
              <a:gdLst/>
              <a:ahLst/>
              <a:cxnLst/>
              <a:rect l="l" t="t" r="r" b="b"/>
              <a:pathLst>
                <a:path w="137" h="526" extrusionOk="0">
                  <a:moveTo>
                    <a:pt x="69" y="40"/>
                  </a:moveTo>
                  <a:lnTo>
                    <a:pt x="124" y="147"/>
                  </a:lnTo>
                  <a:cubicBezTo>
                    <a:pt x="124" y="244"/>
                    <a:pt x="137" y="309"/>
                    <a:pt x="98" y="432"/>
                  </a:cubicBezTo>
                  <a:cubicBezTo>
                    <a:pt x="98" y="432"/>
                    <a:pt x="82" y="471"/>
                    <a:pt x="43" y="526"/>
                  </a:cubicBezTo>
                  <a:lnTo>
                    <a:pt x="1" y="419"/>
                  </a:lnTo>
                  <a:lnTo>
                    <a:pt x="1" y="147"/>
                  </a:lnTo>
                  <a:lnTo>
                    <a:pt x="17" y="108"/>
                  </a:lnTo>
                  <a:cubicBezTo>
                    <a:pt x="17" y="108"/>
                    <a:pt x="43" y="1"/>
                    <a:pt x="69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4" name="Google Shape;5084;p52">
              <a:extLst>
                <a:ext uri="{FF2B5EF4-FFF2-40B4-BE49-F238E27FC236}">
                  <a16:creationId xmlns:a16="http://schemas.microsoft.com/office/drawing/2014/main" id="{28DE5C73-1FA7-3C11-685B-55931D79F2B8}"/>
                </a:ext>
              </a:extLst>
            </p:cNvPr>
            <p:cNvSpPr/>
            <p:nvPr/>
          </p:nvSpPr>
          <p:spPr>
            <a:xfrm>
              <a:off x="3487829" y="4009435"/>
              <a:ext cx="4802" cy="15909"/>
            </a:xfrm>
            <a:custGeom>
              <a:avLst/>
              <a:gdLst/>
              <a:ahLst/>
              <a:cxnLst/>
              <a:rect l="l" t="t" r="r" b="b"/>
              <a:pathLst>
                <a:path w="147" h="487" extrusionOk="0">
                  <a:moveTo>
                    <a:pt x="121" y="14"/>
                  </a:moveTo>
                  <a:cubicBezTo>
                    <a:pt x="121" y="14"/>
                    <a:pt x="147" y="82"/>
                    <a:pt x="134" y="176"/>
                  </a:cubicBezTo>
                  <a:lnTo>
                    <a:pt x="121" y="273"/>
                  </a:lnTo>
                  <a:cubicBezTo>
                    <a:pt x="95" y="380"/>
                    <a:pt x="66" y="448"/>
                    <a:pt x="66" y="448"/>
                  </a:cubicBezTo>
                  <a:lnTo>
                    <a:pt x="27" y="487"/>
                  </a:lnTo>
                  <a:lnTo>
                    <a:pt x="1" y="312"/>
                  </a:lnTo>
                  <a:cubicBezTo>
                    <a:pt x="14" y="218"/>
                    <a:pt x="53" y="82"/>
                    <a:pt x="53" y="82"/>
                  </a:cubicBezTo>
                  <a:cubicBezTo>
                    <a:pt x="66" y="1"/>
                    <a:pt x="66" y="56"/>
                    <a:pt x="108" y="14"/>
                  </a:cubicBezTo>
                  <a:cubicBezTo>
                    <a:pt x="108" y="14"/>
                    <a:pt x="108" y="1"/>
                    <a:pt x="121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5" name="Google Shape;5085;p52">
              <a:extLst>
                <a:ext uri="{FF2B5EF4-FFF2-40B4-BE49-F238E27FC236}">
                  <a16:creationId xmlns:a16="http://schemas.microsoft.com/office/drawing/2014/main" id="{9A891ED4-BFF1-C8CF-2A45-D7056BC2DA5F}"/>
                </a:ext>
              </a:extLst>
            </p:cNvPr>
            <p:cNvSpPr/>
            <p:nvPr/>
          </p:nvSpPr>
          <p:spPr>
            <a:xfrm>
              <a:off x="3512493" y="3999798"/>
              <a:ext cx="7546" cy="18555"/>
            </a:xfrm>
            <a:custGeom>
              <a:avLst/>
              <a:gdLst/>
              <a:ahLst/>
              <a:cxnLst/>
              <a:rect l="l" t="t" r="r" b="b"/>
              <a:pathLst>
                <a:path w="231" h="568" extrusionOk="0">
                  <a:moveTo>
                    <a:pt x="108" y="108"/>
                  </a:moveTo>
                  <a:cubicBezTo>
                    <a:pt x="189" y="215"/>
                    <a:pt x="231" y="1"/>
                    <a:pt x="137" y="419"/>
                  </a:cubicBezTo>
                  <a:cubicBezTo>
                    <a:pt x="137" y="458"/>
                    <a:pt x="95" y="513"/>
                    <a:pt x="95" y="513"/>
                  </a:cubicBezTo>
                  <a:lnTo>
                    <a:pt x="56" y="568"/>
                  </a:lnTo>
                  <a:lnTo>
                    <a:pt x="1" y="406"/>
                  </a:lnTo>
                  <a:cubicBezTo>
                    <a:pt x="1" y="147"/>
                    <a:pt x="40" y="134"/>
                    <a:pt x="40" y="134"/>
                  </a:cubicBezTo>
                  <a:cubicBezTo>
                    <a:pt x="40" y="134"/>
                    <a:pt x="95" y="82"/>
                    <a:pt x="108" y="10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6" name="Google Shape;5086;p52">
              <a:extLst>
                <a:ext uri="{FF2B5EF4-FFF2-40B4-BE49-F238E27FC236}">
                  <a16:creationId xmlns:a16="http://schemas.microsoft.com/office/drawing/2014/main" id="{0FD7CA7B-0A5F-B757-A0A6-B10AE59AF792}"/>
                </a:ext>
              </a:extLst>
            </p:cNvPr>
            <p:cNvSpPr/>
            <p:nvPr/>
          </p:nvSpPr>
          <p:spPr>
            <a:xfrm>
              <a:off x="3535884" y="3980752"/>
              <a:ext cx="4900" cy="16432"/>
            </a:xfrm>
            <a:custGeom>
              <a:avLst/>
              <a:gdLst/>
              <a:ahLst/>
              <a:cxnLst/>
              <a:rect l="l" t="t" r="r" b="b"/>
              <a:pathLst>
                <a:path w="150" h="503" extrusionOk="0">
                  <a:moveTo>
                    <a:pt x="108" y="30"/>
                  </a:moveTo>
                  <a:lnTo>
                    <a:pt x="150" y="111"/>
                  </a:lnTo>
                  <a:lnTo>
                    <a:pt x="150" y="163"/>
                  </a:lnTo>
                  <a:cubicBezTo>
                    <a:pt x="150" y="163"/>
                    <a:pt x="134" y="325"/>
                    <a:pt x="134" y="461"/>
                  </a:cubicBezTo>
                  <a:lnTo>
                    <a:pt x="121" y="503"/>
                  </a:lnTo>
                  <a:lnTo>
                    <a:pt x="27" y="487"/>
                  </a:lnTo>
                  <a:cubicBezTo>
                    <a:pt x="1" y="354"/>
                    <a:pt x="14" y="312"/>
                    <a:pt x="27" y="205"/>
                  </a:cubicBezTo>
                  <a:cubicBezTo>
                    <a:pt x="27" y="205"/>
                    <a:pt x="82" y="1"/>
                    <a:pt x="108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7" name="Google Shape;5087;p52">
              <a:extLst>
                <a:ext uri="{FF2B5EF4-FFF2-40B4-BE49-F238E27FC236}">
                  <a16:creationId xmlns:a16="http://schemas.microsoft.com/office/drawing/2014/main" id="{F0D04B5D-1E53-9DAE-E270-8A3B3E3CD0C8}"/>
                </a:ext>
              </a:extLst>
            </p:cNvPr>
            <p:cNvSpPr/>
            <p:nvPr/>
          </p:nvSpPr>
          <p:spPr>
            <a:xfrm>
              <a:off x="3495244" y="3979903"/>
              <a:ext cx="6697" cy="14635"/>
            </a:xfrm>
            <a:custGeom>
              <a:avLst/>
              <a:gdLst/>
              <a:ahLst/>
              <a:cxnLst/>
              <a:rect l="l" t="t" r="r" b="b"/>
              <a:pathLst>
                <a:path w="205" h="448" extrusionOk="0">
                  <a:moveTo>
                    <a:pt x="192" y="14"/>
                  </a:moveTo>
                  <a:lnTo>
                    <a:pt x="205" y="124"/>
                  </a:lnTo>
                  <a:cubicBezTo>
                    <a:pt x="163" y="231"/>
                    <a:pt x="150" y="286"/>
                    <a:pt x="98" y="406"/>
                  </a:cubicBezTo>
                  <a:lnTo>
                    <a:pt x="30" y="448"/>
                  </a:lnTo>
                  <a:cubicBezTo>
                    <a:pt x="30" y="448"/>
                    <a:pt x="1" y="380"/>
                    <a:pt x="30" y="286"/>
                  </a:cubicBezTo>
                  <a:lnTo>
                    <a:pt x="111" y="82"/>
                  </a:lnTo>
                  <a:cubicBezTo>
                    <a:pt x="137" y="14"/>
                    <a:pt x="137" y="27"/>
                    <a:pt x="137" y="27"/>
                  </a:cubicBezTo>
                  <a:cubicBezTo>
                    <a:pt x="137" y="27"/>
                    <a:pt x="179" y="1"/>
                    <a:pt x="192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8" name="Google Shape;5088;p52">
              <a:extLst>
                <a:ext uri="{FF2B5EF4-FFF2-40B4-BE49-F238E27FC236}">
                  <a16:creationId xmlns:a16="http://schemas.microsoft.com/office/drawing/2014/main" id="{29504305-CEE0-0320-667E-A21817A20091}"/>
                </a:ext>
              </a:extLst>
            </p:cNvPr>
            <p:cNvSpPr/>
            <p:nvPr/>
          </p:nvSpPr>
          <p:spPr>
            <a:xfrm>
              <a:off x="3512918" y="3969318"/>
              <a:ext cx="6174" cy="14112"/>
            </a:xfrm>
            <a:custGeom>
              <a:avLst/>
              <a:gdLst/>
              <a:ahLst/>
              <a:cxnLst/>
              <a:rect l="l" t="t" r="r" b="b"/>
              <a:pathLst>
                <a:path w="189" h="432" extrusionOk="0">
                  <a:moveTo>
                    <a:pt x="189" y="27"/>
                  </a:moveTo>
                  <a:cubicBezTo>
                    <a:pt x="189" y="27"/>
                    <a:pt x="176" y="231"/>
                    <a:pt x="124" y="367"/>
                  </a:cubicBezTo>
                  <a:lnTo>
                    <a:pt x="56" y="432"/>
                  </a:lnTo>
                  <a:lnTo>
                    <a:pt x="27" y="367"/>
                  </a:lnTo>
                  <a:cubicBezTo>
                    <a:pt x="1" y="312"/>
                    <a:pt x="27" y="325"/>
                    <a:pt x="43" y="286"/>
                  </a:cubicBezTo>
                  <a:cubicBezTo>
                    <a:pt x="69" y="163"/>
                    <a:pt x="108" y="43"/>
                    <a:pt x="108" y="43"/>
                  </a:cubicBezTo>
                  <a:cubicBezTo>
                    <a:pt x="108" y="43"/>
                    <a:pt x="163" y="1"/>
                    <a:pt x="189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9" name="Google Shape;5089;p52">
              <a:extLst>
                <a:ext uri="{FF2B5EF4-FFF2-40B4-BE49-F238E27FC236}">
                  <a16:creationId xmlns:a16="http://schemas.microsoft.com/office/drawing/2014/main" id="{49BB80BA-03CA-6EC8-8C29-7DCC481A4F9E}"/>
                </a:ext>
              </a:extLst>
            </p:cNvPr>
            <p:cNvSpPr/>
            <p:nvPr/>
          </p:nvSpPr>
          <p:spPr>
            <a:xfrm>
              <a:off x="3526998" y="3957884"/>
              <a:ext cx="3626" cy="14537"/>
            </a:xfrm>
            <a:custGeom>
              <a:avLst/>
              <a:gdLst/>
              <a:ahLst/>
              <a:cxnLst/>
              <a:rect l="l" t="t" r="r" b="b"/>
              <a:pathLst>
                <a:path w="111" h="445" extrusionOk="0">
                  <a:moveTo>
                    <a:pt x="82" y="27"/>
                  </a:moveTo>
                  <a:lnTo>
                    <a:pt x="111" y="108"/>
                  </a:lnTo>
                  <a:cubicBezTo>
                    <a:pt x="98" y="283"/>
                    <a:pt x="98" y="270"/>
                    <a:pt x="82" y="296"/>
                  </a:cubicBezTo>
                  <a:lnTo>
                    <a:pt x="56" y="419"/>
                  </a:lnTo>
                  <a:lnTo>
                    <a:pt x="30" y="445"/>
                  </a:lnTo>
                  <a:lnTo>
                    <a:pt x="1" y="312"/>
                  </a:lnTo>
                  <a:cubicBezTo>
                    <a:pt x="1" y="163"/>
                    <a:pt x="1" y="231"/>
                    <a:pt x="17" y="95"/>
                  </a:cubicBezTo>
                  <a:cubicBezTo>
                    <a:pt x="30" y="27"/>
                    <a:pt x="43" y="40"/>
                    <a:pt x="43" y="40"/>
                  </a:cubicBezTo>
                  <a:cubicBezTo>
                    <a:pt x="43" y="40"/>
                    <a:pt x="69" y="1"/>
                    <a:pt x="82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0" name="Google Shape;5090;p52">
              <a:extLst>
                <a:ext uri="{FF2B5EF4-FFF2-40B4-BE49-F238E27FC236}">
                  <a16:creationId xmlns:a16="http://schemas.microsoft.com/office/drawing/2014/main" id="{5CD37D8F-3EC3-FDF5-8F1D-BDB5445D2781}"/>
                </a:ext>
              </a:extLst>
            </p:cNvPr>
            <p:cNvSpPr/>
            <p:nvPr/>
          </p:nvSpPr>
          <p:spPr>
            <a:xfrm>
              <a:off x="3514715" y="4276695"/>
              <a:ext cx="27767" cy="66609"/>
            </a:xfrm>
            <a:custGeom>
              <a:avLst/>
              <a:gdLst/>
              <a:ahLst/>
              <a:cxnLst/>
              <a:rect l="l" t="t" r="r" b="b"/>
              <a:pathLst>
                <a:path w="850" h="2039" extrusionOk="0">
                  <a:moveTo>
                    <a:pt x="1" y="2039"/>
                  </a:moveTo>
                  <a:lnTo>
                    <a:pt x="1" y="419"/>
                  </a:lnTo>
                  <a:cubicBezTo>
                    <a:pt x="1" y="192"/>
                    <a:pt x="189" y="1"/>
                    <a:pt x="419" y="1"/>
                  </a:cubicBezTo>
                  <a:cubicBezTo>
                    <a:pt x="662" y="1"/>
                    <a:pt x="850" y="192"/>
                    <a:pt x="850" y="419"/>
                  </a:cubicBezTo>
                  <a:lnTo>
                    <a:pt x="850" y="1974"/>
                  </a:lnTo>
                  <a:lnTo>
                    <a:pt x="769" y="1974"/>
                  </a:lnTo>
                  <a:cubicBezTo>
                    <a:pt x="555" y="1987"/>
                    <a:pt x="325" y="2000"/>
                    <a:pt x="108" y="2026"/>
                  </a:cubicBezTo>
                  <a:cubicBezTo>
                    <a:pt x="69" y="2026"/>
                    <a:pt x="40" y="2039"/>
                    <a:pt x="1" y="2039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1" name="Google Shape;5091;p52">
              <a:extLst>
                <a:ext uri="{FF2B5EF4-FFF2-40B4-BE49-F238E27FC236}">
                  <a16:creationId xmlns:a16="http://schemas.microsoft.com/office/drawing/2014/main" id="{49B3AD54-AE34-D635-F8C5-533FA88BD868}"/>
                </a:ext>
              </a:extLst>
            </p:cNvPr>
            <p:cNvSpPr/>
            <p:nvPr/>
          </p:nvSpPr>
          <p:spPr>
            <a:xfrm>
              <a:off x="3504555" y="4273624"/>
              <a:ext cx="38352" cy="20352"/>
            </a:xfrm>
            <a:custGeom>
              <a:avLst/>
              <a:gdLst/>
              <a:ahLst/>
              <a:cxnLst/>
              <a:rect l="l" t="t" r="r" b="b"/>
              <a:pathLst>
                <a:path w="1174" h="623" extrusionOk="0">
                  <a:moveTo>
                    <a:pt x="137" y="312"/>
                  </a:moveTo>
                  <a:cubicBezTo>
                    <a:pt x="95" y="367"/>
                    <a:pt x="56" y="419"/>
                    <a:pt x="27" y="474"/>
                  </a:cubicBezTo>
                  <a:cubicBezTo>
                    <a:pt x="27" y="474"/>
                    <a:pt x="1" y="529"/>
                    <a:pt x="14" y="529"/>
                  </a:cubicBezTo>
                  <a:cubicBezTo>
                    <a:pt x="95" y="555"/>
                    <a:pt x="218" y="474"/>
                    <a:pt x="270" y="432"/>
                  </a:cubicBezTo>
                  <a:lnTo>
                    <a:pt x="325" y="380"/>
                  </a:lnTo>
                  <a:lnTo>
                    <a:pt x="351" y="351"/>
                  </a:lnTo>
                  <a:cubicBezTo>
                    <a:pt x="338" y="380"/>
                    <a:pt x="325" y="406"/>
                    <a:pt x="299" y="432"/>
                  </a:cubicBezTo>
                  <a:cubicBezTo>
                    <a:pt x="283" y="474"/>
                    <a:pt x="231" y="581"/>
                    <a:pt x="299" y="581"/>
                  </a:cubicBezTo>
                  <a:cubicBezTo>
                    <a:pt x="364" y="581"/>
                    <a:pt x="432" y="529"/>
                    <a:pt x="474" y="487"/>
                  </a:cubicBezTo>
                  <a:cubicBezTo>
                    <a:pt x="487" y="474"/>
                    <a:pt x="500" y="461"/>
                    <a:pt x="526" y="432"/>
                  </a:cubicBezTo>
                  <a:cubicBezTo>
                    <a:pt x="526" y="432"/>
                    <a:pt x="526" y="406"/>
                    <a:pt x="542" y="406"/>
                  </a:cubicBezTo>
                  <a:cubicBezTo>
                    <a:pt x="594" y="432"/>
                    <a:pt x="688" y="623"/>
                    <a:pt x="756" y="513"/>
                  </a:cubicBezTo>
                  <a:cubicBezTo>
                    <a:pt x="756" y="500"/>
                    <a:pt x="769" y="474"/>
                    <a:pt x="769" y="461"/>
                  </a:cubicBezTo>
                  <a:lnTo>
                    <a:pt x="769" y="393"/>
                  </a:lnTo>
                  <a:cubicBezTo>
                    <a:pt x="769" y="393"/>
                    <a:pt x="785" y="406"/>
                    <a:pt x="785" y="419"/>
                  </a:cubicBezTo>
                  <a:cubicBezTo>
                    <a:pt x="798" y="419"/>
                    <a:pt x="798" y="432"/>
                    <a:pt x="811" y="432"/>
                  </a:cubicBezTo>
                  <a:cubicBezTo>
                    <a:pt x="837" y="461"/>
                    <a:pt x="866" y="487"/>
                    <a:pt x="892" y="500"/>
                  </a:cubicBezTo>
                  <a:cubicBezTo>
                    <a:pt x="973" y="555"/>
                    <a:pt x="1080" y="555"/>
                    <a:pt x="1135" y="474"/>
                  </a:cubicBezTo>
                  <a:cubicBezTo>
                    <a:pt x="1174" y="432"/>
                    <a:pt x="1161" y="367"/>
                    <a:pt x="1135" y="325"/>
                  </a:cubicBezTo>
                  <a:cubicBezTo>
                    <a:pt x="1080" y="205"/>
                    <a:pt x="931" y="124"/>
                    <a:pt x="785" y="82"/>
                  </a:cubicBezTo>
                  <a:cubicBezTo>
                    <a:pt x="500" y="1"/>
                    <a:pt x="244" y="137"/>
                    <a:pt x="95" y="325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2" name="Google Shape;5092;p52">
              <a:extLst>
                <a:ext uri="{FF2B5EF4-FFF2-40B4-BE49-F238E27FC236}">
                  <a16:creationId xmlns:a16="http://schemas.microsoft.com/office/drawing/2014/main" id="{5AC904F1-FDCD-BACD-4371-09767C09AB71}"/>
                </a:ext>
              </a:extLst>
            </p:cNvPr>
            <p:cNvSpPr/>
            <p:nvPr/>
          </p:nvSpPr>
          <p:spPr>
            <a:xfrm>
              <a:off x="3517361" y="4262615"/>
              <a:ext cx="5325" cy="13263"/>
            </a:xfrm>
            <a:custGeom>
              <a:avLst/>
              <a:gdLst/>
              <a:ahLst/>
              <a:cxnLst/>
              <a:rect l="l" t="t" r="r" b="b"/>
              <a:pathLst>
                <a:path w="163" h="406" extrusionOk="0">
                  <a:moveTo>
                    <a:pt x="95" y="27"/>
                  </a:moveTo>
                  <a:lnTo>
                    <a:pt x="150" y="82"/>
                  </a:lnTo>
                  <a:cubicBezTo>
                    <a:pt x="163" y="121"/>
                    <a:pt x="163" y="82"/>
                    <a:pt x="163" y="189"/>
                  </a:cubicBezTo>
                  <a:cubicBezTo>
                    <a:pt x="163" y="189"/>
                    <a:pt x="134" y="325"/>
                    <a:pt x="134" y="351"/>
                  </a:cubicBezTo>
                  <a:lnTo>
                    <a:pt x="95" y="406"/>
                  </a:lnTo>
                  <a:lnTo>
                    <a:pt x="40" y="312"/>
                  </a:lnTo>
                  <a:cubicBezTo>
                    <a:pt x="1" y="163"/>
                    <a:pt x="1" y="202"/>
                    <a:pt x="14" y="108"/>
                  </a:cubicBezTo>
                  <a:cubicBezTo>
                    <a:pt x="14" y="108"/>
                    <a:pt x="69" y="1"/>
                    <a:pt x="95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3" name="Google Shape;5093;p52">
              <a:extLst>
                <a:ext uri="{FF2B5EF4-FFF2-40B4-BE49-F238E27FC236}">
                  <a16:creationId xmlns:a16="http://schemas.microsoft.com/office/drawing/2014/main" id="{CF6B8BAB-8820-70EE-BEDD-42BE1B4AA500}"/>
                </a:ext>
              </a:extLst>
            </p:cNvPr>
            <p:cNvSpPr/>
            <p:nvPr/>
          </p:nvSpPr>
          <p:spPr>
            <a:xfrm>
              <a:off x="3551336" y="4263464"/>
              <a:ext cx="4377" cy="11564"/>
            </a:xfrm>
            <a:custGeom>
              <a:avLst/>
              <a:gdLst/>
              <a:ahLst/>
              <a:cxnLst/>
              <a:rect l="l" t="t" r="r" b="b"/>
              <a:pathLst>
                <a:path w="134" h="354" extrusionOk="0">
                  <a:moveTo>
                    <a:pt x="121" y="43"/>
                  </a:moveTo>
                  <a:lnTo>
                    <a:pt x="134" y="111"/>
                  </a:lnTo>
                  <a:cubicBezTo>
                    <a:pt x="121" y="205"/>
                    <a:pt x="82" y="325"/>
                    <a:pt x="82" y="325"/>
                  </a:cubicBezTo>
                  <a:lnTo>
                    <a:pt x="27" y="354"/>
                  </a:lnTo>
                  <a:cubicBezTo>
                    <a:pt x="27" y="354"/>
                    <a:pt x="1" y="325"/>
                    <a:pt x="1" y="299"/>
                  </a:cubicBezTo>
                  <a:cubicBezTo>
                    <a:pt x="66" y="1"/>
                    <a:pt x="95" y="43"/>
                    <a:pt x="121" y="43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4" name="Google Shape;5094;p52">
              <a:extLst>
                <a:ext uri="{FF2B5EF4-FFF2-40B4-BE49-F238E27FC236}">
                  <a16:creationId xmlns:a16="http://schemas.microsoft.com/office/drawing/2014/main" id="{7040811D-3CC0-21E4-44CD-CE4B9A9208D3}"/>
                </a:ext>
              </a:extLst>
            </p:cNvPr>
            <p:cNvSpPr/>
            <p:nvPr/>
          </p:nvSpPr>
          <p:spPr>
            <a:xfrm>
              <a:off x="3484235" y="4255101"/>
              <a:ext cx="8918" cy="17281"/>
            </a:xfrm>
            <a:custGeom>
              <a:avLst/>
              <a:gdLst/>
              <a:ahLst/>
              <a:cxnLst/>
              <a:rect l="l" t="t" r="r" b="b"/>
              <a:pathLst>
                <a:path w="273" h="529" extrusionOk="0">
                  <a:moveTo>
                    <a:pt x="124" y="27"/>
                  </a:moveTo>
                  <a:cubicBezTo>
                    <a:pt x="124" y="27"/>
                    <a:pt x="137" y="82"/>
                    <a:pt x="218" y="257"/>
                  </a:cubicBezTo>
                  <a:lnTo>
                    <a:pt x="257" y="419"/>
                  </a:lnTo>
                  <a:cubicBezTo>
                    <a:pt x="273" y="432"/>
                    <a:pt x="273" y="448"/>
                    <a:pt x="273" y="461"/>
                  </a:cubicBezTo>
                  <a:lnTo>
                    <a:pt x="257" y="529"/>
                  </a:lnTo>
                  <a:cubicBezTo>
                    <a:pt x="257" y="529"/>
                    <a:pt x="205" y="529"/>
                    <a:pt x="111" y="393"/>
                  </a:cubicBezTo>
                  <a:lnTo>
                    <a:pt x="69" y="325"/>
                  </a:lnTo>
                  <a:cubicBezTo>
                    <a:pt x="30" y="231"/>
                    <a:pt x="14" y="176"/>
                    <a:pt x="1" y="69"/>
                  </a:cubicBezTo>
                  <a:lnTo>
                    <a:pt x="30" y="27"/>
                  </a:lnTo>
                  <a:cubicBezTo>
                    <a:pt x="30" y="27"/>
                    <a:pt x="95" y="1"/>
                    <a:pt x="124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5" name="Google Shape;5095;p52">
              <a:extLst>
                <a:ext uri="{FF2B5EF4-FFF2-40B4-BE49-F238E27FC236}">
                  <a16:creationId xmlns:a16="http://schemas.microsoft.com/office/drawing/2014/main" id="{2691D87F-2B64-09FF-0496-F1D4434460DD}"/>
                </a:ext>
              </a:extLst>
            </p:cNvPr>
            <p:cNvSpPr/>
            <p:nvPr/>
          </p:nvSpPr>
          <p:spPr>
            <a:xfrm>
              <a:off x="3565416" y="4249809"/>
              <a:ext cx="7971" cy="21201"/>
            </a:xfrm>
            <a:custGeom>
              <a:avLst/>
              <a:gdLst/>
              <a:ahLst/>
              <a:cxnLst/>
              <a:rect l="l" t="t" r="r" b="b"/>
              <a:pathLst>
                <a:path w="244" h="649" extrusionOk="0">
                  <a:moveTo>
                    <a:pt x="202" y="27"/>
                  </a:moveTo>
                  <a:cubicBezTo>
                    <a:pt x="231" y="95"/>
                    <a:pt x="244" y="56"/>
                    <a:pt x="231" y="108"/>
                  </a:cubicBezTo>
                  <a:lnTo>
                    <a:pt x="189" y="270"/>
                  </a:lnTo>
                  <a:cubicBezTo>
                    <a:pt x="163" y="380"/>
                    <a:pt x="137" y="474"/>
                    <a:pt x="137" y="474"/>
                  </a:cubicBezTo>
                  <a:cubicBezTo>
                    <a:pt x="108" y="513"/>
                    <a:pt x="95" y="568"/>
                    <a:pt x="95" y="568"/>
                  </a:cubicBezTo>
                  <a:lnTo>
                    <a:pt x="14" y="649"/>
                  </a:lnTo>
                  <a:cubicBezTo>
                    <a:pt x="14" y="649"/>
                    <a:pt x="1" y="555"/>
                    <a:pt x="14" y="448"/>
                  </a:cubicBezTo>
                  <a:lnTo>
                    <a:pt x="150" y="56"/>
                  </a:lnTo>
                  <a:cubicBezTo>
                    <a:pt x="150" y="56"/>
                    <a:pt x="189" y="1"/>
                    <a:pt x="202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6" name="Google Shape;5096;p52">
              <a:extLst>
                <a:ext uri="{FF2B5EF4-FFF2-40B4-BE49-F238E27FC236}">
                  <a16:creationId xmlns:a16="http://schemas.microsoft.com/office/drawing/2014/main" id="{A2602882-A4CD-046C-CC4B-5CD7FAD1B56A}"/>
                </a:ext>
              </a:extLst>
            </p:cNvPr>
            <p:cNvSpPr/>
            <p:nvPr/>
          </p:nvSpPr>
          <p:spPr>
            <a:xfrm>
              <a:off x="3456075" y="4249809"/>
              <a:ext cx="11891" cy="19404"/>
            </a:xfrm>
            <a:custGeom>
              <a:avLst/>
              <a:gdLst/>
              <a:ahLst/>
              <a:cxnLst/>
              <a:rect l="l" t="t" r="r" b="b"/>
              <a:pathLst>
                <a:path w="364" h="594" extrusionOk="0">
                  <a:moveTo>
                    <a:pt x="309" y="581"/>
                  </a:moveTo>
                  <a:cubicBezTo>
                    <a:pt x="228" y="513"/>
                    <a:pt x="147" y="393"/>
                    <a:pt x="134" y="380"/>
                  </a:cubicBezTo>
                  <a:cubicBezTo>
                    <a:pt x="121" y="351"/>
                    <a:pt x="121" y="338"/>
                    <a:pt x="108" y="325"/>
                  </a:cubicBezTo>
                  <a:cubicBezTo>
                    <a:pt x="95" y="299"/>
                    <a:pt x="82" y="270"/>
                    <a:pt x="82" y="257"/>
                  </a:cubicBezTo>
                  <a:cubicBezTo>
                    <a:pt x="40" y="176"/>
                    <a:pt x="1" y="56"/>
                    <a:pt x="1" y="56"/>
                  </a:cubicBezTo>
                  <a:lnTo>
                    <a:pt x="40" y="1"/>
                  </a:lnTo>
                  <a:cubicBezTo>
                    <a:pt x="40" y="1"/>
                    <a:pt x="95" y="1"/>
                    <a:pt x="228" y="270"/>
                  </a:cubicBezTo>
                  <a:cubicBezTo>
                    <a:pt x="351" y="500"/>
                    <a:pt x="244" y="299"/>
                    <a:pt x="364" y="555"/>
                  </a:cubicBezTo>
                  <a:lnTo>
                    <a:pt x="364" y="594"/>
                  </a:lnTo>
                  <a:cubicBezTo>
                    <a:pt x="364" y="594"/>
                    <a:pt x="325" y="594"/>
                    <a:pt x="309" y="58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7" name="Google Shape;5097;p52">
              <a:extLst>
                <a:ext uri="{FF2B5EF4-FFF2-40B4-BE49-F238E27FC236}">
                  <a16:creationId xmlns:a16="http://schemas.microsoft.com/office/drawing/2014/main" id="{DFA22C1A-8E90-42B4-AD75-E1D931BDD957}"/>
                </a:ext>
              </a:extLst>
            </p:cNvPr>
            <p:cNvSpPr/>
            <p:nvPr/>
          </p:nvSpPr>
          <p:spPr>
            <a:xfrm>
              <a:off x="3538955" y="4239224"/>
              <a:ext cx="4900" cy="17281"/>
            </a:xfrm>
            <a:custGeom>
              <a:avLst/>
              <a:gdLst/>
              <a:ahLst/>
              <a:cxnLst/>
              <a:rect l="l" t="t" r="r" b="b"/>
              <a:pathLst>
                <a:path w="150" h="529" extrusionOk="0">
                  <a:moveTo>
                    <a:pt x="95" y="14"/>
                  </a:moveTo>
                  <a:lnTo>
                    <a:pt x="150" y="137"/>
                  </a:lnTo>
                  <a:lnTo>
                    <a:pt x="150" y="231"/>
                  </a:lnTo>
                  <a:cubicBezTo>
                    <a:pt x="137" y="474"/>
                    <a:pt x="121" y="419"/>
                    <a:pt x="121" y="448"/>
                  </a:cubicBezTo>
                  <a:lnTo>
                    <a:pt x="56" y="529"/>
                  </a:lnTo>
                  <a:lnTo>
                    <a:pt x="14" y="474"/>
                  </a:lnTo>
                  <a:cubicBezTo>
                    <a:pt x="1" y="299"/>
                    <a:pt x="1" y="393"/>
                    <a:pt x="14" y="244"/>
                  </a:cubicBezTo>
                  <a:lnTo>
                    <a:pt x="14" y="150"/>
                  </a:lnTo>
                  <a:cubicBezTo>
                    <a:pt x="27" y="69"/>
                    <a:pt x="56" y="43"/>
                    <a:pt x="56" y="43"/>
                  </a:cubicBezTo>
                  <a:cubicBezTo>
                    <a:pt x="56" y="43"/>
                    <a:pt x="82" y="1"/>
                    <a:pt x="95" y="14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8" name="Google Shape;5098;p52">
              <a:extLst>
                <a:ext uri="{FF2B5EF4-FFF2-40B4-BE49-F238E27FC236}">
                  <a16:creationId xmlns:a16="http://schemas.microsoft.com/office/drawing/2014/main" id="{AA47E84F-13E2-51E7-7B03-7E09FC817ED3}"/>
                </a:ext>
              </a:extLst>
            </p:cNvPr>
            <p:cNvSpPr/>
            <p:nvPr/>
          </p:nvSpPr>
          <p:spPr>
            <a:xfrm>
              <a:off x="3498838" y="4231286"/>
              <a:ext cx="7546" cy="26493"/>
            </a:xfrm>
            <a:custGeom>
              <a:avLst/>
              <a:gdLst/>
              <a:ahLst/>
              <a:cxnLst/>
              <a:rect l="l" t="t" r="r" b="b"/>
              <a:pathLst>
                <a:path w="231" h="811" extrusionOk="0">
                  <a:moveTo>
                    <a:pt x="82" y="27"/>
                  </a:moveTo>
                  <a:lnTo>
                    <a:pt x="121" y="108"/>
                  </a:lnTo>
                  <a:cubicBezTo>
                    <a:pt x="150" y="205"/>
                    <a:pt x="95" y="27"/>
                    <a:pt x="189" y="448"/>
                  </a:cubicBezTo>
                  <a:cubicBezTo>
                    <a:pt x="215" y="542"/>
                    <a:pt x="231" y="675"/>
                    <a:pt x="231" y="675"/>
                  </a:cubicBezTo>
                  <a:cubicBezTo>
                    <a:pt x="189" y="811"/>
                    <a:pt x="163" y="717"/>
                    <a:pt x="163" y="717"/>
                  </a:cubicBezTo>
                  <a:cubicBezTo>
                    <a:pt x="1" y="568"/>
                    <a:pt x="69" y="691"/>
                    <a:pt x="14" y="218"/>
                  </a:cubicBezTo>
                  <a:cubicBezTo>
                    <a:pt x="1" y="56"/>
                    <a:pt x="40" y="69"/>
                    <a:pt x="40" y="69"/>
                  </a:cubicBezTo>
                  <a:cubicBezTo>
                    <a:pt x="40" y="69"/>
                    <a:pt x="40" y="1"/>
                    <a:pt x="82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9" name="Google Shape;5099;p52">
              <a:extLst>
                <a:ext uri="{FF2B5EF4-FFF2-40B4-BE49-F238E27FC236}">
                  <a16:creationId xmlns:a16="http://schemas.microsoft.com/office/drawing/2014/main" id="{377DDB38-254D-C289-A77D-FA9FDE63B8FE}"/>
                </a:ext>
              </a:extLst>
            </p:cNvPr>
            <p:cNvSpPr/>
            <p:nvPr/>
          </p:nvSpPr>
          <p:spPr>
            <a:xfrm>
              <a:off x="3462641" y="4229064"/>
              <a:ext cx="6174" cy="17706"/>
            </a:xfrm>
            <a:custGeom>
              <a:avLst/>
              <a:gdLst/>
              <a:ahLst/>
              <a:cxnLst/>
              <a:rect l="l" t="t" r="r" b="b"/>
              <a:pathLst>
                <a:path w="189" h="542" extrusionOk="0">
                  <a:moveTo>
                    <a:pt x="108" y="30"/>
                  </a:moveTo>
                  <a:cubicBezTo>
                    <a:pt x="108" y="30"/>
                    <a:pt x="176" y="257"/>
                    <a:pt x="189" y="435"/>
                  </a:cubicBezTo>
                  <a:lnTo>
                    <a:pt x="163" y="542"/>
                  </a:lnTo>
                  <a:lnTo>
                    <a:pt x="108" y="487"/>
                  </a:lnTo>
                  <a:cubicBezTo>
                    <a:pt x="27" y="419"/>
                    <a:pt x="56" y="461"/>
                    <a:pt x="43" y="380"/>
                  </a:cubicBezTo>
                  <a:cubicBezTo>
                    <a:pt x="1" y="205"/>
                    <a:pt x="27" y="30"/>
                    <a:pt x="27" y="30"/>
                  </a:cubicBezTo>
                  <a:cubicBezTo>
                    <a:pt x="27" y="30"/>
                    <a:pt x="69" y="1"/>
                    <a:pt x="108" y="3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0" name="Google Shape;5100;p52">
              <a:extLst>
                <a:ext uri="{FF2B5EF4-FFF2-40B4-BE49-F238E27FC236}">
                  <a16:creationId xmlns:a16="http://schemas.microsoft.com/office/drawing/2014/main" id="{E5C510BD-1648-98A6-6CF3-E9CB4452AF54}"/>
                </a:ext>
              </a:extLst>
            </p:cNvPr>
            <p:cNvSpPr/>
            <p:nvPr/>
          </p:nvSpPr>
          <p:spPr>
            <a:xfrm>
              <a:off x="3560124" y="4222498"/>
              <a:ext cx="5749" cy="22475"/>
            </a:xfrm>
            <a:custGeom>
              <a:avLst/>
              <a:gdLst/>
              <a:ahLst/>
              <a:cxnLst/>
              <a:rect l="l" t="t" r="r" b="b"/>
              <a:pathLst>
                <a:path w="176" h="688" extrusionOk="0">
                  <a:moveTo>
                    <a:pt x="108" y="1"/>
                  </a:moveTo>
                  <a:cubicBezTo>
                    <a:pt x="176" y="27"/>
                    <a:pt x="137" y="40"/>
                    <a:pt x="137" y="82"/>
                  </a:cubicBezTo>
                  <a:lnTo>
                    <a:pt x="137" y="513"/>
                  </a:lnTo>
                  <a:lnTo>
                    <a:pt x="108" y="636"/>
                  </a:lnTo>
                  <a:lnTo>
                    <a:pt x="56" y="688"/>
                  </a:lnTo>
                  <a:lnTo>
                    <a:pt x="14" y="636"/>
                  </a:lnTo>
                  <a:cubicBezTo>
                    <a:pt x="1" y="432"/>
                    <a:pt x="27" y="270"/>
                    <a:pt x="56" y="40"/>
                  </a:cubicBezTo>
                  <a:cubicBezTo>
                    <a:pt x="56" y="40"/>
                    <a:pt x="82" y="1"/>
                    <a:pt x="108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1" name="Google Shape;5101;p52">
              <a:extLst>
                <a:ext uri="{FF2B5EF4-FFF2-40B4-BE49-F238E27FC236}">
                  <a16:creationId xmlns:a16="http://schemas.microsoft.com/office/drawing/2014/main" id="{25C19A7E-DBFA-07EE-2A6C-0880FDCAE25C}"/>
                </a:ext>
              </a:extLst>
            </p:cNvPr>
            <p:cNvSpPr/>
            <p:nvPr/>
          </p:nvSpPr>
          <p:spPr>
            <a:xfrm>
              <a:off x="3570284" y="4039490"/>
              <a:ext cx="3953" cy="14112"/>
            </a:xfrm>
            <a:custGeom>
              <a:avLst/>
              <a:gdLst/>
              <a:ahLst/>
              <a:cxnLst/>
              <a:rect l="l" t="t" r="r" b="b"/>
              <a:pathLst>
                <a:path w="121" h="432" extrusionOk="0">
                  <a:moveTo>
                    <a:pt x="82" y="40"/>
                  </a:moveTo>
                  <a:cubicBezTo>
                    <a:pt x="82" y="40"/>
                    <a:pt x="108" y="228"/>
                    <a:pt x="121" y="390"/>
                  </a:cubicBezTo>
                  <a:lnTo>
                    <a:pt x="82" y="432"/>
                  </a:lnTo>
                  <a:cubicBezTo>
                    <a:pt x="82" y="432"/>
                    <a:pt x="14" y="215"/>
                    <a:pt x="1" y="82"/>
                  </a:cubicBezTo>
                  <a:cubicBezTo>
                    <a:pt x="1" y="27"/>
                    <a:pt x="27" y="1"/>
                    <a:pt x="82" y="4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2" name="Google Shape;5102;p52">
              <a:extLst>
                <a:ext uri="{FF2B5EF4-FFF2-40B4-BE49-F238E27FC236}">
                  <a16:creationId xmlns:a16="http://schemas.microsoft.com/office/drawing/2014/main" id="{8F93B4F3-2F3D-982E-F323-A0DB9325E706}"/>
                </a:ext>
              </a:extLst>
            </p:cNvPr>
            <p:cNvSpPr/>
            <p:nvPr/>
          </p:nvSpPr>
          <p:spPr>
            <a:xfrm>
              <a:off x="3561398" y="4002444"/>
              <a:ext cx="6697" cy="16758"/>
            </a:xfrm>
            <a:custGeom>
              <a:avLst/>
              <a:gdLst/>
              <a:ahLst/>
              <a:cxnLst/>
              <a:rect l="l" t="t" r="r" b="b"/>
              <a:pathLst>
                <a:path w="205" h="513" extrusionOk="0">
                  <a:moveTo>
                    <a:pt x="43" y="27"/>
                  </a:moveTo>
                  <a:lnTo>
                    <a:pt x="124" y="108"/>
                  </a:lnTo>
                  <a:cubicBezTo>
                    <a:pt x="163" y="202"/>
                    <a:pt x="205" y="351"/>
                    <a:pt x="205" y="351"/>
                  </a:cubicBezTo>
                  <a:cubicBezTo>
                    <a:pt x="205" y="377"/>
                    <a:pt x="192" y="406"/>
                    <a:pt x="192" y="406"/>
                  </a:cubicBezTo>
                  <a:cubicBezTo>
                    <a:pt x="192" y="406"/>
                    <a:pt x="205" y="513"/>
                    <a:pt x="111" y="377"/>
                  </a:cubicBezTo>
                  <a:lnTo>
                    <a:pt x="1" y="95"/>
                  </a:lnTo>
                  <a:cubicBezTo>
                    <a:pt x="17" y="1"/>
                    <a:pt x="30" y="14"/>
                    <a:pt x="43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3" name="Google Shape;5103;p52">
              <a:extLst>
                <a:ext uri="{FF2B5EF4-FFF2-40B4-BE49-F238E27FC236}">
                  <a16:creationId xmlns:a16="http://schemas.microsoft.com/office/drawing/2014/main" id="{022F7B11-9784-AD09-E024-C989E4BCFFAF}"/>
                </a:ext>
              </a:extLst>
            </p:cNvPr>
            <p:cNvSpPr/>
            <p:nvPr/>
          </p:nvSpPr>
          <p:spPr>
            <a:xfrm>
              <a:off x="3183947" y="3809700"/>
              <a:ext cx="311844" cy="455581"/>
            </a:xfrm>
            <a:custGeom>
              <a:avLst/>
              <a:gdLst/>
              <a:ahLst/>
              <a:cxnLst/>
              <a:rect l="l" t="t" r="r" b="b"/>
              <a:pathLst>
                <a:path w="9546" h="13946" extrusionOk="0">
                  <a:moveTo>
                    <a:pt x="6170" y="13946"/>
                  </a:moveTo>
                  <a:lnTo>
                    <a:pt x="3374" y="13946"/>
                  </a:lnTo>
                  <a:cubicBezTo>
                    <a:pt x="1203" y="13758"/>
                    <a:pt x="1" y="10813"/>
                    <a:pt x="2376" y="9274"/>
                  </a:cubicBezTo>
                  <a:cubicBezTo>
                    <a:pt x="4751" y="7722"/>
                    <a:pt x="419" y="7087"/>
                    <a:pt x="2376" y="5253"/>
                  </a:cubicBezTo>
                  <a:cubicBezTo>
                    <a:pt x="4346" y="3429"/>
                    <a:pt x="3510" y="4009"/>
                    <a:pt x="3374" y="2094"/>
                  </a:cubicBezTo>
                  <a:cubicBezTo>
                    <a:pt x="3322" y="1446"/>
                    <a:pt x="3523" y="176"/>
                    <a:pt x="4563" y="95"/>
                  </a:cubicBezTo>
                  <a:cubicBezTo>
                    <a:pt x="5940" y="1"/>
                    <a:pt x="6225" y="1349"/>
                    <a:pt x="6170" y="2094"/>
                  </a:cubicBezTo>
                  <a:cubicBezTo>
                    <a:pt x="6034" y="4009"/>
                    <a:pt x="5198" y="3429"/>
                    <a:pt x="7168" y="5253"/>
                  </a:cubicBezTo>
                  <a:cubicBezTo>
                    <a:pt x="9125" y="7087"/>
                    <a:pt x="4793" y="7722"/>
                    <a:pt x="7168" y="9274"/>
                  </a:cubicBezTo>
                  <a:cubicBezTo>
                    <a:pt x="9546" y="10813"/>
                    <a:pt x="8344" y="13758"/>
                    <a:pt x="6170" y="13946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4" name="Google Shape;5104;p52">
              <a:extLst>
                <a:ext uri="{FF2B5EF4-FFF2-40B4-BE49-F238E27FC236}">
                  <a16:creationId xmlns:a16="http://schemas.microsoft.com/office/drawing/2014/main" id="{A5890078-2D95-7E7F-2CF3-F27D5D7D40FA}"/>
                </a:ext>
              </a:extLst>
            </p:cNvPr>
            <p:cNvSpPr/>
            <p:nvPr/>
          </p:nvSpPr>
          <p:spPr>
            <a:xfrm>
              <a:off x="3279208" y="4119723"/>
              <a:ext cx="71901" cy="54751"/>
            </a:xfrm>
            <a:custGeom>
              <a:avLst/>
              <a:gdLst/>
              <a:ahLst/>
              <a:cxnLst/>
              <a:rect l="l" t="t" r="r" b="b"/>
              <a:pathLst>
                <a:path w="2201" h="1676" extrusionOk="0">
                  <a:moveTo>
                    <a:pt x="95" y="40"/>
                  </a:moveTo>
                  <a:lnTo>
                    <a:pt x="163" y="95"/>
                  </a:lnTo>
                  <a:lnTo>
                    <a:pt x="244" y="150"/>
                  </a:lnTo>
                  <a:lnTo>
                    <a:pt x="312" y="189"/>
                  </a:lnTo>
                  <a:lnTo>
                    <a:pt x="351" y="231"/>
                  </a:lnTo>
                  <a:lnTo>
                    <a:pt x="377" y="244"/>
                  </a:lnTo>
                  <a:lnTo>
                    <a:pt x="445" y="299"/>
                  </a:lnTo>
                  <a:lnTo>
                    <a:pt x="513" y="338"/>
                  </a:lnTo>
                  <a:lnTo>
                    <a:pt x="581" y="393"/>
                  </a:lnTo>
                  <a:lnTo>
                    <a:pt x="620" y="419"/>
                  </a:lnTo>
                  <a:lnTo>
                    <a:pt x="649" y="432"/>
                  </a:lnTo>
                  <a:lnTo>
                    <a:pt x="717" y="487"/>
                  </a:lnTo>
                  <a:lnTo>
                    <a:pt x="863" y="581"/>
                  </a:lnTo>
                  <a:lnTo>
                    <a:pt x="892" y="607"/>
                  </a:lnTo>
                  <a:lnTo>
                    <a:pt x="999" y="675"/>
                  </a:lnTo>
                  <a:lnTo>
                    <a:pt x="1135" y="785"/>
                  </a:lnTo>
                  <a:lnTo>
                    <a:pt x="1203" y="837"/>
                  </a:lnTo>
                  <a:lnTo>
                    <a:pt x="1404" y="973"/>
                  </a:lnTo>
                  <a:lnTo>
                    <a:pt x="1540" y="1080"/>
                  </a:lnTo>
                  <a:lnTo>
                    <a:pt x="1579" y="1109"/>
                  </a:lnTo>
                  <a:lnTo>
                    <a:pt x="1673" y="1174"/>
                  </a:lnTo>
                  <a:lnTo>
                    <a:pt x="1741" y="1229"/>
                  </a:lnTo>
                  <a:lnTo>
                    <a:pt x="1809" y="1284"/>
                  </a:lnTo>
                  <a:lnTo>
                    <a:pt x="1877" y="1336"/>
                  </a:lnTo>
                  <a:lnTo>
                    <a:pt x="1945" y="1391"/>
                  </a:lnTo>
                  <a:lnTo>
                    <a:pt x="2013" y="1433"/>
                  </a:lnTo>
                  <a:lnTo>
                    <a:pt x="2078" y="1485"/>
                  </a:lnTo>
                  <a:lnTo>
                    <a:pt x="2146" y="1540"/>
                  </a:lnTo>
                  <a:lnTo>
                    <a:pt x="2175" y="1553"/>
                  </a:lnTo>
                  <a:lnTo>
                    <a:pt x="2201" y="1621"/>
                  </a:lnTo>
                  <a:lnTo>
                    <a:pt x="2201" y="1676"/>
                  </a:lnTo>
                  <a:lnTo>
                    <a:pt x="2146" y="1676"/>
                  </a:lnTo>
                  <a:lnTo>
                    <a:pt x="2094" y="1660"/>
                  </a:lnTo>
                  <a:lnTo>
                    <a:pt x="2065" y="1647"/>
                  </a:lnTo>
                  <a:lnTo>
                    <a:pt x="1997" y="1595"/>
                  </a:lnTo>
                  <a:lnTo>
                    <a:pt x="1932" y="1540"/>
                  </a:lnTo>
                  <a:lnTo>
                    <a:pt x="1864" y="1498"/>
                  </a:lnTo>
                  <a:lnTo>
                    <a:pt x="1796" y="1446"/>
                  </a:lnTo>
                  <a:lnTo>
                    <a:pt x="1728" y="1391"/>
                  </a:lnTo>
                  <a:lnTo>
                    <a:pt x="1660" y="1336"/>
                  </a:lnTo>
                  <a:lnTo>
                    <a:pt x="1592" y="1297"/>
                  </a:lnTo>
                  <a:lnTo>
                    <a:pt x="1498" y="1216"/>
                  </a:lnTo>
                  <a:lnTo>
                    <a:pt x="1459" y="1190"/>
                  </a:lnTo>
                  <a:lnTo>
                    <a:pt x="1323" y="1093"/>
                  </a:lnTo>
                  <a:lnTo>
                    <a:pt x="1135" y="947"/>
                  </a:lnTo>
                  <a:lnTo>
                    <a:pt x="1054" y="892"/>
                  </a:lnTo>
                  <a:lnTo>
                    <a:pt x="918" y="785"/>
                  </a:lnTo>
                  <a:lnTo>
                    <a:pt x="811" y="704"/>
                  </a:lnTo>
                  <a:lnTo>
                    <a:pt x="782" y="688"/>
                  </a:lnTo>
                  <a:lnTo>
                    <a:pt x="649" y="581"/>
                  </a:lnTo>
                  <a:lnTo>
                    <a:pt x="581" y="526"/>
                  </a:lnTo>
                  <a:lnTo>
                    <a:pt x="568" y="513"/>
                  </a:lnTo>
                  <a:lnTo>
                    <a:pt x="526" y="474"/>
                  </a:lnTo>
                  <a:lnTo>
                    <a:pt x="458" y="419"/>
                  </a:lnTo>
                  <a:lnTo>
                    <a:pt x="393" y="364"/>
                  </a:lnTo>
                  <a:lnTo>
                    <a:pt x="325" y="312"/>
                  </a:lnTo>
                  <a:lnTo>
                    <a:pt x="296" y="283"/>
                  </a:lnTo>
                  <a:lnTo>
                    <a:pt x="257" y="257"/>
                  </a:lnTo>
                  <a:lnTo>
                    <a:pt x="189" y="202"/>
                  </a:lnTo>
                  <a:lnTo>
                    <a:pt x="134" y="150"/>
                  </a:lnTo>
                  <a:lnTo>
                    <a:pt x="69" y="95"/>
                  </a:lnTo>
                  <a:lnTo>
                    <a:pt x="1" y="27"/>
                  </a:lnTo>
                  <a:lnTo>
                    <a:pt x="1" y="1"/>
                  </a:lnTo>
                  <a:lnTo>
                    <a:pt x="27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5" name="Google Shape;5105;p52">
              <a:extLst>
                <a:ext uri="{FF2B5EF4-FFF2-40B4-BE49-F238E27FC236}">
                  <a16:creationId xmlns:a16="http://schemas.microsoft.com/office/drawing/2014/main" id="{EE76AB4B-3969-800E-328C-1850B141868B}"/>
                </a:ext>
              </a:extLst>
            </p:cNvPr>
            <p:cNvSpPr/>
            <p:nvPr/>
          </p:nvSpPr>
          <p:spPr>
            <a:xfrm>
              <a:off x="3348857" y="4133803"/>
              <a:ext cx="80264" cy="67981"/>
            </a:xfrm>
            <a:custGeom>
              <a:avLst/>
              <a:gdLst/>
              <a:ahLst/>
              <a:cxnLst/>
              <a:rect l="l" t="t" r="r" b="b"/>
              <a:pathLst>
                <a:path w="2457" h="2081" extrusionOk="0">
                  <a:moveTo>
                    <a:pt x="2444" y="56"/>
                  </a:moveTo>
                  <a:lnTo>
                    <a:pt x="2295" y="192"/>
                  </a:lnTo>
                  <a:lnTo>
                    <a:pt x="2201" y="273"/>
                  </a:lnTo>
                  <a:lnTo>
                    <a:pt x="2149" y="312"/>
                  </a:lnTo>
                  <a:lnTo>
                    <a:pt x="2013" y="448"/>
                  </a:lnTo>
                  <a:lnTo>
                    <a:pt x="2000" y="448"/>
                  </a:lnTo>
                  <a:lnTo>
                    <a:pt x="1864" y="568"/>
                  </a:lnTo>
                  <a:lnTo>
                    <a:pt x="1838" y="597"/>
                  </a:lnTo>
                  <a:lnTo>
                    <a:pt x="1783" y="636"/>
                  </a:lnTo>
                  <a:lnTo>
                    <a:pt x="1715" y="704"/>
                  </a:lnTo>
                  <a:lnTo>
                    <a:pt x="1634" y="772"/>
                  </a:lnTo>
                  <a:lnTo>
                    <a:pt x="1566" y="824"/>
                  </a:lnTo>
                  <a:lnTo>
                    <a:pt x="1485" y="892"/>
                  </a:lnTo>
                  <a:lnTo>
                    <a:pt x="1420" y="960"/>
                  </a:lnTo>
                  <a:lnTo>
                    <a:pt x="1391" y="986"/>
                  </a:lnTo>
                  <a:lnTo>
                    <a:pt x="1339" y="1028"/>
                  </a:lnTo>
                  <a:lnTo>
                    <a:pt x="1271" y="1096"/>
                  </a:lnTo>
                  <a:lnTo>
                    <a:pt x="1190" y="1148"/>
                  </a:lnTo>
                  <a:lnTo>
                    <a:pt x="1122" y="1216"/>
                  </a:lnTo>
                  <a:lnTo>
                    <a:pt x="1041" y="1284"/>
                  </a:lnTo>
                  <a:lnTo>
                    <a:pt x="973" y="1352"/>
                  </a:lnTo>
                  <a:lnTo>
                    <a:pt x="918" y="1391"/>
                  </a:lnTo>
                  <a:lnTo>
                    <a:pt x="892" y="1420"/>
                  </a:lnTo>
                  <a:lnTo>
                    <a:pt x="824" y="1472"/>
                  </a:lnTo>
                  <a:lnTo>
                    <a:pt x="743" y="1540"/>
                  </a:lnTo>
                  <a:lnTo>
                    <a:pt x="675" y="1608"/>
                  </a:lnTo>
                  <a:lnTo>
                    <a:pt x="594" y="1676"/>
                  </a:lnTo>
                  <a:lnTo>
                    <a:pt x="529" y="1731"/>
                  </a:lnTo>
                  <a:lnTo>
                    <a:pt x="487" y="1770"/>
                  </a:lnTo>
                  <a:lnTo>
                    <a:pt x="461" y="1796"/>
                  </a:lnTo>
                  <a:lnTo>
                    <a:pt x="380" y="1864"/>
                  </a:lnTo>
                  <a:lnTo>
                    <a:pt x="312" y="1932"/>
                  </a:lnTo>
                  <a:lnTo>
                    <a:pt x="286" y="1945"/>
                  </a:lnTo>
                  <a:lnTo>
                    <a:pt x="244" y="1987"/>
                  </a:lnTo>
                  <a:lnTo>
                    <a:pt x="163" y="2055"/>
                  </a:lnTo>
                  <a:lnTo>
                    <a:pt x="150" y="2081"/>
                  </a:lnTo>
                  <a:lnTo>
                    <a:pt x="56" y="2081"/>
                  </a:lnTo>
                  <a:lnTo>
                    <a:pt x="1" y="2081"/>
                  </a:lnTo>
                  <a:lnTo>
                    <a:pt x="1" y="2026"/>
                  </a:lnTo>
                  <a:lnTo>
                    <a:pt x="14" y="1945"/>
                  </a:lnTo>
                  <a:lnTo>
                    <a:pt x="43" y="1919"/>
                  </a:lnTo>
                  <a:lnTo>
                    <a:pt x="108" y="1851"/>
                  </a:lnTo>
                  <a:lnTo>
                    <a:pt x="150" y="1796"/>
                  </a:lnTo>
                  <a:lnTo>
                    <a:pt x="176" y="1783"/>
                  </a:lnTo>
                  <a:lnTo>
                    <a:pt x="244" y="1715"/>
                  </a:lnTo>
                  <a:lnTo>
                    <a:pt x="312" y="1650"/>
                  </a:lnTo>
                  <a:lnTo>
                    <a:pt x="338" y="1621"/>
                  </a:lnTo>
                  <a:lnTo>
                    <a:pt x="380" y="1582"/>
                  </a:lnTo>
                  <a:lnTo>
                    <a:pt x="461" y="1514"/>
                  </a:lnTo>
                  <a:lnTo>
                    <a:pt x="529" y="1446"/>
                  </a:lnTo>
                  <a:lnTo>
                    <a:pt x="610" y="1378"/>
                  </a:lnTo>
                  <a:lnTo>
                    <a:pt x="675" y="1310"/>
                  </a:lnTo>
                  <a:lnTo>
                    <a:pt x="756" y="1258"/>
                  </a:lnTo>
                  <a:lnTo>
                    <a:pt x="772" y="1229"/>
                  </a:lnTo>
                  <a:lnTo>
                    <a:pt x="824" y="1190"/>
                  </a:lnTo>
                  <a:lnTo>
                    <a:pt x="905" y="1122"/>
                  </a:lnTo>
                  <a:lnTo>
                    <a:pt x="986" y="1054"/>
                  </a:lnTo>
                  <a:lnTo>
                    <a:pt x="1054" y="1002"/>
                  </a:lnTo>
                  <a:lnTo>
                    <a:pt x="1135" y="934"/>
                  </a:lnTo>
                  <a:lnTo>
                    <a:pt x="1216" y="879"/>
                  </a:lnTo>
                  <a:lnTo>
                    <a:pt x="1271" y="840"/>
                  </a:lnTo>
                  <a:lnTo>
                    <a:pt x="1297" y="811"/>
                  </a:lnTo>
                  <a:lnTo>
                    <a:pt x="1378" y="743"/>
                  </a:lnTo>
                  <a:lnTo>
                    <a:pt x="1446" y="691"/>
                  </a:lnTo>
                  <a:lnTo>
                    <a:pt x="1527" y="636"/>
                  </a:lnTo>
                  <a:lnTo>
                    <a:pt x="1608" y="568"/>
                  </a:lnTo>
                  <a:lnTo>
                    <a:pt x="1689" y="516"/>
                  </a:lnTo>
                  <a:lnTo>
                    <a:pt x="1744" y="474"/>
                  </a:lnTo>
                  <a:lnTo>
                    <a:pt x="1770" y="448"/>
                  </a:lnTo>
                  <a:lnTo>
                    <a:pt x="1919" y="338"/>
                  </a:lnTo>
                  <a:lnTo>
                    <a:pt x="1932" y="338"/>
                  </a:lnTo>
                  <a:lnTo>
                    <a:pt x="2081" y="231"/>
                  </a:lnTo>
                  <a:lnTo>
                    <a:pt x="2133" y="192"/>
                  </a:lnTo>
                  <a:lnTo>
                    <a:pt x="2243" y="124"/>
                  </a:lnTo>
                  <a:lnTo>
                    <a:pt x="2405" y="1"/>
                  </a:lnTo>
                  <a:lnTo>
                    <a:pt x="2457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6" name="Google Shape;5106;p52">
              <a:extLst>
                <a:ext uri="{FF2B5EF4-FFF2-40B4-BE49-F238E27FC236}">
                  <a16:creationId xmlns:a16="http://schemas.microsoft.com/office/drawing/2014/main" id="{C5C7F0A3-A5D5-0F00-8A40-0E4EF5C4067E}"/>
                </a:ext>
              </a:extLst>
            </p:cNvPr>
            <p:cNvSpPr/>
            <p:nvPr/>
          </p:nvSpPr>
          <p:spPr>
            <a:xfrm>
              <a:off x="3292439" y="3976407"/>
              <a:ext cx="55600" cy="49361"/>
            </a:xfrm>
            <a:custGeom>
              <a:avLst/>
              <a:gdLst/>
              <a:ahLst/>
              <a:cxnLst/>
              <a:rect l="l" t="t" r="r" b="b"/>
              <a:pathLst>
                <a:path w="1702" h="1511" extrusionOk="0">
                  <a:moveTo>
                    <a:pt x="53" y="1"/>
                  </a:moveTo>
                  <a:lnTo>
                    <a:pt x="163" y="82"/>
                  </a:lnTo>
                  <a:lnTo>
                    <a:pt x="270" y="176"/>
                  </a:lnTo>
                  <a:lnTo>
                    <a:pt x="364" y="257"/>
                  </a:lnTo>
                  <a:lnTo>
                    <a:pt x="458" y="325"/>
                  </a:lnTo>
                  <a:lnTo>
                    <a:pt x="474" y="338"/>
                  </a:lnTo>
                  <a:lnTo>
                    <a:pt x="636" y="458"/>
                  </a:lnTo>
                  <a:lnTo>
                    <a:pt x="688" y="500"/>
                  </a:lnTo>
                  <a:lnTo>
                    <a:pt x="798" y="594"/>
                  </a:lnTo>
                  <a:lnTo>
                    <a:pt x="837" y="636"/>
                  </a:lnTo>
                  <a:lnTo>
                    <a:pt x="892" y="675"/>
                  </a:lnTo>
                  <a:lnTo>
                    <a:pt x="999" y="769"/>
                  </a:lnTo>
                  <a:lnTo>
                    <a:pt x="1067" y="837"/>
                  </a:lnTo>
                  <a:lnTo>
                    <a:pt x="1093" y="850"/>
                  </a:lnTo>
                  <a:lnTo>
                    <a:pt x="1203" y="944"/>
                  </a:lnTo>
                  <a:lnTo>
                    <a:pt x="1255" y="986"/>
                  </a:lnTo>
                  <a:lnTo>
                    <a:pt x="1297" y="1025"/>
                  </a:lnTo>
                  <a:lnTo>
                    <a:pt x="1349" y="1067"/>
                  </a:lnTo>
                  <a:lnTo>
                    <a:pt x="1404" y="1122"/>
                  </a:lnTo>
                  <a:lnTo>
                    <a:pt x="1459" y="1161"/>
                  </a:lnTo>
                  <a:lnTo>
                    <a:pt x="1472" y="1174"/>
                  </a:lnTo>
                  <a:lnTo>
                    <a:pt x="1511" y="1203"/>
                  </a:lnTo>
                  <a:lnTo>
                    <a:pt x="1566" y="1242"/>
                  </a:lnTo>
                  <a:lnTo>
                    <a:pt x="1592" y="1268"/>
                  </a:lnTo>
                  <a:lnTo>
                    <a:pt x="1608" y="1284"/>
                  </a:lnTo>
                  <a:lnTo>
                    <a:pt x="1660" y="1323"/>
                  </a:lnTo>
                  <a:lnTo>
                    <a:pt x="1702" y="1365"/>
                  </a:lnTo>
                  <a:lnTo>
                    <a:pt x="1689" y="1417"/>
                  </a:lnTo>
                  <a:lnTo>
                    <a:pt x="1634" y="1472"/>
                  </a:lnTo>
                  <a:lnTo>
                    <a:pt x="1592" y="1511"/>
                  </a:lnTo>
                  <a:lnTo>
                    <a:pt x="1553" y="1472"/>
                  </a:lnTo>
                  <a:lnTo>
                    <a:pt x="1498" y="1430"/>
                  </a:lnTo>
                  <a:lnTo>
                    <a:pt x="1472" y="1417"/>
                  </a:lnTo>
                  <a:lnTo>
                    <a:pt x="1446" y="1391"/>
                  </a:lnTo>
                  <a:lnTo>
                    <a:pt x="1391" y="1336"/>
                  </a:lnTo>
                  <a:lnTo>
                    <a:pt x="1349" y="1310"/>
                  </a:lnTo>
                  <a:lnTo>
                    <a:pt x="1336" y="1297"/>
                  </a:lnTo>
                  <a:lnTo>
                    <a:pt x="1284" y="1255"/>
                  </a:lnTo>
                  <a:lnTo>
                    <a:pt x="1242" y="1216"/>
                  </a:lnTo>
                  <a:lnTo>
                    <a:pt x="1187" y="1161"/>
                  </a:lnTo>
                  <a:lnTo>
                    <a:pt x="1135" y="1122"/>
                  </a:lnTo>
                  <a:lnTo>
                    <a:pt x="1080" y="1080"/>
                  </a:lnTo>
                  <a:lnTo>
                    <a:pt x="986" y="986"/>
                  </a:lnTo>
                  <a:lnTo>
                    <a:pt x="960" y="960"/>
                  </a:lnTo>
                  <a:lnTo>
                    <a:pt x="879" y="892"/>
                  </a:lnTo>
                  <a:lnTo>
                    <a:pt x="782" y="811"/>
                  </a:lnTo>
                  <a:lnTo>
                    <a:pt x="730" y="756"/>
                  </a:lnTo>
                  <a:lnTo>
                    <a:pt x="675" y="717"/>
                  </a:lnTo>
                  <a:lnTo>
                    <a:pt x="581" y="620"/>
                  </a:lnTo>
                  <a:lnTo>
                    <a:pt x="526" y="568"/>
                  </a:lnTo>
                  <a:lnTo>
                    <a:pt x="393" y="432"/>
                  </a:lnTo>
                  <a:lnTo>
                    <a:pt x="377" y="419"/>
                  </a:lnTo>
                  <a:lnTo>
                    <a:pt x="296" y="338"/>
                  </a:lnTo>
                  <a:lnTo>
                    <a:pt x="202" y="244"/>
                  </a:lnTo>
                  <a:lnTo>
                    <a:pt x="202" y="244"/>
                  </a:lnTo>
                  <a:lnTo>
                    <a:pt x="108" y="150"/>
                  </a:lnTo>
                  <a:lnTo>
                    <a:pt x="14" y="53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7" name="Google Shape;5107;p52">
              <a:extLst>
                <a:ext uri="{FF2B5EF4-FFF2-40B4-BE49-F238E27FC236}">
                  <a16:creationId xmlns:a16="http://schemas.microsoft.com/office/drawing/2014/main" id="{B58D3681-417C-EFB5-3579-6D49C6A59714}"/>
                </a:ext>
              </a:extLst>
            </p:cNvPr>
            <p:cNvSpPr/>
            <p:nvPr/>
          </p:nvSpPr>
          <p:spPr>
            <a:xfrm>
              <a:off x="3347061" y="3962229"/>
              <a:ext cx="29139" cy="32733"/>
            </a:xfrm>
            <a:custGeom>
              <a:avLst/>
              <a:gdLst/>
              <a:ahLst/>
              <a:cxnLst/>
              <a:rect l="l" t="t" r="r" b="b"/>
              <a:pathLst>
                <a:path w="892" h="1002" extrusionOk="0">
                  <a:moveTo>
                    <a:pt x="892" y="30"/>
                  </a:moveTo>
                  <a:lnTo>
                    <a:pt x="866" y="56"/>
                  </a:lnTo>
                  <a:lnTo>
                    <a:pt x="840" y="82"/>
                  </a:lnTo>
                  <a:lnTo>
                    <a:pt x="811" y="124"/>
                  </a:lnTo>
                  <a:lnTo>
                    <a:pt x="785" y="150"/>
                  </a:lnTo>
                  <a:lnTo>
                    <a:pt x="746" y="218"/>
                  </a:lnTo>
                  <a:lnTo>
                    <a:pt x="730" y="218"/>
                  </a:lnTo>
                  <a:lnTo>
                    <a:pt x="691" y="273"/>
                  </a:lnTo>
                  <a:lnTo>
                    <a:pt x="636" y="341"/>
                  </a:lnTo>
                  <a:lnTo>
                    <a:pt x="597" y="393"/>
                  </a:lnTo>
                  <a:lnTo>
                    <a:pt x="584" y="393"/>
                  </a:lnTo>
                  <a:lnTo>
                    <a:pt x="529" y="461"/>
                  </a:lnTo>
                  <a:lnTo>
                    <a:pt x="487" y="516"/>
                  </a:lnTo>
                  <a:lnTo>
                    <a:pt x="474" y="529"/>
                  </a:lnTo>
                  <a:lnTo>
                    <a:pt x="435" y="584"/>
                  </a:lnTo>
                  <a:lnTo>
                    <a:pt x="380" y="636"/>
                  </a:lnTo>
                  <a:lnTo>
                    <a:pt x="367" y="649"/>
                  </a:lnTo>
                  <a:lnTo>
                    <a:pt x="354" y="665"/>
                  </a:lnTo>
                  <a:lnTo>
                    <a:pt x="325" y="691"/>
                  </a:lnTo>
                  <a:lnTo>
                    <a:pt x="299" y="717"/>
                  </a:lnTo>
                  <a:lnTo>
                    <a:pt x="273" y="759"/>
                  </a:lnTo>
                  <a:lnTo>
                    <a:pt x="244" y="785"/>
                  </a:lnTo>
                  <a:lnTo>
                    <a:pt x="244" y="785"/>
                  </a:lnTo>
                  <a:lnTo>
                    <a:pt x="218" y="811"/>
                  </a:lnTo>
                  <a:lnTo>
                    <a:pt x="192" y="840"/>
                  </a:lnTo>
                  <a:lnTo>
                    <a:pt x="163" y="866"/>
                  </a:lnTo>
                  <a:lnTo>
                    <a:pt x="137" y="908"/>
                  </a:lnTo>
                  <a:lnTo>
                    <a:pt x="111" y="934"/>
                  </a:lnTo>
                  <a:lnTo>
                    <a:pt x="98" y="960"/>
                  </a:lnTo>
                  <a:lnTo>
                    <a:pt x="69" y="989"/>
                  </a:lnTo>
                  <a:lnTo>
                    <a:pt x="69" y="989"/>
                  </a:lnTo>
                  <a:lnTo>
                    <a:pt x="17" y="1002"/>
                  </a:lnTo>
                  <a:lnTo>
                    <a:pt x="1" y="947"/>
                  </a:lnTo>
                  <a:lnTo>
                    <a:pt x="1" y="947"/>
                  </a:lnTo>
                  <a:lnTo>
                    <a:pt x="30" y="921"/>
                  </a:lnTo>
                  <a:lnTo>
                    <a:pt x="56" y="879"/>
                  </a:lnTo>
                  <a:lnTo>
                    <a:pt x="69" y="853"/>
                  </a:lnTo>
                  <a:lnTo>
                    <a:pt x="98" y="811"/>
                  </a:lnTo>
                  <a:lnTo>
                    <a:pt x="124" y="785"/>
                  </a:lnTo>
                  <a:lnTo>
                    <a:pt x="150" y="759"/>
                  </a:lnTo>
                  <a:lnTo>
                    <a:pt x="179" y="717"/>
                  </a:lnTo>
                  <a:lnTo>
                    <a:pt x="179" y="717"/>
                  </a:lnTo>
                  <a:lnTo>
                    <a:pt x="192" y="691"/>
                  </a:lnTo>
                  <a:lnTo>
                    <a:pt x="218" y="665"/>
                  </a:lnTo>
                  <a:lnTo>
                    <a:pt x="244" y="623"/>
                  </a:lnTo>
                  <a:lnTo>
                    <a:pt x="273" y="597"/>
                  </a:lnTo>
                  <a:lnTo>
                    <a:pt x="286" y="584"/>
                  </a:lnTo>
                  <a:lnTo>
                    <a:pt x="299" y="568"/>
                  </a:lnTo>
                  <a:lnTo>
                    <a:pt x="354" y="516"/>
                  </a:lnTo>
                  <a:lnTo>
                    <a:pt x="393" y="461"/>
                  </a:lnTo>
                  <a:lnTo>
                    <a:pt x="406" y="448"/>
                  </a:lnTo>
                  <a:lnTo>
                    <a:pt x="461" y="393"/>
                  </a:lnTo>
                  <a:lnTo>
                    <a:pt x="529" y="341"/>
                  </a:lnTo>
                  <a:lnTo>
                    <a:pt x="529" y="325"/>
                  </a:lnTo>
                  <a:lnTo>
                    <a:pt x="584" y="286"/>
                  </a:lnTo>
                  <a:lnTo>
                    <a:pt x="636" y="231"/>
                  </a:lnTo>
                  <a:lnTo>
                    <a:pt x="691" y="179"/>
                  </a:lnTo>
                  <a:lnTo>
                    <a:pt x="691" y="179"/>
                  </a:lnTo>
                  <a:lnTo>
                    <a:pt x="759" y="124"/>
                  </a:lnTo>
                  <a:lnTo>
                    <a:pt x="785" y="82"/>
                  </a:lnTo>
                  <a:lnTo>
                    <a:pt x="811" y="56"/>
                  </a:lnTo>
                  <a:lnTo>
                    <a:pt x="840" y="30"/>
                  </a:lnTo>
                  <a:lnTo>
                    <a:pt x="866" y="1"/>
                  </a:lnTo>
                  <a:lnTo>
                    <a:pt x="89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8" name="Google Shape;5108;p52">
              <a:extLst>
                <a:ext uri="{FF2B5EF4-FFF2-40B4-BE49-F238E27FC236}">
                  <a16:creationId xmlns:a16="http://schemas.microsoft.com/office/drawing/2014/main" id="{8C52E4A8-0B0D-9AB5-AB20-2E6E5243FF66}"/>
                </a:ext>
              </a:extLst>
            </p:cNvPr>
            <p:cNvSpPr/>
            <p:nvPr/>
          </p:nvSpPr>
          <p:spPr>
            <a:xfrm>
              <a:off x="3336999" y="3868340"/>
              <a:ext cx="20679" cy="473679"/>
            </a:xfrm>
            <a:custGeom>
              <a:avLst/>
              <a:gdLst/>
              <a:ahLst/>
              <a:cxnLst/>
              <a:rect l="l" t="t" r="r" b="b"/>
              <a:pathLst>
                <a:path w="633" h="14500" extrusionOk="0">
                  <a:moveTo>
                    <a:pt x="82" y="40"/>
                  </a:moveTo>
                  <a:lnTo>
                    <a:pt x="108" y="150"/>
                  </a:lnTo>
                  <a:lnTo>
                    <a:pt x="121" y="257"/>
                  </a:lnTo>
                  <a:lnTo>
                    <a:pt x="147" y="364"/>
                  </a:lnTo>
                  <a:lnTo>
                    <a:pt x="147" y="393"/>
                  </a:lnTo>
                  <a:lnTo>
                    <a:pt x="163" y="487"/>
                  </a:lnTo>
                  <a:lnTo>
                    <a:pt x="176" y="594"/>
                  </a:lnTo>
                  <a:lnTo>
                    <a:pt x="189" y="704"/>
                  </a:lnTo>
                  <a:lnTo>
                    <a:pt x="202" y="811"/>
                  </a:lnTo>
                  <a:lnTo>
                    <a:pt x="215" y="931"/>
                  </a:lnTo>
                  <a:lnTo>
                    <a:pt x="228" y="1041"/>
                  </a:lnTo>
                  <a:lnTo>
                    <a:pt x="244" y="1148"/>
                  </a:lnTo>
                  <a:lnTo>
                    <a:pt x="244" y="1271"/>
                  </a:lnTo>
                  <a:lnTo>
                    <a:pt x="257" y="1378"/>
                  </a:lnTo>
                  <a:lnTo>
                    <a:pt x="270" y="1472"/>
                  </a:lnTo>
                  <a:lnTo>
                    <a:pt x="270" y="1485"/>
                  </a:lnTo>
                  <a:lnTo>
                    <a:pt x="283" y="1608"/>
                  </a:lnTo>
                  <a:lnTo>
                    <a:pt x="283" y="1715"/>
                  </a:lnTo>
                  <a:lnTo>
                    <a:pt x="296" y="1822"/>
                  </a:lnTo>
                  <a:lnTo>
                    <a:pt x="309" y="1945"/>
                  </a:lnTo>
                  <a:lnTo>
                    <a:pt x="309" y="2052"/>
                  </a:lnTo>
                  <a:lnTo>
                    <a:pt x="325" y="2282"/>
                  </a:lnTo>
                  <a:lnTo>
                    <a:pt x="338" y="2499"/>
                  </a:lnTo>
                  <a:lnTo>
                    <a:pt x="351" y="2729"/>
                  </a:lnTo>
                  <a:lnTo>
                    <a:pt x="364" y="2956"/>
                  </a:lnTo>
                  <a:lnTo>
                    <a:pt x="377" y="3186"/>
                  </a:lnTo>
                  <a:lnTo>
                    <a:pt x="390" y="3403"/>
                  </a:lnTo>
                  <a:lnTo>
                    <a:pt x="406" y="3633"/>
                  </a:lnTo>
                  <a:lnTo>
                    <a:pt x="406" y="3863"/>
                  </a:lnTo>
                  <a:lnTo>
                    <a:pt x="419" y="4077"/>
                  </a:lnTo>
                  <a:lnTo>
                    <a:pt x="432" y="4307"/>
                  </a:lnTo>
                  <a:lnTo>
                    <a:pt x="432" y="4537"/>
                  </a:lnTo>
                  <a:lnTo>
                    <a:pt x="445" y="4767"/>
                  </a:lnTo>
                  <a:lnTo>
                    <a:pt x="458" y="4916"/>
                  </a:lnTo>
                  <a:lnTo>
                    <a:pt x="458" y="4981"/>
                  </a:lnTo>
                  <a:lnTo>
                    <a:pt x="458" y="5211"/>
                  </a:lnTo>
                  <a:lnTo>
                    <a:pt x="471" y="5441"/>
                  </a:lnTo>
                  <a:lnTo>
                    <a:pt x="471" y="5658"/>
                  </a:lnTo>
                  <a:lnTo>
                    <a:pt x="487" y="5888"/>
                  </a:lnTo>
                  <a:lnTo>
                    <a:pt x="487" y="6115"/>
                  </a:lnTo>
                  <a:lnTo>
                    <a:pt x="487" y="6345"/>
                  </a:lnTo>
                  <a:lnTo>
                    <a:pt x="500" y="6562"/>
                  </a:lnTo>
                  <a:lnTo>
                    <a:pt x="500" y="6792"/>
                  </a:lnTo>
                  <a:lnTo>
                    <a:pt x="500" y="7022"/>
                  </a:lnTo>
                  <a:lnTo>
                    <a:pt x="513" y="7249"/>
                  </a:lnTo>
                  <a:lnTo>
                    <a:pt x="513" y="7696"/>
                  </a:lnTo>
                  <a:lnTo>
                    <a:pt x="526" y="8140"/>
                  </a:lnTo>
                  <a:lnTo>
                    <a:pt x="526" y="8600"/>
                  </a:lnTo>
                  <a:lnTo>
                    <a:pt x="539" y="8804"/>
                  </a:lnTo>
                  <a:lnTo>
                    <a:pt x="539" y="9047"/>
                  </a:lnTo>
                  <a:lnTo>
                    <a:pt x="539" y="9504"/>
                  </a:lnTo>
                  <a:lnTo>
                    <a:pt x="552" y="9734"/>
                  </a:lnTo>
                  <a:lnTo>
                    <a:pt x="552" y="9951"/>
                  </a:lnTo>
                  <a:lnTo>
                    <a:pt x="552" y="10003"/>
                  </a:lnTo>
                  <a:lnTo>
                    <a:pt x="552" y="10181"/>
                  </a:lnTo>
                  <a:lnTo>
                    <a:pt x="552" y="10408"/>
                  </a:lnTo>
                  <a:lnTo>
                    <a:pt x="568" y="10625"/>
                  </a:lnTo>
                  <a:lnTo>
                    <a:pt x="568" y="10855"/>
                  </a:lnTo>
                  <a:lnTo>
                    <a:pt x="568" y="11085"/>
                  </a:lnTo>
                  <a:lnTo>
                    <a:pt x="581" y="11299"/>
                  </a:lnTo>
                  <a:lnTo>
                    <a:pt x="581" y="11299"/>
                  </a:lnTo>
                  <a:lnTo>
                    <a:pt x="581" y="11529"/>
                  </a:lnTo>
                  <a:lnTo>
                    <a:pt x="581" y="11759"/>
                  </a:lnTo>
                  <a:lnTo>
                    <a:pt x="594" y="11989"/>
                  </a:lnTo>
                  <a:lnTo>
                    <a:pt x="594" y="12206"/>
                  </a:lnTo>
                  <a:lnTo>
                    <a:pt x="607" y="12433"/>
                  </a:lnTo>
                  <a:lnTo>
                    <a:pt x="607" y="12475"/>
                  </a:lnTo>
                  <a:lnTo>
                    <a:pt x="607" y="12663"/>
                  </a:lnTo>
                  <a:lnTo>
                    <a:pt x="607" y="12880"/>
                  </a:lnTo>
                  <a:lnTo>
                    <a:pt x="620" y="13110"/>
                  </a:lnTo>
                  <a:lnTo>
                    <a:pt x="633" y="13340"/>
                  </a:lnTo>
                  <a:lnTo>
                    <a:pt x="633" y="13353"/>
                  </a:lnTo>
                  <a:lnTo>
                    <a:pt x="633" y="13554"/>
                  </a:lnTo>
                  <a:lnTo>
                    <a:pt x="633" y="13784"/>
                  </a:lnTo>
                  <a:lnTo>
                    <a:pt x="633" y="13891"/>
                  </a:lnTo>
                  <a:lnTo>
                    <a:pt x="633" y="13972"/>
                  </a:lnTo>
                  <a:lnTo>
                    <a:pt x="633" y="14014"/>
                  </a:lnTo>
                  <a:lnTo>
                    <a:pt x="633" y="14121"/>
                  </a:lnTo>
                  <a:lnTo>
                    <a:pt x="633" y="14231"/>
                  </a:lnTo>
                  <a:lnTo>
                    <a:pt x="633" y="14351"/>
                  </a:lnTo>
                  <a:lnTo>
                    <a:pt x="633" y="14458"/>
                  </a:lnTo>
                  <a:lnTo>
                    <a:pt x="607" y="14500"/>
                  </a:lnTo>
                  <a:lnTo>
                    <a:pt x="581" y="14458"/>
                  </a:lnTo>
                  <a:lnTo>
                    <a:pt x="568" y="14351"/>
                  </a:lnTo>
                  <a:lnTo>
                    <a:pt x="552" y="14244"/>
                  </a:lnTo>
                  <a:lnTo>
                    <a:pt x="539" y="14121"/>
                  </a:lnTo>
                  <a:lnTo>
                    <a:pt x="526" y="14014"/>
                  </a:lnTo>
                  <a:lnTo>
                    <a:pt x="526" y="13972"/>
                  </a:lnTo>
                  <a:lnTo>
                    <a:pt x="513" y="13907"/>
                  </a:lnTo>
                  <a:lnTo>
                    <a:pt x="500" y="13797"/>
                  </a:lnTo>
                  <a:lnTo>
                    <a:pt x="471" y="13567"/>
                  </a:lnTo>
                  <a:lnTo>
                    <a:pt x="445" y="13366"/>
                  </a:lnTo>
                  <a:lnTo>
                    <a:pt x="445" y="13340"/>
                  </a:lnTo>
                  <a:lnTo>
                    <a:pt x="432" y="13123"/>
                  </a:lnTo>
                  <a:lnTo>
                    <a:pt x="419" y="12893"/>
                  </a:lnTo>
                  <a:lnTo>
                    <a:pt x="406" y="12663"/>
                  </a:lnTo>
                  <a:lnTo>
                    <a:pt x="390" y="12488"/>
                  </a:lnTo>
                  <a:lnTo>
                    <a:pt x="390" y="12449"/>
                  </a:lnTo>
                  <a:lnTo>
                    <a:pt x="377" y="12219"/>
                  </a:lnTo>
                  <a:lnTo>
                    <a:pt x="364" y="11989"/>
                  </a:lnTo>
                  <a:lnTo>
                    <a:pt x="364" y="11759"/>
                  </a:lnTo>
                  <a:lnTo>
                    <a:pt x="351" y="11542"/>
                  </a:lnTo>
                  <a:lnTo>
                    <a:pt x="338" y="11315"/>
                  </a:lnTo>
                  <a:lnTo>
                    <a:pt x="338" y="11299"/>
                  </a:lnTo>
                  <a:lnTo>
                    <a:pt x="338" y="11085"/>
                  </a:lnTo>
                  <a:lnTo>
                    <a:pt x="325" y="10868"/>
                  </a:lnTo>
                  <a:lnTo>
                    <a:pt x="309" y="10638"/>
                  </a:lnTo>
                  <a:lnTo>
                    <a:pt x="309" y="10408"/>
                  </a:lnTo>
                  <a:lnTo>
                    <a:pt x="296" y="10181"/>
                  </a:lnTo>
                  <a:lnTo>
                    <a:pt x="296" y="10019"/>
                  </a:lnTo>
                  <a:lnTo>
                    <a:pt x="296" y="9964"/>
                  </a:lnTo>
                  <a:lnTo>
                    <a:pt x="283" y="9734"/>
                  </a:lnTo>
                  <a:lnTo>
                    <a:pt x="283" y="9504"/>
                  </a:lnTo>
                  <a:lnTo>
                    <a:pt x="270" y="9060"/>
                  </a:lnTo>
                  <a:lnTo>
                    <a:pt x="270" y="8804"/>
                  </a:lnTo>
                  <a:lnTo>
                    <a:pt x="270" y="8600"/>
                  </a:lnTo>
                  <a:lnTo>
                    <a:pt x="257" y="8156"/>
                  </a:lnTo>
                  <a:lnTo>
                    <a:pt x="257" y="7696"/>
                  </a:lnTo>
                  <a:lnTo>
                    <a:pt x="244" y="7249"/>
                  </a:lnTo>
                  <a:lnTo>
                    <a:pt x="244" y="7022"/>
                  </a:lnTo>
                  <a:lnTo>
                    <a:pt x="244" y="6792"/>
                  </a:lnTo>
                  <a:lnTo>
                    <a:pt x="228" y="6575"/>
                  </a:lnTo>
                  <a:lnTo>
                    <a:pt x="228" y="6345"/>
                  </a:lnTo>
                  <a:lnTo>
                    <a:pt x="228" y="6115"/>
                  </a:lnTo>
                  <a:lnTo>
                    <a:pt x="228" y="5901"/>
                  </a:lnTo>
                  <a:lnTo>
                    <a:pt x="215" y="5671"/>
                  </a:lnTo>
                  <a:lnTo>
                    <a:pt x="215" y="5441"/>
                  </a:lnTo>
                  <a:lnTo>
                    <a:pt x="215" y="5211"/>
                  </a:lnTo>
                  <a:lnTo>
                    <a:pt x="202" y="4997"/>
                  </a:lnTo>
                  <a:lnTo>
                    <a:pt x="202" y="4929"/>
                  </a:lnTo>
                  <a:lnTo>
                    <a:pt x="202" y="4767"/>
                  </a:lnTo>
                  <a:lnTo>
                    <a:pt x="202" y="4537"/>
                  </a:lnTo>
                  <a:lnTo>
                    <a:pt x="189" y="4320"/>
                  </a:lnTo>
                  <a:lnTo>
                    <a:pt x="189" y="4090"/>
                  </a:lnTo>
                  <a:lnTo>
                    <a:pt x="176" y="3863"/>
                  </a:lnTo>
                  <a:lnTo>
                    <a:pt x="176" y="3646"/>
                  </a:lnTo>
                  <a:lnTo>
                    <a:pt x="163" y="3416"/>
                  </a:lnTo>
                  <a:lnTo>
                    <a:pt x="147" y="3186"/>
                  </a:lnTo>
                  <a:lnTo>
                    <a:pt x="147" y="2972"/>
                  </a:lnTo>
                  <a:lnTo>
                    <a:pt x="134" y="2742"/>
                  </a:lnTo>
                  <a:lnTo>
                    <a:pt x="121" y="2512"/>
                  </a:lnTo>
                  <a:lnTo>
                    <a:pt x="108" y="2295"/>
                  </a:lnTo>
                  <a:lnTo>
                    <a:pt x="95" y="2065"/>
                  </a:lnTo>
                  <a:lnTo>
                    <a:pt x="95" y="1958"/>
                  </a:lnTo>
                  <a:lnTo>
                    <a:pt x="82" y="1838"/>
                  </a:lnTo>
                  <a:lnTo>
                    <a:pt x="82" y="1728"/>
                  </a:lnTo>
                  <a:lnTo>
                    <a:pt x="66" y="1621"/>
                  </a:lnTo>
                  <a:lnTo>
                    <a:pt x="66" y="1498"/>
                  </a:lnTo>
                  <a:lnTo>
                    <a:pt x="66" y="1485"/>
                  </a:lnTo>
                  <a:lnTo>
                    <a:pt x="53" y="1391"/>
                  </a:lnTo>
                  <a:lnTo>
                    <a:pt x="53" y="1284"/>
                  </a:lnTo>
                  <a:lnTo>
                    <a:pt x="53" y="1161"/>
                  </a:lnTo>
                  <a:lnTo>
                    <a:pt x="40" y="1054"/>
                  </a:lnTo>
                  <a:lnTo>
                    <a:pt x="40" y="947"/>
                  </a:lnTo>
                  <a:lnTo>
                    <a:pt x="27" y="837"/>
                  </a:lnTo>
                  <a:lnTo>
                    <a:pt x="27" y="717"/>
                  </a:lnTo>
                  <a:lnTo>
                    <a:pt x="14" y="607"/>
                  </a:lnTo>
                  <a:lnTo>
                    <a:pt x="14" y="500"/>
                  </a:lnTo>
                  <a:lnTo>
                    <a:pt x="1" y="406"/>
                  </a:lnTo>
                  <a:lnTo>
                    <a:pt x="1" y="380"/>
                  </a:lnTo>
                  <a:lnTo>
                    <a:pt x="1" y="270"/>
                  </a:lnTo>
                  <a:lnTo>
                    <a:pt x="14" y="150"/>
                  </a:lnTo>
                  <a:lnTo>
                    <a:pt x="1" y="40"/>
                  </a:lnTo>
                  <a:lnTo>
                    <a:pt x="4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9" name="Google Shape;5109;p52">
              <a:extLst>
                <a:ext uri="{FF2B5EF4-FFF2-40B4-BE49-F238E27FC236}">
                  <a16:creationId xmlns:a16="http://schemas.microsoft.com/office/drawing/2014/main" id="{35FFD335-8B08-179A-6621-59D3BD19DCE6}"/>
                </a:ext>
              </a:extLst>
            </p:cNvPr>
            <p:cNvSpPr/>
            <p:nvPr/>
          </p:nvSpPr>
          <p:spPr>
            <a:xfrm>
              <a:off x="3055985" y="3914174"/>
              <a:ext cx="250135" cy="366137"/>
            </a:xfrm>
            <a:custGeom>
              <a:avLst/>
              <a:gdLst/>
              <a:ahLst/>
              <a:cxnLst/>
              <a:rect l="l" t="t" r="r" b="b"/>
              <a:pathLst>
                <a:path w="7657" h="11208" extrusionOk="0">
                  <a:moveTo>
                    <a:pt x="4958" y="11208"/>
                  </a:moveTo>
                  <a:lnTo>
                    <a:pt x="2703" y="11208"/>
                  </a:lnTo>
                  <a:cubicBezTo>
                    <a:pt x="960" y="11059"/>
                    <a:pt x="1" y="8697"/>
                    <a:pt x="1906" y="7453"/>
                  </a:cubicBezTo>
                  <a:cubicBezTo>
                    <a:pt x="3808" y="6212"/>
                    <a:pt x="325" y="5700"/>
                    <a:pt x="1906" y="4226"/>
                  </a:cubicBezTo>
                  <a:cubicBezTo>
                    <a:pt x="3484" y="2755"/>
                    <a:pt x="2810" y="3228"/>
                    <a:pt x="2703" y="1689"/>
                  </a:cubicBezTo>
                  <a:cubicBezTo>
                    <a:pt x="2661" y="1164"/>
                    <a:pt x="2823" y="137"/>
                    <a:pt x="3662" y="82"/>
                  </a:cubicBezTo>
                  <a:cubicBezTo>
                    <a:pt x="4767" y="1"/>
                    <a:pt x="4997" y="1096"/>
                    <a:pt x="4958" y="1689"/>
                  </a:cubicBezTo>
                  <a:cubicBezTo>
                    <a:pt x="4835" y="3228"/>
                    <a:pt x="4174" y="2755"/>
                    <a:pt x="5752" y="4226"/>
                  </a:cubicBezTo>
                  <a:cubicBezTo>
                    <a:pt x="7333" y="5700"/>
                    <a:pt x="3850" y="6212"/>
                    <a:pt x="5752" y="7453"/>
                  </a:cubicBezTo>
                  <a:cubicBezTo>
                    <a:pt x="7657" y="8697"/>
                    <a:pt x="6698" y="11059"/>
                    <a:pt x="4958" y="11208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0" name="Google Shape;5110;p52">
              <a:extLst>
                <a:ext uri="{FF2B5EF4-FFF2-40B4-BE49-F238E27FC236}">
                  <a16:creationId xmlns:a16="http://schemas.microsoft.com/office/drawing/2014/main" id="{178D6C2C-9C82-5D13-9329-BED0BF809E4D}"/>
                </a:ext>
              </a:extLst>
            </p:cNvPr>
            <p:cNvSpPr/>
            <p:nvPr/>
          </p:nvSpPr>
          <p:spPr>
            <a:xfrm>
              <a:off x="3132299" y="4163336"/>
              <a:ext cx="57821" cy="44166"/>
            </a:xfrm>
            <a:custGeom>
              <a:avLst/>
              <a:gdLst/>
              <a:ahLst/>
              <a:cxnLst/>
              <a:rect l="l" t="t" r="r" b="b"/>
              <a:pathLst>
                <a:path w="1770" h="1352" extrusionOk="0">
                  <a:moveTo>
                    <a:pt x="82" y="43"/>
                  </a:moveTo>
                  <a:lnTo>
                    <a:pt x="137" y="82"/>
                  </a:lnTo>
                  <a:lnTo>
                    <a:pt x="192" y="124"/>
                  </a:lnTo>
                  <a:lnTo>
                    <a:pt x="244" y="163"/>
                  </a:lnTo>
                  <a:lnTo>
                    <a:pt x="286" y="179"/>
                  </a:lnTo>
                  <a:lnTo>
                    <a:pt x="299" y="205"/>
                  </a:lnTo>
                  <a:lnTo>
                    <a:pt x="354" y="244"/>
                  </a:lnTo>
                  <a:lnTo>
                    <a:pt x="406" y="273"/>
                  </a:lnTo>
                  <a:lnTo>
                    <a:pt x="474" y="312"/>
                  </a:lnTo>
                  <a:lnTo>
                    <a:pt x="500" y="341"/>
                  </a:lnTo>
                  <a:lnTo>
                    <a:pt x="529" y="354"/>
                  </a:lnTo>
                  <a:lnTo>
                    <a:pt x="581" y="393"/>
                  </a:lnTo>
                  <a:lnTo>
                    <a:pt x="691" y="474"/>
                  </a:lnTo>
                  <a:lnTo>
                    <a:pt x="717" y="487"/>
                  </a:lnTo>
                  <a:lnTo>
                    <a:pt x="798" y="555"/>
                  </a:lnTo>
                  <a:lnTo>
                    <a:pt x="905" y="636"/>
                  </a:lnTo>
                  <a:lnTo>
                    <a:pt x="973" y="678"/>
                  </a:lnTo>
                  <a:lnTo>
                    <a:pt x="1135" y="785"/>
                  </a:lnTo>
                  <a:lnTo>
                    <a:pt x="1245" y="866"/>
                  </a:lnTo>
                  <a:lnTo>
                    <a:pt x="1271" y="892"/>
                  </a:lnTo>
                  <a:lnTo>
                    <a:pt x="1352" y="947"/>
                  </a:lnTo>
                  <a:lnTo>
                    <a:pt x="1407" y="989"/>
                  </a:lnTo>
                  <a:lnTo>
                    <a:pt x="1459" y="1028"/>
                  </a:lnTo>
                  <a:lnTo>
                    <a:pt x="1514" y="1070"/>
                  </a:lnTo>
                  <a:lnTo>
                    <a:pt x="1569" y="1122"/>
                  </a:lnTo>
                  <a:lnTo>
                    <a:pt x="1621" y="1164"/>
                  </a:lnTo>
                  <a:lnTo>
                    <a:pt x="1676" y="1203"/>
                  </a:lnTo>
                  <a:lnTo>
                    <a:pt x="1731" y="1245"/>
                  </a:lnTo>
                  <a:lnTo>
                    <a:pt x="1744" y="1258"/>
                  </a:lnTo>
                  <a:lnTo>
                    <a:pt x="1770" y="1297"/>
                  </a:lnTo>
                  <a:lnTo>
                    <a:pt x="1770" y="1339"/>
                  </a:lnTo>
                  <a:lnTo>
                    <a:pt x="1731" y="1352"/>
                  </a:lnTo>
                  <a:lnTo>
                    <a:pt x="1676" y="1339"/>
                  </a:lnTo>
                  <a:lnTo>
                    <a:pt x="1663" y="1326"/>
                  </a:lnTo>
                  <a:lnTo>
                    <a:pt x="1608" y="1284"/>
                  </a:lnTo>
                  <a:lnTo>
                    <a:pt x="1553" y="1245"/>
                  </a:lnTo>
                  <a:lnTo>
                    <a:pt x="1501" y="1203"/>
                  </a:lnTo>
                  <a:lnTo>
                    <a:pt x="1446" y="1164"/>
                  </a:lnTo>
                  <a:lnTo>
                    <a:pt x="1391" y="1122"/>
                  </a:lnTo>
                  <a:lnTo>
                    <a:pt x="1339" y="1083"/>
                  </a:lnTo>
                  <a:lnTo>
                    <a:pt x="1284" y="1041"/>
                  </a:lnTo>
                  <a:lnTo>
                    <a:pt x="1203" y="989"/>
                  </a:lnTo>
                  <a:lnTo>
                    <a:pt x="1177" y="960"/>
                  </a:lnTo>
                  <a:lnTo>
                    <a:pt x="1067" y="879"/>
                  </a:lnTo>
                  <a:lnTo>
                    <a:pt x="905" y="759"/>
                  </a:lnTo>
                  <a:lnTo>
                    <a:pt x="853" y="717"/>
                  </a:lnTo>
                  <a:lnTo>
                    <a:pt x="743" y="636"/>
                  </a:lnTo>
                  <a:lnTo>
                    <a:pt x="649" y="568"/>
                  </a:lnTo>
                  <a:lnTo>
                    <a:pt x="636" y="555"/>
                  </a:lnTo>
                  <a:lnTo>
                    <a:pt x="529" y="461"/>
                  </a:lnTo>
                  <a:lnTo>
                    <a:pt x="474" y="422"/>
                  </a:lnTo>
                  <a:lnTo>
                    <a:pt x="448" y="406"/>
                  </a:lnTo>
                  <a:lnTo>
                    <a:pt x="419" y="380"/>
                  </a:lnTo>
                  <a:lnTo>
                    <a:pt x="367" y="341"/>
                  </a:lnTo>
                  <a:lnTo>
                    <a:pt x="312" y="299"/>
                  </a:lnTo>
                  <a:lnTo>
                    <a:pt x="257" y="244"/>
                  </a:lnTo>
                  <a:lnTo>
                    <a:pt x="244" y="231"/>
                  </a:lnTo>
                  <a:lnTo>
                    <a:pt x="205" y="205"/>
                  </a:lnTo>
                  <a:lnTo>
                    <a:pt x="163" y="163"/>
                  </a:lnTo>
                  <a:lnTo>
                    <a:pt x="111" y="124"/>
                  </a:lnTo>
                  <a:lnTo>
                    <a:pt x="56" y="69"/>
                  </a:lnTo>
                  <a:lnTo>
                    <a:pt x="1" y="30"/>
                  </a:lnTo>
                  <a:lnTo>
                    <a:pt x="1" y="1"/>
                  </a:lnTo>
                  <a:lnTo>
                    <a:pt x="3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1" name="Google Shape;5111;p52">
              <a:extLst>
                <a:ext uri="{FF2B5EF4-FFF2-40B4-BE49-F238E27FC236}">
                  <a16:creationId xmlns:a16="http://schemas.microsoft.com/office/drawing/2014/main" id="{C6D93D3B-EC11-7DE8-F979-4CED395BE1DC}"/>
                </a:ext>
              </a:extLst>
            </p:cNvPr>
            <p:cNvSpPr/>
            <p:nvPr/>
          </p:nvSpPr>
          <p:spPr>
            <a:xfrm>
              <a:off x="3188292" y="4174868"/>
              <a:ext cx="64486" cy="54653"/>
            </a:xfrm>
            <a:custGeom>
              <a:avLst/>
              <a:gdLst/>
              <a:ahLst/>
              <a:cxnLst/>
              <a:rect l="l" t="t" r="r" b="b"/>
              <a:pathLst>
                <a:path w="1974" h="1673" extrusionOk="0">
                  <a:moveTo>
                    <a:pt x="1961" y="40"/>
                  </a:moveTo>
                  <a:lnTo>
                    <a:pt x="1851" y="150"/>
                  </a:lnTo>
                  <a:lnTo>
                    <a:pt x="1770" y="215"/>
                  </a:lnTo>
                  <a:lnTo>
                    <a:pt x="1731" y="244"/>
                  </a:lnTo>
                  <a:lnTo>
                    <a:pt x="1608" y="351"/>
                  </a:lnTo>
                  <a:lnTo>
                    <a:pt x="1608" y="351"/>
                  </a:lnTo>
                  <a:lnTo>
                    <a:pt x="1501" y="458"/>
                  </a:lnTo>
                  <a:lnTo>
                    <a:pt x="1475" y="474"/>
                  </a:lnTo>
                  <a:lnTo>
                    <a:pt x="1433" y="513"/>
                  </a:lnTo>
                  <a:lnTo>
                    <a:pt x="1378" y="555"/>
                  </a:lnTo>
                  <a:lnTo>
                    <a:pt x="1313" y="607"/>
                  </a:lnTo>
                  <a:lnTo>
                    <a:pt x="1258" y="662"/>
                  </a:lnTo>
                  <a:lnTo>
                    <a:pt x="1190" y="717"/>
                  </a:lnTo>
                  <a:lnTo>
                    <a:pt x="1135" y="769"/>
                  </a:lnTo>
                  <a:lnTo>
                    <a:pt x="1109" y="782"/>
                  </a:lnTo>
                  <a:lnTo>
                    <a:pt x="1083" y="824"/>
                  </a:lnTo>
                  <a:lnTo>
                    <a:pt x="1015" y="863"/>
                  </a:lnTo>
                  <a:lnTo>
                    <a:pt x="960" y="918"/>
                  </a:lnTo>
                  <a:lnTo>
                    <a:pt x="892" y="973"/>
                  </a:lnTo>
                  <a:lnTo>
                    <a:pt x="840" y="1025"/>
                  </a:lnTo>
                  <a:lnTo>
                    <a:pt x="772" y="1080"/>
                  </a:lnTo>
                  <a:lnTo>
                    <a:pt x="730" y="1122"/>
                  </a:lnTo>
                  <a:lnTo>
                    <a:pt x="717" y="1135"/>
                  </a:lnTo>
                  <a:lnTo>
                    <a:pt x="665" y="1187"/>
                  </a:lnTo>
                  <a:lnTo>
                    <a:pt x="597" y="1229"/>
                  </a:lnTo>
                  <a:lnTo>
                    <a:pt x="542" y="1284"/>
                  </a:lnTo>
                  <a:lnTo>
                    <a:pt x="487" y="1336"/>
                  </a:lnTo>
                  <a:lnTo>
                    <a:pt x="422" y="1391"/>
                  </a:lnTo>
                  <a:lnTo>
                    <a:pt x="393" y="1417"/>
                  </a:lnTo>
                  <a:lnTo>
                    <a:pt x="367" y="1446"/>
                  </a:lnTo>
                  <a:lnTo>
                    <a:pt x="312" y="1498"/>
                  </a:lnTo>
                  <a:lnTo>
                    <a:pt x="244" y="1540"/>
                  </a:lnTo>
                  <a:lnTo>
                    <a:pt x="231" y="1566"/>
                  </a:lnTo>
                  <a:lnTo>
                    <a:pt x="192" y="1592"/>
                  </a:lnTo>
                  <a:lnTo>
                    <a:pt x="137" y="1647"/>
                  </a:lnTo>
                  <a:lnTo>
                    <a:pt x="124" y="1660"/>
                  </a:lnTo>
                  <a:lnTo>
                    <a:pt x="43" y="1673"/>
                  </a:lnTo>
                  <a:lnTo>
                    <a:pt x="1" y="1660"/>
                  </a:lnTo>
                  <a:lnTo>
                    <a:pt x="1" y="1621"/>
                  </a:lnTo>
                  <a:lnTo>
                    <a:pt x="17" y="1553"/>
                  </a:lnTo>
                  <a:lnTo>
                    <a:pt x="30" y="1540"/>
                  </a:lnTo>
                  <a:lnTo>
                    <a:pt x="82" y="1485"/>
                  </a:lnTo>
                  <a:lnTo>
                    <a:pt x="124" y="1446"/>
                  </a:lnTo>
                  <a:lnTo>
                    <a:pt x="137" y="1430"/>
                  </a:lnTo>
                  <a:lnTo>
                    <a:pt x="192" y="1378"/>
                  </a:lnTo>
                  <a:lnTo>
                    <a:pt x="244" y="1323"/>
                  </a:lnTo>
                  <a:lnTo>
                    <a:pt x="273" y="1297"/>
                  </a:lnTo>
                  <a:lnTo>
                    <a:pt x="312" y="1268"/>
                  </a:lnTo>
                  <a:lnTo>
                    <a:pt x="367" y="1216"/>
                  </a:lnTo>
                  <a:lnTo>
                    <a:pt x="422" y="1161"/>
                  </a:lnTo>
                  <a:lnTo>
                    <a:pt x="487" y="1106"/>
                  </a:lnTo>
                  <a:lnTo>
                    <a:pt x="542" y="1054"/>
                  </a:lnTo>
                  <a:lnTo>
                    <a:pt x="610" y="999"/>
                  </a:lnTo>
                  <a:lnTo>
                    <a:pt x="623" y="986"/>
                  </a:lnTo>
                  <a:lnTo>
                    <a:pt x="665" y="944"/>
                  </a:lnTo>
                  <a:lnTo>
                    <a:pt x="730" y="905"/>
                  </a:lnTo>
                  <a:lnTo>
                    <a:pt x="785" y="850"/>
                  </a:lnTo>
                  <a:lnTo>
                    <a:pt x="853" y="798"/>
                  </a:lnTo>
                  <a:lnTo>
                    <a:pt x="921" y="743"/>
                  </a:lnTo>
                  <a:lnTo>
                    <a:pt x="973" y="701"/>
                  </a:lnTo>
                  <a:lnTo>
                    <a:pt x="1015" y="662"/>
                  </a:lnTo>
                  <a:lnTo>
                    <a:pt x="1041" y="649"/>
                  </a:lnTo>
                  <a:lnTo>
                    <a:pt x="1096" y="594"/>
                  </a:lnTo>
                  <a:lnTo>
                    <a:pt x="1164" y="555"/>
                  </a:lnTo>
                  <a:lnTo>
                    <a:pt x="1232" y="500"/>
                  </a:lnTo>
                  <a:lnTo>
                    <a:pt x="1284" y="458"/>
                  </a:lnTo>
                  <a:lnTo>
                    <a:pt x="1352" y="406"/>
                  </a:lnTo>
                  <a:lnTo>
                    <a:pt x="1407" y="377"/>
                  </a:lnTo>
                  <a:lnTo>
                    <a:pt x="1420" y="364"/>
                  </a:lnTo>
                  <a:lnTo>
                    <a:pt x="1540" y="270"/>
                  </a:lnTo>
                  <a:lnTo>
                    <a:pt x="1540" y="270"/>
                  </a:lnTo>
                  <a:lnTo>
                    <a:pt x="1676" y="176"/>
                  </a:lnTo>
                  <a:lnTo>
                    <a:pt x="1718" y="150"/>
                  </a:lnTo>
                  <a:lnTo>
                    <a:pt x="1799" y="95"/>
                  </a:lnTo>
                  <a:lnTo>
                    <a:pt x="1932" y="1"/>
                  </a:lnTo>
                  <a:lnTo>
                    <a:pt x="197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2" name="Google Shape;5112;p52">
              <a:extLst>
                <a:ext uri="{FF2B5EF4-FFF2-40B4-BE49-F238E27FC236}">
                  <a16:creationId xmlns:a16="http://schemas.microsoft.com/office/drawing/2014/main" id="{3DABE8A2-E2BD-7DAE-D120-60E769BAB8C3}"/>
                </a:ext>
              </a:extLst>
            </p:cNvPr>
            <p:cNvSpPr/>
            <p:nvPr/>
          </p:nvSpPr>
          <p:spPr>
            <a:xfrm>
              <a:off x="3142883" y="4048277"/>
              <a:ext cx="45016" cy="39724"/>
            </a:xfrm>
            <a:custGeom>
              <a:avLst/>
              <a:gdLst/>
              <a:ahLst/>
              <a:cxnLst/>
              <a:rect l="l" t="t" r="r" b="b"/>
              <a:pathLst>
                <a:path w="1378" h="1216" extrusionOk="0">
                  <a:moveTo>
                    <a:pt x="43" y="1"/>
                  </a:moveTo>
                  <a:lnTo>
                    <a:pt x="124" y="69"/>
                  </a:lnTo>
                  <a:lnTo>
                    <a:pt x="218" y="137"/>
                  </a:lnTo>
                  <a:lnTo>
                    <a:pt x="299" y="202"/>
                  </a:lnTo>
                  <a:lnTo>
                    <a:pt x="367" y="257"/>
                  </a:lnTo>
                  <a:lnTo>
                    <a:pt x="380" y="270"/>
                  </a:lnTo>
                  <a:lnTo>
                    <a:pt x="516" y="364"/>
                  </a:lnTo>
                  <a:lnTo>
                    <a:pt x="555" y="406"/>
                  </a:lnTo>
                  <a:lnTo>
                    <a:pt x="636" y="474"/>
                  </a:lnTo>
                  <a:lnTo>
                    <a:pt x="678" y="513"/>
                  </a:lnTo>
                  <a:lnTo>
                    <a:pt x="717" y="542"/>
                  </a:lnTo>
                  <a:lnTo>
                    <a:pt x="798" y="623"/>
                  </a:lnTo>
                  <a:lnTo>
                    <a:pt x="866" y="675"/>
                  </a:lnTo>
                  <a:lnTo>
                    <a:pt x="879" y="688"/>
                  </a:lnTo>
                  <a:lnTo>
                    <a:pt x="960" y="756"/>
                  </a:lnTo>
                  <a:lnTo>
                    <a:pt x="1002" y="798"/>
                  </a:lnTo>
                  <a:lnTo>
                    <a:pt x="1041" y="824"/>
                  </a:lnTo>
                  <a:lnTo>
                    <a:pt x="1096" y="866"/>
                  </a:lnTo>
                  <a:lnTo>
                    <a:pt x="1135" y="892"/>
                  </a:lnTo>
                  <a:lnTo>
                    <a:pt x="1177" y="931"/>
                  </a:lnTo>
                  <a:lnTo>
                    <a:pt x="1177" y="947"/>
                  </a:lnTo>
                  <a:lnTo>
                    <a:pt x="1216" y="960"/>
                  </a:lnTo>
                  <a:lnTo>
                    <a:pt x="1258" y="999"/>
                  </a:lnTo>
                  <a:lnTo>
                    <a:pt x="1284" y="1028"/>
                  </a:lnTo>
                  <a:lnTo>
                    <a:pt x="1297" y="1028"/>
                  </a:lnTo>
                  <a:lnTo>
                    <a:pt x="1339" y="1067"/>
                  </a:lnTo>
                  <a:lnTo>
                    <a:pt x="1378" y="1093"/>
                  </a:lnTo>
                  <a:lnTo>
                    <a:pt x="1352" y="1135"/>
                  </a:lnTo>
                  <a:lnTo>
                    <a:pt x="1310" y="1190"/>
                  </a:lnTo>
                  <a:lnTo>
                    <a:pt x="1284" y="1216"/>
                  </a:lnTo>
                  <a:lnTo>
                    <a:pt x="1245" y="1174"/>
                  </a:lnTo>
                  <a:lnTo>
                    <a:pt x="1203" y="1148"/>
                  </a:lnTo>
                  <a:lnTo>
                    <a:pt x="1190" y="1135"/>
                  </a:lnTo>
                  <a:lnTo>
                    <a:pt x="1164" y="1109"/>
                  </a:lnTo>
                  <a:lnTo>
                    <a:pt x="1122" y="1080"/>
                  </a:lnTo>
                  <a:lnTo>
                    <a:pt x="1083" y="1054"/>
                  </a:lnTo>
                  <a:lnTo>
                    <a:pt x="1083" y="1041"/>
                  </a:lnTo>
                  <a:lnTo>
                    <a:pt x="1041" y="1012"/>
                  </a:lnTo>
                  <a:lnTo>
                    <a:pt x="1002" y="973"/>
                  </a:lnTo>
                  <a:lnTo>
                    <a:pt x="960" y="931"/>
                  </a:lnTo>
                  <a:lnTo>
                    <a:pt x="905" y="905"/>
                  </a:lnTo>
                  <a:lnTo>
                    <a:pt x="866" y="866"/>
                  </a:lnTo>
                  <a:lnTo>
                    <a:pt x="785" y="798"/>
                  </a:lnTo>
                  <a:lnTo>
                    <a:pt x="772" y="769"/>
                  </a:lnTo>
                  <a:lnTo>
                    <a:pt x="704" y="717"/>
                  </a:lnTo>
                  <a:lnTo>
                    <a:pt x="623" y="649"/>
                  </a:lnTo>
                  <a:lnTo>
                    <a:pt x="581" y="607"/>
                  </a:lnTo>
                  <a:lnTo>
                    <a:pt x="555" y="568"/>
                  </a:lnTo>
                  <a:lnTo>
                    <a:pt x="474" y="500"/>
                  </a:lnTo>
                  <a:lnTo>
                    <a:pt x="435" y="461"/>
                  </a:lnTo>
                  <a:lnTo>
                    <a:pt x="312" y="351"/>
                  </a:lnTo>
                  <a:lnTo>
                    <a:pt x="299" y="338"/>
                  </a:lnTo>
                  <a:lnTo>
                    <a:pt x="244" y="270"/>
                  </a:lnTo>
                  <a:lnTo>
                    <a:pt x="163" y="189"/>
                  </a:lnTo>
                  <a:lnTo>
                    <a:pt x="163" y="189"/>
                  </a:lnTo>
                  <a:lnTo>
                    <a:pt x="82" y="121"/>
                  </a:lnTo>
                  <a:lnTo>
                    <a:pt x="14" y="4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3" name="Google Shape;5113;p52">
              <a:extLst>
                <a:ext uri="{FF2B5EF4-FFF2-40B4-BE49-F238E27FC236}">
                  <a16:creationId xmlns:a16="http://schemas.microsoft.com/office/drawing/2014/main" id="{D98F99F5-838C-91B6-77AF-292FABD05ADA}"/>
                </a:ext>
              </a:extLst>
            </p:cNvPr>
            <p:cNvSpPr/>
            <p:nvPr/>
          </p:nvSpPr>
          <p:spPr>
            <a:xfrm>
              <a:off x="3187018" y="4036844"/>
              <a:ext cx="22998" cy="26493"/>
            </a:xfrm>
            <a:custGeom>
              <a:avLst/>
              <a:gdLst/>
              <a:ahLst/>
              <a:cxnLst/>
              <a:rect l="l" t="t" r="r" b="b"/>
              <a:pathLst>
                <a:path w="704" h="811" extrusionOk="0">
                  <a:moveTo>
                    <a:pt x="704" y="27"/>
                  </a:moveTo>
                  <a:lnTo>
                    <a:pt x="688" y="53"/>
                  </a:lnTo>
                  <a:lnTo>
                    <a:pt x="675" y="66"/>
                  </a:lnTo>
                  <a:lnTo>
                    <a:pt x="649" y="95"/>
                  </a:lnTo>
                  <a:lnTo>
                    <a:pt x="636" y="121"/>
                  </a:lnTo>
                  <a:lnTo>
                    <a:pt x="594" y="176"/>
                  </a:lnTo>
                  <a:lnTo>
                    <a:pt x="581" y="176"/>
                  </a:lnTo>
                  <a:lnTo>
                    <a:pt x="542" y="228"/>
                  </a:lnTo>
                  <a:lnTo>
                    <a:pt x="500" y="270"/>
                  </a:lnTo>
                  <a:lnTo>
                    <a:pt x="474" y="309"/>
                  </a:lnTo>
                  <a:lnTo>
                    <a:pt x="461" y="325"/>
                  </a:lnTo>
                  <a:lnTo>
                    <a:pt x="419" y="364"/>
                  </a:lnTo>
                  <a:lnTo>
                    <a:pt x="380" y="419"/>
                  </a:lnTo>
                  <a:lnTo>
                    <a:pt x="364" y="432"/>
                  </a:lnTo>
                  <a:lnTo>
                    <a:pt x="338" y="458"/>
                  </a:lnTo>
                  <a:lnTo>
                    <a:pt x="299" y="513"/>
                  </a:lnTo>
                  <a:lnTo>
                    <a:pt x="283" y="526"/>
                  </a:lnTo>
                  <a:lnTo>
                    <a:pt x="270" y="539"/>
                  </a:lnTo>
                  <a:lnTo>
                    <a:pt x="257" y="552"/>
                  </a:lnTo>
                  <a:lnTo>
                    <a:pt x="231" y="581"/>
                  </a:lnTo>
                  <a:lnTo>
                    <a:pt x="218" y="607"/>
                  </a:lnTo>
                  <a:lnTo>
                    <a:pt x="189" y="633"/>
                  </a:lnTo>
                  <a:lnTo>
                    <a:pt x="189" y="633"/>
                  </a:lnTo>
                  <a:lnTo>
                    <a:pt x="176" y="649"/>
                  </a:lnTo>
                  <a:lnTo>
                    <a:pt x="150" y="675"/>
                  </a:lnTo>
                  <a:lnTo>
                    <a:pt x="121" y="701"/>
                  </a:lnTo>
                  <a:lnTo>
                    <a:pt x="108" y="730"/>
                  </a:lnTo>
                  <a:lnTo>
                    <a:pt x="82" y="756"/>
                  </a:lnTo>
                  <a:lnTo>
                    <a:pt x="69" y="769"/>
                  </a:lnTo>
                  <a:lnTo>
                    <a:pt x="56" y="795"/>
                  </a:lnTo>
                  <a:lnTo>
                    <a:pt x="40" y="795"/>
                  </a:lnTo>
                  <a:lnTo>
                    <a:pt x="1" y="811"/>
                  </a:lnTo>
                  <a:lnTo>
                    <a:pt x="1" y="769"/>
                  </a:lnTo>
                  <a:lnTo>
                    <a:pt x="1" y="756"/>
                  </a:lnTo>
                  <a:lnTo>
                    <a:pt x="14" y="743"/>
                  </a:lnTo>
                  <a:lnTo>
                    <a:pt x="40" y="714"/>
                  </a:lnTo>
                  <a:lnTo>
                    <a:pt x="56" y="688"/>
                  </a:lnTo>
                  <a:lnTo>
                    <a:pt x="69" y="662"/>
                  </a:lnTo>
                  <a:lnTo>
                    <a:pt x="95" y="633"/>
                  </a:lnTo>
                  <a:lnTo>
                    <a:pt x="108" y="607"/>
                  </a:lnTo>
                  <a:lnTo>
                    <a:pt x="137" y="581"/>
                  </a:lnTo>
                  <a:lnTo>
                    <a:pt x="137" y="581"/>
                  </a:lnTo>
                  <a:lnTo>
                    <a:pt x="150" y="552"/>
                  </a:lnTo>
                  <a:lnTo>
                    <a:pt x="176" y="526"/>
                  </a:lnTo>
                  <a:lnTo>
                    <a:pt x="189" y="513"/>
                  </a:lnTo>
                  <a:lnTo>
                    <a:pt x="218" y="487"/>
                  </a:lnTo>
                  <a:lnTo>
                    <a:pt x="218" y="471"/>
                  </a:lnTo>
                  <a:lnTo>
                    <a:pt x="231" y="458"/>
                  </a:lnTo>
                  <a:lnTo>
                    <a:pt x="283" y="406"/>
                  </a:lnTo>
                  <a:lnTo>
                    <a:pt x="312" y="377"/>
                  </a:lnTo>
                  <a:lnTo>
                    <a:pt x="325" y="364"/>
                  </a:lnTo>
                  <a:lnTo>
                    <a:pt x="364" y="325"/>
                  </a:lnTo>
                  <a:lnTo>
                    <a:pt x="419" y="270"/>
                  </a:lnTo>
                  <a:lnTo>
                    <a:pt x="419" y="270"/>
                  </a:lnTo>
                  <a:lnTo>
                    <a:pt x="461" y="228"/>
                  </a:lnTo>
                  <a:lnTo>
                    <a:pt x="513" y="189"/>
                  </a:lnTo>
                  <a:lnTo>
                    <a:pt x="555" y="147"/>
                  </a:lnTo>
                  <a:lnTo>
                    <a:pt x="555" y="134"/>
                  </a:lnTo>
                  <a:lnTo>
                    <a:pt x="594" y="95"/>
                  </a:lnTo>
                  <a:lnTo>
                    <a:pt x="623" y="66"/>
                  </a:lnTo>
                  <a:lnTo>
                    <a:pt x="649" y="53"/>
                  </a:lnTo>
                  <a:lnTo>
                    <a:pt x="662" y="27"/>
                  </a:lnTo>
                  <a:lnTo>
                    <a:pt x="688" y="1"/>
                  </a:lnTo>
                  <a:lnTo>
                    <a:pt x="70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4" name="Google Shape;5114;p52">
              <a:extLst>
                <a:ext uri="{FF2B5EF4-FFF2-40B4-BE49-F238E27FC236}">
                  <a16:creationId xmlns:a16="http://schemas.microsoft.com/office/drawing/2014/main" id="{F24BDDEE-0D1F-1BC5-398E-7DDC4B257316}"/>
                </a:ext>
              </a:extLst>
            </p:cNvPr>
            <p:cNvSpPr/>
            <p:nvPr/>
          </p:nvSpPr>
          <p:spPr>
            <a:xfrm>
              <a:off x="3178655" y="3961380"/>
              <a:ext cx="16758" cy="380642"/>
            </a:xfrm>
            <a:custGeom>
              <a:avLst/>
              <a:gdLst/>
              <a:ahLst/>
              <a:cxnLst/>
              <a:rect l="l" t="t" r="r" b="b"/>
              <a:pathLst>
                <a:path w="513" h="11652" extrusionOk="0">
                  <a:moveTo>
                    <a:pt x="69" y="27"/>
                  </a:moveTo>
                  <a:lnTo>
                    <a:pt x="82" y="124"/>
                  </a:lnTo>
                  <a:lnTo>
                    <a:pt x="108" y="205"/>
                  </a:lnTo>
                  <a:lnTo>
                    <a:pt x="121" y="299"/>
                  </a:lnTo>
                  <a:lnTo>
                    <a:pt x="121" y="312"/>
                  </a:lnTo>
                  <a:lnTo>
                    <a:pt x="134" y="393"/>
                  </a:lnTo>
                  <a:lnTo>
                    <a:pt x="150" y="474"/>
                  </a:lnTo>
                  <a:lnTo>
                    <a:pt x="150" y="568"/>
                  </a:lnTo>
                  <a:lnTo>
                    <a:pt x="163" y="662"/>
                  </a:lnTo>
                  <a:lnTo>
                    <a:pt x="176" y="743"/>
                  </a:lnTo>
                  <a:lnTo>
                    <a:pt x="189" y="837"/>
                  </a:lnTo>
                  <a:lnTo>
                    <a:pt x="189" y="934"/>
                  </a:lnTo>
                  <a:lnTo>
                    <a:pt x="202" y="1015"/>
                  </a:lnTo>
                  <a:lnTo>
                    <a:pt x="215" y="1109"/>
                  </a:lnTo>
                  <a:lnTo>
                    <a:pt x="215" y="1190"/>
                  </a:lnTo>
                  <a:lnTo>
                    <a:pt x="215" y="1203"/>
                  </a:lnTo>
                  <a:lnTo>
                    <a:pt x="231" y="1284"/>
                  </a:lnTo>
                  <a:lnTo>
                    <a:pt x="231" y="1378"/>
                  </a:lnTo>
                  <a:lnTo>
                    <a:pt x="244" y="1472"/>
                  </a:lnTo>
                  <a:lnTo>
                    <a:pt x="244" y="1566"/>
                  </a:lnTo>
                  <a:lnTo>
                    <a:pt x="257" y="1647"/>
                  </a:lnTo>
                  <a:lnTo>
                    <a:pt x="270" y="1838"/>
                  </a:lnTo>
                  <a:lnTo>
                    <a:pt x="270" y="2013"/>
                  </a:lnTo>
                  <a:lnTo>
                    <a:pt x="283" y="2201"/>
                  </a:lnTo>
                  <a:lnTo>
                    <a:pt x="296" y="2376"/>
                  </a:lnTo>
                  <a:lnTo>
                    <a:pt x="312" y="2554"/>
                  </a:lnTo>
                  <a:lnTo>
                    <a:pt x="312" y="2742"/>
                  </a:lnTo>
                  <a:lnTo>
                    <a:pt x="325" y="2917"/>
                  </a:lnTo>
                  <a:lnTo>
                    <a:pt x="338" y="3105"/>
                  </a:lnTo>
                  <a:lnTo>
                    <a:pt x="338" y="3283"/>
                  </a:lnTo>
                  <a:lnTo>
                    <a:pt x="351" y="3458"/>
                  </a:lnTo>
                  <a:lnTo>
                    <a:pt x="351" y="3646"/>
                  </a:lnTo>
                  <a:lnTo>
                    <a:pt x="364" y="3821"/>
                  </a:lnTo>
                  <a:lnTo>
                    <a:pt x="364" y="3957"/>
                  </a:lnTo>
                  <a:lnTo>
                    <a:pt x="364" y="4012"/>
                  </a:lnTo>
                  <a:lnTo>
                    <a:pt x="377" y="4187"/>
                  </a:lnTo>
                  <a:lnTo>
                    <a:pt x="377" y="4375"/>
                  </a:lnTo>
                  <a:lnTo>
                    <a:pt x="377" y="4550"/>
                  </a:lnTo>
                  <a:lnTo>
                    <a:pt x="393" y="4741"/>
                  </a:lnTo>
                  <a:lnTo>
                    <a:pt x="393" y="4916"/>
                  </a:lnTo>
                  <a:lnTo>
                    <a:pt x="393" y="5091"/>
                  </a:lnTo>
                  <a:lnTo>
                    <a:pt x="406" y="5279"/>
                  </a:lnTo>
                  <a:lnTo>
                    <a:pt x="406" y="5454"/>
                  </a:lnTo>
                  <a:lnTo>
                    <a:pt x="406" y="5645"/>
                  </a:lnTo>
                  <a:lnTo>
                    <a:pt x="419" y="5820"/>
                  </a:lnTo>
                  <a:lnTo>
                    <a:pt x="419" y="6183"/>
                  </a:lnTo>
                  <a:lnTo>
                    <a:pt x="419" y="6549"/>
                  </a:lnTo>
                  <a:lnTo>
                    <a:pt x="432" y="6912"/>
                  </a:lnTo>
                  <a:lnTo>
                    <a:pt x="432" y="7074"/>
                  </a:lnTo>
                  <a:lnTo>
                    <a:pt x="432" y="7278"/>
                  </a:lnTo>
                  <a:lnTo>
                    <a:pt x="445" y="7641"/>
                  </a:lnTo>
                  <a:lnTo>
                    <a:pt x="445" y="7819"/>
                  </a:lnTo>
                  <a:lnTo>
                    <a:pt x="445" y="7994"/>
                  </a:lnTo>
                  <a:lnTo>
                    <a:pt x="445" y="8046"/>
                  </a:lnTo>
                  <a:lnTo>
                    <a:pt x="445" y="8182"/>
                  </a:lnTo>
                  <a:lnTo>
                    <a:pt x="445" y="8357"/>
                  </a:lnTo>
                  <a:lnTo>
                    <a:pt x="458" y="8548"/>
                  </a:lnTo>
                  <a:lnTo>
                    <a:pt x="458" y="8723"/>
                  </a:lnTo>
                  <a:lnTo>
                    <a:pt x="458" y="8911"/>
                  </a:lnTo>
                  <a:lnTo>
                    <a:pt x="458" y="9073"/>
                  </a:lnTo>
                  <a:lnTo>
                    <a:pt x="458" y="9086"/>
                  </a:lnTo>
                  <a:lnTo>
                    <a:pt x="474" y="9261"/>
                  </a:lnTo>
                  <a:lnTo>
                    <a:pt x="474" y="9452"/>
                  </a:lnTo>
                  <a:lnTo>
                    <a:pt x="474" y="9627"/>
                  </a:lnTo>
                  <a:lnTo>
                    <a:pt x="487" y="9815"/>
                  </a:lnTo>
                  <a:lnTo>
                    <a:pt x="487" y="9990"/>
                  </a:lnTo>
                  <a:lnTo>
                    <a:pt x="487" y="10032"/>
                  </a:lnTo>
                  <a:lnTo>
                    <a:pt x="487" y="10168"/>
                  </a:lnTo>
                  <a:lnTo>
                    <a:pt x="500" y="10356"/>
                  </a:lnTo>
                  <a:lnTo>
                    <a:pt x="500" y="10531"/>
                  </a:lnTo>
                  <a:lnTo>
                    <a:pt x="513" y="10719"/>
                  </a:lnTo>
                  <a:lnTo>
                    <a:pt x="513" y="10735"/>
                  </a:lnTo>
                  <a:lnTo>
                    <a:pt x="513" y="10897"/>
                  </a:lnTo>
                  <a:lnTo>
                    <a:pt x="513" y="11072"/>
                  </a:lnTo>
                  <a:lnTo>
                    <a:pt x="513" y="11166"/>
                  </a:lnTo>
                  <a:lnTo>
                    <a:pt x="513" y="11221"/>
                  </a:lnTo>
                  <a:lnTo>
                    <a:pt x="513" y="11260"/>
                  </a:lnTo>
                  <a:lnTo>
                    <a:pt x="513" y="11354"/>
                  </a:lnTo>
                  <a:lnTo>
                    <a:pt x="513" y="11435"/>
                  </a:lnTo>
                  <a:lnTo>
                    <a:pt x="513" y="11529"/>
                  </a:lnTo>
                  <a:lnTo>
                    <a:pt x="513" y="11626"/>
                  </a:lnTo>
                  <a:lnTo>
                    <a:pt x="500" y="11652"/>
                  </a:lnTo>
                  <a:lnTo>
                    <a:pt x="474" y="11626"/>
                  </a:lnTo>
                  <a:lnTo>
                    <a:pt x="458" y="11529"/>
                  </a:lnTo>
                  <a:lnTo>
                    <a:pt x="445" y="11448"/>
                  </a:lnTo>
                  <a:lnTo>
                    <a:pt x="432" y="11354"/>
                  </a:lnTo>
                  <a:lnTo>
                    <a:pt x="419" y="11260"/>
                  </a:lnTo>
                  <a:lnTo>
                    <a:pt x="419" y="11234"/>
                  </a:lnTo>
                  <a:lnTo>
                    <a:pt x="419" y="11179"/>
                  </a:lnTo>
                  <a:lnTo>
                    <a:pt x="406" y="11085"/>
                  </a:lnTo>
                  <a:lnTo>
                    <a:pt x="377" y="10897"/>
                  </a:lnTo>
                  <a:lnTo>
                    <a:pt x="364" y="10748"/>
                  </a:lnTo>
                  <a:lnTo>
                    <a:pt x="364" y="10719"/>
                  </a:lnTo>
                  <a:lnTo>
                    <a:pt x="351" y="10544"/>
                  </a:lnTo>
                  <a:lnTo>
                    <a:pt x="338" y="10356"/>
                  </a:lnTo>
                  <a:lnTo>
                    <a:pt x="325" y="10181"/>
                  </a:lnTo>
                  <a:lnTo>
                    <a:pt x="325" y="10032"/>
                  </a:lnTo>
                  <a:lnTo>
                    <a:pt x="325" y="9990"/>
                  </a:lnTo>
                  <a:lnTo>
                    <a:pt x="312" y="9815"/>
                  </a:lnTo>
                  <a:lnTo>
                    <a:pt x="296" y="9640"/>
                  </a:lnTo>
                  <a:lnTo>
                    <a:pt x="296" y="9452"/>
                  </a:lnTo>
                  <a:lnTo>
                    <a:pt x="283" y="9277"/>
                  </a:lnTo>
                  <a:lnTo>
                    <a:pt x="270" y="9086"/>
                  </a:lnTo>
                  <a:lnTo>
                    <a:pt x="270" y="9086"/>
                  </a:lnTo>
                  <a:lnTo>
                    <a:pt x="270" y="8911"/>
                  </a:lnTo>
                  <a:lnTo>
                    <a:pt x="257" y="8723"/>
                  </a:lnTo>
                  <a:lnTo>
                    <a:pt x="257" y="8548"/>
                  </a:lnTo>
                  <a:lnTo>
                    <a:pt x="244" y="8370"/>
                  </a:lnTo>
                  <a:lnTo>
                    <a:pt x="244" y="8182"/>
                  </a:lnTo>
                  <a:lnTo>
                    <a:pt x="244" y="8046"/>
                  </a:lnTo>
                  <a:lnTo>
                    <a:pt x="244" y="8007"/>
                  </a:lnTo>
                  <a:lnTo>
                    <a:pt x="231" y="7819"/>
                  </a:lnTo>
                  <a:lnTo>
                    <a:pt x="231" y="7641"/>
                  </a:lnTo>
                  <a:lnTo>
                    <a:pt x="215" y="7278"/>
                  </a:lnTo>
                  <a:lnTo>
                    <a:pt x="215" y="7074"/>
                  </a:lnTo>
                  <a:lnTo>
                    <a:pt x="215" y="6912"/>
                  </a:lnTo>
                  <a:lnTo>
                    <a:pt x="215" y="6549"/>
                  </a:lnTo>
                  <a:lnTo>
                    <a:pt x="202" y="6183"/>
                  </a:lnTo>
                  <a:lnTo>
                    <a:pt x="202" y="5820"/>
                  </a:lnTo>
                  <a:lnTo>
                    <a:pt x="202" y="5645"/>
                  </a:lnTo>
                  <a:lnTo>
                    <a:pt x="189" y="5470"/>
                  </a:lnTo>
                  <a:lnTo>
                    <a:pt x="189" y="5279"/>
                  </a:lnTo>
                  <a:lnTo>
                    <a:pt x="189" y="5104"/>
                  </a:lnTo>
                  <a:lnTo>
                    <a:pt x="189" y="4916"/>
                  </a:lnTo>
                  <a:lnTo>
                    <a:pt x="189" y="4741"/>
                  </a:lnTo>
                  <a:lnTo>
                    <a:pt x="176" y="4550"/>
                  </a:lnTo>
                  <a:lnTo>
                    <a:pt x="176" y="4375"/>
                  </a:lnTo>
                  <a:lnTo>
                    <a:pt x="176" y="4200"/>
                  </a:lnTo>
                  <a:lnTo>
                    <a:pt x="163" y="4012"/>
                  </a:lnTo>
                  <a:lnTo>
                    <a:pt x="163" y="3957"/>
                  </a:lnTo>
                  <a:lnTo>
                    <a:pt x="163" y="3834"/>
                  </a:lnTo>
                  <a:lnTo>
                    <a:pt x="163" y="3646"/>
                  </a:lnTo>
                  <a:lnTo>
                    <a:pt x="150" y="3471"/>
                  </a:lnTo>
                  <a:lnTo>
                    <a:pt x="150" y="3296"/>
                  </a:lnTo>
                  <a:lnTo>
                    <a:pt x="150" y="3105"/>
                  </a:lnTo>
                  <a:lnTo>
                    <a:pt x="134" y="2930"/>
                  </a:lnTo>
                  <a:lnTo>
                    <a:pt x="134" y="2742"/>
                  </a:lnTo>
                  <a:lnTo>
                    <a:pt x="121" y="2567"/>
                  </a:lnTo>
                  <a:lnTo>
                    <a:pt x="121" y="2392"/>
                  </a:lnTo>
                  <a:lnTo>
                    <a:pt x="108" y="2201"/>
                  </a:lnTo>
                  <a:lnTo>
                    <a:pt x="95" y="2026"/>
                  </a:lnTo>
                  <a:lnTo>
                    <a:pt x="95" y="1838"/>
                  </a:lnTo>
                  <a:lnTo>
                    <a:pt x="82" y="1663"/>
                  </a:lnTo>
                  <a:lnTo>
                    <a:pt x="82" y="1566"/>
                  </a:lnTo>
                  <a:lnTo>
                    <a:pt x="69" y="1485"/>
                  </a:lnTo>
                  <a:lnTo>
                    <a:pt x="69" y="1391"/>
                  </a:lnTo>
                  <a:lnTo>
                    <a:pt x="53" y="1297"/>
                  </a:lnTo>
                  <a:lnTo>
                    <a:pt x="53" y="1216"/>
                  </a:lnTo>
                  <a:lnTo>
                    <a:pt x="53" y="1203"/>
                  </a:lnTo>
                  <a:lnTo>
                    <a:pt x="53" y="1122"/>
                  </a:lnTo>
                  <a:lnTo>
                    <a:pt x="40" y="1028"/>
                  </a:lnTo>
                  <a:lnTo>
                    <a:pt x="40" y="947"/>
                  </a:lnTo>
                  <a:lnTo>
                    <a:pt x="40" y="853"/>
                  </a:lnTo>
                  <a:lnTo>
                    <a:pt x="27" y="756"/>
                  </a:lnTo>
                  <a:lnTo>
                    <a:pt x="27" y="675"/>
                  </a:lnTo>
                  <a:lnTo>
                    <a:pt x="27" y="581"/>
                  </a:lnTo>
                  <a:lnTo>
                    <a:pt x="14" y="487"/>
                  </a:lnTo>
                  <a:lnTo>
                    <a:pt x="14" y="393"/>
                  </a:lnTo>
                  <a:lnTo>
                    <a:pt x="1" y="325"/>
                  </a:lnTo>
                  <a:lnTo>
                    <a:pt x="1" y="312"/>
                  </a:lnTo>
                  <a:lnTo>
                    <a:pt x="14" y="218"/>
                  </a:lnTo>
                  <a:lnTo>
                    <a:pt x="14" y="124"/>
                  </a:lnTo>
                  <a:lnTo>
                    <a:pt x="14" y="43"/>
                  </a:lnTo>
                  <a:lnTo>
                    <a:pt x="4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5" name="Google Shape;5115;p52">
              <a:extLst>
                <a:ext uri="{FF2B5EF4-FFF2-40B4-BE49-F238E27FC236}">
                  <a16:creationId xmlns:a16="http://schemas.microsoft.com/office/drawing/2014/main" id="{B7DFEA88-3E06-8919-F80B-A86FF0DB456D}"/>
                </a:ext>
              </a:extLst>
            </p:cNvPr>
            <p:cNvSpPr/>
            <p:nvPr/>
          </p:nvSpPr>
          <p:spPr>
            <a:xfrm>
              <a:off x="2618413" y="3885508"/>
              <a:ext cx="33582" cy="490503"/>
            </a:xfrm>
            <a:custGeom>
              <a:avLst/>
              <a:gdLst/>
              <a:ahLst/>
              <a:cxnLst/>
              <a:rect l="l" t="t" r="r" b="b"/>
              <a:pathLst>
                <a:path w="1028" h="15015" extrusionOk="0">
                  <a:moveTo>
                    <a:pt x="137" y="1"/>
                  </a:moveTo>
                  <a:lnTo>
                    <a:pt x="1" y="15015"/>
                  </a:lnTo>
                  <a:lnTo>
                    <a:pt x="1028" y="15015"/>
                  </a:lnTo>
                  <a:lnTo>
                    <a:pt x="756" y="56"/>
                  </a:lnTo>
                  <a:lnTo>
                    <a:pt x="13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6" name="Google Shape;5116;p52">
              <a:extLst>
                <a:ext uri="{FF2B5EF4-FFF2-40B4-BE49-F238E27FC236}">
                  <a16:creationId xmlns:a16="http://schemas.microsoft.com/office/drawing/2014/main" id="{BF044AAC-6AAE-5DB6-3DAD-68B37D4BEB33}"/>
                </a:ext>
              </a:extLst>
            </p:cNvPr>
            <p:cNvSpPr/>
            <p:nvPr/>
          </p:nvSpPr>
          <p:spPr>
            <a:xfrm>
              <a:off x="2627626" y="3679109"/>
              <a:ext cx="40246" cy="191072"/>
            </a:xfrm>
            <a:custGeom>
              <a:avLst/>
              <a:gdLst/>
              <a:ahLst/>
              <a:cxnLst/>
              <a:rect l="l" t="t" r="r" b="b"/>
              <a:pathLst>
                <a:path w="1232" h="5849" extrusionOk="0">
                  <a:moveTo>
                    <a:pt x="597" y="1"/>
                  </a:moveTo>
                  <a:lnTo>
                    <a:pt x="1" y="5687"/>
                  </a:lnTo>
                  <a:lnTo>
                    <a:pt x="435" y="5849"/>
                  </a:lnTo>
                  <a:lnTo>
                    <a:pt x="1232" y="5010"/>
                  </a:lnTo>
                  <a:lnTo>
                    <a:pt x="892" y="244"/>
                  </a:lnTo>
                  <a:lnTo>
                    <a:pt x="59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7" name="Google Shape;5117;p52">
              <a:extLst>
                <a:ext uri="{FF2B5EF4-FFF2-40B4-BE49-F238E27FC236}">
                  <a16:creationId xmlns:a16="http://schemas.microsoft.com/office/drawing/2014/main" id="{CC152FF4-AA94-F662-449F-3B327E8E1729}"/>
                </a:ext>
              </a:extLst>
            </p:cNvPr>
            <p:cNvSpPr/>
            <p:nvPr/>
          </p:nvSpPr>
          <p:spPr>
            <a:xfrm>
              <a:off x="2633441" y="3878092"/>
              <a:ext cx="163566" cy="112442"/>
            </a:xfrm>
            <a:custGeom>
              <a:avLst/>
              <a:gdLst/>
              <a:ahLst/>
              <a:cxnLst/>
              <a:rect l="l" t="t" r="r" b="b"/>
              <a:pathLst>
                <a:path w="5007" h="3442" extrusionOk="0">
                  <a:moveTo>
                    <a:pt x="351" y="1"/>
                  </a:moveTo>
                  <a:lnTo>
                    <a:pt x="1" y="283"/>
                  </a:lnTo>
                  <a:lnTo>
                    <a:pt x="338" y="1404"/>
                  </a:lnTo>
                  <a:lnTo>
                    <a:pt x="4657" y="3442"/>
                  </a:lnTo>
                  <a:lnTo>
                    <a:pt x="5007" y="3306"/>
                  </a:lnTo>
                  <a:lnTo>
                    <a:pt x="35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8" name="Google Shape;5118;p52">
              <a:extLst>
                <a:ext uri="{FF2B5EF4-FFF2-40B4-BE49-F238E27FC236}">
                  <a16:creationId xmlns:a16="http://schemas.microsoft.com/office/drawing/2014/main" id="{01E978C5-8CEC-DE60-223C-EF98FEF26FFC}"/>
                </a:ext>
              </a:extLst>
            </p:cNvPr>
            <p:cNvSpPr/>
            <p:nvPr/>
          </p:nvSpPr>
          <p:spPr>
            <a:xfrm>
              <a:off x="2456574" y="3863490"/>
              <a:ext cx="166735" cy="105451"/>
            </a:xfrm>
            <a:custGeom>
              <a:avLst/>
              <a:gdLst/>
              <a:ahLst/>
              <a:cxnLst/>
              <a:rect l="l" t="t" r="r" b="b"/>
              <a:pathLst>
                <a:path w="5104" h="3228" extrusionOk="0">
                  <a:moveTo>
                    <a:pt x="3876" y="1"/>
                  </a:moveTo>
                  <a:lnTo>
                    <a:pt x="40" y="2849"/>
                  </a:lnTo>
                  <a:lnTo>
                    <a:pt x="1" y="3228"/>
                  </a:lnTo>
                  <a:lnTo>
                    <a:pt x="5104" y="662"/>
                  </a:lnTo>
                  <a:lnTo>
                    <a:pt x="5010" y="218"/>
                  </a:lnTo>
                  <a:lnTo>
                    <a:pt x="387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9" name="Google Shape;5119;p52">
              <a:extLst>
                <a:ext uri="{FF2B5EF4-FFF2-40B4-BE49-F238E27FC236}">
                  <a16:creationId xmlns:a16="http://schemas.microsoft.com/office/drawing/2014/main" id="{D9B71718-13F6-3827-01E2-EDFC148DA02F}"/>
                </a:ext>
              </a:extLst>
            </p:cNvPr>
            <p:cNvSpPr/>
            <p:nvPr/>
          </p:nvSpPr>
          <p:spPr>
            <a:xfrm>
              <a:off x="2609103" y="3854996"/>
              <a:ext cx="45963" cy="43840"/>
            </a:xfrm>
            <a:custGeom>
              <a:avLst/>
              <a:gdLst/>
              <a:ahLst/>
              <a:cxnLst/>
              <a:rect l="l" t="t" r="r" b="b"/>
              <a:pathLst>
                <a:path w="1407" h="1342" extrusionOk="0">
                  <a:moveTo>
                    <a:pt x="711" y="1"/>
                  </a:moveTo>
                  <a:cubicBezTo>
                    <a:pt x="686" y="1"/>
                    <a:pt x="661" y="2"/>
                    <a:pt x="636" y="5"/>
                  </a:cubicBezTo>
                  <a:cubicBezTo>
                    <a:pt x="273" y="44"/>
                    <a:pt x="1" y="368"/>
                    <a:pt x="43" y="734"/>
                  </a:cubicBezTo>
                  <a:cubicBezTo>
                    <a:pt x="80" y="1093"/>
                    <a:pt x="373" y="1342"/>
                    <a:pt x="715" y="1342"/>
                  </a:cubicBezTo>
                  <a:cubicBezTo>
                    <a:pt x="734" y="1342"/>
                    <a:pt x="753" y="1341"/>
                    <a:pt x="772" y="1340"/>
                  </a:cubicBezTo>
                  <a:cubicBezTo>
                    <a:pt x="1151" y="1301"/>
                    <a:pt x="1407" y="964"/>
                    <a:pt x="1378" y="598"/>
                  </a:cubicBezTo>
                  <a:cubicBezTo>
                    <a:pt x="1342" y="260"/>
                    <a:pt x="1047" y="1"/>
                    <a:pt x="711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0" name="Google Shape;5120;p52">
              <a:extLst>
                <a:ext uri="{FF2B5EF4-FFF2-40B4-BE49-F238E27FC236}">
                  <a16:creationId xmlns:a16="http://schemas.microsoft.com/office/drawing/2014/main" id="{49BC8721-736B-F081-14D1-A8B11C221AFE}"/>
                </a:ext>
              </a:extLst>
            </p:cNvPr>
            <p:cNvSpPr/>
            <p:nvPr/>
          </p:nvSpPr>
          <p:spPr>
            <a:xfrm>
              <a:off x="2846406" y="3885508"/>
              <a:ext cx="33158" cy="490503"/>
            </a:xfrm>
            <a:custGeom>
              <a:avLst/>
              <a:gdLst/>
              <a:ahLst/>
              <a:cxnLst/>
              <a:rect l="l" t="t" r="r" b="b"/>
              <a:pathLst>
                <a:path w="1015" h="15015" extrusionOk="0">
                  <a:moveTo>
                    <a:pt x="124" y="1"/>
                  </a:moveTo>
                  <a:lnTo>
                    <a:pt x="1" y="15015"/>
                  </a:lnTo>
                  <a:lnTo>
                    <a:pt x="1015" y="15015"/>
                  </a:lnTo>
                  <a:lnTo>
                    <a:pt x="743" y="56"/>
                  </a:lnTo>
                  <a:lnTo>
                    <a:pt x="12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1" name="Google Shape;5121;p52">
              <a:extLst>
                <a:ext uri="{FF2B5EF4-FFF2-40B4-BE49-F238E27FC236}">
                  <a16:creationId xmlns:a16="http://schemas.microsoft.com/office/drawing/2014/main" id="{8E9166F8-9B1C-AF7D-534D-9FAF4D50AA5A}"/>
                </a:ext>
              </a:extLst>
            </p:cNvPr>
            <p:cNvSpPr/>
            <p:nvPr/>
          </p:nvSpPr>
          <p:spPr>
            <a:xfrm>
              <a:off x="2855716" y="3679109"/>
              <a:ext cx="40148" cy="191072"/>
            </a:xfrm>
            <a:custGeom>
              <a:avLst/>
              <a:gdLst/>
              <a:ahLst/>
              <a:cxnLst/>
              <a:rect l="l" t="t" r="r" b="b"/>
              <a:pathLst>
                <a:path w="1229" h="5849" extrusionOk="0">
                  <a:moveTo>
                    <a:pt x="594" y="1"/>
                  </a:moveTo>
                  <a:lnTo>
                    <a:pt x="1" y="5687"/>
                  </a:lnTo>
                  <a:lnTo>
                    <a:pt x="432" y="5849"/>
                  </a:lnTo>
                  <a:lnTo>
                    <a:pt x="1229" y="5010"/>
                  </a:lnTo>
                  <a:lnTo>
                    <a:pt x="876" y="244"/>
                  </a:lnTo>
                  <a:lnTo>
                    <a:pt x="59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2" name="Google Shape;5122;p52">
              <a:extLst>
                <a:ext uri="{FF2B5EF4-FFF2-40B4-BE49-F238E27FC236}">
                  <a16:creationId xmlns:a16="http://schemas.microsoft.com/office/drawing/2014/main" id="{1697ECA2-1DD4-35FC-F29B-B5E3F0261663}"/>
                </a:ext>
              </a:extLst>
            </p:cNvPr>
            <p:cNvSpPr/>
            <p:nvPr/>
          </p:nvSpPr>
          <p:spPr>
            <a:xfrm>
              <a:off x="2861009" y="3878092"/>
              <a:ext cx="164089" cy="112442"/>
            </a:xfrm>
            <a:custGeom>
              <a:avLst/>
              <a:gdLst/>
              <a:ahLst/>
              <a:cxnLst/>
              <a:rect l="l" t="t" r="r" b="b"/>
              <a:pathLst>
                <a:path w="5023" h="3442" extrusionOk="0">
                  <a:moveTo>
                    <a:pt x="351" y="1"/>
                  </a:moveTo>
                  <a:lnTo>
                    <a:pt x="1" y="283"/>
                  </a:lnTo>
                  <a:lnTo>
                    <a:pt x="351" y="1404"/>
                  </a:lnTo>
                  <a:lnTo>
                    <a:pt x="4670" y="3442"/>
                  </a:lnTo>
                  <a:lnTo>
                    <a:pt x="5023" y="3306"/>
                  </a:lnTo>
                  <a:lnTo>
                    <a:pt x="35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3" name="Google Shape;5123;p52">
              <a:extLst>
                <a:ext uri="{FF2B5EF4-FFF2-40B4-BE49-F238E27FC236}">
                  <a16:creationId xmlns:a16="http://schemas.microsoft.com/office/drawing/2014/main" id="{A36AEE17-248F-DE59-3B21-DD6C18ED1BFF}"/>
                </a:ext>
              </a:extLst>
            </p:cNvPr>
            <p:cNvSpPr/>
            <p:nvPr/>
          </p:nvSpPr>
          <p:spPr>
            <a:xfrm>
              <a:off x="2684142" y="3863490"/>
              <a:ext cx="167160" cy="105451"/>
            </a:xfrm>
            <a:custGeom>
              <a:avLst/>
              <a:gdLst/>
              <a:ahLst/>
              <a:cxnLst/>
              <a:rect l="l" t="t" r="r" b="b"/>
              <a:pathLst>
                <a:path w="5117" h="3228" extrusionOk="0">
                  <a:moveTo>
                    <a:pt x="3876" y="1"/>
                  </a:moveTo>
                  <a:lnTo>
                    <a:pt x="40" y="2849"/>
                  </a:lnTo>
                  <a:lnTo>
                    <a:pt x="1" y="3228"/>
                  </a:lnTo>
                  <a:lnTo>
                    <a:pt x="5117" y="662"/>
                  </a:lnTo>
                  <a:lnTo>
                    <a:pt x="5023" y="218"/>
                  </a:lnTo>
                  <a:lnTo>
                    <a:pt x="387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4" name="Google Shape;5124;p52">
              <a:extLst>
                <a:ext uri="{FF2B5EF4-FFF2-40B4-BE49-F238E27FC236}">
                  <a16:creationId xmlns:a16="http://schemas.microsoft.com/office/drawing/2014/main" id="{68418F80-28D4-4C10-4AE6-BBFD4CF8AE1E}"/>
                </a:ext>
              </a:extLst>
            </p:cNvPr>
            <p:cNvSpPr/>
            <p:nvPr/>
          </p:nvSpPr>
          <p:spPr>
            <a:xfrm>
              <a:off x="2836671" y="3854996"/>
              <a:ext cx="46388" cy="43840"/>
            </a:xfrm>
            <a:custGeom>
              <a:avLst/>
              <a:gdLst/>
              <a:ahLst/>
              <a:cxnLst/>
              <a:rect l="l" t="t" r="r" b="b"/>
              <a:pathLst>
                <a:path w="1420" h="1342" extrusionOk="0">
                  <a:moveTo>
                    <a:pt x="724" y="1"/>
                  </a:moveTo>
                  <a:cubicBezTo>
                    <a:pt x="699" y="1"/>
                    <a:pt x="674" y="2"/>
                    <a:pt x="649" y="5"/>
                  </a:cubicBezTo>
                  <a:cubicBezTo>
                    <a:pt x="273" y="44"/>
                    <a:pt x="1" y="368"/>
                    <a:pt x="43" y="734"/>
                  </a:cubicBezTo>
                  <a:cubicBezTo>
                    <a:pt x="80" y="1093"/>
                    <a:pt x="373" y="1342"/>
                    <a:pt x="726" y="1342"/>
                  </a:cubicBezTo>
                  <a:cubicBezTo>
                    <a:pt x="746" y="1342"/>
                    <a:pt x="765" y="1341"/>
                    <a:pt x="785" y="1340"/>
                  </a:cubicBezTo>
                  <a:cubicBezTo>
                    <a:pt x="1151" y="1301"/>
                    <a:pt x="1420" y="964"/>
                    <a:pt x="1378" y="598"/>
                  </a:cubicBezTo>
                  <a:cubicBezTo>
                    <a:pt x="1342" y="260"/>
                    <a:pt x="1058" y="1"/>
                    <a:pt x="724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5" name="Google Shape;5125;p52">
              <a:extLst>
                <a:ext uri="{FF2B5EF4-FFF2-40B4-BE49-F238E27FC236}">
                  <a16:creationId xmlns:a16="http://schemas.microsoft.com/office/drawing/2014/main" id="{FB0A49C2-FF8E-1EAB-41BB-D870E3D7B33F}"/>
                </a:ext>
              </a:extLst>
            </p:cNvPr>
            <p:cNvSpPr/>
            <p:nvPr/>
          </p:nvSpPr>
          <p:spPr>
            <a:xfrm>
              <a:off x="3165700" y="3325025"/>
              <a:ext cx="617509" cy="685742"/>
            </a:xfrm>
            <a:custGeom>
              <a:avLst/>
              <a:gdLst/>
              <a:ahLst/>
              <a:cxnLst/>
              <a:rect l="l" t="t" r="r" b="b"/>
              <a:pathLst>
                <a:path w="14432" h="17755" extrusionOk="0">
                  <a:moveTo>
                    <a:pt x="7667" y="1"/>
                  </a:moveTo>
                  <a:cubicBezTo>
                    <a:pt x="5684" y="1"/>
                    <a:pt x="2739" y="4495"/>
                    <a:pt x="1" y="9653"/>
                  </a:cubicBezTo>
                  <a:cubicBezTo>
                    <a:pt x="40" y="9815"/>
                    <a:pt x="134" y="9964"/>
                    <a:pt x="309" y="9977"/>
                  </a:cubicBezTo>
                  <a:cubicBezTo>
                    <a:pt x="316" y="9978"/>
                    <a:pt x="324" y="9978"/>
                    <a:pt x="332" y="9978"/>
                  </a:cubicBezTo>
                  <a:cubicBezTo>
                    <a:pt x="774" y="9978"/>
                    <a:pt x="1286" y="8812"/>
                    <a:pt x="1605" y="8506"/>
                  </a:cubicBezTo>
                  <a:cubicBezTo>
                    <a:pt x="1676" y="8436"/>
                    <a:pt x="1900" y="8167"/>
                    <a:pt x="2057" y="8167"/>
                  </a:cubicBezTo>
                  <a:cubicBezTo>
                    <a:pt x="2112" y="8167"/>
                    <a:pt x="2159" y="8201"/>
                    <a:pt x="2188" y="8289"/>
                  </a:cubicBezTo>
                  <a:cubicBezTo>
                    <a:pt x="2376" y="8869"/>
                    <a:pt x="2188" y="9789"/>
                    <a:pt x="2107" y="10382"/>
                  </a:cubicBezTo>
                  <a:cubicBezTo>
                    <a:pt x="1848" y="12028"/>
                    <a:pt x="1903" y="13771"/>
                    <a:pt x="1809" y="15430"/>
                  </a:cubicBezTo>
                  <a:cubicBezTo>
                    <a:pt x="1796" y="15822"/>
                    <a:pt x="1715" y="17672"/>
                    <a:pt x="2269" y="17753"/>
                  </a:cubicBezTo>
                  <a:cubicBezTo>
                    <a:pt x="2276" y="17754"/>
                    <a:pt x="2284" y="17754"/>
                    <a:pt x="2291" y="17754"/>
                  </a:cubicBezTo>
                  <a:cubicBezTo>
                    <a:pt x="2480" y="17754"/>
                    <a:pt x="2608" y="17437"/>
                    <a:pt x="2674" y="17322"/>
                  </a:cubicBezTo>
                  <a:cubicBezTo>
                    <a:pt x="2956" y="16742"/>
                    <a:pt x="3079" y="16240"/>
                    <a:pt x="3241" y="15647"/>
                  </a:cubicBezTo>
                  <a:cubicBezTo>
                    <a:pt x="3766" y="13758"/>
                    <a:pt x="3565" y="11746"/>
                    <a:pt x="3996" y="9857"/>
                  </a:cubicBezTo>
                  <a:cubicBezTo>
                    <a:pt x="4077" y="9504"/>
                    <a:pt x="4550" y="8114"/>
                    <a:pt x="4968" y="8114"/>
                  </a:cubicBezTo>
                  <a:cubicBezTo>
                    <a:pt x="5953" y="8114"/>
                    <a:pt x="5723" y="9546"/>
                    <a:pt x="5804" y="10207"/>
                  </a:cubicBezTo>
                  <a:cubicBezTo>
                    <a:pt x="5833" y="10424"/>
                    <a:pt x="5778" y="11030"/>
                    <a:pt x="6141" y="11030"/>
                  </a:cubicBezTo>
                  <a:cubicBezTo>
                    <a:pt x="6900" y="11030"/>
                    <a:pt x="6621" y="8937"/>
                    <a:pt x="7175" y="8937"/>
                  </a:cubicBezTo>
                  <a:cubicBezTo>
                    <a:pt x="7302" y="8937"/>
                    <a:pt x="7472" y="9047"/>
                    <a:pt x="7709" y="9316"/>
                  </a:cubicBezTo>
                  <a:cubicBezTo>
                    <a:pt x="7910" y="9546"/>
                    <a:pt x="7871" y="9802"/>
                    <a:pt x="7871" y="10100"/>
                  </a:cubicBezTo>
                  <a:cubicBezTo>
                    <a:pt x="7871" y="10518"/>
                    <a:pt x="8046" y="10991"/>
                    <a:pt x="8085" y="11409"/>
                  </a:cubicBezTo>
                  <a:cubicBezTo>
                    <a:pt x="8114" y="11853"/>
                    <a:pt x="7965" y="12394"/>
                    <a:pt x="8114" y="12825"/>
                  </a:cubicBezTo>
                  <a:cubicBezTo>
                    <a:pt x="8182" y="13016"/>
                    <a:pt x="8221" y="13878"/>
                    <a:pt x="8545" y="13878"/>
                  </a:cubicBezTo>
                  <a:cubicBezTo>
                    <a:pt x="9112" y="13878"/>
                    <a:pt x="9018" y="12352"/>
                    <a:pt x="9018" y="12028"/>
                  </a:cubicBezTo>
                  <a:cubicBezTo>
                    <a:pt x="9031" y="11341"/>
                    <a:pt x="9138" y="10651"/>
                    <a:pt x="9180" y="9977"/>
                  </a:cubicBezTo>
                  <a:cubicBezTo>
                    <a:pt x="9261" y="8817"/>
                    <a:pt x="9099" y="7411"/>
                    <a:pt x="10003" y="6536"/>
                  </a:cubicBezTo>
                  <a:cubicBezTo>
                    <a:pt x="10048" y="6486"/>
                    <a:pt x="10118" y="6465"/>
                    <a:pt x="10198" y="6465"/>
                  </a:cubicBezTo>
                  <a:cubicBezTo>
                    <a:pt x="10403" y="6465"/>
                    <a:pt x="10670" y="6605"/>
                    <a:pt x="10719" y="6750"/>
                  </a:cubicBezTo>
                  <a:cubicBezTo>
                    <a:pt x="11017" y="7628"/>
                    <a:pt x="10800" y="8788"/>
                    <a:pt x="11354" y="9546"/>
                  </a:cubicBezTo>
                  <a:cubicBezTo>
                    <a:pt x="11360" y="9554"/>
                    <a:pt x="11367" y="9558"/>
                    <a:pt x="11375" y="9558"/>
                  </a:cubicBezTo>
                  <a:cubicBezTo>
                    <a:pt x="11460" y="9558"/>
                    <a:pt x="11651" y="9149"/>
                    <a:pt x="11678" y="9099"/>
                  </a:cubicBezTo>
                  <a:cubicBezTo>
                    <a:pt x="11798" y="8856"/>
                    <a:pt x="11798" y="7670"/>
                    <a:pt x="12070" y="7573"/>
                  </a:cubicBezTo>
                  <a:cubicBezTo>
                    <a:pt x="12074" y="7571"/>
                    <a:pt x="12079" y="7571"/>
                    <a:pt x="12084" y="7571"/>
                  </a:cubicBezTo>
                  <a:cubicBezTo>
                    <a:pt x="12213" y="7571"/>
                    <a:pt x="12502" y="8037"/>
                    <a:pt x="12527" y="8140"/>
                  </a:cubicBezTo>
                  <a:cubicBezTo>
                    <a:pt x="12744" y="8775"/>
                    <a:pt x="12650" y="9653"/>
                    <a:pt x="13055" y="10220"/>
                  </a:cubicBezTo>
                  <a:cubicBezTo>
                    <a:pt x="13246" y="10477"/>
                    <a:pt x="13490" y="10610"/>
                    <a:pt x="13713" y="10610"/>
                  </a:cubicBezTo>
                  <a:cubicBezTo>
                    <a:pt x="13992" y="10610"/>
                    <a:pt x="14236" y="10400"/>
                    <a:pt x="14296" y="9964"/>
                  </a:cubicBezTo>
                  <a:cubicBezTo>
                    <a:pt x="14351" y="9614"/>
                    <a:pt x="14390" y="9248"/>
                    <a:pt x="14432" y="8869"/>
                  </a:cubicBezTo>
                  <a:cubicBezTo>
                    <a:pt x="12083" y="4051"/>
                    <a:pt x="9559" y="1"/>
                    <a:pt x="766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6" name="Google Shape;5126;p52">
              <a:extLst>
                <a:ext uri="{FF2B5EF4-FFF2-40B4-BE49-F238E27FC236}">
                  <a16:creationId xmlns:a16="http://schemas.microsoft.com/office/drawing/2014/main" id="{AEE0DE07-E034-66AD-8080-F1F10488AE88}"/>
                </a:ext>
              </a:extLst>
            </p:cNvPr>
            <p:cNvSpPr/>
            <p:nvPr/>
          </p:nvSpPr>
          <p:spPr>
            <a:xfrm>
              <a:off x="1913843" y="3268837"/>
              <a:ext cx="542734" cy="161493"/>
            </a:xfrm>
            <a:custGeom>
              <a:avLst/>
              <a:gdLst/>
              <a:ahLst/>
              <a:cxnLst/>
              <a:rect l="l" t="t" r="r" b="b"/>
              <a:pathLst>
                <a:path w="2944" h="876" extrusionOk="0">
                  <a:moveTo>
                    <a:pt x="1490" y="1"/>
                  </a:moveTo>
                  <a:cubicBezTo>
                    <a:pt x="1156" y="1"/>
                    <a:pt x="889" y="275"/>
                    <a:pt x="889" y="600"/>
                  </a:cubicBezTo>
                  <a:lnTo>
                    <a:pt x="889" y="623"/>
                  </a:lnTo>
                  <a:cubicBezTo>
                    <a:pt x="852" y="613"/>
                    <a:pt x="815" y="606"/>
                    <a:pt x="775" y="606"/>
                  </a:cubicBezTo>
                  <a:cubicBezTo>
                    <a:pt x="759" y="606"/>
                    <a:pt x="744" y="607"/>
                    <a:pt x="727" y="609"/>
                  </a:cubicBezTo>
                  <a:cubicBezTo>
                    <a:pt x="623" y="616"/>
                    <a:pt x="526" y="661"/>
                    <a:pt x="454" y="734"/>
                  </a:cubicBezTo>
                  <a:cubicBezTo>
                    <a:pt x="421" y="723"/>
                    <a:pt x="384" y="717"/>
                    <a:pt x="346" y="717"/>
                  </a:cubicBezTo>
                  <a:cubicBezTo>
                    <a:pt x="332" y="717"/>
                    <a:pt x="318" y="718"/>
                    <a:pt x="304" y="719"/>
                  </a:cubicBezTo>
                  <a:cubicBezTo>
                    <a:pt x="178" y="727"/>
                    <a:pt x="75" y="787"/>
                    <a:pt x="0" y="876"/>
                  </a:cubicBezTo>
                  <a:lnTo>
                    <a:pt x="2934" y="876"/>
                  </a:lnTo>
                  <a:cubicBezTo>
                    <a:pt x="2934" y="867"/>
                    <a:pt x="2943" y="860"/>
                    <a:pt x="2943" y="846"/>
                  </a:cubicBezTo>
                  <a:cubicBezTo>
                    <a:pt x="2921" y="625"/>
                    <a:pt x="2736" y="452"/>
                    <a:pt x="2509" y="452"/>
                  </a:cubicBezTo>
                  <a:cubicBezTo>
                    <a:pt x="2501" y="452"/>
                    <a:pt x="2492" y="452"/>
                    <a:pt x="2483" y="453"/>
                  </a:cubicBezTo>
                  <a:cubicBezTo>
                    <a:pt x="2365" y="460"/>
                    <a:pt x="2253" y="527"/>
                    <a:pt x="2179" y="616"/>
                  </a:cubicBezTo>
                  <a:cubicBezTo>
                    <a:pt x="2150" y="609"/>
                    <a:pt x="2120" y="609"/>
                    <a:pt x="2090" y="609"/>
                  </a:cubicBezTo>
                  <a:lnTo>
                    <a:pt x="2090" y="600"/>
                  </a:lnTo>
                  <a:cubicBezTo>
                    <a:pt x="2090" y="275"/>
                    <a:pt x="1823" y="1"/>
                    <a:pt x="1490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7" name="Google Shape;5127;p52">
              <a:extLst>
                <a:ext uri="{FF2B5EF4-FFF2-40B4-BE49-F238E27FC236}">
                  <a16:creationId xmlns:a16="http://schemas.microsoft.com/office/drawing/2014/main" id="{D6C63F55-C9B2-0A67-0428-D91D55474330}"/>
                </a:ext>
              </a:extLst>
            </p:cNvPr>
            <p:cNvSpPr/>
            <p:nvPr/>
          </p:nvSpPr>
          <p:spPr>
            <a:xfrm>
              <a:off x="1944970" y="2627298"/>
              <a:ext cx="480486" cy="480640"/>
            </a:xfrm>
            <a:custGeom>
              <a:avLst/>
              <a:gdLst/>
              <a:ahLst/>
              <a:cxnLst/>
              <a:rect l="l" t="t" r="r" b="b"/>
              <a:pathLst>
                <a:path w="3535" h="3536" extrusionOk="0">
                  <a:moveTo>
                    <a:pt x="1763" y="0"/>
                  </a:moveTo>
                  <a:cubicBezTo>
                    <a:pt x="785" y="0"/>
                    <a:pt x="1" y="794"/>
                    <a:pt x="1" y="1772"/>
                  </a:cubicBezTo>
                  <a:cubicBezTo>
                    <a:pt x="1" y="2750"/>
                    <a:pt x="785" y="3536"/>
                    <a:pt x="1763" y="3536"/>
                  </a:cubicBezTo>
                  <a:cubicBezTo>
                    <a:pt x="2741" y="3536"/>
                    <a:pt x="3534" y="2750"/>
                    <a:pt x="3534" y="1772"/>
                  </a:cubicBezTo>
                  <a:cubicBezTo>
                    <a:pt x="3534" y="794"/>
                    <a:pt x="2741" y="0"/>
                    <a:pt x="1763" y="0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8" name="Google Shape;5128;p52">
              <a:extLst>
                <a:ext uri="{FF2B5EF4-FFF2-40B4-BE49-F238E27FC236}">
                  <a16:creationId xmlns:a16="http://schemas.microsoft.com/office/drawing/2014/main" id="{9FE2DA6A-143E-BB4D-0843-5F7B14BDD5AC}"/>
                </a:ext>
              </a:extLst>
            </p:cNvPr>
            <p:cNvSpPr/>
            <p:nvPr/>
          </p:nvSpPr>
          <p:spPr>
            <a:xfrm>
              <a:off x="2374282" y="2634914"/>
              <a:ext cx="546919" cy="267710"/>
            </a:xfrm>
            <a:custGeom>
              <a:avLst/>
              <a:gdLst/>
              <a:ahLst/>
              <a:cxnLst/>
              <a:rect l="l" t="t" r="r" b="b"/>
              <a:pathLst>
                <a:path w="16742" h="8195" extrusionOk="0">
                  <a:moveTo>
                    <a:pt x="9397" y="1"/>
                  </a:moveTo>
                  <a:cubicBezTo>
                    <a:pt x="6400" y="1"/>
                    <a:pt x="3957" y="2350"/>
                    <a:pt x="3808" y="5308"/>
                  </a:cubicBezTo>
                  <a:cubicBezTo>
                    <a:pt x="3510" y="5198"/>
                    <a:pt x="3186" y="5133"/>
                    <a:pt x="2862" y="5133"/>
                  </a:cubicBezTo>
                  <a:cubicBezTo>
                    <a:pt x="1284" y="5133"/>
                    <a:pt x="1" y="6413"/>
                    <a:pt x="1" y="7994"/>
                  </a:cubicBezTo>
                  <a:cubicBezTo>
                    <a:pt x="1" y="8062"/>
                    <a:pt x="1" y="8130"/>
                    <a:pt x="14" y="8195"/>
                  </a:cubicBezTo>
                  <a:lnTo>
                    <a:pt x="16593" y="8195"/>
                  </a:lnTo>
                  <a:cubicBezTo>
                    <a:pt x="16687" y="7952"/>
                    <a:pt x="16742" y="7683"/>
                    <a:pt x="16742" y="7414"/>
                  </a:cubicBezTo>
                  <a:cubicBezTo>
                    <a:pt x="16742" y="6332"/>
                    <a:pt x="15984" y="5441"/>
                    <a:pt x="14973" y="5214"/>
                  </a:cubicBezTo>
                  <a:cubicBezTo>
                    <a:pt x="14769" y="2311"/>
                    <a:pt x="12355" y="1"/>
                    <a:pt x="9397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" name="Google Shape;4748;p52">
            <a:extLst>
              <a:ext uri="{FF2B5EF4-FFF2-40B4-BE49-F238E27FC236}">
                <a16:creationId xmlns:a16="http://schemas.microsoft.com/office/drawing/2014/main" id="{5A2E0B97-6B09-6F03-001F-C7BA3C08F80F}"/>
              </a:ext>
            </a:extLst>
          </p:cNvPr>
          <p:cNvSpPr txBox="1">
            <a:spLocks/>
          </p:cNvSpPr>
          <p:nvPr/>
        </p:nvSpPr>
        <p:spPr>
          <a:xfrm>
            <a:off x="5316815" y="2876127"/>
            <a:ext cx="3344780" cy="736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Roboto"/>
              <a:buNone/>
              <a:defRPr sz="1600" b="0" i="0" u="none" strike="noStrike" cap="none">
                <a:solidFill>
                  <a:schemeClr val="dk1"/>
                </a:solidFill>
                <a:latin typeface="Kumbh Sans"/>
                <a:ea typeface="Kumbh Sans"/>
                <a:cs typeface="Kumbh Sans"/>
                <a:sym typeface="Kumbh Sans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Roboto"/>
              <a:buNone/>
              <a:defRPr sz="16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371600" marR="0" lvl="2" indent="-317500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Roboto"/>
              <a:buNone/>
              <a:defRPr sz="16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1828800" marR="0" lvl="3" indent="-317500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Roboto"/>
              <a:buNone/>
              <a:defRPr sz="16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2286000" marR="0" lvl="4" indent="-317500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Roboto"/>
              <a:buNone/>
              <a:defRPr sz="16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2743200" marR="0" lvl="5" indent="-317500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Roboto"/>
              <a:buNone/>
              <a:defRPr sz="16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3200400" marR="0" lvl="6" indent="-317500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Roboto"/>
              <a:buNone/>
              <a:defRPr sz="16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3657600" marR="0" lvl="7" indent="-317500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Roboto"/>
              <a:buNone/>
              <a:defRPr sz="16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4114800" marR="0" lvl="8" indent="-317500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600"/>
              <a:buFont typeface="Roboto"/>
              <a:buNone/>
              <a:defRPr sz="16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indent="0"/>
            <a:r>
              <a:rPr lang="en-US" sz="1800">
                <a:solidFill>
                  <a:srgbClr val="FFFFFF"/>
                </a:solidFill>
              </a:rPr>
              <a:t>2015 estimate.</a:t>
            </a:r>
          </a:p>
          <a:p>
            <a:pPr marL="0" indent="0"/>
            <a:r>
              <a:rPr lang="en-US" sz="1800">
                <a:solidFill>
                  <a:srgbClr val="FFFFFF"/>
                </a:solidFill>
              </a:rPr>
              <a:t>No data available after that.</a:t>
            </a:r>
          </a:p>
        </p:txBody>
      </p:sp>
      <p:sp>
        <p:nvSpPr>
          <p:cNvPr id="3" name="Speech Bubble: Rectangle with Corners Rounded 2">
            <a:extLst>
              <a:ext uri="{FF2B5EF4-FFF2-40B4-BE49-F238E27FC236}">
                <a16:creationId xmlns:a16="http://schemas.microsoft.com/office/drawing/2014/main" id="{51CFE1FE-387A-CBA5-5E02-51BC2E726F84}"/>
              </a:ext>
            </a:extLst>
          </p:cNvPr>
          <p:cNvSpPr/>
          <p:nvPr/>
        </p:nvSpPr>
        <p:spPr>
          <a:xfrm rot="10800000">
            <a:off x="5316815" y="2810824"/>
            <a:ext cx="3344779" cy="866781"/>
          </a:xfrm>
          <a:prstGeom prst="wedgeRoundRectCallout">
            <a:avLst>
              <a:gd name="adj1" fmla="val -3927"/>
              <a:gd name="adj2" fmla="val 147173"/>
              <a:gd name="adj3" fmla="val 16667"/>
            </a:avLst>
          </a:prstGeom>
          <a:noFill/>
          <a:ln>
            <a:solidFill>
              <a:srgbClr val="FFFFFF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767746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44">
          <a:extLst>
            <a:ext uri="{FF2B5EF4-FFF2-40B4-BE49-F238E27FC236}">
              <a16:creationId xmlns:a16="http://schemas.microsoft.com/office/drawing/2014/main" id="{6B9C060B-33D4-6122-1C77-15E4BDFCA4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12A4E88-3032-18E5-1F3C-C8210E4087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2A4E88-3032-18E5-1F3C-C8210E4087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45" name="Google Shape;3345;p43">
            <a:extLst>
              <a:ext uri="{FF2B5EF4-FFF2-40B4-BE49-F238E27FC236}">
                <a16:creationId xmlns:a16="http://schemas.microsoft.com/office/drawing/2014/main" id="{000F516E-CB71-D0C4-C992-E2670EB342E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72540" y="106826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IN" dirty="0">
                <a:solidFill>
                  <a:schemeClr val="accent1"/>
                </a:solidFill>
              </a:rPr>
              <a:t>Implementing SCC in India</a:t>
            </a:r>
            <a:endParaRPr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750D03CA-C242-D9E9-30A7-515E1DCF1C17}"/>
              </a:ext>
            </a:extLst>
          </p:cNvPr>
          <p:cNvSpPr>
            <a:spLocks noGrp="1" noChangeArrowheads="1"/>
          </p:cNvSpPr>
          <p:nvPr>
            <p:ph type="subTitle" idx="2"/>
          </p:nvPr>
        </p:nvSpPr>
        <p:spPr bwMode="auto">
          <a:xfrm>
            <a:off x="719999" y="1095028"/>
            <a:ext cx="7704001" cy="3139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n-US" altLang="en-US" sz="1800" dirty="0">
                <a:solidFill>
                  <a:schemeClr val="tx1"/>
                </a:solidFill>
                <a:latin typeface="Arial" panose="020B0604020202020204" pitchFamily="34" charset="0"/>
              </a:rPr>
              <a:t>The Social Cost of Carbon (SCC) can provide India with a structured tool to guide investments and regulations in line with climate goals.</a:t>
            </a: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</a:pPr>
            <a:endParaRPr lang="en-US" altLang="en-US" sz="18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</a:pPr>
            <a:r>
              <a:rPr lang="en-US" sz="1800" b="1" dirty="0"/>
              <a:t>Policy Appraisal</a:t>
            </a:r>
            <a:r>
              <a:rPr lang="en-US" sz="1800" dirty="0"/>
              <a:t> – Integrate SCC into cost–benefit analysis of infrastructure, energy, and transport projects.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</a:pPr>
            <a:endParaRPr lang="en-US" sz="1800" dirty="0"/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</a:pPr>
            <a:r>
              <a:rPr lang="en-US" sz="1800" b="1" dirty="0"/>
              <a:t>Carbon Pricing</a:t>
            </a:r>
            <a:r>
              <a:rPr lang="en-US" sz="1800" dirty="0"/>
              <a:t> – Use SCC as a reference for taxation and industry benchmarks.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</a:pPr>
            <a:endParaRPr lang="en-US" sz="1800" dirty="0"/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</a:pPr>
            <a:r>
              <a:rPr lang="en-US" sz="1800" b="1" dirty="0"/>
              <a:t>Targeted Incentives</a:t>
            </a:r>
            <a:r>
              <a:rPr lang="en-US" sz="1800" dirty="0"/>
              <a:t> – Apply SCC to guide subsidies for renewables and efficiency, with periodic revisio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425641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44">
          <a:extLst>
            <a:ext uri="{FF2B5EF4-FFF2-40B4-BE49-F238E27FC236}">
              <a16:creationId xmlns:a16="http://schemas.microsoft.com/office/drawing/2014/main" id="{6B9C060B-33D4-6122-1C77-15E4BDFCA4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12A4E88-3032-18E5-1F3C-C8210E4087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2A4E88-3032-18E5-1F3C-C8210E4087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45" name="Google Shape;3345;p43">
            <a:extLst>
              <a:ext uri="{FF2B5EF4-FFF2-40B4-BE49-F238E27FC236}">
                <a16:creationId xmlns:a16="http://schemas.microsoft.com/office/drawing/2014/main" id="{000F516E-CB71-D0C4-C992-E2670EB342E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72540" y="106826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dirty="0">
                <a:solidFill>
                  <a:schemeClr val="accent1"/>
                </a:solidFill>
              </a:rPr>
              <a:t>Limits : </a:t>
            </a:r>
            <a:r>
              <a:rPr lang="en-US" dirty="0">
                <a:solidFill>
                  <a:schemeClr val="tx1"/>
                </a:solidFill>
              </a:rPr>
              <a:t>Using  SCC as a Guide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750D03CA-C242-D9E9-30A7-515E1DCF1C17}"/>
              </a:ext>
            </a:extLst>
          </p:cNvPr>
          <p:cNvSpPr>
            <a:spLocks noGrp="1" noChangeArrowheads="1"/>
          </p:cNvSpPr>
          <p:nvPr>
            <p:ph type="subTitle" idx="2"/>
          </p:nvPr>
        </p:nvSpPr>
        <p:spPr bwMode="auto">
          <a:xfrm>
            <a:off x="719999" y="1095029"/>
            <a:ext cx="7704001" cy="3139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n-US" sz="1800" dirty="0"/>
              <a:t>Transplanting the SCC framework into India overlooks critical differences in context, economy, and development need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</a:pPr>
            <a:r>
              <a:rPr lang="en-US" sz="1800" b="1" dirty="0"/>
              <a:t>Economic Constraints</a:t>
            </a:r>
            <a:r>
              <a:rPr lang="en-US" sz="1800" dirty="0"/>
              <a:t> – Lower per capita income and fiscal limits make US-level SCC difficult to apply.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</a:pPr>
            <a:endParaRPr lang="en-US" sz="1800" dirty="0"/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</a:pPr>
            <a:r>
              <a:rPr lang="en-US" sz="1800" b="1" dirty="0"/>
              <a:t>Coal &amp; Energy Poverty</a:t>
            </a:r>
            <a:r>
              <a:rPr lang="en-US" sz="1800" dirty="0"/>
              <a:t> – Strict SCC-based policies could undermine affordability and access</a:t>
            </a: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</a:pPr>
            <a:endParaRPr lang="en-US" sz="1800" dirty="0"/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</a:pPr>
            <a:r>
              <a:rPr lang="en-US" sz="1800" b="1" dirty="0"/>
              <a:t>Long-Term Lag</a:t>
            </a:r>
            <a:r>
              <a:rPr lang="en-US" sz="1800" dirty="0"/>
              <a:t> – Benefits take years to emerge, and a uniform SCC overlooks state-level dispariti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800685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45">
          <a:extLst>
            <a:ext uri="{FF2B5EF4-FFF2-40B4-BE49-F238E27FC236}">
              <a16:creationId xmlns:a16="http://schemas.microsoft.com/office/drawing/2014/main" id="{7F44850B-5A17-AFBD-D3B3-8BA1DE7B40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46" name="Google Shape;4746;p52">
            <a:extLst>
              <a:ext uri="{FF2B5EF4-FFF2-40B4-BE49-F238E27FC236}">
                <a16:creationId xmlns:a16="http://schemas.microsoft.com/office/drawing/2014/main" id="{B7B8A22A-D2BC-CAA3-3FE0-84B24F1F0EE1}"/>
              </a:ext>
            </a:extLst>
          </p:cNvPr>
          <p:cNvSpPr/>
          <p:nvPr/>
        </p:nvSpPr>
        <p:spPr>
          <a:xfrm>
            <a:off x="4572000" y="2951150"/>
            <a:ext cx="3060000" cy="3305700"/>
          </a:xfrm>
          <a:prstGeom prst="round2DiagRect">
            <a:avLst>
              <a:gd name="adj1" fmla="val 16667"/>
              <a:gd name="adj2" fmla="val 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47" name="Google Shape;4747;p52">
            <a:extLst>
              <a:ext uri="{FF2B5EF4-FFF2-40B4-BE49-F238E27FC236}">
                <a16:creationId xmlns:a16="http://schemas.microsoft.com/office/drawing/2014/main" id="{FAB98489-FD18-6ADD-D08A-A4131C480A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5642" y="679314"/>
            <a:ext cx="7485330" cy="213151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n-IN" sz="4000" dirty="0">
                <a:solidFill>
                  <a:srgbClr val="A1E1FD"/>
                </a:solidFill>
              </a:rPr>
              <a:t>Should SCC Analysis Replace</a:t>
            </a:r>
            <a:r>
              <a:rPr lang="en" sz="4000" dirty="0"/>
              <a:t> </a:t>
            </a:r>
            <a:r>
              <a:rPr lang="en-IN" sz="4000" dirty="0">
                <a:solidFill>
                  <a:srgbClr val="FFD65D"/>
                </a:solidFill>
              </a:rPr>
              <a:t>Mitigation Cost Analysis?</a:t>
            </a:r>
            <a:endParaRPr sz="4000" baseline="-25000" dirty="0">
              <a:solidFill>
                <a:srgbClr val="00B0F0"/>
              </a:solidFill>
            </a:endParaRPr>
          </a:p>
        </p:txBody>
      </p:sp>
      <p:grpSp>
        <p:nvGrpSpPr>
          <p:cNvPr id="4749" name="Google Shape;4749;p52">
            <a:extLst>
              <a:ext uri="{FF2B5EF4-FFF2-40B4-BE49-F238E27FC236}">
                <a16:creationId xmlns:a16="http://schemas.microsoft.com/office/drawing/2014/main" id="{7EA01CF1-250B-277F-6229-25FFE7BE84F2}"/>
              </a:ext>
            </a:extLst>
          </p:cNvPr>
          <p:cNvGrpSpPr/>
          <p:nvPr/>
        </p:nvGrpSpPr>
        <p:grpSpPr>
          <a:xfrm>
            <a:off x="1925052" y="3011991"/>
            <a:ext cx="5267733" cy="2131509"/>
            <a:chOff x="1913843" y="2627298"/>
            <a:chExt cx="5273020" cy="1976701"/>
          </a:xfrm>
        </p:grpSpPr>
        <p:sp>
          <p:nvSpPr>
            <p:cNvPr id="4750" name="Google Shape;4750;p52">
              <a:extLst>
                <a:ext uri="{FF2B5EF4-FFF2-40B4-BE49-F238E27FC236}">
                  <a16:creationId xmlns:a16="http://schemas.microsoft.com/office/drawing/2014/main" id="{E5AD9026-E2C2-5061-D728-54BA42E01F79}"/>
                </a:ext>
              </a:extLst>
            </p:cNvPr>
            <p:cNvSpPr/>
            <p:nvPr/>
          </p:nvSpPr>
          <p:spPr>
            <a:xfrm>
              <a:off x="2845242" y="3257506"/>
              <a:ext cx="557406" cy="242622"/>
            </a:xfrm>
            <a:custGeom>
              <a:avLst/>
              <a:gdLst/>
              <a:ahLst/>
              <a:cxnLst/>
              <a:rect l="l" t="t" r="r" b="b"/>
              <a:pathLst>
                <a:path w="17063" h="7427" extrusionOk="0">
                  <a:moveTo>
                    <a:pt x="8100" y="0"/>
                  </a:moveTo>
                  <a:cubicBezTo>
                    <a:pt x="6746" y="0"/>
                    <a:pt x="5613" y="977"/>
                    <a:pt x="5373" y="2269"/>
                  </a:cubicBezTo>
                  <a:cubicBezTo>
                    <a:pt x="5279" y="2243"/>
                    <a:pt x="5172" y="2243"/>
                    <a:pt x="5075" y="2243"/>
                  </a:cubicBezTo>
                  <a:cubicBezTo>
                    <a:pt x="5057" y="2242"/>
                    <a:pt x="5039" y="2242"/>
                    <a:pt x="5021" y="2242"/>
                  </a:cubicBezTo>
                  <a:cubicBezTo>
                    <a:pt x="3860" y="2242"/>
                    <a:pt x="2916" y="3165"/>
                    <a:pt x="2862" y="4336"/>
                  </a:cubicBezTo>
                  <a:cubicBezTo>
                    <a:pt x="1485" y="4686"/>
                    <a:pt x="377" y="5778"/>
                    <a:pt x="1" y="7155"/>
                  </a:cubicBezTo>
                  <a:lnTo>
                    <a:pt x="17063" y="7427"/>
                  </a:lnTo>
                  <a:cubicBezTo>
                    <a:pt x="16645" y="5684"/>
                    <a:pt x="15673" y="4375"/>
                    <a:pt x="13810" y="4349"/>
                  </a:cubicBezTo>
                  <a:lnTo>
                    <a:pt x="13648" y="4349"/>
                  </a:lnTo>
                  <a:cubicBezTo>
                    <a:pt x="13677" y="3024"/>
                    <a:pt x="12624" y="1932"/>
                    <a:pt x="11299" y="1919"/>
                  </a:cubicBezTo>
                  <a:cubicBezTo>
                    <a:pt x="11124" y="1919"/>
                    <a:pt x="10949" y="1932"/>
                    <a:pt x="10787" y="1958"/>
                  </a:cubicBezTo>
                  <a:cubicBezTo>
                    <a:pt x="10437" y="837"/>
                    <a:pt x="9397" y="14"/>
                    <a:pt x="8153" y="1"/>
                  </a:cubicBezTo>
                  <a:cubicBezTo>
                    <a:pt x="8135" y="1"/>
                    <a:pt x="8117" y="0"/>
                    <a:pt x="8100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1" name="Google Shape;4751;p52">
              <a:extLst>
                <a:ext uri="{FF2B5EF4-FFF2-40B4-BE49-F238E27FC236}">
                  <a16:creationId xmlns:a16="http://schemas.microsoft.com/office/drawing/2014/main" id="{20CB058D-0935-13CF-5C2D-B6B97734067E}"/>
                </a:ext>
              </a:extLst>
            </p:cNvPr>
            <p:cNvSpPr/>
            <p:nvPr/>
          </p:nvSpPr>
          <p:spPr>
            <a:xfrm>
              <a:off x="3021586" y="3332447"/>
              <a:ext cx="61415" cy="122274"/>
            </a:xfrm>
            <a:custGeom>
              <a:avLst/>
              <a:gdLst/>
              <a:ahLst/>
              <a:cxnLst/>
              <a:rect l="l" t="t" r="r" b="b"/>
              <a:pathLst>
                <a:path w="1880" h="3743" extrusionOk="0">
                  <a:moveTo>
                    <a:pt x="1" y="1"/>
                  </a:moveTo>
                  <a:cubicBezTo>
                    <a:pt x="1" y="1"/>
                    <a:pt x="1501" y="474"/>
                    <a:pt x="1420" y="1864"/>
                  </a:cubicBezTo>
                  <a:cubicBezTo>
                    <a:pt x="1339" y="3403"/>
                    <a:pt x="1" y="3743"/>
                    <a:pt x="1" y="3743"/>
                  </a:cubicBezTo>
                  <a:cubicBezTo>
                    <a:pt x="1041" y="3743"/>
                    <a:pt x="1880" y="2904"/>
                    <a:pt x="1880" y="1864"/>
                  </a:cubicBezTo>
                  <a:cubicBezTo>
                    <a:pt x="1880" y="840"/>
                    <a:pt x="1041" y="1"/>
                    <a:pt x="1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2" name="Google Shape;4752;p52">
              <a:extLst>
                <a:ext uri="{FF2B5EF4-FFF2-40B4-BE49-F238E27FC236}">
                  <a16:creationId xmlns:a16="http://schemas.microsoft.com/office/drawing/2014/main" id="{D57817C0-8179-D2B7-1CBC-26500E4C816F}"/>
                </a:ext>
              </a:extLst>
            </p:cNvPr>
            <p:cNvSpPr/>
            <p:nvPr/>
          </p:nvSpPr>
          <p:spPr>
            <a:xfrm>
              <a:off x="3334777" y="3406539"/>
              <a:ext cx="68830" cy="89150"/>
            </a:xfrm>
            <a:custGeom>
              <a:avLst/>
              <a:gdLst/>
              <a:ahLst/>
              <a:cxnLst/>
              <a:rect l="l" t="t" r="r" b="b"/>
              <a:pathLst>
                <a:path w="2107" h="2729" extrusionOk="0">
                  <a:moveTo>
                    <a:pt x="1" y="1"/>
                  </a:moveTo>
                  <a:lnTo>
                    <a:pt x="1" y="1"/>
                  </a:lnTo>
                  <a:cubicBezTo>
                    <a:pt x="905" y="367"/>
                    <a:pt x="1511" y="1164"/>
                    <a:pt x="1864" y="2149"/>
                  </a:cubicBezTo>
                  <a:cubicBezTo>
                    <a:pt x="2026" y="2486"/>
                    <a:pt x="2094" y="2729"/>
                    <a:pt x="2094" y="2729"/>
                  </a:cubicBezTo>
                  <a:cubicBezTo>
                    <a:pt x="2107" y="1420"/>
                    <a:pt x="1216" y="312"/>
                    <a:pt x="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3" name="Google Shape;4753;p52">
              <a:extLst>
                <a:ext uri="{FF2B5EF4-FFF2-40B4-BE49-F238E27FC236}">
                  <a16:creationId xmlns:a16="http://schemas.microsoft.com/office/drawing/2014/main" id="{05D1A909-F50C-D3E1-6C99-5D7A66C7396E}"/>
                </a:ext>
              </a:extLst>
            </p:cNvPr>
            <p:cNvSpPr/>
            <p:nvPr/>
          </p:nvSpPr>
          <p:spPr>
            <a:xfrm>
              <a:off x="3222267" y="3403893"/>
              <a:ext cx="173399" cy="89150"/>
            </a:xfrm>
            <a:custGeom>
              <a:avLst/>
              <a:gdLst/>
              <a:ahLst/>
              <a:cxnLst/>
              <a:rect l="l" t="t" r="r" b="b"/>
              <a:pathLst>
                <a:path w="5308" h="2729" extrusionOk="0">
                  <a:moveTo>
                    <a:pt x="2755" y="1"/>
                  </a:moveTo>
                  <a:cubicBezTo>
                    <a:pt x="1258" y="1"/>
                    <a:pt x="14" y="1216"/>
                    <a:pt x="1" y="2729"/>
                  </a:cubicBezTo>
                  <a:cubicBezTo>
                    <a:pt x="1" y="2729"/>
                    <a:pt x="691" y="542"/>
                    <a:pt x="2606" y="542"/>
                  </a:cubicBezTo>
                  <a:lnTo>
                    <a:pt x="2784" y="542"/>
                  </a:lnTo>
                  <a:cubicBezTo>
                    <a:pt x="4281" y="649"/>
                    <a:pt x="4997" y="1595"/>
                    <a:pt x="5308" y="2230"/>
                  </a:cubicBezTo>
                  <a:cubicBezTo>
                    <a:pt x="4955" y="1245"/>
                    <a:pt x="4349" y="448"/>
                    <a:pt x="3445" y="82"/>
                  </a:cubicBezTo>
                  <a:cubicBezTo>
                    <a:pt x="3241" y="43"/>
                    <a:pt x="3027" y="1"/>
                    <a:pt x="2810" y="1"/>
                  </a:cubicBezTo>
                  <a:close/>
                </a:path>
              </a:pathLst>
            </a:custGeom>
            <a:solidFill>
              <a:srgbClr val="CBEF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4" name="Google Shape;4754;p52">
              <a:extLst>
                <a:ext uri="{FF2B5EF4-FFF2-40B4-BE49-F238E27FC236}">
                  <a16:creationId xmlns:a16="http://schemas.microsoft.com/office/drawing/2014/main" id="{CAD382A7-452C-2895-722E-C6A7DA6A43E9}"/>
                </a:ext>
              </a:extLst>
            </p:cNvPr>
            <p:cNvSpPr/>
            <p:nvPr/>
          </p:nvSpPr>
          <p:spPr>
            <a:xfrm>
              <a:off x="3270845" y="2959342"/>
              <a:ext cx="596247" cy="216586"/>
            </a:xfrm>
            <a:custGeom>
              <a:avLst/>
              <a:gdLst/>
              <a:ahLst/>
              <a:cxnLst/>
              <a:rect l="l" t="t" r="r" b="b"/>
              <a:pathLst>
                <a:path w="18252" h="6630" extrusionOk="0">
                  <a:moveTo>
                    <a:pt x="7803" y="1"/>
                  </a:moveTo>
                  <a:cubicBezTo>
                    <a:pt x="5778" y="1"/>
                    <a:pt x="4051" y="1245"/>
                    <a:pt x="3335" y="2998"/>
                  </a:cubicBezTo>
                  <a:cubicBezTo>
                    <a:pt x="3212" y="2985"/>
                    <a:pt x="3092" y="2985"/>
                    <a:pt x="2969" y="2985"/>
                  </a:cubicBezTo>
                  <a:cubicBezTo>
                    <a:pt x="1323" y="2985"/>
                    <a:pt x="1" y="4310"/>
                    <a:pt x="1" y="5956"/>
                  </a:cubicBezTo>
                  <a:cubicBezTo>
                    <a:pt x="1" y="6186"/>
                    <a:pt x="27" y="6416"/>
                    <a:pt x="66" y="6630"/>
                  </a:cubicBezTo>
                  <a:lnTo>
                    <a:pt x="14756" y="6630"/>
                  </a:lnTo>
                  <a:cubicBezTo>
                    <a:pt x="14795" y="6604"/>
                    <a:pt x="14824" y="6578"/>
                    <a:pt x="14863" y="6549"/>
                  </a:cubicBezTo>
                  <a:cubicBezTo>
                    <a:pt x="14863" y="6578"/>
                    <a:pt x="14876" y="6604"/>
                    <a:pt x="14889" y="6630"/>
                  </a:cubicBezTo>
                  <a:lnTo>
                    <a:pt x="18116" y="6630"/>
                  </a:lnTo>
                  <a:cubicBezTo>
                    <a:pt x="18197" y="6429"/>
                    <a:pt x="18252" y="6199"/>
                    <a:pt x="18252" y="5956"/>
                  </a:cubicBezTo>
                  <a:cubicBezTo>
                    <a:pt x="18252" y="4997"/>
                    <a:pt x="17468" y="4213"/>
                    <a:pt x="16496" y="4213"/>
                  </a:cubicBezTo>
                  <a:cubicBezTo>
                    <a:pt x="16159" y="4213"/>
                    <a:pt x="15848" y="4310"/>
                    <a:pt x="15579" y="4485"/>
                  </a:cubicBezTo>
                  <a:cubicBezTo>
                    <a:pt x="15404" y="3364"/>
                    <a:pt x="14445" y="2512"/>
                    <a:pt x="13269" y="2512"/>
                  </a:cubicBezTo>
                  <a:cubicBezTo>
                    <a:pt x="12880" y="2512"/>
                    <a:pt x="12501" y="2609"/>
                    <a:pt x="12177" y="2784"/>
                  </a:cubicBezTo>
                  <a:cubicBezTo>
                    <a:pt x="11393" y="1151"/>
                    <a:pt x="9734" y="1"/>
                    <a:pt x="7803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5" name="Google Shape;4755;p52">
              <a:extLst>
                <a:ext uri="{FF2B5EF4-FFF2-40B4-BE49-F238E27FC236}">
                  <a16:creationId xmlns:a16="http://schemas.microsoft.com/office/drawing/2014/main" id="{C4EC6CD0-B986-90F6-205A-9CA9F90B6EA6}"/>
                </a:ext>
              </a:extLst>
            </p:cNvPr>
            <p:cNvSpPr/>
            <p:nvPr/>
          </p:nvSpPr>
          <p:spPr>
            <a:xfrm>
              <a:off x="3842155" y="2785378"/>
              <a:ext cx="330791" cy="120380"/>
            </a:xfrm>
            <a:custGeom>
              <a:avLst/>
              <a:gdLst/>
              <a:ahLst/>
              <a:cxnLst/>
              <a:rect l="l" t="t" r="r" b="b"/>
              <a:pathLst>
                <a:path w="10126" h="3685" extrusionOk="0">
                  <a:moveTo>
                    <a:pt x="5791" y="1"/>
                  </a:moveTo>
                  <a:cubicBezTo>
                    <a:pt x="4712" y="1"/>
                    <a:pt x="3795" y="636"/>
                    <a:pt x="3361" y="1553"/>
                  </a:cubicBezTo>
                  <a:cubicBezTo>
                    <a:pt x="3186" y="1446"/>
                    <a:pt x="2972" y="1391"/>
                    <a:pt x="2755" y="1391"/>
                  </a:cubicBezTo>
                  <a:cubicBezTo>
                    <a:pt x="2107" y="1391"/>
                    <a:pt x="1579" y="1864"/>
                    <a:pt x="1472" y="2483"/>
                  </a:cubicBezTo>
                  <a:cubicBezTo>
                    <a:pt x="1323" y="2389"/>
                    <a:pt x="1148" y="2337"/>
                    <a:pt x="960" y="2337"/>
                  </a:cubicBezTo>
                  <a:cubicBezTo>
                    <a:pt x="432" y="2337"/>
                    <a:pt x="1" y="2768"/>
                    <a:pt x="1" y="3309"/>
                  </a:cubicBezTo>
                  <a:cubicBezTo>
                    <a:pt x="1" y="3442"/>
                    <a:pt x="27" y="3565"/>
                    <a:pt x="69" y="3685"/>
                  </a:cubicBezTo>
                  <a:lnTo>
                    <a:pt x="1851" y="3685"/>
                  </a:lnTo>
                  <a:cubicBezTo>
                    <a:pt x="1864" y="3659"/>
                    <a:pt x="1864" y="3646"/>
                    <a:pt x="1877" y="3633"/>
                  </a:cubicBezTo>
                  <a:cubicBezTo>
                    <a:pt x="1890" y="3646"/>
                    <a:pt x="1919" y="3659"/>
                    <a:pt x="1932" y="3685"/>
                  </a:cubicBezTo>
                  <a:lnTo>
                    <a:pt x="10071" y="3685"/>
                  </a:lnTo>
                  <a:cubicBezTo>
                    <a:pt x="10100" y="3565"/>
                    <a:pt x="10126" y="3429"/>
                    <a:pt x="10126" y="3309"/>
                  </a:cubicBezTo>
                  <a:cubicBezTo>
                    <a:pt x="10126" y="2389"/>
                    <a:pt x="9384" y="1660"/>
                    <a:pt x="8464" y="1660"/>
                  </a:cubicBezTo>
                  <a:cubicBezTo>
                    <a:pt x="8399" y="1660"/>
                    <a:pt x="8331" y="1660"/>
                    <a:pt x="8263" y="1673"/>
                  </a:cubicBezTo>
                  <a:cubicBezTo>
                    <a:pt x="7871" y="688"/>
                    <a:pt x="6912" y="1"/>
                    <a:pt x="579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6" name="Google Shape;4756;p52">
              <a:extLst>
                <a:ext uri="{FF2B5EF4-FFF2-40B4-BE49-F238E27FC236}">
                  <a16:creationId xmlns:a16="http://schemas.microsoft.com/office/drawing/2014/main" id="{67565B00-3741-298F-DD49-72F8DFC681EB}"/>
                </a:ext>
              </a:extLst>
            </p:cNvPr>
            <p:cNvSpPr/>
            <p:nvPr/>
          </p:nvSpPr>
          <p:spPr>
            <a:xfrm>
              <a:off x="5641785" y="3396902"/>
              <a:ext cx="291949" cy="143345"/>
            </a:xfrm>
            <a:custGeom>
              <a:avLst/>
              <a:gdLst/>
              <a:ahLst/>
              <a:cxnLst/>
              <a:rect l="l" t="t" r="r" b="b"/>
              <a:pathLst>
                <a:path w="8937" h="4388" extrusionOk="0">
                  <a:moveTo>
                    <a:pt x="3915" y="1"/>
                  </a:moveTo>
                  <a:cubicBezTo>
                    <a:pt x="2333" y="1"/>
                    <a:pt x="1037" y="1242"/>
                    <a:pt x="944" y="2794"/>
                  </a:cubicBezTo>
                  <a:cubicBezTo>
                    <a:pt x="406" y="2917"/>
                    <a:pt x="1" y="3390"/>
                    <a:pt x="1" y="3970"/>
                  </a:cubicBezTo>
                  <a:cubicBezTo>
                    <a:pt x="1" y="4119"/>
                    <a:pt x="27" y="4252"/>
                    <a:pt x="65" y="4388"/>
                  </a:cubicBezTo>
                  <a:lnTo>
                    <a:pt x="8937" y="4388"/>
                  </a:lnTo>
                  <a:lnTo>
                    <a:pt x="8937" y="4281"/>
                  </a:lnTo>
                  <a:cubicBezTo>
                    <a:pt x="8937" y="3429"/>
                    <a:pt x="8263" y="2755"/>
                    <a:pt x="7411" y="2755"/>
                  </a:cubicBezTo>
                  <a:cubicBezTo>
                    <a:pt x="7236" y="2755"/>
                    <a:pt x="7061" y="2781"/>
                    <a:pt x="6899" y="2836"/>
                  </a:cubicBezTo>
                  <a:cubicBezTo>
                    <a:pt x="6818" y="1255"/>
                    <a:pt x="5522" y="1"/>
                    <a:pt x="391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7" name="Google Shape;4757;p52">
              <a:extLst>
                <a:ext uri="{FF2B5EF4-FFF2-40B4-BE49-F238E27FC236}">
                  <a16:creationId xmlns:a16="http://schemas.microsoft.com/office/drawing/2014/main" id="{9A9D6372-E4F2-FEC4-C77B-ADD908A71D0E}"/>
                </a:ext>
              </a:extLst>
            </p:cNvPr>
            <p:cNvSpPr/>
            <p:nvPr/>
          </p:nvSpPr>
          <p:spPr>
            <a:xfrm>
              <a:off x="4585976" y="3466976"/>
              <a:ext cx="546821" cy="885191"/>
            </a:xfrm>
            <a:custGeom>
              <a:avLst/>
              <a:gdLst/>
              <a:ahLst/>
              <a:cxnLst/>
              <a:rect l="l" t="t" r="r" b="b"/>
              <a:pathLst>
                <a:path w="16739" h="27097" extrusionOk="0">
                  <a:moveTo>
                    <a:pt x="1" y="1"/>
                  </a:moveTo>
                  <a:lnTo>
                    <a:pt x="1" y="27097"/>
                  </a:lnTo>
                  <a:lnTo>
                    <a:pt x="16739" y="27097"/>
                  </a:lnTo>
                  <a:lnTo>
                    <a:pt x="16739" y="1"/>
                  </a:ln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8" name="Google Shape;4758;p52">
              <a:extLst>
                <a:ext uri="{FF2B5EF4-FFF2-40B4-BE49-F238E27FC236}">
                  <a16:creationId xmlns:a16="http://schemas.microsoft.com/office/drawing/2014/main" id="{79006AE3-A547-8783-1295-ED657F5296E5}"/>
                </a:ext>
              </a:extLst>
            </p:cNvPr>
            <p:cNvSpPr/>
            <p:nvPr/>
          </p:nvSpPr>
          <p:spPr>
            <a:xfrm>
              <a:off x="4585976" y="3784937"/>
              <a:ext cx="546821" cy="45016"/>
            </a:xfrm>
            <a:custGeom>
              <a:avLst/>
              <a:gdLst/>
              <a:ahLst/>
              <a:cxnLst/>
              <a:rect l="l" t="t" r="r" b="b"/>
              <a:pathLst>
                <a:path w="16739" h="1378" extrusionOk="0">
                  <a:moveTo>
                    <a:pt x="1" y="1"/>
                  </a:moveTo>
                  <a:lnTo>
                    <a:pt x="1" y="1378"/>
                  </a:lnTo>
                  <a:lnTo>
                    <a:pt x="16739" y="1378"/>
                  </a:lnTo>
                  <a:lnTo>
                    <a:pt x="1673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9" name="Google Shape;4759;p52">
              <a:extLst>
                <a:ext uri="{FF2B5EF4-FFF2-40B4-BE49-F238E27FC236}">
                  <a16:creationId xmlns:a16="http://schemas.microsoft.com/office/drawing/2014/main" id="{3EEEBA89-D795-5DF1-95D7-0091D347F535}"/>
                </a:ext>
              </a:extLst>
            </p:cNvPr>
            <p:cNvSpPr/>
            <p:nvPr/>
          </p:nvSpPr>
          <p:spPr>
            <a:xfrm>
              <a:off x="4585976" y="3950795"/>
              <a:ext cx="546821" cy="154354"/>
            </a:xfrm>
            <a:custGeom>
              <a:avLst/>
              <a:gdLst/>
              <a:ahLst/>
              <a:cxnLst/>
              <a:rect l="l" t="t" r="r" b="b"/>
              <a:pathLst>
                <a:path w="16739" h="4725" extrusionOk="0">
                  <a:moveTo>
                    <a:pt x="1" y="1"/>
                  </a:moveTo>
                  <a:lnTo>
                    <a:pt x="1" y="4725"/>
                  </a:lnTo>
                  <a:lnTo>
                    <a:pt x="16739" y="4725"/>
                  </a:lnTo>
                  <a:lnTo>
                    <a:pt x="1673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0" name="Google Shape;4760;p52">
              <a:extLst>
                <a:ext uri="{FF2B5EF4-FFF2-40B4-BE49-F238E27FC236}">
                  <a16:creationId xmlns:a16="http://schemas.microsoft.com/office/drawing/2014/main" id="{8C1E264B-B6FF-983C-35BF-169105029DDF}"/>
                </a:ext>
              </a:extLst>
            </p:cNvPr>
            <p:cNvSpPr/>
            <p:nvPr/>
          </p:nvSpPr>
          <p:spPr>
            <a:xfrm>
              <a:off x="5155321" y="3314872"/>
              <a:ext cx="317561" cy="1037291"/>
            </a:xfrm>
            <a:custGeom>
              <a:avLst/>
              <a:gdLst/>
              <a:ahLst/>
              <a:cxnLst/>
              <a:rect l="l" t="t" r="r" b="b"/>
              <a:pathLst>
                <a:path w="9721" h="31753" extrusionOk="0">
                  <a:moveTo>
                    <a:pt x="2632" y="1"/>
                  </a:moveTo>
                  <a:lnTo>
                    <a:pt x="1" y="31685"/>
                  </a:lnTo>
                  <a:lnTo>
                    <a:pt x="9721" y="31753"/>
                  </a:lnTo>
                  <a:lnTo>
                    <a:pt x="8476" y="27"/>
                  </a:lnTo>
                  <a:lnTo>
                    <a:pt x="2632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1" name="Google Shape;4761;p52">
              <a:extLst>
                <a:ext uri="{FF2B5EF4-FFF2-40B4-BE49-F238E27FC236}">
                  <a16:creationId xmlns:a16="http://schemas.microsoft.com/office/drawing/2014/main" id="{23681C24-8662-BC35-3CF6-6D016DBEDF16}"/>
                </a:ext>
              </a:extLst>
            </p:cNvPr>
            <p:cNvSpPr/>
            <p:nvPr/>
          </p:nvSpPr>
          <p:spPr>
            <a:xfrm>
              <a:off x="5155321" y="4349937"/>
              <a:ext cx="158797" cy="2254"/>
            </a:xfrm>
            <a:custGeom>
              <a:avLst/>
              <a:gdLst/>
              <a:ahLst/>
              <a:cxnLst/>
              <a:rect l="l" t="t" r="r" b="b"/>
              <a:pathLst>
                <a:path w="4861" h="69" extrusionOk="0">
                  <a:moveTo>
                    <a:pt x="1" y="1"/>
                  </a:moveTo>
                  <a:lnTo>
                    <a:pt x="1" y="27"/>
                  </a:lnTo>
                  <a:lnTo>
                    <a:pt x="4861" y="69"/>
                  </a:lnTo>
                  <a:lnTo>
                    <a:pt x="4861" y="2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C9C9C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2" name="Google Shape;4762;p52">
              <a:extLst>
                <a:ext uri="{FF2B5EF4-FFF2-40B4-BE49-F238E27FC236}">
                  <a16:creationId xmlns:a16="http://schemas.microsoft.com/office/drawing/2014/main" id="{E3CBFD01-CDC9-B114-65D9-29EF1BD03B0B}"/>
                </a:ext>
              </a:extLst>
            </p:cNvPr>
            <p:cNvSpPr/>
            <p:nvPr/>
          </p:nvSpPr>
          <p:spPr>
            <a:xfrm>
              <a:off x="5155321" y="3315721"/>
              <a:ext cx="181239" cy="1035070"/>
            </a:xfrm>
            <a:custGeom>
              <a:avLst/>
              <a:gdLst/>
              <a:ahLst/>
              <a:cxnLst/>
              <a:rect l="l" t="t" r="r" b="b"/>
              <a:pathLst>
                <a:path w="5548" h="31685" extrusionOk="0">
                  <a:moveTo>
                    <a:pt x="2632" y="1"/>
                  </a:moveTo>
                  <a:lnTo>
                    <a:pt x="1" y="31659"/>
                  </a:lnTo>
                  <a:lnTo>
                    <a:pt x="4861" y="31685"/>
                  </a:lnTo>
                  <a:lnTo>
                    <a:pt x="5548" y="14"/>
                  </a:lnTo>
                  <a:lnTo>
                    <a:pt x="2632" y="1"/>
                  </a:lnTo>
                  <a:close/>
                </a:path>
              </a:pathLst>
            </a:custGeom>
            <a:solidFill>
              <a:srgbClr val="92939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3" name="Google Shape;4763;p52">
              <a:extLst>
                <a:ext uri="{FF2B5EF4-FFF2-40B4-BE49-F238E27FC236}">
                  <a16:creationId xmlns:a16="http://schemas.microsoft.com/office/drawing/2014/main" id="{8C1063CE-BF2E-B947-3B84-CF5A17F62A94}"/>
                </a:ext>
              </a:extLst>
            </p:cNvPr>
            <p:cNvSpPr/>
            <p:nvPr/>
          </p:nvSpPr>
          <p:spPr>
            <a:xfrm>
              <a:off x="5216606" y="3564458"/>
              <a:ext cx="226745" cy="61742"/>
            </a:xfrm>
            <a:custGeom>
              <a:avLst/>
              <a:gdLst/>
              <a:ahLst/>
              <a:cxnLst/>
              <a:rect l="l" t="t" r="r" b="b"/>
              <a:pathLst>
                <a:path w="6941" h="1890" extrusionOk="0">
                  <a:moveTo>
                    <a:pt x="150" y="1"/>
                  </a:moveTo>
                  <a:lnTo>
                    <a:pt x="1" y="1838"/>
                  </a:lnTo>
                  <a:lnTo>
                    <a:pt x="3471" y="1864"/>
                  </a:lnTo>
                  <a:lnTo>
                    <a:pt x="6941" y="1890"/>
                  </a:lnTo>
                  <a:lnTo>
                    <a:pt x="6873" y="43"/>
                  </a:lnTo>
                  <a:lnTo>
                    <a:pt x="3510" y="27"/>
                  </a:lnTo>
                  <a:lnTo>
                    <a:pt x="15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4" name="Google Shape;4764;p52">
              <a:extLst>
                <a:ext uri="{FF2B5EF4-FFF2-40B4-BE49-F238E27FC236}">
                  <a16:creationId xmlns:a16="http://schemas.microsoft.com/office/drawing/2014/main" id="{DA367C21-D76D-4C50-7B62-B90A29A1A85F}"/>
                </a:ext>
              </a:extLst>
            </p:cNvPr>
            <p:cNvSpPr/>
            <p:nvPr/>
          </p:nvSpPr>
          <p:spPr>
            <a:xfrm>
              <a:off x="5202526" y="3705129"/>
              <a:ext cx="247391" cy="89150"/>
            </a:xfrm>
            <a:custGeom>
              <a:avLst/>
              <a:gdLst/>
              <a:ahLst/>
              <a:cxnLst/>
              <a:rect l="l" t="t" r="r" b="b"/>
              <a:pathLst>
                <a:path w="7573" h="2729" extrusionOk="0">
                  <a:moveTo>
                    <a:pt x="215" y="1"/>
                  </a:moveTo>
                  <a:lnTo>
                    <a:pt x="1" y="2687"/>
                  </a:lnTo>
                  <a:lnTo>
                    <a:pt x="3792" y="2716"/>
                  </a:lnTo>
                  <a:lnTo>
                    <a:pt x="7573" y="2729"/>
                  </a:lnTo>
                  <a:lnTo>
                    <a:pt x="7479" y="43"/>
                  </a:lnTo>
                  <a:lnTo>
                    <a:pt x="3847" y="14"/>
                  </a:lnTo>
                  <a:lnTo>
                    <a:pt x="215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5" name="Google Shape;4765;p52">
              <a:extLst>
                <a:ext uri="{FF2B5EF4-FFF2-40B4-BE49-F238E27FC236}">
                  <a16:creationId xmlns:a16="http://schemas.microsoft.com/office/drawing/2014/main" id="{F7C7943A-2585-2973-7CD2-45ED0094EBA9}"/>
                </a:ext>
              </a:extLst>
            </p:cNvPr>
            <p:cNvSpPr/>
            <p:nvPr/>
          </p:nvSpPr>
          <p:spPr>
            <a:xfrm>
              <a:off x="4266218" y="3014447"/>
              <a:ext cx="317561" cy="253532"/>
            </a:xfrm>
            <a:custGeom>
              <a:avLst/>
              <a:gdLst/>
              <a:ahLst/>
              <a:cxnLst/>
              <a:rect l="l" t="t" r="r" b="b"/>
              <a:pathLst>
                <a:path w="9721" h="7761" extrusionOk="0">
                  <a:moveTo>
                    <a:pt x="9154" y="1"/>
                  </a:moveTo>
                  <a:cubicBezTo>
                    <a:pt x="6792" y="1"/>
                    <a:pt x="4767" y="1443"/>
                    <a:pt x="3915" y="3510"/>
                  </a:cubicBezTo>
                  <a:cubicBezTo>
                    <a:pt x="3779" y="3497"/>
                    <a:pt x="3633" y="3484"/>
                    <a:pt x="3497" y="3484"/>
                  </a:cubicBezTo>
                  <a:cubicBezTo>
                    <a:pt x="1566" y="3484"/>
                    <a:pt x="1" y="5049"/>
                    <a:pt x="1" y="6967"/>
                  </a:cubicBezTo>
                  <a:lnTo>
                    <a:pt x="1" y="6980"/>
                  </a:lnTo>
                  <a:cubicBezTo>
                    <a:pt x="1" y="7249"/>
                    <a:pt x="40" y="7518"/>
                    <a:pt x="95" y="7761"/>
                  </a:cubicBezTo>
                  <a:lnTo>
                    <a:pt x="9721" y="7761"/>
                  </a:lnTo>
                  <a:lnTo>
                    <a:pt x="9721" y="5574"/>
                  </a:lnTo>
                  <a:lnTo>
                    <a:pt x="9721" y="40"/>
                  </a:lnTo>
                  <a:lnTo>
                    <a:pt x="9721" y="27"/>
                  </a:lnTo>
                  <a:cubicBezTo>
                    <a:pt x="9530" y="14"/>
                    <a:pt x="9342" y="1"/>
                    <a:pt x="9154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6" name="Google Shape;4766;p52">
              <a:extLst>
                <a:ext uri="{FF2B5EF4-FFF2-40B4-BE49-F238E27FC236}">
                  <a16:creationId xmlns:a16="http://schemas.microsoft.com/office/drawing/2014/main" id="{280D93F7-E94C-789A-0177-5F3F991BCB68}"/>
                </a:ext>
              </a:extLst>
            </p:cNvPr>
            <p:cNvSpPr/>
            <p:nvPr/>
          </p:nvSpPr>
          <p:spPr>
            <a:xfrm>
              <a:off x="4579736" y="3013500"/>
              <a:ext cx="385509" cy="255427"/>
            </a:xfrm>
            <a:custGeom>
              <a:avLst/>
              <a:gdLst/>
              <a:ahLst/>
              <a:cxnLst/>
              <a:rect l="l" t="t" r="r" b="b"/>
              <a:pathLst>
                <a:path w="11801" h="7819" extrusionOk="0">
                  <a:moveTo>
                    <a:pt x="1" y="1"/>
                  </a:moveTo>
                  <a:lnTo>
                    <a:pt x="1" y="14"/>
                  </a:lnTo>
                  <a:lnTo>
                    <a:pt x="1" y="5603"/>
                  </a:lnTo>
                  <a:lnTo>
                    <a:pt x="1" y="7819"/>
                  </a:lnTo>
                  <a:lnTo>
                    <a:pt x="7670" y="7819"/>
                  </a:lnTo>
                  <a:cubicBezTo>
                    <a:pt x="7709" y="7790"/>
                    <a:pt x="7751" y="7751"/>
                    <a:pt x="7790" y="7725"/>
                  </a:cubicBezTo>
                  <a:cubicBezTo>
                    <a:pt x="7806" y="7751"/>
                    <a:pt x="7819" y="7790"/>
                    <a:pt x="7832" y="7819"/>
                  </a:cubicBezTo>
                  <a:lnTo>
                    <a:pt x="11639" y="7819"/>
                  </a:lnTo>
                  <a:cubicBezTo>
                    <a:pt x="11746" y="7576"/>
                    <a:pt x="11801" y="7304"/>
                    <a:pt x="11801" y="7022"/>
                  </a:cubicBezTo>
                  <a:cubicBezTo>
                    <a:pt x="11801" y="5875"/>
                    <a:pt x="10884" y="4955"/>
                    <a:pt x="9734" y="4955"/>
                  </a:cubicBezTo>
                  <a:cubicBezTo>
                    <a:pt x="9329" y="4955"/>
                    <a:pt x="8953" y="5065"/>
                    <a:pt x="8642" y="5266"/>
                  </a:cubicBezTo>
                  <a:cubicBezTo>
                    <a:pt x="8438" y="3944"/>
                    <a:pt x="7291" y="2930"/>
                    <a:pt x="5914" y="2930"/>
                  </a:cubicBezTo>
                  <a:cubicBezTo>
                    <a:pt x="5441" y="2930"/>
                    <a:pt x="4997" y="3053"/>
                    <a:pt x="4605" y="3254"/>
                  </a:cubicBezTo>
                  <a:cubicBezTo>
                    <a:pt x="3769" y="1488"/>
                    <a:pt x="2039" y="205"/>
                    <a:pt x="1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7" name="Google Shape;4767;p52">
              <a:extLst>
                <a:ext uri="{FF2B5EF4-FFF2-40B4-BE49-F238E27FC236}">
                  <a16:creationId xmlns:a16="http://schemas.microsoft.com/office/drawing/2014/main" id="{C69C6BFA-7B6C-4733-2FF7-4988EBDB9F82}"/>
                </a:ext>
              </a:extLst>
            </p:cNvPr>
            <p:cNvSpPr/>
            <p:nvPr/>
          </p:nvSpPr>
          <p:spPr>
            <a:xfrm>
              <a:off x="5532776" y="3777950"/>
              <a:ext cx="760420" cy="572857"/>
            </a:xfrm>
            <a:custGeom>
              <a:avLst/>
              <a:gdLst/>
              <a:ahLst/>
              <a:cxnLst/>
              <a:rect l="l" t="t" r="r" b="b"/>
              <a:pathLst>
                <a:path w="18903" h="17536" extrusionOk="0">
                  <a:moveTo>
                    <a:pt x="0" y="1"/>
                  </a:moveTo>
                  <a:lnTo>
                    <a:pt x="0" y="17536"/>
                  </a:lnTo>
                  <a:lnTo>
                    <a:pt x="18903" y="17536"/>
                  </a:lnTo>
                  <a:lnTo>
                    <a:pt x="18903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8" name="Google Shape;4768;p52">
              <a:extLst>
                <a:ext uri="{FF2B5EF4-FFF2-40B4-BE49-F238E27FC236}">
                  <a16:creationId xmlns:a16="http://schemas.microsoft.com/office/drawing/2014/main" id="{9547D1C7-464A-F6BA-396B-DAA95D0A652F}"/>
                </a:ext>
              </a:extLst>
            </p:cNvPr>
            <p:cNvSpPr/>
            <p:nvPr/>
          </p:nvSpPr>
          <p:spPr>
            <a:xfrm>
              <a:off x="5506832" y="3765565"/>
              <a:ext cx="668116" cy="24697"/>
            </a:xfrm>
            <a:custGeom>
              <a:avLst/>
              <a:gdLst/>
              <a:ahLst/>
              <a:cxnLst/>
              <a:rect l="l" t="t" r="r" b="b"/>
              <a:pathLst>
                <a:path w="20452" h="756" extrusionOk="0">
                  <a:moveTo>
                    <a:pt x="377" y="1"/>
                  </a:moveTo>
                  <a:cubicBezTo>
                    <a:pt x="163" y="1"/>
                    <a:pt x="1" y="176"/>
                    <a:pt x="1" y="380"/>
                  </a:cubicBezTo>
                  <a:cubicBezTo>
                    <a:pt x="1" y="581"/>
                    <a:pt x="163" y="756"/>
                    <a:pt x="377" y="756"/>
                  </a:cubicBezTo>
                  <a:lnTo>
                    <a:pt x="20072" y="756"/>
                  </a:lnTo>
                  <a:cubicBezTo>
                    <a:pt x="20289" y="756"/>
                    <a:pt x="20451" y="581"/>
                    <a:pt x="20451" y="380"/>
                  </a:cubicBezTo>
                  <a:cubicBezTo>
                    <a:pt x="20451" y="176"/>
                    <a:pt x="20289" y="1"/>
                    <a:pt x="20072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9" name="Google Shape;4769;p52">
              <a:extLst>
                <a:ext uri="{FF2B5EF4-FFF2-40B4-BE49-F238E27FC236}">
                  <a16:creationId xmlns:a16="http://schemas.microsoft.com/office/drawing/2014/main" id="{A7BB2829-4640-64CE-D3B5-BC2FEFAE3BDF}"/>
                </a:ext>
              </a:extLst>
            </p:cNvPr>
            <p:cNvSpPr/>
            <p:nvPr/>
          </p:nvSpPr>
          <p:spPr>
            <a:xfrm>
              <a:off x="6254338" y="3888660"/>
              <a:ext cx="38874" cy="57299"/>
            </a:xfrm>
            <a:custGeom>
              <a:avLst/>
              <a:gdLst/>
              <a:ahLst/>
              <a:cxnLst/>
              <a:rect l="l" t="t" r="r" b="b"/>
              <a:pathLst>
                <a:path w="1190" h="1754" extrusionOk="0">
                  <a:moveTo>
                    <a:pt x="0" y="1"/>
                  </a:moveTo>
                  <a:lnTo>
                    <a:pt x="0" y="1754"/>
                  </a:lnTo>
                  <a:lnTo>
                    <a:pt x="1190" y="1754"/>
                  </a:lnTo>
                  <a:lnTo>
                    <a:pt x="119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0" name="Google Shape;4770;p52">
              <a:extLst>
                <a:ext uri="{FF2B5EF4-FFF2-40B4-BE49-F238E27FC236}">
                  <a16:creationId xmlns:a16="http://schemas.microsoft.com/office/drawing/2014/main" id="{2315E861-F9D1-7086-9EDF-28C8556791D7}"/>
                </a:ext>
              </a:extLst>
            </p:cNvPr>
            <p:cNvSpPr/>
            <p:nvPr/>
          </p:nvSpPr>
          <p:spPr>
            <a:xfrm>
              <a:off x="5998491" y="3888660"/>
              <a:ext cx="38874" cy="57299"/>
            </a:xfrm>
            <a:custGeom>
              <a:avLst/>
              <a:gdLst/>
              <a:ahLst/>
              <a:cxnLst/>
              <a:rect l="l" t="t" r="r" b="b"/>
              <a:pathLst>
                <a:path w="1190" h="1754" extrusionOk="0">
                  <a:moveTo>
                    <a:pt x="0" y="1"/>
                  </a:moveTo>
                  <a:lnTo>
                    <a:pt x="0" y="1754"/>
                  </a:lnTo>
                  <a:lnTo>
                    <a:pt x="1189" y="1754"/>
                  </a:lnTo>
                  <a:lnTo>
                    <a:pt x="1189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1" name="Google Shape;4771;p52">
              <a:extLst>
                <a:ext uri="{FF2B5EF4-FFF2-40B4-BE49-F238E27FC236}">
                  <a16:creationId xmlns:a16="http://schemas.microsoft.com/office/drawing/2014/main" id="{7551DE07-C2A4-A7A7-B7EC-3C6EF971C889}"/>
                </a:ext>
              </a:extLst>
            </p:cNvPr>
            <p:cNvSpPr/>
            <p:nvPr/>
          </p:nvSpPr>
          <p:spPr>
            <a:xfrm>
              <a:off x="5928418" y="3888660"/>
              <a:ext cx="38352" cy="57299"/>
            </a:xfrm>
            <a:custGeom>
              <a:avLst/>
              <a:gdLst/>
              <a:ahLst/>
              <a:cxnLst/>
              <a:rect l="l" t="t" r="r" b="b"/>
              <a:pathLst>
                <a:path w="1174" h="1754" extrusionOk="0">
                  <a:moveTo>
                    <a:pt x="1" y="1"/>
                  </a:moveTo>
                  <a:lnTo>
                    <a:pt x="1" y="1754"/>
                  </a:lnTo>
                  <a:lnTo>
                    <a:pt x="1173" y="1754"/>
                  </a:lnTo>
                  <a:lnTo>
                    <a:pt x="1173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2" name="Google Shape;4772;p52">
              <a:extLst>
                <a:ext uri="{FF2B5EF4-FFF2-40B4-BE49-F238E27FC236}">
                  <a16:creationId xmlns:a16="http://schemas.microsoft.com/office/drawing/2014/main" id="{35C32BFF-F845-FF80-3E7F-2040A52CAC2F}"/>
                </a:ext>
              </a:extLst>
            </p:cNvPr>
            <p:cNvSpPr/>
            <p:nvPr/>
          </p:nvSpPr>
          <p:spPr>
            <a:xfrm>
              <a:off x="5857821" y="3888660"/>
              <a:ext cx="38450" cy="57299"/>
            </a:xfrm>
            <a:custGeom>
              <a:avLst/>
              <a:gdLst/>
              <a:ahLst/>
              <a:cxnLst/>
              <a:rect l="l" t="t" r="r" b="b"/>
              <a:pathLst>
                <a:path w="1177" h="1754" extrusionOk="0">
                  <a:moveTo>
                    <a:pt x="0" y="1"/>
                  </a:moveTo>
                  <a:lnTo>
                    <a:pt x="0" y="1754"/>
                  </a:lnTo>
                  <a:lnTo>
                    <a:pt x="1177" y="1754"/>
                  </a:lnTo>
                  <a:lnTo>
                    <a:pt x="117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3" name="Google Shape;4773;p52">
              <a:extLst>
                <a:ext uri="{FF2B5EF4-FFF2-40B4-BE49-F238E27FC236}">
                  <a16:creationId xmlns:a16="http://schemas.microsoft.com/office/drawing/2014/main" id="{B9E69CDF-88E4-01B9-1E2B-12DC74D57202}"/>
                </a:ext>
              </a:extLst>
            </p:cNvPr>
            <p:cNvSpPr/>
            <p:nvPr/>
          </p:nvSpPr>
          <p:spPr>
            <a:xfrm>
              <a:off x="5787323" y="3888660"/>
              <a:ext cx="38352" cy="57299"/>
            </a:xfrm>
            <a:custGeom>
              <a:avLst/>
              <a:gdLst/>
              <a:ahLst/>
              <a:cxnLst/>
              <a:rect l="l" t="t" r="r" b="b"/>
              <a:pathLst>
                <a:path w="1174" h="1754" extrusionOk="0">
                  <a:moveTo>
                    <a:pt x="1" y="1"/>
                  </a:moveTo>
                  <a:lnTo>
                    <a:pt x="1" y="1754"/>
                  </a:lnTo>
                  <a:lnTo>
                    <a:pt x="1174" y="1754"/>
                  </a:lnTo>
                  <a:lnTo>
                    <a:pt x="1174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4" name="Google Shape;4774;p52">
              <a:extLst>
                <a:ext uri="{FF2B5EF4-FFF2-40B4-BE49-F238E27FC236}">
                  <a16:creationId xmlns:a16="http://schemas.microsoft.com/office/drawing/2014/main" id="{E1D4D79F-F549-B642-ADF4-2CA63B52F92B}"/>
                </a:ext>
              </a:extLst>
            </p:cNvPr>
            <p:cNvSpPr/>
            <p:nvPr/>
          </p:nvSpPr>
          <p:spPr>
            <a:xfrm>
              <a:off x="5716727" y="3888660"/>
              <a:ext cx="38352" cy="57299"/>
            </a:xfrm>
            <a:custGeom>
              <a:avLst/>
              <a:gdLst/>
              <a:ahLst/>
              <a:cxnLst/>
              <a:rect l="l" t="t" r="r" b="b"/>
              <a:pathLst>
                <a:path w="1174" h="1754" extrusionOk="0">
                  <a:moveTo>
                    <a:pt x="1" y="1"/>
                  </a:moveTo>
                  <a:lnTo>
                    <a:pt x="1" y="1754"/>
                  </a:lnTo>
                  <a:lnTo>
                    <a:pt x="1173" y="1754"/>
                  </a:lnTo>
                  <a:lnTo>
                    <a:pt x="1173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5" name="Google Shape;4775;p52">
              <a:extLst>
                <a:ext uri="{FF2B5EF4-FFF2-40B4-BE49-F238E27FC236}">
                  <a16:creationId xmlns:a16="http://schemas.microsoft.com/office/drawing/2014/main" id="{6F86092F-2A71-5B02-439D-501AA97725A3}"/>
                </a:ext>
              </a:extLst>
            </p:cNvPr>
            <p:cNvSpPr/>
            <p:nvPr/>
          </p:nvSpPr>
          <p:spPr>
            <a:xfrm>
              <a:off x="5646130" y="3888660"/>
              <a:ext cx="38874" cy="57299"/>
            </a:xfrm>
            <a:custGeom>
              <a:avLst/>
              <a:gdLst/>
              <a:ahLst/>
              <a:cxnLst/>
              <a:rect l="l" t="t" r="r" b="b"/>
              <a:pathLst>
                <a:path w="1190" h="1754" extrusionOk="0">
                  <a:moveTo>
                    <a:pt x="1" y="1"/>
                  </a:moveTo>
                  <a:lnTo>
                    <a:pt x="1" y="1754"/>
                  </a:lnTo>
                  <a:lnTo>
                    <a:pt x="1190" y="1754"/>
                  </a:lnTo>
                  <a:lnTo>
                    <a:pt x="119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6" name="Google Shape;4776;p52">
              <a:extLst>
                <a:ext uri="{FF2B5EF4-FFF2-40B4-BE49-F238E27FC236}">
                  <a16:creationId xmlns:a16="http://schemas.microsoft.com/office/drawing/2014/main" id="{DF14C535-76F1-792F-455D-7AA8DC955764}"/>
                </a:ext>
              </a:extLst>
            </p:cNvPr>
            <p:cNvSpPr/>
            <p:nvPr/>
          </p:nvSpPr>
          <p:spPr>
            <a:xfrm>
              <a:off x="5575632" y="3888660"/>
              <a:ext cx="38776" cy="57299"/>
            </a:xfrm>
            <a:custGeom>
              <a:avLst/>
              <a:gdLst/>
              <a:ahLst/>
              <a:cxnLst/>
              <a:rect l="l" t="t" r="r" b="b"/>
              <a:pathLst>
                <a:path w="1187" h="1754" extrusionOk="0">
                  <a:moveTo>
                    <a:pt x="1" y="1"/>
                  </a:moveTo>
                  <a:lnTo>
                    <a:pt x="1" y="1754"/>
                  </a:lnTo>
                  <a:lnTo>
                    <a:pt x="1187" y="1754"/>
                  </a:lnTo>
                  <a:lnTo>
                    <a:pt x="118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7" name="Google Shape;4777;p52">
              <a:extLst>
                <a:ext uri="{FF2B5EF4-FFF2-40B4-BE49-F238E27FC236}">
                  <a16:creationId xmlns:a16="http://schemas.microsoft.com/office/drawing/2014/main" id="{3F8AA8C4-51FE-8FC7-CA11-B9D3118581AF}"/>
                </a:ext>
              </a:extLst>
            </p:cNvPr>
            <p:cNvSpPr/>
            <p:nvPr/>
          </p:nvSpPr>
          <p:spPr>
            <a:xfrm>
              <a:off x="6254338" y="3998850"/>
              <a:ext cx="38874" cy="57397"/>
            </a:xfrm>
            <a:custGeom>
              <a:avLst/>
              <a:gdLst/>
              <a:ahLst/>
              <a:cxnLst/>
              <a:rect l="l" t="t" r="r" b="b"/>
              <a:pathLst>
                <a:path w="1190" h="1757" extrusionOk="0">
                  <a:moveTo>
                    <a:pt x="0" y="1"/>
                  </a:moveTo>
                  <a:lnTo>
                    <a:pt x="0" y="1757"/>
                  </a:lnTo>
                  <a:lnTo>
                    <a:pt x="1190" y="1757"/>
                  </a:lnTo>
                  <a:lnTo>
                    <a:pt x="119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8" name="Google Shape;4778;p52">
              <a:extLst>
                <a:ext uri="{FF2B5EF4-FFF2-40B4-BE49-F238E27FC236}">
                  <a16:creationId xmlns:a16="http://schemas.microsoft.com/office/drawing/2014/main" id="{484ABED8-05DB-C210-DA26-88217B95EF6D}"/>
                </a:ext>
              </a:extLst>
            </p:cNvPr>
            <p:cNvSpPr/>
            <p:nvPr/>
          </p:nvSpPr>
          <p:spPr>
            <a:xfrm>
              <a:off x="5998491" y="3998850"/>
              <a:ext cx="38874" cy="57397"/>
            </a:xfrm>
            <a:custGeom>
              <a:avLst/>
              <a:gdLst/>
              <a:ahLst/>
              <a:cxnLst/>
              <a:rect l="l" t="t" r="r" b="b"/>
              <a:pathLst>
                <a:path w="1190" h="1757" extrusionOk="0">
                  <a:moveTo>
                    <a:pt x="0" y="1"/>
                  </a:moveTo>
                  <a:lnTo>
                    <a:pt x="0" y="1757"/>
                  </a:lnTo>
                  <a:lnTo>
                    <a:pt x="1189" y="1757"/>
                  </a:lnTo>
                  <a:lnTo>
                    <a:pt x="1189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9" name="Google Shape;4779;p52">
              <a:extLst>
                <a:ext uri="{FF2B5EF4-FFF2-40B4-BE49-F238E27FC236}">
                  <a16:creationId xmlns:a16="http://schemas.microsoft.com/office/drawing/2014/main" id="{0D81A36B-0506-696B-0736-07B0EBCE9243}"/>
                </a:ext>
              </a:extLst>
            </p:cNvPr>
            <p:cNvSpPr/>
            <p:nvPr/>
          </p:nvSpPr>
          <p:spPr>
            <a:xfrm>
              <a:off x="5928418" y="3998850"/>
              <a:ext cx="38352" cy="57397"/>
            </a:xfrm>
            <a:custGeom>
              <a:avLst/>
              <a:gdLst/>
              <a:ahLst/>
              <a:cxnLst/>
              <a:rect l="l" t="t" r="r" b="b"/>
              <a:pathLst>
                <a:path w="1174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73" y="1757"/>
                  </a:lnTo>
                  <a:lnTo>
                    <a:pt x="1173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0" name="Google Shape;4780;p52">
              <a:extLst>
                <a:ext uri="{FF2B5EF4-FFF2-40B4-BE49-F238E27FC236}">
                  <a16:creationId xmlns:a16="http://schemas.microsoft.com/office/drawing/2014/main" id="{E0FF338A-B63B-6AC9-91ED-2AFA93FBFC84}"/>
                </a:ext>
              </a:extLst>
            </p:cNvPr>
            <p:cNvSpPr/>
            <p:nvPr/>
          </p:nvSpPr>
          <p:spPr>
            <a:xfrm>
              <a:off x="5857821" y="3998850"/>
              <a:ext cx="38450" cy="57397"/>
            </a:xfrm>
            <a:custGeom>
              <a:avLst/>
              <a:gdLst/>
              <a:ahLst/>
              <a:cxnLst/>
              <a:rect l="l" t="t" r="r" b="b"/>
              <a:pathLst>
                <a:path w="1177" h="1757" extrusionOk="0">
                  <a:moveTo>
                    <a:pt x="0" y="1"/>
                  </a:moveTo>
                  <a:lnTo>
                    <a:pt x="0" y="1757"/>
                  </a:lnTo>
                  <a:lnTo>
                    <a:pt x="1177" y="1757"/>
                  </a:lnTo>
                  <a:lnTo>
                    <a:pt x="117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1" name="Google Shape;4781;p52">
              <a:extLst>
                <a:ext uri="{FF2B5EF4-FFF2-40B4-BE49-F238E27FC236}">
                  <a16:creationId xmlns:a16="http://schemas.microsoft.com/office/drawing/2014/main" id="{FD039A04-0421-314A-B926-2480A0F59D03}"/>
                </a:ext>
              </a:extLst>
            </p:cNvPr>
            <p:cNvSpPr/>
            <p:nvPr/>
          </p:nvSpPr>
          <p:spPr>
            <a:xfrm>
              <a:off x="5787323" y="3998850"/>
              <a:ext cx="38352" cy="57397"/>
            </a:xfrm>
            <a:custGeom>
              <a:avLst/>
              <a:gdLst/>
              <a:ahLst/>
              <a:cxnLst/>
              <a:rect l="l" t="t" r="r" b="b"/>
              <a:pathLst>
                <a:path w="1174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74" y="1757"/>
                  </a:lnTo>
                  <a:lnTo>
                    <a:pt x="1174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2" name="Google Shape;4782;p52">
              <a:extLst>
                <a:ext uri="{FF2B5EF4-FFF2-40B4-BE49-F238E27FC236}">
                  <a16:creationId xmlns:a16="http://schemas.microsoft.com/office/drawing/2014/main" id="{18AEC77C-5B4C-7B39-63F9-4A9A547A9C19}"/>
                </a:ext>
              </a:extLst>
            </p:cNvPr>
            <p:cNvSpPr/>
            <p:nvPr/>
          </p:nvSpPr>
          <p:spPr>
            <a:xfrm>
              <a:off x="5716727" y="3998850"/>
              <a:ext cx="38352" cy="57397"/>
            </a:xfrm>
            <a:custGeom>
              <a:avLst/>
              <a:gdLst/>
              <a:ahLst/>
              <a:cxnLst/>
              <a:rect l="l" t="t" r="r" b="b"/>
              <a:pathLst>
                <a:path w="1174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73" y="1757"/>
                  </a:lnTo>
                  <a:lnTo>
                    <a:pt x="1173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3" name="Google Shape;4783;p52">
              <a:extLst>
                <a:ext uri="{FF2B5EF4-FFF2-40B4-BE49-F238E27FC236}">
                  <a16:creationId xmlns:a16="http://schemas.microsoft.com/office/drawing/2014/main" id="{3CA5A881-B3CA-F052-E417-3FDE1E78F06B}"/>
                </a:ext>
              </a:extLst>
            </p:cNvPr>
            <p:cNvSpPr/>
            <p:nvPr/>
          </p:nvSpPr>
          <p:spPr>
            <a:xfrm>
              <a:off x="5646130" y="3998850"/>
              <a:ext cx="38874" cy="57397"/>
            </a:xfrm>
            <a:custGeom>
              <a:avLst/>
              <a:gdLst/>
              <a:ahLst/>
              <a:cxnLst/>
              <a:rect l="l" t="t" r="r" b="b"/>
              <a:pathLst>
                <a:path w="1190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90" y="1757"/>
                  </a:lnTo>
                  <a:lnTo>
                    <a:pt x="119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4" name="Google Shape;4784;p52">
              <a:extLst>
                <a:ext uri="{FF2B5EF4-FFF2-40B4-BE49-F238E27FC236}">
                  <a16:creationId xmlns:a16="http://schemas.microsoft.com/office/drawing/2014/main" id="{C5005D49-FDF7-416B-0CFE-7FA84EB4A61E}"/>
                </a:ext>
              </a:extLst>
            </p:cNvPr>
            <p:cNvSpPr/>
            <p:nvPr/>
          </p:nvSpPr>
          <p:spPr>
            <a:xfrm>
              <a:off x="5575632" y="3998850"/>
              <a:ext cx="38776" cy="57397"/>
            </a:xfrm>
            <a:custGeom>
              <a:avLst/>
              <a:gdLst/>
              <a:ahLst/>
              <a:cxnLst/>
              <a:rect l="l" t="t" r="r" b="b"/>
              <a:pathLst>
                <a:path w="1187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87" y="1757"/>
                  </a:lnTo>
                  <a:lnTo>
                    <a:pt x="118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5" name="Google Shape;4785;p52">
              <a:extLst>
                <a:ext uri="{FF2B5EF4-FFF2-40B4-BE49-F238E27FC236}">
                  <a16:creationId xmlns:a16="http://schemas.microsoft.com/office/drawing/2014/main" id="{A36B0BA1-3606-4BCB-798E-4DBAEFF83DF7}"/>
                </a:ext>
              </a:extLst>
            </p:cNvPr>
            <p:cNvSpPr/>
            <p:nvPr/>
          </p:nvSpPr>
          <p:spPr>
            <a:xfrm>
              <a:off x="6254338" y="4109139"/>
              <a:ext cx="38874" cy="57397"/>
            </a:xfrm>
            <a:custGeom>
              <a:avLst/>
              <a:gdLst/>
              <a:ahLst/>
              <a:cxnLst/>
              <a:rect l="l" t="t" r="r" b="b"/>
              <a:pathLst>
                <a:path w="1190" h="1757" extrusionOk="0">
                  <a:moveTo>
                    <a:pt x="0" y="1"/>
                  </a:moveTo>
                  <a:lnTo>
                    <a:pt x="0" y="1757"/>
                  </a:lnTo>
                  <a:lnTo>
                    <a:pt x="1190" y="1757"/>
                  </a:lnTo>
                  <a:lnTo>
                    <a:pt x="119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6" name="Google Shape;4786;p52">
              <a:extLst>
                <a:ext uri="{FF2B5EF4-FFF2-40B4-BE49-F238E27FC236}">
                  <a16:creationId xmlns:a16="http://schemas.microsoft.com/office/drawing/2014/main" id="{4F5C8FE6-AE37-1D9E-DC4E-7A32D8F0B2DF}"/>
                </a:ext>
              </a:extLst>
            </p:cNvPr>
            <p:cNvSpPr/>
            <p:nvPr/>
          </p:nvSpPr>
          <p:spPr>
            <a:xfrm>
              <a:off x="5998491" y="4109139"/>
              <a:ext cx="38874" cy="57397"/>
            </a:xfrm>
            <a:custGeom>
              <a:avLst/>
              <a:gdLst/>
              <a:ahLst/>
              <a:cxnLst/>
              <a:rect l="l" t="t" r="r" b="b"/>
              <a:pathLst>
                <a:path w="1190" h="1757" extrusionOk="0">
                  <a:moveTo>
                    <a:pt x="0" y="1"/>
                  </a:moveTo>
                  <a:lnTo>
                    <a:pt x="0" y="1757"/>
                  </a:lnTo>
                  <a:lnTo>
                    <a:pt x="1189" y="1757"/>
                  </a:lnTo>
                  <a:lnTo>
                    <a:pt x="1189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7" name="Google Shape;4787;p52">
              <a:extLst>
                <a:ext uri="{FF2B5EF4-FFF2-40B4-BE49-F238E27FC236}">
                  <a16:creationId xmlns:a16="http://schemas.microsoft.com/office/drawing/2014/main" id="{7CC591E1-1850-460E-C193-EA705FA59106}"/>
                </a:ext>
              </a:extLst>
            </p:cNvPr>
            <p:cNvSpPr/>
            <p:nvPr/>
          </p:nvSpPr>
          <p:spPr>
            <a:xfrm>
              <a:off x="5928418" y="4109139"/>
              <a:ext cx="38352" cy="57397"/>
            </a:xfrm>
            <a:custGeom>
              <a:avLst/>
              <a:gdLst/>
              <a:ahLst/>
              <a:cxnLst/>
              <a:rect l="l" t="t" r="r" b="b"/>
              <a:pathLst>
                <a:path w="1174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73" y="1757"/>
                  </a:lnTo>
                  <a:lnTo>
                    <a:pt x="1173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8" name="Google Shape;4788;p52">
              <a:extLst>
                <a:ext uri="{FF2B5EF4-FFF2-40B4-BE49-F238E27FC236}">
                  <a16:creationId xmlns:a16="http://schemas.microsoft.com/office/drawing/2014/main" id="{B799356F-3C3F-0493-5515-79004CC71F19}"/>
                </a:ext>
              </a:extLst>
            </p:cNvPr>
            <p:cNvSpPr/>
            <p:nvPr/>
          </p:nvSpPr>
          <p:spPr>
            <a:xfrm>
              <a:off x="5857821" y="4109139"/>
              <a:ext cx="38450" cy="57397"/>
            </a:xfrm>
            <a:custGeom>
              <a:avLst/>
              <a:gdLst/>
              <a:ahLst/>
              <a:cxnLst/>
              <a:rect l="l" t="t" r="r" b="b"/>
              <a:pathLst>
                <a:path w="1177" h="1757" extrusionOk="0">
                  <a:moveTo>
                    <a:pt x="0" y="1"/>
                  </a:moveTo>
                  <a:lnTo>
                    <a:pt x="0" y="1757"/>
                  </a:lnTo>
                  <a:lnTo>
                    <a:pt x="1177" y="1757"/>
                  </a:lnTo>
                  <a:lnTo>
                    <a:pt x="117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9" name="Google Shape;4789;p52">
              <a:extLst>
                <a:ext uri="{FF2B5EF4-FFF2-40B4-BE49-F238E27FC236}">
                  <a16:creationId xmlns:a16="http://schemas.microsoft.com/office/drawing/2014/main" id="{AF932962-3882-A2A4-0B6D-4BDE5670E84F}"/>
                </a:ext>
              </a:extLst>
            </p:cNvPr>
            <p:cNvSpPr/>
            <p:nvPr/>
          </p:nvSpPr>
          <p:spPr>
            <a:xfrm>
              <a:off x="5787323" y="4109139"/>
              <a:ext cx="38352" cy="57397"/>
            </a:xfrm>
            <a:custGeom>
              <a:avLst/>
              <a:gdLst/>
              <a:ahLst/>
              <a:cxnLst/>
              <a:rect l="l" t="t" r="r" b="b"/>
              <a:pathLst>
                <a:path w="1174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74" y="1757"/>
                  </a:lnTo>
                  <a:lnTo>
                    <a:pt x="1174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0" name="Google Shape;4790;p52">
              <a:extLst>
                <a:ext uri="{FF2B5EF4-FFF2-40B4-BE49-F238E27FC236}">
                  <a16:creationId xmlns:a16="http://schemas.microsoft.com/office/drawing/2014/main" id="{5AD46A9A-EF29-6A1A-B18E-F272FF4569DA}"/>
                </a:ext>
              </a:extLst>
            </p:cNvPr>
            <p:cNvSpPr/>
            <p:nvPr/>
          </p:nvSpPr>
          <p:spPr>
            <a:xfrm>
              <a:off x="5716727" y="4109139"/>
              <a:ext cx="38352" cy="57397"/>
            </a:xfrm>
            <a:custGeom>
              <a:avLst/>
              <a:gdLst/>
              <a:ahLst/>
              <a:cxnLst/>
              <a:rect l="l" t="t" r="r" b="b"/>
              <a:pathLst>
                <a:path w="1174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73" y="1757"/>
                  </a:lnTo>
                  <a:lnTo>
                    <a:pt x="1173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1" name="Google Shape;4791;p52">
              <a:extLst>
                <a:ext uri="{FF2B5EF4-FFF2-40B4-BE49-F238E27FC236}">
                  <a16:creationId xmlns:a16="http://schemas.microsoft.com/office/drawing/2014/main" id="{2DD7A5BE-C6D8-3ECA-B844-1EDE8CC19CA5}"/>
                </a:ext>
              </a:extLst>
            </p:cNvPr>
            <p:cNvSpPr/>
            <p:nvPr/>
          </p:nvSpPr>
          <p:spPr>
            <a:xfrm>
              <a:off x="5646130" y="4109139"/>
              <a:ext cx="38874" cy="57397"/>
            </a:xfrm>
            <a:custGeom>
              <a:avLst/>
              <a:gdLst/>
              <a:ahLst/>
              <a:cxnLst/>
              <a:rect l="l" t="t" r="r" b="b"/>
              <a:pathLst>
                <a:path w="1190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90" y="1757"/>
                  </a:lnTo>
                  <a:lnTo>
                    <a:pt x="119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2" name="Google Shape;4792;p52">
              <a:extLst>
                <a:ext uri="{FF2B5EF4-FFF2-40B4-BE49-F238E27FC236}">
                  <a16:creationId xmlns:a16="http://schemas.microsoft.com/office/drawing/2014/main" id="{9C78C05A-8A96-8D44-F63F-B50F2A232D37}"/>
                </a:ext>
              </a:extLst>
            </p:cNvPr>
            <p:cNvSpPr/>
            <p:nvPr/>
          </p:nvSpPr>
          <p:spPr>
            <a:xfrm>
              <a:off x="5575632" y="4109139"/>
              <a:ext cx="38776" cy="57397"/>
            </a:xfrm>
            <a:custGeom>
              <a:avLst/>
              <a:gdLst/>
              <a:ahLst/>
              <a:cxnLst/>
              <a:rect l="l" t="t" r="r" b="b"/>
              <a:pathLst>
                <a:path w="1187" h="1757" extrusionOk="0">
                  <a:moveTo>
                    <a:pt x="1" y="1"/>
                  </a:moveTo>
                  <a:lnTo>
                    <a:pt x="1" y="1757"/>
                  </a:lnTo>
                  <a:lnTo>
                    <a:pt x="1187" y="1757"/>
                  </a:lnTo>
                  <a:lnTo>
                    <a:pt x="118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3" name="Google Shape;4793;p52">
              <a:extLst>
                <a:ext uri="{FF2B5EF4-FFF2-40B4-BE49-F238E27FC236}">
                  <a16:creationId xmlns:a16="http://schemas.microsoft.com/office/drawing/2014/main" id="{497702AD-D0DC-1ECF-DBC8-668B9BD790F5}"/>
                </a:ext>
              </a:extLst>
            </p:cNvPr>
            <p:cNvSpPr/>
            <p:nvPr/>
          </p:nvSpPr>
          <p:spPr>
            <a:xfrm>
              <a:off x="5133198" y="4308875"/>
              <a:ext cx="1350024" cy="37075"/>
            </a:xfrm>
            <a:custGeom>
              <a:avLst/>
              <a:gdLst/>
              <a:ahLst/>
              <a:cxnLst/>
              <a:rect l="l" t="t" r="r" b="b"/>
              <a:pathLst>
                <a:path w="28581" h="1135" extrusionOk="0">
                  <a:moveTo>
                    <a:pt x="1" y="1"/>
                  </a:moveTo>
                  <a:lnTo>
                    <a:pt x="1" y="1135"/>
                  </a:lnTo>
                  <a:lnTo>
                    <a:pt x="28580" y="1135"/>
                  </a:lnTo>
                  <a:lnTo>
                    <a:pt x="28580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4" name="Google Shape;4794;p52">
              <a:extLst>
                <a:ext uri="{FF2B5EF4-FFF2-40B4-BE49-F238E27FC236}">
                  <a16:creationId xmlns:a16="http://schemas.microsoft.com/office/drawing/2014/main" id="{5346A46A-DBE1-DE1F-A468-0877105D9E8E}"/>
                </a:ext>
              </a:extLst>
            </p:cNvPr>
            <p:cNvSpPr/>
            <p:nvPr/>
          </p:nvSpPr>
          <p:spPr>
            <a:xfrm>
              <a:off x="6069108" y="3601929"/>
              <a:ext cx="512520" cy="750242"/>
            </a:xfrm>
            <a:custGeom>
              <a:avLst/>
              <a:gdLst/>
              <a:ahLst/>
              <a:cxnLst/>
              <a:rect l="l" t="t" r="r" b="b"/>
              <a:pathLst>
                <a:path w="15689" h="22966" extrusionOk="0">
                  <a:moveTo>
                    <a:pt x="3121" y="1"/>
                  </a:moveTo>
                  <a:cubicBezTo>
                    <a:pt x="3121" y="1"/>
                    <a:pt x="2149" y="20400"/>
                    <a:pt x="1" y="22966"/>
                  </a:cubicBezTo>
                  <a:lnTo>
                    <a:pt x="15689" y="22966"/>
                  </a:lnTo>
                  <a:cubicBezTo>
                    <a:pt x="15689" y="22966"/>
                    <a:pt x="12474" y="16013"/>
                    <a:pt x="11950" y="1"/>
                  </a:cubicBezTo>
                  <a:close/>
                </a:path>
              </a:pathLst>
            </a:custGeom>
            <a:solidFill>
              <a:srgbClr val="B5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5" name="Google Shape;4795;p52">
              <a:extLst>
                <a:ext uri="{FF2B5EF4-FFF2-40B4-BE49-F238E27FC236}">
                  <a16:creationId xmlns:a16="http://schemas.microsoft.com/office/drawing/2014/main" id="{FEACA05C-55D6-BFCF-B5DE-B6A1BF681A3B}"/>
                </a:ext>
              </a:extLst>
            </p:cNvPr>
            <p:cNvSpPr/>
            <p:nvPr/>
          </p:nvSpPr>
          <p:spPr>
            <a:xfrm>
              <a:off x="6325359" y="3601929"/>
              <a:ext cx="256277" cy="750242"/>
            </a:xfrm>
            <a:custGeom>
              <a:avLst/>
              <a:gdLst/>
              <a:ahLst/>
              <a:cxnLst/>
              <a:rect l="l" t="t" r="r" b="b"/>
              <a:pathLst>
                <a:path w="7845" h="22966" extrusionOk="0">
                  <a:moveTo>
                    <a:pt x="1" y="1"/>
                  </a:moveTo>
                  <a:lnTo>
                    <a:pt x="1" y="22966"/>
                  </a:lnTo>
                  <a:lnTo>
                    <a:pt x="7845" y="22966"/>
                  </a:lnTo>
                  <a:cubicBezTo>
                    <a:pt x="7845" y="22966"/>
                    <a:pt x="4630" y="16013"/>
                    <a:pt x="4106" y="1"/>
                  </a:cubicBezTo>
                  <a:close/>
                </a:path>
              </a:pathLst>
            </a:custGeom>
            <a:solidFill>
              <a:srgbClr val="A9645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6" name="Google Shape;4796;p52">
              <a:extLst>
                <a:ext uri="{FF2B5EF4-FFF2-40B4-BE49-F238E27FC236}">
                  <a16:creationId xmlns:a16="http://schemas.microsoft.com/office/drawing/2014/main" id="{97217EBD-06B9-8A79-4621-3B32488B91A7}"/>
                </a:ext>
              </a:extLst>
            </p:cNvPr>
            <p:cNvSpPr/>
            <p:nvPr/>
          </p:nvSpPr>
          <p:spPr>
            <a:xfrm>
              <a:off x="6154634" y="3809275"/>
              <a:ext cx="320730" cy="37927"/>
            </a:xfrm>
            <a:custGeom>
              <a:avLst/>
              <a:gdLst/>
              <a:ahLst/>
              <a:cxnLst/>
              <a:rect l="l" t="t" r="r" b="b"/>
              <a:pathLst>
                <a:path w="9818" h="1161" extrusionOk="0">
                  <a:moveTo>
                    <a:pt x="98" y="1"/>
                  </a:moveTo>
                  <a:lnTo>
                    <a:pt x="0" y="1161"/>
                  </a:lnTo>
                  <a:lnTo>
                    <a:pt x="9818" y="1161"/>
                  </a:lnTo>
                  <a:lnTo>
                    <a:pt x="9707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7" name="Google Shape;4797;p52">
              <a:extLst>
                <a:ext uri="{FF2B5EF4-FFF2-40B4-BE49-F238E27FC236}">
                  <a16:creationId xmlns:a16="http://schemas.microsoft.com/office/drawing/2014/main" id="{6F836FDB-5CAF-6FAC-9EC5-182B5D49AD25}"/>
                </a:ext>
              </a:extLst>
            </p:cNvPr>
            <p:cNvSpPr/>
            <p:nvPr/>
          </p:nvSpPr>
          <p:spPr>
            <a:xfrm>
              <a:off x="6141403" y="3957884"/>
              <a:ext cx="352482" cy="37927"/>
            </a:xfrm>
            <a:custGeom>
              <a:avLst/>
              <a:gdLst/>
              <a:ahLst/>
              <a:cxnLst/>
              <a:rect l="l" t="t" r="r" b="b"/>
              <a:pathLst>
                <a:path w="10790" h="1161" extrusionOk="0">
                  <a:moveTo>
                    <a:pt x="111" y="1"/>
                  </a:moveTo>
                  <a:lnTo>
                    <a:pt x="0" y="1161"/>
                  </a:lnTo>
                  <a:lnTo>
                    <a:pt x="10790" y="1161"/>
                  </a:lnTo>
                  <a:lnTo>
                    <a:pt x="1061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8" name="Google Shape;4798;p52">
              <a:extLst>
                <a:ext uri="{FF2B5EF4-FFF2-40B4-BE49-F238E27FC236}">
                  <a16:creationId xmlns:a16="http://schemas.microsoft.com/office/drawing/2014/main" id="{D04BBDBF-F52A-2D0E-4B84-C161014FE5F1}"/>
                </a:ext>
              </a:extLst>
            </p:cNvPr>
            <p:cNvSpPr/>
            <p:nvPr/>
          </p:nvSpPr>
          <p:spPr>
            <a:xfrm>
              <a:off x="6171883" y="3601929"/>
              <a:ext cx="289303" cy="42370"/>
            </a:xfrm>
            <a:custGeom>
              <a:avLst/>
              <a:gdLst/>
              <a:ahLst/>
              <a:cxnLst/>
              <a:rect l="l" t="t" r="r" b="b"/>
              <a:pathLst>
                <a:path w="8856" h="1297" extrusionOk="0">
                  <a:moveTo>
                    <a:pt x="69" y="1"/>
                  </a:moveTo>
                  <a:lnTo>
                    <a:pt x="1" y="1284"/>
                  </a:lnTo>
                  <a:lnTo>
                    <a:pt x="8855" y="1297"/>
                  </a:lnTo>
                  <a:lnTo>
                    <a:pt x="880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9" name="Google Shape;4799;p52">
              <a:extLst>
                <a:ext uri="{FF2B5EF4-FFF2-40B4-BE49-F238E27FC236}">
                  <a16:creationId xmlns:a16="http://schemas.microsoft.com/office/drawing/2014/main" id="{AE53AC17-BF65-A7BA-CBE7-98B88D9CBBC4}"/>
                </a:ext>
              </a:extLst>
            </p:cNvPr>
            <p:cNvSpPr/>
            <p:nvPr/>
          </p:nvSpPr>
          <p:spPr>
            <a:xfrm>
              <a:off x="5304354" y="3177697"/>
              <a:ext cx="73273" cy="73273"/>
            </a:xfrm>
            <a:custGeom>
              <a:avLst/>
              <a:gdLst/>
              <a:ahLst/>
              <a:cxnLst/>
              <a:rect l="l" t="t" r="r" b="b"/>
              <a:pathLst>
                <a:path w="2243" h="2243" extrusionOk="0">
                  <a:moveTo>
                    <a:pt x="1122" y="1"/>
                  </a:moveTo>
                  <a:cubicBezTo>
                    <a:pt x="513" y="1"/>
                    <a:pt x="1" y="500"/>
                    <a:pt x="1" y="1122"/>
                  </a:cubicBezTo>
                  <a:cubicBezTo>
                    <a:pt x="1" y="1741"/>
                    <a:pt x="513" y="2243"/>
                    <a:pt x="1122" y="2243"/>
                  </a:cubicBezTo>
                  <a:cubicBezTo>
                    <a:pt x="1744" y="2243"/>
                    <a:pt x="2243" y="1741"/>
                    <a:pt x="2243" y="1122"/>
                  </a:cubicBezTo>
                  <a:cubicBezTo>
                    <a:pt x="2243" y="500"/>
                    <a:pt x="1744" y="1"/>
                    <a:pt x="1122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0" name="Google Shape;4800;p52">
              <a:extLst>
                <a:ext uri="{FF2B5EF4-FFF2-40B4-BE49-F238E27FC236}">
                  <a16:creationId xmlns:a16="http://schemas.microsoft.com/office/drawing/2014/main" id="{84732A0D-9FA4-08F7-161B-8D531184EC1C}"/>
                </a:ext>
              </a:extLst>
            </p:cNvPr>
            <p:cNvSpPr/>
            <p:nvPr/>
          </p:nvSpPr>
          <p:spPr>
            <a:xfrm>
              <a:off x="5449930" y="2996861"/>
              <a:ext cx="141646" cy="141548"/>
            </a:xfrm>
            <a:custGeom>
              <a:avLst/>
              <a:gdLst/>
              <a:ahLst/>
              <a:cxnLst/>
              <a:rect l="l" t="t" r="r" b="b"/>
              <a:pathLst>
                <a:path w="4336" h="4333" extrusionOk="0">
                  <a:moveTo>
                    <a:pt x="2175" y="1"/>
                  </a:moveTo>
                  <a:cubicBezTo>
                    <a:pt x="973" y="1"/>
                    <a:pt x="1" y="973"/>
                    <a:pt x="1" y="2159"/>
                  </a:cubicBezTo>
                  <a:cubicBezTo>
                    <a:pt x="1" y="3361"/>
                    <a:pt x="973" y="4333"/>
                    <a:pt x="2175" y="4333"/>
                  </a:cubicBezTo>
                  <a:cubicBezTo>
                    <a:pt x="3364" y="4333"/>
                    <a:pt x="4336" y="3361"/>
                    <a:pt x="4336" y="2159"/>
                  </a:cubicBezTo>
                  <a:cubicBezTo>
                    <a:pt x="4336" y="973"/>
                    <a:pt x="3364" y="1"/>
                    <a:pt x="2175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1" name="Google Shape;4801;p52">
              <a:extLst>
                <a:ext uri="{FF2B5EF4-FFF2-40B4-BE49-F238E27FC236}">
                  <a16:creationId xmlns:a16="http://schemas.microsoft.com/office/drawing/2014/main" id="{B1014523-3F37-BC04-A5DA-1ECF6A2C876E}"/>
                </a:ext>
              </a:extLst>
            </p:cNvPr>
            <p:cNvSpPr/>
            <p:nvPr/>
          </p:nvSpPr>
          <p:spPr>
            <a:xfrm>
              <a:off x="6267127" y="3174009"/>
              <a:ext cx="539406" cy="235108"/>
            </a:xfrm>
            <a:custGeom>
              <a:avLst/>
              <a:gdLst/>
              <a:ahLst/>
              <a:cxnLst/>
              <a:rect l="l" t="t" r="r" b="b"/>
              <a:pathLst>
                <a:path w="16512" h="7197" extrusionOk="0">
                  <a:moveTo>
                    <a:pt x="7713" y="0"/>
                  </a:moveTo>
                  <a:cubicBezTo>
                    <a:pt x="7693" y="0"/>
                    <a:pt x="7673" y="0"/>
                    <a:pt x="7653" y="1"/>
                  </a:cubicBezTo>
                  <a:cubicBezTo>
                    <a:pt x="6319" y="27"/>
                    <a:pt x="5223" y="1015"/>
                    <a:pt x="5023" y="2282"/>
                  </a:cubicBezTo>
                  <a:cubicBezTo>
                    <a:pt x="4942" y="2269"/>
                    <a:pt x="4848" y="2269"/>
                    <a:pt x="4750" y="2269"/>
                  </a:cubicBezTo>
                  <a:cubicBezTo>
                    <a:pt x="3590" y="2282"/>
                    <a:pt x="2687" y="3228"/>
                    <a:pt x="2674" y="4362"/>
                  </a:cubicBezTo>
                  <a:cubicBezTo>
                    <a:pt x="1348" y="4754"/>
                    <a:pt x="325" y="5846"/>
                    <a:pt x="1" y="7197"/>
                  </a:cubicBezTo>
                  <a:lnTo>
                    <a:pt x="16512" y="6886"/>
                  </a:lnTo>
                  <a:cubicBezTo>
                    <a:pt x="16059" y="5254"/>
                    <a:pt x="15099" y="4024"/>
                    <a:pt x="13344" y="4024"/>
                  </a:cubicBezTo>
                  <a:cubicBezTo>
                    <a:pt x="13315" y="4024"/>
                    <a:pt x="13285" y="4024"/>
                    <a:pt x="13255" y="4025"/>
                  </a:cubicBezTo>
                  <a:lnTo>
                    <a:pt x="13110" y="4025"/>
                  </a:lnTo>
                  <a:cubicBezTo>
                    <a:pt x="13094" y="2760"/>
                    <a:pt x="12057" y="1756"/>
                    <a:pt x="10798" y="1756"/>
                  </a:cubicBezTo>
                  <a:cubicBezTo>
                    <a:pt x="10780" y="1756"/>
                    <a:pt x="10762" y="1757"/>
                    <a:pt x="10744" y="1757"/>
                  </a:cubicBezTo>
                  <a:cubicBezTo>
                    <a:pt x="10582" y="1757"/>
                    <a:pt x="10420" y="1770"/>
                    <a:pt x="10258" y="1809"/>
                  </a:cubicBezTo>
                  <a:cubicBezTo>
                    <a:pt x="9889" y="748"/>
                    <a:pt x="8890" y="0"/>
                    <a:pt x="7713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2" name="Google Shape;4802;p52">
              <a:extLst>
                <a:ext uri="{FF2B5EF4-FFF2-40B4-BE49-F238E27FC236}">
                  <a16:creationId xmlns:a16="http://schemas.microsoft.com/office/drawing/2014/main" id="{7BC47E9C-6DAD-3CFA-5DCC-E4B2EBBC22B6}"/>
                </a:ext>
              </a:extLst>
            </p:cNvPr>
            <p:cNvSpPr/>
            <p:nvPr/>
          </p:nvSpPr>
          <p:spPr>
            <a:xfrm>
              <a:off x="6267127" y="3172735"/>
              <a:ext cx="543751" cy="233311"/>
            </a:xfrm>
            <a:custGeom>
              <a:avLst/>
              <a:gdLst/>
              <a:ahLst/>
              <a:cxnLst/>
              <a:rect l="l" t="t" r="r" b="b"/>
              <a:pathLst>
                <a:path w="16645" h="7142" extrusionOk="0">
                  <a:moveTo>
                    <a:pt x="7733" y="1"/>
                  </a:moveTo>
                  <a:cubicBezTo>
                    <a:pt x="7720" y="1"/>
                    <a:pt x="7708" y="1"/>
                    <a:pt x="7696" y="1"/>
                  </a:cubicBezTo>
                  <a:cubicBezTo>
                    <a:pt x="6370" y="14"/>
                    <a:pt x="5266" y="999"/>
                    <a:pt x="5061" y="2269"/>
                  </a:cubicBezTo>
                  <a:cubicBezTo>
                    <a:pt x="4967" y="2253"/>
                    <a:pt x="4874" y="2253"/>
                    <a:pt x="4780" y="2253"/>
                  </a:cubicBezTo>
                  <a:cubicBezTo>
                    <a:pt x="3633" y="2269"/>
                    <a:pt x="2712" y="3199"/>
                    <a:pt x="2687" y="4333"/>
                  </a:cubicBezTo>
                  <a:cubicBezTo>
                    <a:pt x="1365" y="4725"/>
                    <a:pt x="325" y="5804"/>
                    <a:pt x="1" y="7142"/>
                  </a:cubicBezTo>
                  <a:lnTo>
                    <a:pt x="16644" y="6951"/>
                  </a:lnTo>
                  <a:cubicBezTo>
                    <a:pt x="16206" y="5311"/>
                    <a:pt x="15105" y="4063"/>
                    <a:pt x="13346" y="4063"/>
                  </a:cubicBezTo>
                  <a:cubicBezTo>
                    <a:pt x="13325" y="4063"/>
                    <a:pt x="13305" y="4064"/>
                    <a:pt x="13285" y="4064"/>
                  </a:cubicBezTo>
                  <a:lnTo>
                    <a:pt x="13135" y="4064"/>
                  </a:lnTo>
                  <a:cubicBezTo>
                    <a:pt x="13123" y="2791"/>
                    <a:pt x="12086" y="1783"/>
                    <a:pt x="10817" y="1783"/>
                  </a:cubicBezTo>
                  <a:cubicBezTo>
                    <a:pt x="10807" y="1783"/>
                    <a:pt x="10797" y="1783"/>
                    <a:pt x="10787" y="1783"/>
                  </a:cubicBezTo>
                  <a:cubicBezTo>
                    <a:pt x="10625" y="1783"/>
                    <a:pt x="10463" y="1796"/>
                    <a:pt x="10301" y="1835"/>
                  </a:cubicBezTo>
                  <a:cubicBezTo>
                    <a:pt x="9938" y="767"/>
                    <a:pt x="8919" y="1"/>
                    <a:pt x="7733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3" name="Google Shape;4803;p52">
              <a:extLst>
                <a:ext uri="{FF2B5EF4-FFF2-40B4-BE49-F238E27FC236}">
                  <a16:creationId xmlns:a16="http://schemas.microsoft.com/office/drawing/2014/main" id="{78B8F1A4-9791-6C90-86E1-E6B455B08A04}"/>
                </a:ext>
              </a:extLst>
            </p:cNvPr>
            <p:cNvSpPr/>
            <p:nvPr/>
          </p:nvSpPr>
          <p:spPr>
            <a:xfrm>
              <a:off x="6423674" y="3245880"/>
              <a:ext cx="59520" cy="118681"/>
            </a:xfrm>
            <a:custGeom>
              <a:avLst/>
              <a:gdLst/>
              <a:ahLst/>
              <a:cxnLst/>
              <a:rect l="l" t="t" r="r" b="b"/>
              <a:pathLst>
                <a:path w="1822" h="3633" extrusionOk="0">
                  <a:moveTo>
                    <a:pt x="1" y="1"/>
                  </a:moveTo>
                  <a:cubicBezTo>
                    <a:pt x="1" y="1"/>
                    <a:pt x="1446" y="474"/>
                    <a:pt x="1378" y="1812"/>
                  </a:cubicBezTo>
                  <a:cubicBezTo>
                    <a:pt x="1297" y="3296"/>
                    <a:pt x="1" y="3633"/>
                    <a:pt x="1" y="3633"/>
                  </a:cubicBezTo>
                  <a:cubicBezTo>
                    <a:pt x="998" y="3633"/>
                    <a:pt x="1821" y="2823"/>
                    <a:pt x="1821" y="1812"/>
                  </a:cubicBezTo>
                  <a:cubicBezTo>
                    <a:pt x="1821" y="811"/>
                    <a:pt x="998" y="1"/>
                    <a:pt x="1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4" name="Google Shape;4804;p52">
              <a:extLst>
                <a:ext uri="{FF2B5EF4-FFF2-40B4-BE49-F238E27FC236}">
                  <a16:creationId xmlns:a16="http://schemas.microsoft.com/office/drawing/2014/main" id="{0AB674D9-9C27-3C9C-901A-4F7824B2E3B4}"/>
                </a:ext>
              </a:extLst>
            </p:cNvPr>
            <p:cNvSpPr/>
            <p:nvPr/>
          </p:nvSpPr>
          <p:spPr>
            <a:xfrm>
              <a:off x="6627851" y="3305042"/>
              <a:ext cx="176045" cy="89052"/>
            </a:xfrm>
            <a:custGeom>
              <a:avLst/>
              <a:gdLst/>
              <a:ahLst/>
              <a:cxnLst/>
              <a:rect l="l" t="t" r="r" b="b"/>
              <a:pathLst>
                <a:path w="5389" h="2726" extrusionOk="0">
                  <a:moveTo>
                    <a:pt x="2685" y="1"/>
                  </a:moveTo>
                  <a:cubicBezTo>
                    <a:pt x="1225" y="1"/>
                    <a:pt x="26" y="1171"/>
                    <a:pt x="0" y="2645"/>
                  </a:cubicBezTo>
                  <a:cubicBezTo>
                    <a:pt x="0" y="2645"/>
                    <a:pt x="675" y="520"/>
                    <a:pt x="2528" y="520"/>
                  </a:cubicBezTo>
                  <a:cubicBezTo>
                    <a:pt x="2584" y="520"/>
                    <a:pt x="2641" y="522"/>
                    <a:pt x="2699" y="526"/>
                  </a:cubicBezTo>
                  <a:cubicBezTo>
                    <a:pt x="4903" y="675"/>
                    <a:pt x="5359" y="2726"/>
                    <a:pt x="5359" y="2726"/>
                  </a:cubicBezTo>
                  <a:cubicBezTo>
                    <a:pt x="5389" y="1242"/>
                    <a:pt x="4199" y="27"/>
                    <a:pt x="2716" y="1"/>
                  </a:cubicBezTo>
                  <a:cubicBezTo>
                    <a:pt x="2706" y="1"/>
                    <a:pt x="2696" y="1"/>
                    <a:pt x="2685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5" name="Google Shape;4805;p52">
              <a:extLst>
                <a:ext uri="{FF2B5EF4-FFF2-40B4-BE49-F238E27FC236}">
                  <a16:creationId xmlns:a16="http://schemas.microsoft.com/office/drawing/2014/main" id="{3AF9297A-B637-4430-C4CC-0F5DFBC29AD8}"/>
                </a:ext>
              </a:extLst>
            </p:cNvPr>
            <p:cNvSpPr/>
            <p:nvPr/>
          </p:nvSpPr>
          <p:spPr>
            <a:xfrm>
              <a:off x="5679728" y="2811529"/>
              <a:ext cx="253532" cy="133610"/>
            </a:xfrm>
            <a:custGeom>
              <a:avLst/>
              <a:gdLst/>
              <a:ahLst/>
              <a:cxnLst/>
              <a:rect l="l" t="t" r="r" b="b"/>
              <a:pathLst>
                <a:path w="7761" h="4090" extrusionOk="0">
                  <a:moveTo>
                    <a:pt x="2039" y="1"/>
                  </a:moveTo>
                  <a:cubicBezTo>
                    <a:pt x="918" y="1"/>
                    <a:pt x="1" y="918"/>
                    <a:pt x="1" y="2039"/>
                  </a:cubicBezTo>
                  <a:cubicBezTo>
                    <a:pt x="1" y="3173"/>
                    <a:pt x="918" y="4090"/>
                    <a:pt x="2039" y="4090"/>
                  </a:cubicBezTo>
                  <a:lnTo>
                    <a:pt x="5723" y="4090"/>
                  </a:lnTo>
                  <a:cubicBezTo>
                    <a:pt x="6844" y="4090"/>
                    <a:pt x="7760" y="3173"/>
                    <a:pt x="7760" y="2039"/>
                  </a:cubicBezTo>
                  <a:cubicBezTo>
                    <a:pt x="7760" y="918"/>
                    <a:pt x="6844" y="1"/>
                    <a:pt x="5723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6" name="Google Shape;4806;p52">
              <a:extLst>
                <a:ext uri="{FF2B5EF4-FFF2-40B4-BE49-F238E27FC236}">
                  <a16:creationId xmlns:a16="http://schemas.microsoft.com/office/drawing/2014/main" id="{2AA23C50-8DA5-7B7A-318B-99F460B418BE}"/>
                </a:ext>
              </a:extLst>
            </p:cNvPr>
            <p:cNvSpPr/>
            <p:nvPr/>
          </p:nvSpPr>
          <p:spPr>
            <a:xfrm>
              <a:off x="5998504" y="2644070"/>
              <a:ext cx="405730" cy="213417"/>
            </a:xfrm>
            <a:custGeom>
              <a:avLst/>
              <a:gdLst/>
              <a:ahLst/>
              <a:cxnLst/>
              <a:rect l="l" t="t" r="r" b="b"/>
              <a:pathLst>
                <a:path w="12420" h="6533" extrusionOk="0">
                  <a:moveTo>
                    <a:pt x="3253" y="1"/>
                  </a:moveTo>
                  <a:cubicBezTo>
                    <a:pt x="1459" y="1"/>
                    <a:pt x="1" y="1472"/>
                    <a:pt x="1" y="3267"/>
                  </a:cubicBezTo>
                  <a:cubicBezTo>
                    <a:pt x="1" y="5062"/>
                    <a:pt x="1459" y="6533"/>
                    <a:pt x="3253" y="6533"/>
                  </a:cubicBezTo>
                  <a:lnTo>
                    <a:pt x="9154" y="6533"/>
                  </a:lnTo>
                  <a:cubicBezTo>
                    <a:pt x="10948" y="6533"/>
                    <a:pt x="12419" y="5062"/>
                    <a:pt x="12419" y="3267"/>
                  </a:cubicBezTo>
                  <a:cubicBezTo>
                    <a:pt x="12419" y="1472"/>
                    <a:pt x="10948" y="1"/>
                    <a:pt x="9154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7" name="Google Shape;4807;p52">
              <a:extLst>
                <a:ext uri="{FF2B5EF4-FFF2-40B4-BE49-F238E27FC236}">
                  <a16:creationId xmlns:a16="http://schemas.microsoft.com/office/drawing/2014/main" id="{DA812699-C3BA-9BE0-3F6B-776097267BF5}"/>
                </a:ext>
              </a:extLst>
            </p:cNvPr>
            <p:cNvSpPr/>
            <p:nvPr/>
          </p:nvSpPr>
          <p:spPr>
            <a:xfrm>
              <a:off x="2254519" y="4342850"/>
              <a:ext cx="2324419" cy="130637"/>
            </a:xfrm>
            <a:custGeom>
              <a:avLst/>
              <a:gdLst/>
              <a:ahLst/>
              <a:cxnLst/>
              <a:rect l="l" t="t" r="r" b="b"/>
              <a:pathLst>
                <a:path w="64720" h="3999" extrusionOk="0">
                  <a:moveTo>
                    <a:pt x="4064" y="1"/>
                  </a:moveTo>
                  <a:cubicBezTo>
                    <a:pt x="1" y="1"/>
                    <a:pt x="338" y="3999"/>
                    <a:pt x="4064" y="3999"/>
                  </a:cubicBezTo>
                  <a:lnTo>
                    <a:pt x="64720" y="3999"/>
                  </a:lnTo>
                  <a:lnTo>
                    <a:pt x="64720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8" name="Google Shape;4808;p52">
              <a:extLst>
                <a:ext uri="{FF2B5EF4-FFF2-40B4-BE49-F238E27FC236}">
                  <a16:creationId xmlns:a16="http://schemas.microsoft.com/office/drawing/2014/main" id="{FF038FE7-9E71-8720-8F6F-F42F63261FD4}"/>
                </a:ext>
              </a:extLst>
            </p:cNvPr>
            <p:cNvSpPr/>
            <p:nvPr/>
          </p:nvSpPr>
          <p:spPr>
            <a:xfrm>
              <a:off x="2063451" y="4473459"/>
              <a:ext cx="2515487" cy="130539"/>
            </a:xfrm>
            <a:custGeom>
              <a:avLst/>
              <a:gdLst/>
              <a:ahLst/>
              <a:cxnLst/>
              <a:rect l="l" t="t" r="r" b="b"/>
              <a:pathLst>
                <a:path w="70040" h="3996" extrusionOk="0">
                  <a:moveTo>
                    <a:pt x="4064" y="1"/>
                  </a:moveTo>
                  <a:cubicBezTo>
                    <a:pt x="124" y="1"/>
                    <a:pt x="1" y="3996"/>
                    <a:pt x="4064" y="3996"/>
                  </a:cubicBezTo>
                  <a:lnTo>
                    <a:pt x="70040" y="3996"/>
                  </a:lnTo>
                  <a:lnTo>
                    <a:pt x="70040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9" name="Google Shape;4809;p52">
              <a:extLst>
                <a:ext uri="{FF2B5EF4-FFF2-40B4-BE49-F238E27FC236}">
                  <a16:creationId xmlns:a16="http://schemas.microsoft.com/office/drawing/2014/main" id="{A863C636-894E-7EA1-019A-2A5FA2D6C1E1}"/>
                </a:ext>
              </a:extLst>
            </p:cNvPr>
            <p:cNvSpPr/>
            <p:nvPr/>
          </p:nvSpPr>
          <p:spPr>
            <a:xfrm>
              <a:off x="4578448" y="4342850"/>
              <a:ext cx="2417256" cy="130637"/>
            </a:xfrm>
            <a:custGeom>
              <a:avLst/>
              <a:gdLst/>
              <a:ahLst/>
              <a:cxnLst/>
              <a:rect l="l" t="t" r="r" b="b"/>
              <a:pathLst>
                <a:path w="64529" h="3999" extrusionOk="0">
                  <a:moveTo>
                    <a:pt x="1" y="1"/>
                  </a:moveTo>
                  <a:lnTo>
                    <a:pt x="1" y="3999"/>
                  </a:lnTo>
                  <a:lnTo>
                    <a:pt x="61156" y="3999"/>
                  </a:lnTo>
                  <a:cubicBezTo>
                    <a:pt x="64528" y="3999"/>
                    <a:pt x="64191" y="1"/>
                    <a:pt x="61156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0" name="Google Shape;4810;p52">
              <a:extLst>
                <a:ext uri="{FF2B5EF4-FFF2-40B4-BE49-F238E27FC236}">
                  <a16:creationId xmlns:a16="http://schemas.microsoft.com/office/drawing/2014/main" id="{0F48CEA7-7C86-3175-07BD-98AD42DA9CDC}"/>
                </a:ext>
              </a:extLst>
            </p:cNvPr>
            <p:cNvSpPr/>
            <p:nvPr/>
          </p:nvSpPr>
          <p:spPr>
            <a:xfrm>
              <a:off x="4578448" y="4473459"/>
              <a:ext cx="2608415" cy="130539"/>
            </a:xfrm>
            <a:custGeom>
              <a:avLst/>
              <a:gdLst/>
              <a:ahLst/>
              <a:cxnLst/>
              <a:rect l="l" t="t" r="r" b="b"/>
              <a:pathLst>
                <a:path w="69632" h="3996" extrusionOk="0">
                  <a:moveTo>
                    <a:pt x="1" y="1"/>
                  </a:moveTo>
                  <a:lnTo>
                    <a:pt x="1" y="3970"/>
                  </a:lnTo>
                  <a:lnTo>
                    <a:pt x="52152" y="3970"/>
                  </a:lnTo>
                  <a:cubicBezTo>
                    <a:pt x="52271" y="3970"/>
                    <a:pt x="52378" y="3970"/>
                    <a:pt x="52502" y="3996"/>
                  </a:cubicBezTo>
                  <a:lnTo>
                    <a:pt x="67039" y="3996"/>
                  </a:lnTo>
                  <a:cubicBezTo>
                    <a:pt x="69498" y="3996"/>
                    <a:pt x="69631" y="406"/>
                    <a:pt x="67243" y="40"/>
                  </a:cubicBezTo>
                  <a:cubicBezTo>
                    <a:pt x="67107" y="14"/>
                    <a:pt x="66958" y="1"/>
                    <a:pt x="66825" y="1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1" name="Google Shape;4811;p52">
              <a:extLst>
                <a:ext uri="{FF2B5EF4-FFF2-40B4-BE49-F238E27FC236}">
                  <a16:creationId xmlns:a16="http://schemas.microsoft.com/office/drawing/2014/main" id="{2DA39950-275E-E8A5-A885-FD921B46F63D}"/>
                </a:ext>
              </a:extLst>
            </p:cNvPr>
            <p:cNvSpPr/>
            <p:nvPr/>
          </p:nvSpPr>
          <p:spPr>
            <a:xfrm>
              <a:off x="4578462" y="4603118"/>
              <a:ext cx="1715109" cy="882"/>
            </a:xfrm>
            <a:custGeom>
              <a:avLst/>
              <a:gdLst/>
              <a:ahLst/>
              <a:cxnLst/>
              <a:rect l="l" t="t" r="r" b="b"/>
              <a:pathLst>
                <a:path w="52502" h="27" extrusionOk="0">
                  <a:moveTo>
                    <a:pt x="1" y="1"/>
                  </a:moveTo>
                  <a:lnTo>
                    <a:pt x="1" y="27"/>
                  </a:lnTo>
                  <a:lnTo>
                    <a:pt x="52502" y="27"/>
                  </a:lnTo>
                  <a:cubicBezTo>
                    <a:pt x="52378" y="1"/>
                    <a:pt x="52271" y="1"/>
                    <a:pt x="52152" y="1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2" name="Google Shape;4812;p52">
              <a:extLst>
                <a:ext uri="{FF2B5EF4-FFF2-40B4-BE49-F238E27FC236}">
                  <a16:creationId xmlns:a16="http://schemas.microsoft.com/office/drawing/2014/main" id="{9C6B66A8-47E0-6CA4-1797-C3D9C3B09A79}"/>
                </a:ext>
              </a:extLst>
            </p:cNvPr>
            <p:cNvSpPr/>
            <p:nvPr/>
          </p:nvSpPr>
          <p:spPr>
            <a:xfrm>
              <a:off x="3671262" y="3530483"/>
              <a:ext cx="914723" cy="811101"/>
            </a:xfrm>
            <a:custGeom>
              <a:avLst/>
              <a:gdLst/>
              <a:ahLst/>
              <a:cxnLst/>
              <a:rect l="l" t="t" r="r" b="b"/>
              <a:pathLst>
                <a:path w="28001" h="24829" extrusionOk="0">
                  <a:moveTo>
                    <a:pt x="14688" y="1"/>
                  </a:moveTo>
                  <a:cubicBezTo>
                    <a:pt x="10032" y="1"/>
                    <a:pt x="1" y="24829"/>
                    <a:pt x="1" y="24829"/>
                  </a:cubicBezTo>
                  <a:lnTo>
                    <a:pt x="28001" y="24829"/>
                  </a:lnTo>
                  <a:cubicBezTo>
                    <a:pt x="28001" y="24829"/>
                    <a:pt x="19360" y="1"/>
                    <a:pt x="14688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3" name="Google Shape;4813;p52">
              <a:extLst>
                <a:ext uri="{FF2B5EF4-FFF2-40B4-BE49-F238E27FC236}">
                  <a16:creationId xmlns:a16="http://schemas.microsoft.com/office/drawing/2014/main" id="{2B0ECB9B-EFA1-9B7B-C3E2-3E9643D0C20F}"/>
                </a:ext>
              </a:extLst>
            </p:cNvPr>
            <p:cNvSpPr/>
            <p:nvPr/>
          </p:nvSpPr>
          <p:spPr>
            <a:xfrm>
              <a:off x="2887155" y="3335616"/>
              <a:ext cx="1151921" cy="1005016"/>
            </a:xfrm>
            <a:custGeom>
              <a:avLst/>
              <a:gdLst/>
              <a:ahLst/>
              <a:cxnLst/>
              <a:rect l="l" t="t" r="r" b="b"/>
              <a:pathLst>
                <a:path w="35262" h="30765" extrusionOk="0">
                  <a:moveTo>
                    <a:pt x="18508" y="1"/>
                  </a:moveTo>
                  <a:cubicBezTo>
                    <a:pt x="12637" y="1"/>
                    <a:pt x="1" y="30765"/>
                    <a:pt x="1" y="30765"/>
                  </a:cubicBezTo>
                  <a:lnTo>
                    <a:pt x="35262" y="30765"/>
                  </a:lnTo>
                  <a:cubicBezTo>
                    <a:pt x="35262" y="30765"/>
                    <a:pt x="24382" y="1"/>
                    <a:pt x="18508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4" name="Google Shape;4814;p52">
              <a:extLst>
                <a:ext uri="{FF2B5EF4-FFF2-40B4-BE49-F238E27FC236}">
                  <a16:creationId xmlns:a16="http://schemas.microsoft.com/office/drawing/2014/main" id="{FFC01396-EE90-8D07-F002-9EC8F14ADBCF}"/>
                </a:ext>
              </a:extLst>
            </p:cNvPr>
            <p:cNvSpPr/>
            <p:nvPr/>
          </p:nvSpPr>
          <p:spPr>
            <a:xfrm>
              <a:off x="3900626" y="3526988"/>
              <a:ext cx="471457" cy="580011"/>
            </a:xfrm>
            <a:custGeom>
              <a:avLst/>
              <a:gdLst/>
              <a:ahLst/>
              <a:cxnLst/>
              <a:rect l="l" t="t" r="r" b="b"/>
              <a:pathLst>
                <a:path w="14432" h="17755" extrusionOk="0">
                  <a:moveTo>
                    <a:pt x="7667" y="1"/>
                  </a:moveTo>
                  <a:cubicBezTo>
                    <a:pt x="5684" y="1"/>
                    <a:pt x="2739" y="4495"/>
                    <a:pt x="1" y="9653"/>
                  </a:cubicBezTo>
                  <a:cubicBezTo>
                    <a:pt x="40" y="9815"/>
                    <a:pt x="134" y="9964"/>
                    <a:pt x="309" y="9977"/>
                  </a:cubicBezTo>
                  <a:cubicBezTo>
                    <a:pt x="316" y="9978"/>
                    <a:pt x="324" y="9978"/>
                    <a:pt x="332" y="9978"/>
                  </a:cubicBezTo>
                  <a:cubicBezTo>
                    <a:pt x="774" y="9978"/>
                    <a:pt x="1286" y="8812"/>
                    <a:pt x="1605" y="8506"/>
                  </a:cubicBezTo>
                  <a:cubicBezTo>
                    <a:pt x="1676" y="8436"/>
                    <a:pt x="1900" y="8167"/>
                    <a:pt x="2057" y="8167"/>
                  </a:cubicBezTo>
                  <a:cubicBezTo>
                    <a:pt x="2112" y="8167"/>
                    <a:pt x="2159" y="8201"/>
                    <a:pt x="2188" y="8289"/>
                  </a:cubicBezTo>
                  <a:cubicBezTo>
                    <a:pt x="2376" y="8869"/>
                    <a:pt x="2188" y="9789"/>
                    <a:pt x="2107" y="10382"/>
                  </a:cubicBezTo>
                  <a:cubicBezTo>
                    <a:pt x="1848" y="12028"/>
                    <a:pt x="1903" y="13771"/>
                    <a:pt x="1809" y="15430"/>
                  </a:cubicBezTo>
                  <a:cubicBezTo>
                    <a:pt x="1796" y="15822"/>
                    <a:pt x="1715" y="17672"/>
                    <a:pt x="2269" y="17753"/>
                  </a:cubicBezTo>
                  <a:cubicBezTo>
                    <a:pt x="2276" y="17754"/>
                    <a:pt x="2284" y="17754"/>
                    <a:pt x="2291" y="17754"/>
                  </a:cubicBezTo>
                  <a:cubicBezTo>
                    <a:pt x="2480" y="17754"/>
                    <a:pt x="2608" y="17437"/>
                    <a:pt x="2674" y="17322"/>
                  </a:cubicBezTo>
                  <a:cubicBezTo>
                    <a:pt x="2956" y="16742"/>
                    <a:pt x="3079" y="16240"/>
                    <a:pt x="3241" y="15647"/>
                  </a:cubicBezTo>
                  <a:cubicBezTo>
                    <a:pt x="3766" y="13758"/>
                    <a:pt x="3565" y="11746"/>
                    <a:pt x="3996" y="9857"/>
                  </a:cubicBezTo>
                  <a:cubicBezTo>
                    <a:pt x="4077" y="9504"/>
                    <a:pt x="4550" y="8114"/>
                    <a:pt x="4968" y="8114"/>
                  </a:cubicBezTo>
                  <a:cubicBezTo>
                    <a:pt x="5953" y="8114"/>
                    <a:pt x="5723" y="9546"/>
                    <a:pt x="5804" y="10207"/>
                  </a:cubicBezTo>
                  <a:cubicBezTo>
                    <a:pt x="5833" y="10424"/>
                    <a:pt x="5778" y="11030"/>
                    <a:pt x="6141" y="11030"/>
                  </a:cubicBezTo>
                  <a:cubicBezTo>
                    <a:pt x="6900" y="11030"/>
                    <a:pt x="6621" y="8937"/>
                    <a:pt x="7175" y="8937"/>
                  </a:cubicBezTo>
                  <a:cubicBezTo>
                    <a:pt x="7302" y="8937"/>
                    <a:pt x="7472" y="9047"/>
                    <a:pt x="7709" y="9316"/>
                  </a:cubicBezTo>
                  <a:cubicBezTo>
                    <a:pt x="7910" y="9546"/>
                    <a:pt x="7871" y="9802"/>
                    <a:pt x="7871" y="10100"/>
                  </a:cubicBezTo>
                  <a:cubicBezTo>
                    <a:pt x="7871" y="10518"/>
                    <a:pt x="8046" y="10991"/>
                    <a:pt x="8085" y="11409"/>
                  </a:cubicBezTo>
                  <a:cubicBezTo>
                    <a:pt x="8114" y="11853"/>
                    <a:pt x="7965" y="12394"/>
                    <a:pt x="8114" y="12825"/>
                  </a:cubicBezTo>
                  <a:cubicBezTo>
                    <a:pt x="8182" y="13016"/>
                    <a:pt x="8221" y="13878"/>
                    <a:pt x="8545" y="13878"/>
                  </a:cubicBezTo>
                  <a:cubicBezTo>
                    <a:pt x="9112" y="13878"/>
                    <a:pt x="9018" y="12352"/>
                    <a:pt x="9018" y="12028"/>
                  </a:cubicBezTo>
                  <a:cubicBezTo>
                    <a:pt x="9031" y="11341"/>
                    <a:pt x="9138" y="10651"/>
                    <a:pt x="9180" y="9977"/>
                  </a:cubicBezTo>
                  <a:cubicBezTo>
                    <a:pt x="9261" y="8817"/>
                    <a:pt x="9099" y="7411"/>
                    <a:pt x="10003" y="6536"/>
                  </a:cubicBezTo>
                  <a:cubicBezTo>
                    <a:pt x="10048" y="6486"/>
                    <a:pt x="10118" y="6465"/>
                    <a:pt x="10198" y="6465"/>
                  </a:cubicBezTo>
                  <a:cubicBezTo>
                    <a:pt x="10403" y="6465"/>
                    <a:pt x="10670" y="6605"/>
                    <a:pt x="10719" y="6750"/>
                  </a:cubicBezTo>
                  <a:cubicBezTo>
                    <a:pt x="11017" y="7628"/>
                    <a:pt x="10800" y="8788"/>
                    <a:pt x="11354" y="9546"/>
                  </a:cubicBezTo>
                  <a:cubicBezTo>
                    <a:pt x="11360" y="9554"/>
                    <a:pt x="11367" y="9558"/>
                    <a:pt x="11375" y="9558"/>
                  </a:cubicBezTo>
                  <a:cubicBezTo>
                    <a:pt x="11460" y="9558"/>
                    <a:pt x="11651" y="9149"/>
                    <a:pt x="11678" y="9099"/>
                  </a:cubicBezTo>
                  <a:cubicBezTo>
                    <a:pt x="11798" y="8856"/>
                    <a:pt x="11798" y="7670"/>
                    <a:pt x="12070" y="7573"/>
                  </a:cubicBezTo>
                  <a:cubicBezTo>
                    <a:pt x="12074" y="7571"/>
                    <a:pt x="12079" y="7571"/>
                    <a:pt x="12084" y="7571"/>
                  </a:cubicBezTo>
                  <a:cubicBezTo>
                    <a:pt x="12213" y="7571"/>
                    <a:pt x="12502" y="8037"/>
                    <a:pt x="12527" y="8140"/>
                  </a:cubicBezTo>
                  <a:cubicBezTo>
                    <a:pt x="12744" y="8775"/>
                    <a:pt x="12650" y="9653"/>
                    <a:pt x="13055" y="10220"/>
                  </a:cubicBezTo>
                  <a:cubicBezTo>
                    <a:pt x="13246" y="10477"/>
                    <a:pt x="13490" y="10610"/>
                    <a:pt x="13713" y="10610"/>
                  </a:cubicBezTo>
                  <a:cubicBezTo>
                    <a:pt x="13992" y="10610"/>
                    <a:pt x="14236" y="10400"/>
                    <a:pt x="14296" y="9964"/>
                  </a:cubicBezTo>
                  <a:cubicBezTo>
                    <a:pt x="14351" y="9614"/>
                    <a:pt x="14390" y="9248"/>
                    <a:pt x="14432" y="8869"/>
                  </a:cubicBezTo>
                  <a:cubicBezTo>
                    <a:pt x="12083" y="4051"/>
                    <a:pt x="9559" y="1"/>
                    <a:pt x="766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5" name="Google Shape;4815;p52">
              <a:extLst>
                <a:ext uri="{FF2B5EF4-FFF2-40B4-BE49-F238E27FC236}">
                  <a16:creationId xmlns:a16="http://schemas.microsoft.com/office/drawing/2014/main" id="{842AF74E-F5A4-A679-0376-A5285DB3ED4A}"/>
                </a:ext>
              </a:extLst>
            </p:cNvPr>
            <p:cNvSpPr/>
            <p:nvPr/>
          </p:nvSpPr>
          <p:spPr>
            <a:xfrm>
              <a:off x="4116237" y="3971964"/>
              <a:ext cx="234683" cy="370907"/>
            </a:xfrm>
            <a:custGeom>
              <a:avLst/>
              <a:gdLst/>
              <a:ahLst/>
              <a:cxnLst/>
              <a:rect l="l" t="t" r="r" b="b"/>
              <a:pathLst>
                <a:path w="7184" h="11354" extrusionOk="0">
                  <a:moveTo>
                    <a:pt x="3539" y="1"/>
                  </a:moveTo>
                  <a:lnTo>
                    <a:pt x="1" y="2376"/>
                  </a:lnTo>
                  <a:lnTo>
                    <a:pt x="1" y="11354"/>
                  </a:lnTo>
                  <a:lnTo>
                    <a:pt x="7184" y="11354"/>
                  </a:lnTo>
                  <a:lnTo>
                    <a:pt x="7184" y="2444"/>
                  </a:lnTo>
                  <a:lnTo>
                    <a:pt x="3539" y="1"/>
                  </a:lnTo>
                  <a:close/>
                </a:path>
              </a:pathLst>
            </a:custGeom>
            <a:solidFill>
              <a:srgbClr val="B2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6" name="Google Shape;4816;p52">
              <a:extLst>
                <a:ext uri="{FF2B5EF4-FFF2-40B4-BE49-F238E27FC236}">
                  <a16:creationId xmlns:a16="http://schemas.microsoft.com/office/drawing/2014/main" id="{C131FC98-8FF6-F779-45AD-9F4CEF1C7152}"/>
                </a:ext>
              </a:extLst>
            </p:cNvPr>
            <p:cNvSpPr/>
            <p:nvPr/>
          </p:nvSpPr>
          <p:spPr>
            <a:xfrm>
              <a:off x="4240606" y="4091890"/>
              <a:ext cx="67556" cy="80787"/>
            </a:xfrm>
            <a:custGeom>
              <a:avLst/>
              <a:gdLst/>
              <a:ahLst/>
              <a:cxnLst/>
              <a:rect l="l" t="t" r="r" b="b"/>
              <a:pathLst>
                <a:path w="2068" h="2473" extrusionOk="0">
                  <a:moveTo>
                    <a:pt x="1" y="1"/>
                  </a:moveTo>
                  <a:lnTo>
                    <a:pt x="1" y="2473"/>
                  </a:lnTo>
                  <a:lnTo>
                    <a:pt x="2068" y="2473"/>
                  </a:lnTo>
                  <a:lnTo>
                    <a:pt x="206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7" name="Google Shape;4817;p52">
              <a:extLst>
                <a:ext uri="{FF2B5EF4-FFF2-40B4-BE49-F238E27FC236}">
                  <a16:creationId xmlns:a16="http://schemas.microsoft.com/office/drawing/2014/main" id="{F26EA438-A085-BB5E-26B2-28A4B56DFE84}"/>
                </a:ext>
              </a:extLst>
            </p:cNvPr>
            <p:cNvSpPr/>
            <p:nvPr/>
          </p:nvSpPr>
          <p:spPr>
            <a:xfrm>
              <a:off x="4239757" y="4089766"/>
              <a:ext cx="36653" cy="44068"/>
            </a:xfrm>
            <a:custGeom>
              <a:avLst/>
              <a:gdLst/>
              <a:ahLst/>
              <a:cxnLst/>
              <a:rect l="l" t="t" r="r" b="b"/>
              <a:pathLst>
                <a:path w="1122" h="1349" extrusionOk="0">
                  <a:moveTo>
                    <a:pt x="1041" y="95"/>
                  </a:moveTo>
                  <a:lnTo>
                    <a:pt x="1041" y="1229"/>
                  </a:lnTo>
                  <a:lnTo>
                    <a:pt x="69" y="1229"/>
                  </a:lnTo>
                  <a:lnTo>
                    <a:pt x="69" y="95"/>
                  </a:lnTo>
                  <a:close/>
                  <a:moveTo>
                    <a:pt x="1" y="1"/>
                  </a:moveTo>
                  <a:lnTo>
                    <a:pt x="1" y="1349"/>
                  </a:lnTo>
                  <a:lnTo>
                    <a:pt x="69" y="1349"/>
                  </a:lnTo>
                  <a:lnTo>
                    <a:pt x="69" y="1323"/>
                  </a:lnTo>
                  <a:lnTo>
                    <a:pt x="1122" y="1323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8" name="Google Shape;4818;p52">
              <a:extLst>
                <a:ext uri="{FF2B5EF4-FFF2-40B4-BE49-F238E27FC236}">
                  <a16:creationId xmlns:a16="http://schemas.microsoft.com/office/drawing/2014/main" id="{ACCB37E4-B188-6930-5766-165736C10BF3}"/>
                </a:ext>
              </a:extLst>
            </p:cNvPr>
            <p:cNvSpPr/>
            <p:nvPr/>
          </p:nvSpPr>
          <p:spPr>
            <a:xfrm>
              <a:off x="4273732" y="4089766"/>
              <a:ext cx="36555" cy="43219"/>
            </a:xfrm>
            <a:custGeom>
              <a:avLst/>
              <a:gdLst/>
              <a:ahLst/>
              <a:cxnLst/>
              <a:rect l="l" t="t" r="r" b="b"/>
              <a:pathLst>
                <a:path w="1119" h="1323" extrusionOk="0">
                  <a:moveTo>
                    <a:pt x="1054" y="95"/>
                  </a:moveTo>
                  <a:lnTo>
                    <a:pt x="1054" y="1229"/>
                  </a:lnTo>
                  <a:lnTo>
                    <a:pt x="82" y="1229"/>
                  </a:lnTo>
                  <a:lnTo>
                    <a:pt x="82" y="95"/>
                  </a:lnTo>
                  <a:close/>
                  <a:moveTo>
                    <a:pt x="1" y="1"/>
                  </a:moveTo>
                  <a:lnTo>
                    <a:pt x="1" y="1281"/>
                  </a:lnTo>
                  <a:lnTo>
                    <a:pt x="14" y="1323"/>
                  </a:lnTo>
                  <a:lnTo>
                    <a:pt x="1119" y="1323"/>
                  </a:lnTo>
                  <a:lnTo>
                    <a:pt x="111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9" name="Google Shape;4819;p52">
              <a:extLst>
                <a:ext uri="{FF2B5EF4-FFF2-40B4-BE49-F238E27FC236}">
                  <a16:creationId xmlns:a16="http://schemas.microsoft.com/office/drawing/2014/main" id="{B8D0512B-0E74-71F5-C65C-778EC2541FCB}"/>
                </a:ext>
              </a:extLst>
            </p:cNvPr>
            <p:cNvSpPr/>
            <p:nvPr/>
          </p:nvSpPr>
          <p:spPr>
            <a:xfrm>
              <a:off x="4273732" y="4089766"/>
              <a:ext cx="2679" cy="43219"/>
            </a:xfrm>
            <a:custGeom>
              <a:avLst/>
              <a:gdLst/>
              <a:ahLst/>
              <a:cxnLst/>
              <a:rect l="l" t="t" r="r" b="b"/>
              <a:pathLst>
                <a:path w="82" h="1323" extrusionOk="0">
                  <a:moveTo>
                    <a:pt x="1" y="1"/>
                  </a:moveTo>
                  <a:lnTo>
                    <a:pt x="1" y="1281"/>
                  </a:lnTo>
                  <a:lnTo>
                    <a:pt x="1" y="1323"/>
                  </a:lnTo>
                  <a:lnTo>
                    <a:pt x="82" y="1323"/>
                  </a:lnTo>
                  <a:lnTo>
                    <a:pt x="82" y="53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0" name="Google Shape;4820;p52">
              <a:extLst>
                <a:ext uri="{FF2B5EF4-FFF2-40B4-BE49-F238E27FC236}">
                  <a16:creationId xmlns:a16="http://schemas.microsoft.com/office/drawing/2014/main" id="{4A33B899-00A8-723F-AD65-A76550117CBC}"/>
                </a:ext>
              </a:extLst>
            </p:cNvPr>
            <p:cNvSpPr/>
            <p:nvPr/>
          </p:nvSpPr>
          <p:spPr>
            <a:xfrm>
              <a:off x="4239757" y="4130733"/>
              <a:ext cx="36653" cy="43219"/>
            </a:xfrm>
            <a:custGeom>
              <a:avLst/>
              <a:gdLst/>
              <a:ahLst/>
              <a:cxnLst/>
              <a:rect l="l" t="t" r="r" b="b"/>
              <a:pathLst>
                <a:path w="1122" h="1323" extrusionOk="0">
                  <a:moveTo>
                    <a:pt x="1041" y="95"/>
                  </a:moveTo>
                  <a:lnTo>
                    <a:pt x="1041" y="1229"/>
                  </a:lnTo>
                  <a:lnTo>
                    <a:pt x="69" y="1229"/>
                  </a:lnTo>
                  <a:lnTo>
                    <a:pt x="69" y="95"/>
                  </a:lnTo>
                  <a:close/>
                  <a:moveTo>
                    <a:pt x="1" y="1"/>
                  </a:moveTo>
                  <a:lnTo>
                    <a:pt x="1" y="1323"/>
                  </a:lnTo>
                  <a:lnTo>
                    <a:pt x="1122" y="1323"/>
                  </a:lnTo>
                  <a:lnTo>
                    <a:pt x="1122" y="43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1" name="Google Shape;4821;p52">
              <a:extLst>
                <a:ext uri="{FF2B5EF4-FFF2-40B4-BE49-F238E27FC236}">
                  <a16:creationId xmlns:a16="http://schemas.microsoft.com/office/drawing/2014/main" id="{B39259A4-4C54-CE28-A310-14A0A73F1172}"/>
                </a:ext>
              </a:extLst>
            </p:cNvPr>
            <p:cNvSpPr/>
            <p:nvPr/>
          </p:nvSpPr>
          <p:spPr>
            <a:xfrm>
              <a:off x="4239757" y="4129883"/>
              <a:ext cx="36653" cy="3953"/>
            </a:xfrm>
            <a:custGeom>
              <a:avLst/>
              <a:gdLst/>
              <a:ahLst/>
              <a:cxnLst/>
              <a:rect l="l" t="t" r="r" b="b"/>
              <a:pathLst>
                <a:path w="112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22" y="121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2" name="Google Shape;4822;p52">
              <a:extLst>
                <a:ext uri="{FF2B5EF4-FFF2-40B4-BE49-F238E27FC236}">
                  <a16:creationId xmlns:a16="http://schemas.microsoft.com/office/drawing/2014/main" id="{BFC0D379-DB15-811C-FAC8-EE235F1797D7}"/>
                </a:ext>
              </a:extLst>
            </p:cNvPr>
            <p:cNvSpPr/>
            <p:nvPr/>
          </p:nvSpPr>
          <p:spPr>
            <a:xfrm>
              <a:off x="4273732" y="4129883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3" name="Google Shape;4823;p52">
              <a:extLst>
                <a:ext uri="{FF2B5EF4-FFF2-40B4-BE49-F238E27FC236}">
                  <a16:creationId xmlns:a16="http://schemas.microsoft.com/office/drawing/2014/main" id="{944C989F-D94A-F618-91CE-CF86BC9E4A4A}"/>
                </a:ext>
              </a:extLst>
            </p:cNvPr>
            <p:cNvSpPr/>
            <p:nvPr/>
          </p:nvSpPr>
          <p:spPr>
            <a:xfrm>
              <a:off x="4274156" y="4129883"/>
              <a:ext cx="36653" cy="44068"/>
            </a:xfrm>
            <a:custGeom>
              <a:avLst/>
              <a:gdLst/>
              <a:ahLst/>
              <a:cxnLst/>
              <a:rect l="l" t="t" r="r" b="b"/>
              <a:pathLst>
                <a:path w="1122" h="1349" extrusionOk="0">
                  <a:moveTo>
                    <a:pt x="1041" y="121"/>
                  </a:moveTo>
                  <a:lnTo>
                    <a:pt x="1041" y="1255"/>
                  </a:lnTo>
                  <a:lnTo>
                    <a:pt x="69" y="1255"/>
                  </a:lnTo>
                  <a:lnTo>
                    <a:pt x="69" y="121"/>
                  </a:lnTo>
                  <a:close/>
                  <a:moveTo>
                    <a:pt x="1041" y="1"/>
                  </a:moveTo>
                  <a:lnTo>
                    <a:pt x="1041" y="27"/>
                  </a:lnTo>
                  <a:lnTo>
                    <a:pt x="1" y="27"/>
                  </a:lnTo>
                  <a:lnTo>
                    <a:pt x="1" y="1349"/>
                  </a:lnTo>
                  <a:lnTo>
                    <a:pt x="1122" y="1349"/>
                  </a:lnTo>
                  <a:lnTo>
                    <a:pt x="1122" y="53"/>
                  </a:lnTo>
                  <a:lnTo>
                    <a:pt x="110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4" name="Google Shape;4824;p52">
              <a:extLst>
                <a:ext uri="{FF2B5EF4-FFF2-40B4-BE49-F238E27FC236}">
                  <a16:creationId xmlns:a16="http://schemas.microsoft.com/office/drawing/2014/main" id="{1F21F54E-F255-87C9-B7CE-5ADFCC2696EF}"/>
                </a:ext>
              </a:extLst>
            </p:cNvPr>
            <p:cNvSpPr/>
            <p:nvPr/>
          </p:nvSpPr>
          <p:spPr>
            <a:xfrm>
              <a:off x="4274156" y="4129883"/>
              <a:ext cx="36130" cy="3953"/>
            </a:xfrm>
            <a:custGeom>
              <a:avLst/>
              <a:gdLst/>
              <a:ahLst/>
              <a:cxnLst/>
              <a:rect l="l" t="t" r="r" b="b"/>
              <a:pathLst>
                <a:path w="1106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06" y="121"/>
                  </a:lnTo>
                  <a:lnTo>
                    <a:pt x="110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5" name="Google Shape;4825;p52">
              <a:extLst>
                <a:ext uri="{FF2B5EF4-FFF2-40B4-BE49-F238E27FC236}">
                  <a16:creationId xmlns:a16="http://schemas.microsoft.com/office/drawing/2014/main" id="{A5C8843D-ECB0-DC06-A0D8-6A0FE1A7C897}"/>
                </a:ext>
              </a:extLst>
            </p:cNvPr>
            <p:cNvSpPr/>
            <p:nvPr/>
          </p:nvSpPr>
          <p:spPr>
            <a:xfrm>
              <a:off x="4273732" y="4130733"/>
              <a:ext cx="2679" cy="43219"/>
            </a:xfrm>
            <a:custGeom>
              <a:avLst/>
              <a:gdLst/>
              <a:ahLst/>
              <a:cxnLst/>
              <a:rect l="l" t="t" r="r" b="b"/>
              <a:pathLst>
                <a:path w="82" h="1323" extrusionOk="0">
                  <a:moveTo>
                    <a:pt x="1" y="1"/>
                  </a:moveTo>
                  <a:lnTo>
                    <a:pt x="1" y="1323"/>
                  </a:lnTo>
                  <a:lnTo>
                    <a:pt x="82" y="1323"/>
                  </a:lnTo>
                  <a:lnTo>
                    <a:pt x="82" y="43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6" name="Google Shape;4826;p52">
              <a:extLst>
                <a:ext uri="{FF2B5EF4-FFF2-40B4-BE49-F238E27FC236}">
                  <a16:creationId xmlns:a16="http://schemas.microsoft.com/office/drawing/2014/main" id="{9F3E5FDD-0E23-9548-D86E-BCF8B04E191B}"/>
                </a:ext>
              </a:extLst>
            </p:cNvPr>
            <p:cNvSpPr/>
            <p:nvPr/>
          </p:nvSpPr>
          <p:spPr>
            <a:xfrm>
              <a:off x="4273732" y="4129883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7" name="Google Shape;4827;p52">
              <a:extLst>
                <a:ext uri="{FF2B5EF4-FFF2-40B4-BE49-F238E27FC236}">
                  <a16:creationId xmlns:a16="http://schemas.microsoft.com/office/drawing/2014/main" id="{D3BA0F8D-CACD-ADDA-276D-C0D03AC77861}"/>
                </a:ext>
              </a:extLst>
            </p:cNvPr>
            <p:cNvSpPr/>
            <p:nvPr/>
          </p:nvSpPr>
          <p:spPr>
            <a:xfrm>
              <a:off x="4273732" y="4129883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8" name="Google Shape;4828;p52">
              <a:extLst>
                <a:ext uri="{FF2B5EF4-FFF2-40B4-BE49-F238E27FC236}">
                  <a16:creationId xmlns:a16="http://schemas.microsoft.com/office/drawing/2014/main" id="{C5B25905-3579-4DDA-6A0E-64EE78EFAE41}"/>
                </a:ext>
              </a:extLst>
            </p:cNvPr>
            <p:cNvSpPr/>
            <p:nvPr/>
          </p:nvSpPr>
          <p:spPr>
            <a:xfrm>
              <a:off x="4148841" y="4091890"/>
              <a:ext cx="67556" cy="80787"/>
            </a:xfrm>
            <a:custGeom>
              <a:avLst/>
              <a:gdLst/>
              <a:ahLst/>
              <a:cxnLst/>
              <a:rect l="l" t="t" r="r" b="b"/>
              <a:pathLst>
                <a:path w="2068" h="2473" extrusionOk="0">
                  <a:moveTo>
                    <a:pt x="1" y="1"/>
                  </a:moveTo>
                  <a:lnTo>
                    <a:pt x="1" y="2473"/>
                  </a:lnTo>
                  <a:lnTo>
                    <a:pt x="2068" y="2473"/>
                  </a:lnTo>
                  <a:lnTo>
                    <a:pt x="206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9" name="Google Shape;4829;p52">
              <a:extLst>
                <a:ext uri="{FF2B5EF4-FFF2-40B4-BE49-F238E27FC236}">
                  <a16:creationId xmlns:a16="http://schemas.microsoft.com/office/drawing/2014/main" id="{81E4714B-370F-B702-C841-90572779C047}"/>
                </a:ext>
              </a:extLst>
            </p:cNvPr>
            <p:cNvSpPr/>
            <p:nvPr/>
          </p:nvSpPr>
          <p:spPr>
            <a:xfrm>
              <a:off x="4147991" y="4089766"/>
              <a:ext cx="36653" cy="44068"/>
            </a:xfrm>
            <a:custGeom>
              <a:avLst/>
              <a:gdLst/>
              <a:ahLst/>
              <a:cxnLst/>
              <a:rect l="l" t="t" r="r" b="b"/>
              <a:pathLst>
                <a:path w="1122" h="1349" extrusionOk="0">
                  <a:moveTo>
                    <a:pt x="1054" y="95"/>
                  </a:moveTo>
                  <a:lnTo>
                    <a:pt x="1054" y="1229"/>
                  </a:lnTo>
                  <a:lnTo>
                    <a:pt x="82" y="1229"/>
                  </a:lnTo>
                  <a:lnTo>
                    <a:pt x="82" y="95"/>
                  </a:lnTo>
                  <a:close/>
                  <a:moveTo>
                    <a:pt x="1" y="1"/>
                  </a:moveTo>
                  <a:lnTo>
                    <a:pt x="1" y="1349"/>
                  </a:lnTo>
                  <a:lnTo>
                    <a:pt x="82" y="1349"/>
                  </a:lnTo>
                  <a:lnTo>
                    <a:pt x="82" y="1323"/>
                  </a:lnTo>
                  <a:lnTo>
                    <a:pt x="1122" y="1323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0" name="Google Shape;4830;p52">
              <a:extLst>
                <a:ext uri="{FF2B5EF4-FFF2-40B4-BE49-F238E27FC236}">
                  <a16:creationId xmlns:a16="http://schemas.microsoft.com/office/drawing/2014/main" id="{E6FBE79C-98AE-BCC9-3CD1-778775EDDA22}"/>
                </a:ext>
              </a:extLst>
            </p:cNvPr>
            <p:cNvSpPr/>
            <p:nvPr/>
          </p:nvSpPr>
          <p:spPr>
            <a:xfrm>
              <a:off x="4182391" y="4089766"/>
              <a:ext cx="36653" cy="43219"/>
            </a:xfrm>
            <a:custGeom>
              <a:avLst/>
              <a:gdLst/>
              <a:ahLst/>
              <a:cxnLst/>
              <a:rect l="l" t="t" r="r" b="b"/>
              <a:pathLst>
                <a:path w="1122" h="1323" extrusionOk="0">
                  <a:moveTo>
                    <a:pt x="1041" y="95"/>
                  </a:moveTo>
                  <a:lnTo>
                    <a:pt x="1041" y="1229"/>
                  </a:lnTo>
                  <a:lnTo>
                    <a:pt x="69" y="1229"/>
                  </a:lnTo>
                  <a:lnTo>
                    <a:pt x="69" y="95"/>
                  </a:lnTo>
                  <a:close/>
                  <a:moveTo>
                    <a:pt x="1" y="1"/>
                  </a:moveTo>
                  <a:lnTo>
                    <a:pt x="1" y="1281"/>
                  </a:lnTo>
                  <a:lnTo>
                    <a:pt x="1" y="1323"/>
                  </a:lnTo>
                  <a:lnTo>
                    <a:pt x="1122" y="1323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1" name="Google Shape;4831;p52">
              <a:extLst>
                <a:ext uri="{FF2B5EF4-FFF2-40B4-BE49-F238E27FC236}">
                  <a16:creationId xmlns:a16="http://schemas.microsoft.com/office/drawing/2014/main" id="{F14BB962-61EF-7533-A0D6-4EAF64D06576}"/>
                </a:ext>
              </a:extLst>
            </p:cNvPr>
            <p:cNvSpPr/>
            <p:nvPr/>
          </p:nvSpPr>
          <p:spPr>
            <a:xfrm>
              <a:off x="4182391" y="4089766"/>
              <a:ext cx="2254" cy="43219"/>
            </a:xfrm>
            <a:custGeom>
              <a:avLst/>
              <a:gdLst/>
              <a:ahLst/>
              <a:cxnLst/>
              <a:rect l="l" t="t" r="r" b="b"/>
              <a:pathLst>
                <a:path w="69" h="1323" extrusionOk="0">
                  <a:moveTo>
                    <a:pt x="1" y="1"/>
                  </a:moveTo>
                  <a:lnTo>
                    <a:pt x="1" y="1281"/>
                  </a:lnTo>
                  <a:lnTo>
                    <a:pt x="1" y="1323"/>
                  </a:lnTo>
                  <a:lnTo>
                    <a:pt x="69" y="1323"/>
                  </a:lnTo>
                  <a:lnTo>
                    <a:pt x="69" y="53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2" name="Google Shape;4832;p52">
              <a:extLst>
                <a:ext uri="{FF2B5EF4-FFF2-40B4-BE49-F238E27FC236}">
                  <a16:creationId xmlns:a16="http://schemas.microsoft.com/office/drawing/2014/main" id="{CF98AADF-1421-329A-539E-87DBC078ADBB}"/>
                </a:ext>
              </a:extLst>
            </p:cNvPr>
            <p:cNvSpPr/>
            <p:nvPr/>
          </p:nvSpPr>
          <p:spPr>
            <a:xfrm>
              <a:off x="4147991" y="4130733"/>
              <a:ext cx="36653" cy="43219"/>
            </a:xfrm>
            <a:custGeom>
              <a:avLst/>
              <a:gdLst/>
              <a:ahLst/>
              <a:cxnLst/>
              <a:rect l="l" t="t" r="r" b="b"/>
              <a:pathLst>
                <a:path w="1122" h="1323" extrusionOk="0">
                  <a:moveTo>
                    <a:pt x="1054" y="95"/>
                  </a:moveTo>
                  <a:lnTo>
                    <a:pt x="1054" y="1229"/>
                  </a:lnTo>
                  <a:lnTo>
                    <a:pt x="82" y="1229"/>
                  </a:lnTo>
                  <a:lnTo>
                    <a:pt x="82" y="95"/>
                  </a:lnTo>
                  <a:close/>
                  <a:moveTo>
                    <a:pt x="1" y="1"/>
                  </a:moveTo>
                  <a:lnTo>
                    <a:pt x="1" y="1323"/>
                  </a:lnTo>
                  <a:lnTo>
                    <a:pt x="1122" y="1323"/>
                  </a:lnTo>
                  <a:lnTo>
                    <a:pt x="1122" y="43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3" name="Google Shape;4833;p52">
              <a:extLst>
                <a:ext uri="{FF2B5EF4-FFF2-40B4-BE49-F238E27FC236}">
                  <a16:creationId xmlns:a16="http://schemas.microsoft.com/office/drawing/2014/main" id="{5B890209-8B75-A2C4-5195-971D87D9DB1F}"/>
                </a:ext>
              </a:extLst>
            </p:cNvPr>
            <p:cNvSpPr/>
            <p:nvPr/>
          </p:nvSpPr>
          <p:spPr>
            <a:xfrm>
              <a:off x="4147991" y="4129883"/>
              <a:ext cx="36653" cy="3953"/>
            </a:xfrm>
            <a:custGeom>
              <a:avLst/>
              <a:gdLst/>
              <a:ahLst/>
              <a:cxnLst/>
              <a:rect l="l" t="t" r="r" b="b"/>
              <a:pathLst>
                <a:path w="112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22" y="121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4" name="Google Shape;4834;p52">
              <a:extLst>
                <a:ext uri="{FF2B5EF4-FFF2-40B4-BE49-F238E27FC236}">
                  <a16:creationId xmlns:a16="http://schemas.microsoft.com/office/drawing/2014/main" id="{24421E2A-7EC8-9667-DB68-9B45B97159D9}"/>
                </a:ext>
              </a:extLst>
            </p:cNvPr>
            <p:cNvSpPr/>
            <p:nvPr/>
          </p:nvSpPr>
          <p:spPr>
            <a:xfrm>
              <a:off x="4182391" y="4129883"/>
              <a:ext cx="2254" cy="3953"/>
            </a:xfrm>
            <a:custGeom>
              <a:avLst/>
              <a:gdLst/>
              <a:ahLst/>
              <a:cxnLst/>
              <a:rect l="l" t="t" r="r" b="b"/>
              <a:pathLst>
                <a:path w="69" h="121" extrusionOk="0">
                  <a:moveTo>
                    <a:pt x="1" y="1"/>
                  </a:moveTo>
                  <a:lnTo>
                    <a:pt x="1" y="121"/>
                  </a:lnTo>
                  <a:lnTo>
                    <a:pt x="69" y="121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5" name="Google Shape;4835;p52">
              <a:extLst>
                <a:ext uri="{FF2B5EF4-FFF2-40B4-BE49-F238E27FC236}">
                  <a16:creationId xmlns:a16="http://schemas.microsoft.com/office/drawing/2014/main" id="{1C03C464-DB5B-402C-44EE-22E9CF2DA029}"/>
                </a:ext>
              </a:extLst>
            </p:cNvPr>
            <p:cNvSpPr/>
            <p:nvPr/>
          </p:nvSpPr>
          <p:spPr>
            <a:xfrm>
              <a:off x="4182391" y="4129883"/>
              <a:ext cx="36653" cy="44068"/>
            </a:xfrm>
            <a:custGeom>
              <a:avLst/>
              <a:gdLst/>
              <a:ahLst/>
              <a:cxnLst/>
              <a:rect l="l" t="t" r="r" b="b"/>
              <a:pathLst>
                <a:path w="1122" h="1349" extrusionOk="0">
                  <a:moveTo>
                    <a:pt x="1041" y="121"/>
                  </a:moveTo>
                  <a:lnTo>
                    <a:pt x="1041" y="1255"/>
                  </a:lnTo>
                  <a:lnTo>
                    <a:pt x="82" y="1255"/>
                  </a:lnTo>
                  <a:lnTo>
                    <a:pt x="82" y="121"/>
                  </a:lnTo>
                  <a:close/>
                  <a:moveTo>
                    <a:pt x="1041" y="1"/>
                  </a:moveTo>
                  <a:lnTo>
                    <a:pt x="1041" y="27"/>
                  </a:lnTo>
                  <a:lnTo>
                    <a:pt x="1" y="27"/>
                  </a:lnTo>
                  <a:lnTo>
                    <a:pt x="1" y="1349"/>
                  </a:lnTo>
                  <a:lnTo>
                    <a:pt x="1122" y="1349"/>
                  </a:lnTo>
                  <a:lnTo>
                    <a:pt x="1122" y="53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6" name="Google Shape;4836;p52">
              <a:extLst>
                <a:ext uri="{FF2B5EF4-FFF2-40B4-BE49-F238E27FC236}">
                  <a16:creationId xmlns:a16="http://schemas.microsoft.com/office/drawing/2014/main" id="{43970722-0691-87CD-4CCE-770E0D8CEE21}"/>
                </a:ext>
              </a:extLst>
            </p:cNvPr>
            <p:cNvSpPr/>
            <p:nvPr/>
          </p:nvSpPr>
          <p:spPr>
            <a:xfrm>
              <a:off x="4182391" y="4129883"/>
              <a:ext cx="36653" cy="3953"/>
            </a:xfrm>
            <a:custGeom>
              <a:avLst/>
              <a:gdLst/>
              <a:ahLst/>
              <a:cxnLst/>
              <a:rect l="l" t="t" r="r" b="b"/>
              <a:pathLst>
                <a:path w="112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22" y="121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7" name="Google Shape;4837;p52">
              <a:extLst>
                <a:ext uri="{FF2B5EF4-FFF2-40B4-BE49-F238E27FC236}">
                  <a16:creationId xmlns:a16="http://schemas.microsoft.com/office/drawing/2014/main" id="{B1835AFF-E625-2C4E-32CD-67B2FAE4AD31}"/>
                </a:ext>
              </a:extLst>
            </p:cNvPr>
            <p:cNvSpPr/>
            <p:nvPr/>
          </p:nvSpPr>
          <p:spPr>
            <a:xfrm>
              <a:off x="4182391" y="4130733"/>
              <a:ext cx="2679" cy="43219"/>
            </a:xfrm>
            <a:custGeom>
              <a:avLst/>
              <a:gdLst/>
              <a:ahLst/>
              <a:cxnLst/>
              <a:rect l="l" t="t" r="r" b="b"/>
              <a:pathLst>
                <a:path w="82" h="1323" extrusionOk="0">
                  <a:moveTo>
                    <a:pt x="1" y="1"/>
                  </a:moveTo>
                  <a:lnTo>
                    <a:pt x="1" y="1323"/>
                  </a:lnTo>
                  <a:lnTo>
                    <a:pt x="82" y="1323"/>
                  </a:lnTo>
                  <a:lnTo>
                    <a:pt x="82" y="43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8" name="Google Shape;4838;p52">
              <a:extLst>
                <a:ext uri="{FF2B5EF4-FFF2-40B4-BE49-F238E27FC236}">
                  <a16:creationId xmlns:a16="http://schemas.microsoft.com/office/drawing/2014/main" id="{03FDB217-6403-ECB7-8C68-37C2D4849662}"/>
                </a:ext>
              </a:extLst>
            </p:cNvPr>
            <p:cNvSpPr/>
            <p:nvPr/>
          </p:nvSpPr>
          <p:spPr>
            <a:xfrm>
              <a:off x="4182391" y="4129883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9" name="Google Shape;4839;p52">
              <a:extLst>
                <a:ext uri="{FF2B5EF4-FFF2-40B4-BE49-F238E27FC236}">
                  <a16:creationId xmlns:a16="http://schemas.microsoft.com/office/drawing/2014/main" id="{63C036FB-C543-2539-5341-E12608C08B13}"/>
                </a:ext>
              </a:extLst>
            </p:cNvPr>
            <p:cNvSpPr/>
            <p:nvPr/>
          </p:nvSpPr>
          <p:spPr>
            <a:xfrm>
              <a:off x="4182391" y="4129883"/>
              <a:ext cx="2254" cy="3953"/>
            </a:xfrm>
            <a:custGeom>
              <a:avLst/>
              <a:gdLst/>
              <a:ahLst/>
              <a:cxnLst/>
              <a:rect l="l" t="t" r="r" b="b"/>
              <a:pathLst>
                <a:path w="69" h="121" extrusionOk="0">
                  <a:moveTo>
                    <a:pt x="1" y="1"/>
                  </a:moveTo>
                  <a:lnTo>
                    <a:pt x="1" y="121"/>
                  </a:lnTo>
                  <a:lnTo>
                    <a:pt x="69" y="121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0" name="Google Shape;4840;p52">
              <a:extLst>
                <a:ext uri="{FF2B5EF4-FFF2-40B4-BE49-F238E27FC236}">
                  <a16:creationId xmlns:a16="http://schemas.microsoft.com/office/drawing/2014/main" id="{EB5E96D9-590D-4793-6574-1FD678D2337F}"/>
                </a:ext>
              </a:extLst>
            </p:cNvPr>
            <p:cNvSpPr/>
            <p:nvPr/>
          </p:nvSpPr>
          <p:spPr>
            <a:xfrm>
              <a:off x="4240606" y="4129458"/>
              <a:ext cx="67556" cy="80264"/>
            </a:xfrm>
            <a:custGeom>
              <a:avLst/>
              <a:gdLst/>
              <a:ahLst/>
              <a:cxnLst/>
              <a:rect l="l" t="t" r="r" b="b"/>
              <a:pathLst>
                <a:path w="2068" h="2457" extrusionOk="0">
                  <a:moveTo>
                    <a:pt x="1" y="1"/>
                  </a:moveTo>
                  <a:lnTo>
                    <a:pt x="1" y="2457"/>
                  </a:lnTo>
                  <a:lnTo>
                    <a:pt x="2068" y="2457"/>
                  </a:lnTo>
                  <a:lnTo>
                    <a:pt x="206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1" name="Google Shape;4841;p52">
              <a:extLst>
                <a:ext uri="{FF2B5EF4-FFF2-40B4-BE49-F238E27FC236}">
                  <a16:creationId xmlns:a16="http://schemas.microsoft.com/office/drawing/2014/main" id="{AE9803DB-E4B2-1F9C-B31D-8542B0B0B90A}"/>
                </a:ext>
              </a:extLst>
            </p:cNvPr>
            <p:cNvSpPr/>
            <p:nvPr/>
          </p:nvSpPr>
          <p:spPr>
            <a:xfrm>
              <a:off x="4239757" y="4127237"/>
              <a:ext cx="36653" cy="43644"/>
            </a:xfrm>
            <a:custGeom>
              <a:avLst/>
              <a:gdLst/>
              <a:ahLst/>
              <a:cxnLst/>
              <a:rect l="l" t="t" r="r" b="b"/>
              <a:pathLst>
                <a:path w="1122" h="1336" extrusionOk="0">
                  <a:moveTo>
                    <a:pt x="1041" y="82"/>
                  </a:moveTo>
                  <a:lnTo>
                    <a:pt x="1041" y="1216"/>
                  </a:lnTo>
                  <a:lnTo>
                    <a:pt x="69" y="1216"/>
                  </a:lnTo>
                  <a:lnTo>
                    <a:pt x="69" y="82"/>
                  </a:lnTo>
                  <a:close/>
                  <a:moveTo>
                    <a:pt x="1" y="1"/>
                  </a:moveTo>
                  <a:lnTo>
                    <a:pt x="1" y="1336"/>
                  </a:lnTo>
                  <a:lnTo>
                    <a:pt x="69" y="1336"/>
                  </a:lnTo>
                  <a:lnTo>
                    <a:pt x="69" y="1310"/>
                  </a:lnTo>
                  <a:lnTo>
                    <a:pt x="1122" y="1310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2" name="Google Shape;4842;p52">
              <a:extLst>
                <a:ext uri="{FF2B5EF4-FFF2-40B4-BE49-F238E27FC236}">
                  <a16:creationId xmlns:a16="http://schemas.microsoft.com/office/drawing/2014/main" id="{22A70B4E-CB04-7092-9903-ACB7560D1261}"/>
                </a:ext>
              </a:extLst>
            </p:cNvPr>
            <p:cNvSpPr/>
            <p:nvPr/>
          </p:nvSpPr>
          <p:spPr>
            <a:xfrm>
              <a:off x="4273732" y="4127237"/>
              <a:ext cx="36555" cy="42794"/>
            </a:xfrm>
            <a:custGeom>
              <a:avLst/>
              <a:gdLst/>
              <a:ahLst/>
              <a:cxnLst/>
              <a:rect l="l" t="t" r="r" b="b"/>
              <a:pathLst>
                <a:path w="1119" h="1310" extrusionOk="0">
                  <a:moveTo>
                    <a:pt x="1054" y="82"/>
                  </a:moveTo>
                  <a:lnTo>
                    <a:pt x="1054" y="1216"/>
                  </a:lnTo>
                  <a:lnTo>
                    <a:pt x="82" y="1216"/>
                  </a:lnTo>
                  <a:lnTo>
                    <a:pt x="82" y="82"/>
                  </a:lnTo>
                  <a:close/>
                  <a:moveTo>
                    <a:pt x="1" y="1"/>
                  </a:moveTo>
                  <a:lnTo>
                    <a:pt x="1" y="1268"/>
                  </a:lnTo>
                  <a:lnTo>
                    <a:pt x="14" y="1310"/>
                  </a:lnTo>
                  <a:lnTo>
                    <a:pt x="1119" y="1310"/>
                  </a:lnTo>
                  <a:lnTo>
                    <a:pt x="111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3" name="Google Shape;4843;p52">
              <a:extLst>
                <a:ext uri="{FF2B5EF4-FFF2-40B4-BE49-F238E27FC236}">
                  <a16:creationId xmlns:a16="http://schemas.microsoft.com/office/drawing/2014/main" id="{DF6F27B2-09AE-6F47-5E96-3175E3BD6D4C}"/>
                </a:ext>
              </a:extLst>
            </p:cNvPr>
            <p:cNvSpPr/>
            <p:nvPr/>
          </p:nvSpPr>
          <p:spPr>
            <a:xfrm>
              <a:off x="4273732" y="4127237"/>
              <a:ext cx="2679" cy="42794"/>
            </a:xfrm>
            <a:custGeom>
              <a:avLst/>
              <a:gdLst/>
              <a:ahLst/>
              <a:cxnLst/>
              <a:rect l="l" t="t" r="r" b="b"/>
              <a:pathLst>
                <a:path w="82" h="1310" extrusionOk="0">
                  <a:moveTo>
                    <a:pt x="1" y="1"/>
                  </a:moveTo>
                  <a:lnTo>
                    <a:pt x="1" y="1268"/>
                  </a:lnTo>
                  <a:lnTo>
                    <a:pt x="1" y="1310"/>
                  </a:lnTo>
                  <a:lnTo>
                    <a:pt x="82" y="1310"/>
                  </a:lnTo>
                  <a:lnTo>
                    <a:pt x="82" y="40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4" name="Google Shape;4844;p52">
              <a:extLst>
                <a:ext uri="{FF2B5EF4-FFF2-40B4-BE49-F238E27FC236}">
                  <a16:creationId xmlns:a16="http://schemas.microsoft.com/office/drawing/2014/main" id="{1EF336D2-9723-A449-DA05-9C55F4B36E6C}"/>
                </a:ext>
              </a:extLst>
            </p:cNvPr>
            <p:cNvSpPr/>
            <p:nvPr/>
          </p:nvSpPr>
          <p:spPr>
            <a:xfrm>
              <a:off x="4239757" y="4167778"/>
              <a:ext cx="36653" cy="43219"/>
            </a:xfrm>
            <a:custGeom>
              <a:avLst/>
              <a:gdLst/>
              <a:ahLst/>
              <a:cxnLst/>
              <a:rect l="l" t="t" r="r" b="b"/>
              <a:pathLst>
                <a:path w="1122" h="1323" extrusionOk="0">
                  <a:moveTo>
                    <a:pt x="1041" y="95"/>
                  </a:moveTo>
                  <a:lnTo>
                    <a:pt x="1041" y="1229"/>
                  </a:lnTo>
                  <a:lnTo>
                    <a:pt x="69" y="1229"/>
                  </a:lnTo>
                  <a:lnTo>
                    <a:pt x="69" y="95"/>
                  </a:lnTo>
                  <a:close/>
                  <a:moveTo>
                    <a:pt x="1" y="1"/>
                  </a:moveTo>
                  <a:lnTo>
                    <a:pt x="1" y="1323"/>
                  </a:lnTo>
                  <a:lnTo>
                    <a:pt x="1122" y="1323"/>
                  </a:lnTo>
                  <a:lnTo>
                    <a:pt x="1122" y="56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5" name="Google Shape;4845;p52">
              <a:extLst>
                <a:ext uri="{FF2B5EF4-FFF2-40B4-BE49-F238E27FC236}">
                  <a16:creationId xmlns:a16="http://schemas.microsoft.com/office/drawing/2014/main" id="{DFA298D6-5291-9906-FC5D-268E1B86322A}"/>
                </a:ext>
              </a:extLst>
            </p:cNvPr>
            <p:cNvSpPr/>
            <p:nvPr/>
          </p:nvSpPr>
          <p:spPr>
            <a:xfrm>
              <a:off x="4239757" y="4166929"/>
              <a:ext cx="36653" cy="3953"/>
            </a:xfrm>
            <a:custGeom>
              <a:avLst/>
              <a:gdLst/>
              <a:ahLst/>
              <a:cxnLst/>
              <a:rect l="l" t="t" r="r" b="b"/>
              <a:pathLst>
                <a:path w="112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22" y="121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6" name="Google Shape;4846;p52">
              <a:extLst>
                <a:ext uri="{FF2B5EF4-FFF2-40B4-BE49-F238E27FC236}">
                  <a16:creationId xmlns:a16="http://schemas.microsoft.com/office/drawing/2014/main" id="{8B75DB71-BB39-BF69-5E93-C5F86BE3E234}"/>
                </a:ext>
              </a:extLst>
            </p:cNvPr>
            <p:cNvSpPr/>
            <p:nvPr/>
          </p:nvSpPr>
          <p:spPr>
            <a:xfrm>
              <a:off x="4273732" y="4166929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7" name="Google Shape;4847;p52">
              <a:extLst>
                <a:ext uri="{FF2B5EF4-FFF2-40B4-BE49-F238E27FC236}">
                  <a16:creationId xmlns:a16="http://schemas.microsoft.com/office/drawing/2014/main" id="{8AE87C88-3037-3828-8C61-FA2B18A9DF2E}"/>
                </a:ext>
              </a:extLst>
            </p:cNvPr>
            <p:cNvSpPr/>
            <p:nvPr/>
          </p:nvSpPr>
          <p:spPr>
            <a:xfrm>
              <a:off x="4274156" y="4166929"/>
              <a:ext cx="36653" cy="44068"/>
            </a:xfrm>
            <a:custGeom>
              <a:avLst/>
              <a:gdLst/>
              <a:ahLst/>
              <a:cxnLst/>
              <a:rect l="l" t="t" r="r" b="b"/>
              <a:pathLst>
                <a:path w="1122" h="1349" extrusionOk="0">
                  <a:moveTo>
                    <a:pt x="1041" y="121"/>
                  </a:moveTo>
                  <a:lnTo>
                    <a:pt x="1041" y="1255"/>
                  </a:lnTo>
                  <a:lnTo>
                    <a:pt x="69" y="1255"/>
                  </a:lnTo>
                  <a:lnTo>
                    <a:pt x="69" y="121"/>
                  </a:lnTo>
                  <a:close/>
                  <a:moveTo>
                    <a:pt x="1041" y="1"/>
                  </a:moveTo>
                  <a:lnTo>
                    <a:pt x="1041" y="27"/>
                  </a:lnTo>
                  <a:lnTo>
                    <a:pt x="1" y="27"/>
                  </a:lnTo>
                  <a:lnTo>
                    <a:pt x="1" y="1349"/>
                  </a:lnTo>
                  <a:lnTo>
                    <a:pt x="1122" y="1349"/>
                  </a:lnTo>
                  <a:lnTo>
                    <a:pt x="1122" y="53"/>
                  </a:lnTo>
                  <a:lnTo>
                    <a:pt x="110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8" name="Google Shape;4848;p52">
              <a:extLst>
                <a:ext uri="{FF2B5EF4-FFF2-40B4-BE49-F238E27FC236}">
                  <a16:creationId xmlns:a16="http://schemas.microsoft.com/office/drawing/2014/main" id="{30949DA8-6908-AB52-4EE2-6C2083425F45}"/>
                </a:ext>
              </a:extLst>
            </p:cNvPr>
            <p:cNvSpPr/>
            <p:nvPr/>
          </p:nvSpPr>
          <p:spPr>
            <a:xfrm>
              <a:off x="4274156" y="4166929"/>
              <a:ext cx="36130" cy="3953"/>
            </a:xfrm>
            <a:custGeom>
              <a:avLst/>
              <a:gdLst/>
              <a:ahLst/>
              <a:cxnLst/>
              <a:rect l="l" t="t" r="r" b="b"/>
              <a:pathLst>
                <a:path w="1106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06" y="121"/>
                  </a:lnTo>
                  <a:lnTo>
                    <a:pt x="110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9" name="Google Shape;4849;p52">
              <a:extLst>
                <a:ext uri="{FF2B5EF4-FFF2-40B4-BE49-F238E27FC236}">
                  <a16:creationId xmlns:a16="http://schemas.microsoft.com/office/drawing/2014/main" id="{DE1CD85B-EAFF-C4A5-2546-F25F0C728862}"/>
                </a:ext>
              </a:extLst>
            </p:cNvPr>
            <p:cNvSpPr/>
            <p:nvPr/>
          </p:nvSpPr>
          <p:spPr>
            <a:xfrm>
              <a:off x="4273732" y="4167778"/>
              <a:ext cx="2679" cy="43219"/>
            </a:xfrm>
            <a:custGeom>
              <a:avLst/>
              <a:gdLst/>
              <a:ahLst/>
              <a:cxnLst/>
              <a:rect l="l" t="t" r="r" b="b"/>
              <a:pathLst>
                <a:path w="82" h="1323" extrusionOk="0">
                  <a:moveTo>
                    <a:pt x="1" y="1"/>
                  </a:moveTo>
                  <a:lnTo>
                    <a:pt x="1" y="1323"/>
                  </a:lnTo>
                  <a:lnTo>
                    <a:pt x="82" y="1323"/>
                  </a:lnTo>
                  <a:lnTo>
                    <a:pt x="82" y="56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0" name="Google Shape;4850;p52">
              <a:extLst>
                <a:ext uri="{FF2B5EF4-FFF2-40B4-BE49-F238E27FC236}">
                  <a16:creationId xmlns:a16="http://schemas.microsoft.com/office/drawing/2014/main" id="{153CBD31-20C5-A5C7-2A64-924139358706}"/>
                </a:ext>
              </a:extLst>
            </p:cNvPr>
            <p:cNvSpPr/>
            <p:nvPr/>
          </p:nvSpPr>
          <p:spPr>
            <a:xfrm>
              <a:off x="4273732" y="4166929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1" name="Google Shape;4851;p52">
              <a:extLst>
                <a:ext uri="{FF2B5EF4-FFF2-40B4-BE49-F238E27FC236}">
                  <a16:creationId xmlns:a16="http://schemas.microsoft.com/office/drawing/2014/main" id="{1A2CC1A1-7C54-2B6B-407E-5C777A0DA76E}"/>
                </a:ext>
              </a:extLst>
            </p:cNvPr>
            <p:cNvSpPr/>
            <p:nvPr/>
          </p:nvSpPr>
          <p:spPr>
            <a:xfrm>
              <a:off x="4273732" y="4166929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2" name="Google Shape;4852;p52">
              <a:extLst>
                <a:ext uri="{FF2B5EF4-FFF2-40B4-BE49-F238E27FC236}">
                  <a16:creationId xmlns:a16="http://schemas.microsoft.com/office/drawing/2014/main" id="{3191CD5A-0759-3BD9-6A60-4A003FD964CD}"/>
                </a:ext>
              </a:extLst>
            </p:cNvPr>
            <p:cNvSpPr/>
            <p:nvPr/>
          </p:nvSpPr>
          <p:spPr>
            <a:xfrm>
              <a:off x="4148841" y="4129458"/>
              <a:ext cx="67556" cy="80264"/>
            </a:xfrm>
            <a:custGeom>
              <a:avLst/>
              <a:gdLst/>
              <a:ahLst/>
              <a:cxnLst/>
              <a:rect l="l" t="t" r="r" b="b"/>
              <a:pathLst>
                <a:path w="2068" h="2457" extrusionOk="0">
                  <a:moveTo>
                    <a:pt x="1" y="1"/>
                  </a:moveTo>
                  <a:lnTo>
                    <a:pt x="1" y="2457"/>
                  </a:lnTo>
                  <a:lnTo>
                    <a:pt x="2068" y="2457"/>
                  </a:lnTo>
                  <a:lnTo>
                    <a:pt x="206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3" name="Google Shape;4853;p52">
              <a:extLst>
                <a:ext uri="{FF2B5EF4-FFF2-40B4-BE49-F238E27FC236}">
                  <a16:creationId xmlns:a16="http://schemas.microsoft.com/office/drawing/2014/main" id="{1710CB13-E5CF-4272-1D7A-D2FC5365F5AF}"/>
                </a:ext>
              </a:extLst>
            </p:cNvPr>
            <p:cNvSpPr/>
            <p:nvPr/>
          </p:nvSpPr>
          <p:spPr>
            <a:xfrm>
              <a:off x="4147991" y="4127237"/>
              <a:ext cx="36653" cy="43644"/>
            </a:xfrm>
            <a:custGeom>
              <a:avLst/>
              <a:gdLst/>
              <a:ahLst/>
              <a:cxnLst/>
              <a:rect l="l" t="t" r="r" b="b"/>
              <a:pathLst>
                <a:path w="1122" h="1336" extrusionOk="0">
                  <a:moveTo>
                    <a:pt x="1054" y="82"/>
                  </a:moveTo>
                  <a:lnTo>
                    <a:pt x="1054" y="1216"/>
                  </a:lnTo>
                  <a:lnTo>
                    <a:pt x="82" y="1216"/>
                  </a:lnTo>
                  <a:lnTo>
                    <a:pt x="82" y="82"/>
                  </a:lnTo>
                  <a:close/>
                  <a:moveTo>
                    <a:pt x="1" y="1"/>
                  </a:moveTo>
                  <a:lnTo>
                    <a:pt x="1" y="1336"/>
                  </a:lnTo>
                  <a:lnTo>
                    <a:pt x="82" y="1336"/>
                  </a:lnTo>
                  <a:lnTo>
                    <a:pt x="82" y="1310"/>
                  </a:lnTo>
                  <a:lnTo>
                    <a:pt x="1122" y="1310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4" name="Google Shape;4854;p52">
              <a:extLst>
                <a:ext uri="{FF2B5EF4-FFF2-40B4-BE49-F238E27FC236}">
                  <a16:creationId xmlns:a16="http://schemas.microsoft.com/office/drawing/2014/main" id="{4C66F620-81AA-3A57-7AEF-8F3806D642C4}"/>
                </a:ext>
              </a:extLst>
            </p:cNvPr>
            <p:cNvSpPr/>
            <p:nvPr/>
          </p:nvSpPr>
          <p:spPr>
            <a:xfrm>
              <a:off x="4182391" y="4127237"/>
              <a:ext cx="36653" cy="42794"/>
            </a:xfrm>
            <a:custGeom>
              <a:avLst/>
              <a:gdLst/>
              <a:ahLst/>
              <a:cxnLst/>
              <a:rect l="l" t="t" r="r" b="b"/>
              <a:pathLst>
                <a:path w="1122" h="1310" extrusionOk="0">
                  <a:moveTo>
                    <a:pt x="1041" y="82"/>
                  </a:moveTo>
                  <a:lnTo>
                    <a:pt x="1041" y="1216"/>
                  </a:lnTo>
                  <a:lnTo>
                    <a:pt x="69" y="1216"/>
                  </a:lnTo>
                  <a:lnTo>
                    <a:pt x="69" y="82"/>
                  </a:lnTo>
                  <a:close/>
                  <a:moveTo>
                    <a:pt x="1" y="1"/>
                  </a:moveTo>
                  <a:lnTo>
                    <a:pt x="1" y="1268"/>
                  </a:lnTo>
                  <a:lnTo>
                    <a:pt x="1" y="1310"/>
                  </a:lnTo>
                  <a:lnTo>
                    <a:pt x="1122" y="1310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5" name="Google Shape;4855;p52">
              <a:extLst>
                <a:ext uri="{FF2B5EF4-FFF2-40B4-BE49-F238E27FC236}">
                  <a16:creationId xmlns:a16="http://schemas.microsoft.com/office/drawing/2014/main" id="{19ADAFB9-8B18-9C0B-B85A-09840CBAD216}"/>
                </a:ext>
              </a:extLst>
            </p:cNvPr>
            <p:cNvSpPr/>
            <p:nvPr/>
          </p:nvSpPr>
          <p:spPr>
            <a:xfrm>
              <a:off x="4182391" y="4127237"/>
              <a:ext cx="2254" cy="42794"/>
            </a:xfrm>
            <a:custGeom>
              <a:avLst/>
              <a:gdLst/>
              <a:ahLst/>
              <a:cxnLst/>
              <a:rect l="l" t="t" r="r" b="b"/>
              <a:pathLst>
                <a:path w="69" h="1310" extrusionOk="0">
                  <a:moveTo>
                    <a:pt x="1" y="1"/>
                  </a:moveTo>
                  <a:lnTo>
                    <a:pt x="1" y="1268"/>
                  </a:lnTo>
                  <a:lnTo>
                    <a:pt x="1" y="1310"/>
                  </a:lnTo>
                  <a:lnTo>
                    <a:pt x="69" y="1310"/>
                  </a:lnTo>
                  <a:lnTo>
                    <a:pt x="69" y="40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6" name="Google Shape;4856;p52">
              <a:extLst>
                <a:ext uri="{FF2B5EF4-FFF2-40B4-BE49-F238E27FC236}">
                  <a16:creationId xmlns:a16="http://schemas.microsoft.com/office/drawing/2014/main" id="{E8DE12E9-6F0C-1527-7D83-04039779FDBC}"/>
                </a:ext>
              </a:extLst>
            </p:cNvPr>
            <p:cNvSpPr/>
            <p:nvPr/>
          </p:nvSpPr>
          <p:spPr>
            <a:xfrm>
              <a:off x="4147991" y="4167778"/>
              <a:ext cx="36653" cy="43219"/>
            </a:xfrm>
            <a:custGeom>
              <a:avLst/>
              <a:gdLst/>
              <a:ahLst/>
              <a:cxnLst/>
              <a:rect l="l" t="t" r="r" b="b"/>
              <a:pathLst>
                <a:path w="1122" h="1323" extrusionOk="0">
                  <a:moveTo>
                    <a:pt x="1054" y="95"/>
                  </a:moveTo>
                  <a:lnTo>
                    <a:pt x="1054" y="1229"/>
                  </a:lnTo>
                  <a:lnTo>
                    <a:pt x="82" y="1229"/>
                  </a:lnTo>
                  <a:lnTo>
                    <a:pt x="82" y="95"/>
                  </a:lnTo>
                  <a:close/>
                  <a:moveTo>
                    <a:pt x="1" y="1"/>
                  </a:moveTo>
                  <a:lnTo>
                    <a:pt x="1" y="1323"/>
                  </a:lnTo>
                  <a:lnTo>
                    <a:pt x="1122" y="1323"/>
                  </a:lnTo>
                  <a:lnTo>
                    <a:pt x="1122" y="56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7" name="Google Shape;4857;p52">
              <a:extLst>
                <a:ext uri="{FF2B5EF4-FFF2-40B4-BE49-F238E27FC236}">
                  <a16:creationId xmlns:a16="http://schemas.microsoft.com/office/drawing/2014/main" id="{08CCAC23-7578-DFFE-AF91-D2C64F854106}"/>
                </a:ext>
              </a:extLst>
            </p:cNvPr>
            <p:cNvSpPr/>
            <p:nvPr/>
          </p:nvSpPr>
          <p:spPr>
            <a:xfrm>
              <a:off x="4147991" y="4166929"/>
              <a:ext cx="36653" cy="3953"/>
            </a:xfrm>
            <a:custGeom>
              <a:avLst/>
              <a:gdLst/>
              <a:ahLst/>
              <a:cxnLst/>
              <a:rect l="l" t="t" r="r" b="b"/>
              <a:pathLst>
                <a:path w="112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22" y="121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8" name="Google Shape;4858;p52">
              <a:extLst>
                <a:ext uri="{FF2B5EF4-FFF2-40B4-BE49-F238E27FC236}">
                  <a16:creationId xmlns:a16="http://schemas.microsoft.com/office/drawing/2014/main" id="{5D7E02AC-E927-2DF8-F4E5-270E37235FAA}"/>
                </a:ext>
              </a:extLst>
            </p:cNvPr>
            <p:cNvSpPr/>
            <p:nvPr/>
          </p:nvSpPr>
          <p:spPr>
            <a:xfrm>
              <a:off x="4182391" y="4166929"/>
              <a:ext cx="2254" cy="3953"/>
            </a:xfrm>
            <a:custGeom>
              <a:avLst/>
              <a:gdLst/>
              <a:ahLst/>
              <a:cxnLst/>
              <a:rect l="l" t="t" r="r" b="b"/>
              <a:pathLst>
                <a:path w="69" h="121" extrusionOk="0">
                  <a:moveTo>
                    <a:pt x="1" y="1"/>
                  </a:moveTo>
                  <a:lnTo>
                    <a:pt x="1" y="121"/>
                  </a:lnTo>
                  <a:lnTo>
                    <a:pt x="69" y="121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9" name="Google Shape;4859;p52">
              <a:extLst>
                <a:ext uri="{FF2B5EF4-FFF2-40B4-BE49-F238E27FC236}">
                  <a16:creationId xmlns:a16="http://schemas.microsoft.com/office/drawing/2014/main" id="{6BCD6590-D505-3BAD-F28A-D2B80DFDE2F5}"/>
                </a:ext>
              </a:extLst>
            </p:cNvPr>
            <p:cNvSpPr/>
            <p:nvPr/>
          </p:nvSpPr>
          <p:spPr>
            <a:xfrm>
              <a:off x="4182391" y="4166929"/>
              <a:ext cx="36653" cy="44068"/>
            </a:xfrm>
            <a:custGeom>
              <a:avLst/>
              <a:gdLst/>
              <a:ahLst/>
              <a:cxnLst/>
              <a:rect l="l" t="t" r="r" b="b"/>
              <a:pathLst>
                <a:path w="1122" h="1349" extrusionOk="0">
                  <a:moveTo>
                    <a:pt x="1041" y="121"/>
                  </a:moveTo>
                  <a:lnTo>
                    <a:pt x="1041" y="1255"/>
                  </a:lnTo>
                  <a:lnTo>
                    <a:pt x="82" y="1255"/>
                  </a:lnTo>
                  <a:lnTo>
                    <a:pt x="82" y="121"/>
                  </a:lnTo>
                  <a:close/>
                  <a:moveTo>
                    <a:pt x="1041" y="1"/>
                  </a:moveTo>
                  <a:lnTo>
                    <a:pt x="1041" y="27"/>
                  </a:lnTo>
                  <a:lnTo>
                    <a:pt x="1" y="27"/>
                  </a:lnTo>
                  <a:lnTo>
                    <a:pt x="1" y="1349"/>
                  </a:lnTo>
                  <a:lnTo>
                    <a:pt x="1122" y="1349"/>
                  </a:lnTo>
                  <a:lnTo>
                    <a:pt x="1122" y="53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0" name="Google Shape;4860;p52">
              <a:extLst>
                <a:ext uri="{FF2B5EF4-FFF2-40B4-BE49-F238E27FC236}">
                  <a16:creationId xmlns:a16="http://schemas.microsoft.com/office/drawing/2014/main" id="{5EA4B25D-769B-3321-77F8-CC5EF6123937}"/>
                </a:ext>
              </a:extLst>
            </p:cNvPr>
            <p:cNvSpPr/>
            <p:nvPr/>
          </p:nvSpPr>
          <p:spPr>
            <a:xfrm>
              <a:off x="4182391" y="4166929"/>
              <a:ext cx="36653" cy="3953"/>
            </a:xfrm>
            <a:custGeom>
              <a:avLst/>
              <a:gdLst/>
              <a:ahLst/>
              <a:cxnLst/>
              <a:rect l="l" t="t" r="r" b="b"/>
              <a:pathLst>
                <a:path w="112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1122" y="121"/>
                  </a:lnTo>
                  <a:lnTo>
                    <a:pt x="112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1" name="Google Shape;4861;p52">
              <a:extLst>
                <a:ext uri="{FF2B5EF4-FFF2-40B4-BE49-F238E27FC236}">
                  <a16:creationId xmlns:a16="http://schemas.microsoft.com/office/drawing/2014/main" id="{66E7D397-E476-7EC2-F8B7-1BC9D606F66D}"/>
                </a:ext>
              </a:extLst>
            </p:cNvPr>
            <p:cNvSpPr/>
            <p:nvPr/>
          </p:nvSpPr>
          <p:spPr>
            <a:xfrm>
              <a:off x="4182391" y="4167778"/>
              <a:ext cx="2679" cy="43219"/>
            </a:xfrm>
            <a:custGeom>
              <a:avLst/>
              <a:gdLst/>
              <a:ahLst/>
              <a:cxnLst/>
              <a:rect l="l" t="t" r="r" b="b"/>
              <a:pathLst>
                <a:path w="82" h="1323" extrusionOk="0">
                  <a:moveTo>
                    <a:pt x="1" y="1"/>
                  </a:moveTo>
                  <a:lnTo>
                    <a:pt x="1" y="1323"/>
                  </a:lnTo>
                  <a:lnTo>
                    <a:pt x="82" y="1323"/>
                  </a:lnTo>
                  <a:lnTo>
                    <a:pt x="82" y="56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2" name="Google Shape;4862;p52">
              <a:extLst>
                <a:ext uri="{FF2B5EF4-FFF2-40B4-BE49-F238E27FC236}">
                  <a16:creationId xmlns:a16="http://schemas.microsoft.com/office/drawing/2014/main" id="{C48EC026-62AE-4ECB-47A4-5C12C65E1B25}"/>
                </a:ext>
              </a:extLst>
            </p:cNvPr>
            <p:cNvSpPr/>
            <p:nvPr/>
          </p:nvSpPr>
          <p:spPr>
            <a:xfrm>
              <a:off x="4182391" y="4166929"/>
              <a:ext cx="2679" cy="3953"/>
            </a:xfrm>
            <a:custGeom>
              <a:avLst/>
              <a:gdLst/>
              <a:ahLst/>
              <a:cxnLst/>
              <a:rect l="l" t="t" r="r" b="b"/>
              <a:pathLst>
                <a:path w="82" h="121" extrusionOk="0">
                  <a:moveTo>
                    <a:pt x="1" y="1"/>
                  </a:moveTo>
                  <a:lnTo>
                    <a:pt x="1" y="121"/>
                  </a:lnTo>
                  <a:lnTo>
                    <a:pt x="82" y="121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3" name="Google Shape;4863;p52">
              <a:extLst>
                <a:ext uri="{FF2B5EF4-FFF2-40B4-BE49-F238E27FC236}">
                  <a16:creationId xmlns:a16="http://schemas.microsoft.com/office/drawing/2014/main" id="{48F08DE3-ADCE-DEE3-A5F4-13EF59361E08}"/>
                </a:ext>
              </a:extLst>
            </p:cNvPr>
            <p:cNvSpPr/>
            <p:nvPr/>
          </p:nvSpPr>
          <p:spPr>
            <a:xfrm>
              <a:off x="4182391" y="4166929"/>
              <a:ext cx="2254" cy="3953"/>
            </a:xfrm>
            <a:custGeom>
              <a:avLst/>
              <a:gdLst/>
              <a:ahLst/>
              <a:cxnLst/>
              <a:rect l="l" t="t" r="r" b="b"/>
              <a:pathLst>
                <a:path w="69" h="121" extrusionOk="0">
                  <a:moveTo>
                    <a:pt x="1" y="1"/>
                  </a:moveTo>
                  <a:lnTo>
                    <a:pt x="1" y="121"/>
                  </a:lnTo>
                  <a:lnTo>
                    <a:pt x="69" y="121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4" name="Google Shape;4864;p52">
              <a:extLst>
                <a:ext uri="{FF2B5EF4-FFF2-40B4-BE49-F238E27FC236}">
                  <a16:creationId xmlns:a16="http://schemas.microsoft.com/office/drawing/2014/main" id="{2863A7B8-9A57-144E-7127-FB30974F3589}"/>
                </a:ext>
              </a:extLst>
            </p:cNvPr>
            <p:cNvSpPr/>
            <p:nvPr/>
          </p:nvSpPr>
          <p:spPr>
            <a:xfrm>
              <a:off x="4074749" y="3940635"/>
              <a:ext cx="309198" cy="130637"/>
            </a:xfrm>
            <a:custGeom>
              <a:avLst/>
              <a:gdLst/>
              <a:ahLst/>
              <a:cxnLst/>
              <a:rect l="l" t="t" r="r" b="b"/>
              <a:pathLst>
                <a:path w="9465" h="3999" extrusionOk="0">
                  <a:moveTo>
                    <a:pt x="4715" y="1"/>
                  </a:moveTo>
                  <a:lnTo>
                    <a:pt x="4132" y="487"/>
                  </a:lnTo>
                  <a:lnTo>
                    <a:pt x="1" y="3970"/>
                  </a:lnTo>
                  <a:lnTo>
                    <a:pt x="1070" y="3999"/>
                  </a:lnTo>
                  <a:lnTo>
                    <a:pt x="4728" y="986"/>
                  </a:lnTo>
                  <a:lnTo>
                    <a:pt x="8386" y="3999"/>
                  </a:lnTo>
                  <a:lnTo>
                    <a:pt x="9465" y="3970"/>
                  </a:lnTo>
                  <a:lnTo>
                    <a:pt x="5334" y="487"/>
                  </a:lnTo>
                  <a:lnTo>
                    <a:pt x="475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5" name="Google Shape;4865;p52">
              <a:extLst>
                <a:ext uri="{FF2B5EF4-FFF2-40B4-BE49-F238E27FC236}">
                  <a16:creationId xmlns:a16="http://schemas.microsoft.com/office/drawing/2014/main" id="{33CAA8D6-8758-A2AE-072D-4C19283D8F70}"/>
                </a:ext>
              </a:extLst>
            </p:cNvPr>
            <p:cNvSpPr/>
            <p:nvPr/>
          </p:nvSpPr>
          <p:spPr>
            <a:xfrm>
              <a:off x="3761655" y="4038542"/>
              <a:ext cx="260719" cy="299986"/>
            </a:xfrm>
            <a:custGeom>
              <a:avLst/>
              <a:gdLst/>
              <a:ahLst/>
              <a:cxnLst/>
              <a:rect l="l" t="t" r="r" b="b"/>
              <a:pathLst>
                <a:path w="7981" h="9183" extrusionOk="0">
                  <a:moveTo>
                    <a:pt x="3944" y="1"/>
                  </a:moveTo>
                  <a:lnTo>
                    <a:pt x="1" y="3241"/>
                  </a:lnTo>
                  <a:lnTo>
                    <a:pt x="1" y="9183"/>
                  </a:lnTo>
                  <a:lnTo>
                    <a:pt x="7981" y="9183"/>
                  </a:lnTo>
                  <a:lnTo>
                    <a:pt x="7981" y="3335"/>
                  </a:lnTo>
                  <a:lnTo>
                    <a:pt x="394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6" name="Google Shape;4866;p52">
              <a:extLst>
                <a:ext uri="{FF2B5EF4-FFF2-40B4-BE49-F238E27FC236}">
                  <a16:creationId xmlns:a16="http://schemas.microsoft.com/office/drawing/2014/main" id="{A8477598-D2D8-5347-20C3-134D2615DD9B}"/>
                </a:ext>
              </a:extLst>
            </p:cNvPr>
            <p:cNvSpPr/>
            <p:nvPr/>
          </p:nvSpPr>
          <p:spPr>
            <a:xfrm>
              <a:off x="3893537" y="4227366"/>
              <a:ext cx="33582" cy="31263"/>
            </a:xfrm>
            <a:custGeom>
              <a:avLst/>
              <a:gdLst/>
              <a:ahLst/>
              <a:cxnLst/>
              <a:rect l="l" t="t" r="r" b="b"/>
              <a:pathLst>
                <a:path w="1028" h="957" extrusionOk="0">
                  <a:moveTo>
                    <a:pt x="1" y="1"/>
                  </a:moveTo>
                  <a:lnTo>
                    <a:pt x="1" y="957"/>
                  </a:lnTo>
                  <a:lnTo>
                    <a:pt x="1028" y="957"/>
                  </a:lnTo>
                  <a:lnTo>
                    <a:pt x="1028" y="513"/>
                  </a:lnTo>
                  <a:cubicBezTo>
                    <a:pt x="947" y="296"/>
                    <a:pt x="798" y="121"/>
                    <a:pt x="607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7" name="Google Shape;4867;p52">
              <a:extLst>
                <a:ext uri="{FF2B5EF4-FFF2-40B4-BE49-F238E27FC236}">
                  <a16:creationId xmlns:a16="http://schemas.microsoft.com/office/drawing/2014/main" id="{40506E53-C4D6-EFAD-7227-349618F8E24C}"/>
                </a:ext>
              </a:extLst>
            </p:cNvPr>
            <p:cNvSpPr/>
            <p:nvPr/>
          </p:nvSpPr>
          <p:spPr>
            <a:xfrm>
              <a:off x="3876811" y="4220701"/>
              <a:ext cx="14112" cy="3103"/>
            </a:xfrm>
            <a:custGeom>
              <a:avLst/>
              <a:gdLst/>
              <a:ahLst/>
              <a:cxnLst/>
              <a:rect l="l" t="t" r="r" b="b"/>
              <a:pathLst>
                <a:path w="432" h="95" extrusionOk="0">
                  <a:moveTo>
                    <a:pt x="432" y="1"/>
                  </a:moveTo>
                  <a:cubicBezTo>
                    <a:pt x="283" y="1"/>
                    <a:pt x="134" y="43"/>
                    <a:pt x="1" y="95"/>
                  </a:cubicBezTo>
                  <a:lnTo>
                    <a:pt x="432" y="95"/>
                  </a:lnTo>
                  <a:lnTo>
                    <a:pt x="432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8" name="Google Shape;4868;p52">
              <a:extLst>
                <a:ext uri="{FF2B5EF4-FFF2-40B4-BE49-F238E27FC236}">
                  <a16:creationId xmlns:a16="http://schemas.microsoft.com/office/drawing/2014/main" id="{9FD460BF-5120-B767-EB23-198BC4310CC4}"/>
                </a:ext>
              </a:extLst>
            </p:cNvPr>
            <p:cNvSpPr/>
            <p:nvPr/>
          </p:nvSpPr>
          <p:spPr>
            <a:xfrm>
              <a:off x="3893537" y="4297439"/>
              <a:ext cx="33582" cy="33158"/>
            </a:xfrm>
            <a:custGeom>
              <a:avLst/>
              <a:gdLst/>
              <a:ahLst/>
              <a:cxnLst/>
              <a:rect l="l" t="t" r="r" b="b"/>
              <a:pathLst>
                <a:path w="1028" h="1015" extrusionOk="0">
                  <a:moveTo>
                    <a:pt x="1" y="1"/>
                  </a:moveTo>
                  <a:lnTo>
                    <a:pt x="1" y="1015"/>
                  </a:lnTo>
                  <a:lnTo>
                    <a:pt x="1028" y="1015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9" name="Google Shape;4869;p52">
              <a:extLst>
                <a:ext uri="{FF2B5EF4-FFF2-40B4-BE49-F238E27FC236}">
                  <a16:creationId xmlns:a16="http://schemas.microsoft.com/office/drawing/2014/main" id="{67A8F27E-061D-92E0-1E78-120157CA2F5D}"/>
                </a:ext>
              </a:extLst>
            </p:cNvPr>
            <p:cNvSpPr/>
            <p:nvPr/>
          </p:nvSpPr>
          <p:spPr>
            <a:xfrm>
              <a:off x="3857341" y="4297439"/>
              <a:ext cx="33582" cy="33158"/>
            </a:xfrm>
            <a:custGeom>
              <a:avLst/>
              <a:gdLst/>
              <a:ahLst/>
              <a:cxnLst/>
              <a:rect l="l" t="t" r="r" b="b"/>
              <a:pathLst>
                <a:path w="1028" h="1015" extrusionOk="0">
                  <a:moveTo>
                    <a:pt x="1" y="1"/>
                  </a:moveTo>
                  <a:lnTo>
                    <a:pt x="1" y="1015"/>
                  </a:lnTo>
                  <a:lnTo>
                    <a:pt x="1028" y="1015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0" name="Google Shape;4870;p52">
              <a:extLst>
                <a:ext uri="{FF2B5EF4-FFF2-40B4-BE49-F238E27FC236}">
                  <a16:creationId xmlns:a16="http://schemas.microsoft.com/office/drawing/2014/main" id="{5168E29C-71B2-8064-E0CD-09DA96876E82}"/>
                </a:ext>
              </a:extLst>
            </p:cNvPr>
            <p:cNvSpPr/>
            <p:nvPr/>
          </p:nvSpPr>
          <p:spPr>
            <a:xfrm>
              <a:off x="3857341" y="4227366"/>
              <a:ext cx="33582" cy="31263"/>
            </a:xfrm>
            <a:custGeom>
              <a:avLst/>
              <a:gdLst/>
              <a:ahLst/>
              <a:cxnLst/>
              <a:rect l="l" t="t" r="r" b="b"/>
              <a:pathLst>
                <a:path w="1028" h="957" extrusionOk="0">
                  <a:moveTo>
                    <a:pt x="419" y="1"/>
                  </a:moveTo>
                  <a:cubicBezTo>
                    <a:pt x="231" y="121"/>
                    <a:pt x="82" y="296"/>
                    <a:pt x="1" y="500"/>
                  </a:cubicBezTo>
                  <a:lnTo>
                    <a:pt x="1" y="957"/>
                  </a:lnTo>
                  <a:lnTo>
                    <a:pt x="1028" y="957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1" name="Google Shape;4871;p52">
              <a:extLst>
                <a:ext uri="{FF2B5EF4-FFF2-40B4-BE49-F238E27FC236}">
                  <a16:creationId xmlns:a16="http://schemas.microsoft.com/office/drawing/2014/main" id="{AA3B6ECE-6807-5229-705D-493C15719547}"/>
                </a:ext>
              </a:extLst>
            </p:cNvPr>
            <p:cNvSpPr/>
            <p:nvPr/>
          </p:nvSpPr>
          <p:spPr>
            <a:xfrm>
              <a:off x="3893537" y="4262615"/>
              <a:ext cx="33582" cy="31785"/>
            </a:xfrm>
            <a:custGeom>
              <a:avLst/>
              <a:gdLst/>
              <a:ahLst/>
              <a:cxnLst/>
              <a:rect l="l" t="t" r="r" b="b"/>
              <a:pathLst>
                <a:path w="1028" h="973" extrusionOk="0">
                  <a:moveTo>
                    <a:pt x="1" y="1"/>
                  </a:moveTo>
                  <a:lnTo>
                    <a:pt x="1" y="973"/>
                  </a:lnTo>
                  <a:lnTo>
                    <a:pt x="1028" y="973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2" name="Google Shape;4872;p52">
              <a:extLst>
                <a:ext uri="{FF2B5EF4-FFF2-40B4-BE49-F238E27FC236}">
                  <a16:creationId xmlns:a16="http://schemas.microsoft.com/office/drawing/2014/main" id="{F0F1FBB0-D49A-25B6-D742-3CC6FC252F63}"/>
                </a:ext>
              </a:extLst>
            </p:cNvPr>
            <p:cNvSpPr/>
            <p:nvPr/>
          </p:nvSpPr>
          <p:spPr>
            <a:xfrm>
              <a:off x="3857341" y="4262615"/>
              <a:ext cx="33582" cy="31785"/>
            </a:xfrm>
            <a:custGeom>
              <a:avLst/>
              <a:gdLst/>
              <a:ahLst/>
              <a:cxnLst/>
              <a:rect l="l" t="t" r="r" b="b"/>
              <a:pathLst>
                <a:path w="1028" h="973" extrusionOk="0">
                  <a:moveTo>
                    <a:pt x="1" y="1"/>
                  </a:moveTo>
                  <a:lnTo>
                    <a:pt x="1" y="973"/>
                  </a:lnTo>
                  <a:lnTo>
                    <a:pt x="1028" y="973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3" name="Google Shape;4873;p52">
              <a:extLst>
                <a:ext uri="{FF2B5EF4-FFF2-40B4-BE49-F238E27FC236}">
                  <a16:creationId xmlns:a16="http://schemas.microsoft.com/office/drawing/2014/main" id="{765F436E-B478-BF41-49B7-27EE430878EE}"/>
                </a:ext>
              </a:extLst>
            </p:cNvPr>
            <p:cNvSpPr/>
            <p:nvPr/>
          </p:nvSpPr>
          <p:spPr>
            <a:xfrm>
              <a:off x="3893537" y="4220701"/>
              <a:ext cx="14112" cy="3103"/>
            </a:xfrm>
            <a:custGeom>
              <a:avLst/>
              <a:gdLst/>
              <a:ahLst/>
              <a:cxnLst/>
              <a:rect l="l" t="t" r="r" b="b"/>
              <a:pathLst>
                <a:path w="432" h="95" extrusionOk="0">
                  <a:moveTo>
                    <a:pt x="1" y="1"/>
                  </a:moveTo>
                  <a:lnTo>
                    <a:pt x="1" y="95"/>
                  </a:lnTo>
                  <a:lnTo>
                    <a:pt x="432" y="95"/>
                  </a:lnTo>
                  <a:cubicBezTo>
                    <a:pt x="299" y="43"/>
                    <a:pt x="150" y="1"/>
                    <a:pt x="1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4" name="Google Shape;4874;p52">
              <a:extLst>
                <a:ext uri="{FF2B5EF4-FFF2-40B4-BE49-F238E27FC236}">
                  <a16:creationId xmlns:a16="http://schemas.microsoft.com/office/drawing/2014/main" id="{324F85E9-53BC-8C32-6A3A-2F39B99D242A}"/>
                </a:ext>
              </a:extLst>
            </p:cNvPr>
            <p:cNvSpPr/>
            <p:nvPr/>
          </p:nvSpPr>
          <p:spPr>
            <a:xfrm>
              <a:off x="3854270" y="4253827"/>
              <a:ext cx="457" cy="77193"/>
            </a:xfrm>
            <a:custGeom>
              <a:avLst/>
              <a:gdLst/>
              <a:ahLst/>
              <a:cxnLst/>
              <a:rect l="l" t="t" r="r" b="b"/>
              <a:pathLst>
                <a:path w="14" h="2363" extrusionOk="0">
                  <a:moveTo>
                    <a:pt x="14" y="1"/>
                  </a:moveTo>
                  <a:cubicBezTo>
                    <a:pt x="1" y="53"/>
                    <a:pt x="1" y="108"/>
                    <a:pt x="1" y="163"/>
                  </a:cubicBezTo>
                  <a:lnTo>
                    <a:pt x="14" y="163"/>
                  </a:lnTo>
                  <a:lnTo>
                    <a:pt x="14" y="1"/>
                  </a:lnTo>
                  <a:close/>
                  <a:moveTo>
                    <a:pt x="1" y="1349"/>
                  </a:moveTo>
                  <a:lnTo>
                    <a:pt x="1" y="2363"/>
                  </a:lnTo>
                  <a:lnTo>
                    <a:pt x="14" y="2363"/>
                  </a:lnTo>
                  <a:lnTo>
                    <a:pt x="14" y="1349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5" name="Google Shape;4875;p52">
              <a:extLst>
                <a:ext uri="{FF2B5EF4-FFF2-40B4-BE49-F238E27FC236}">
                  <a16:creationId xmlns:a16="http://schemas.microsoft.com/office/drawing/2014/main" id="{804BFADA-5895-487A-28A9-D44B53ED5B39}"/>
                </a:ext>
              </a:extLst>
            </p:cNvPr>
            <p:cNvSpPr/>
            <p:nvPr/>
          </p:nvSpPr>
          <p:spPr>
            <a:xfrm>
              <a:off x="3929734" y="4254252"/>
              <a:ext cx="457" cy="76769"/>
            </a:xfrm>
            <a:custGeom>
              <a:avLst/>
              <a:gdLst/>
              <a:ahLst/>
              <a:cxnLst/>
              <a:rect l="l" t="t" r="r" b="b"/>
              <a:pathLst>
                <a:path w="14" h="2350" extrusionOk="0">
                  <a:moveTo>
                    <a:pt x="1" y="1"/>
                  </a:moveTo>
                  <a:lnTo>
                    <a:pt x="1" y="283"/>
                  </a:lnTo>
                  <a:lnTo>
                    <a:pt x="1" y="1242"/>
                  </a:lnTo>
                  <a:lnTo>
                    <a:pt x="1" y="1284"/>
                  </a:lnTo>
                  <a:lnTo>
                    <a:pt x="1" y="2350"/>
                  </a:lnTo>
                  <a:lnTo>
                    <a:pt x="14" y="2350"/>
                  </a:lnTo>
                  <a:lnTo>
                    <a:pt x="14" y="150"/>
                  </a:lnTo>
                  <a:cubicBezTo>
                    <a:pt x="14" y="95"/>
                    <a:pt x="1" y="53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6" name="Google Shape;4876;p52">
              <a:extLst>
                <a:ext uri="{FF2B5EF4-FFF2-40B4-BE49-F238E27FC236}">
                  <a16:creationId xmlns:a16="http://schemas.microsoft.com/office/drawing/2014/main" id="{2FE914A7-12BF-7073-2320-BFAFC6E11DD5}"/>
                </a:ext>
              </a:extLst>
            </p:cNvPr>
            <p:cNvSpPr/>
            <p:nvPr/>
          </p:nvSpPr>
          <p:spPr>
            <a:xfrm>
              <a:off x="3890466" y="4221126"/>
              <a:ext cx="457" cy="3103"/>
            </a:xfrm>
            <a:custGeom>
              <a:avLst/>
              <a:gdLst/>
              <a:ahLst/>
              <a:cxnLst/>
              <a:rect l="l" t="t" r="r" b="b"/>
              <a:pathLst>
                <a:path w="14" h="95" extrusionOk="0">
                  <a:moveTo>
                    <a:pt x="1" y="1"/>
                  </a:moveTo>
                  <a:lnTo>
                    <a:pt x="1" y="95"/>
                  </a:lnTo>
                  <a:lnTo>
                    <a:pt x="14" y="95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7" name="Google Shape;4877;p52">
              <a:extLst>
                <a:ext uri="{FF2B5EF4-FFF2-40B4-BE49-F238E27FC236}">
                  <a16:creationId xmlns:a16="http://schemas.microsoft.com/office/drawing/2014/main" id="{DF968391-FA25-6CDF-7CC3-2DEF4862E446}"/>
                </a:ext>
              </a:extLst>
            </p:cNvPr>
            <p:cNvSpPr/>
            <p:nvPr/>
          </p:nvSpPr>
          <p:spPr>
            <a:xfrm>
              <a:off x="3893112" y="4221126"/>
              <a:ext cx="457" cy="3103"/>
            </a:xfrm>
            <a:custGeom>
              <a:avLst/>
              <a:gdLst/>
              <a:ahLst/>
              <a:cxnLst/>
              <a:rect l="l" t="t" r="r" b="b"/>
              <a:pathLst>
                <a:path w="14" h="95" extrusionOk="0">
                  <a:moveTo>
                    <a:pt x="1" y="1"/>
                  </a:moveTo>
                  <a:lnTo>
                    <a:pt x="1" y="95"/>
                  </a:lnTo>
                  <a:lnTo>
                    <a:pt x="14" y="95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8" name="Google Shape;4878;p52">
              <a:extLst>
                <a:ext uri="{FF2B5EF4-FFF2-40B4-BE49-F238E27FC236}">
                  <a16:creationId xmlns:a16="http://schemas.microsoft.com/office/drawing/2014/main" id="{25FB3C5A-56AE-F173-9E37-05A5CCC2CD1C}"/>
                </a:ext>
              </a:extLst>
            </p:cNvPr>
            <p:cNvSpPr/>
            <p:nvPr/>
          </p:nvSpPr>
          <p:spPr>
            <a:xfrm>
              <a:off x="3890891" y="4221126"/>
              <a:ext cx="2254" cy="3103"/>
            </a:xfrm>
            <a:custGeom>
              <a:avLst/>
              <a:gdLst/>
              <a:ahLst/>
              <a:cxnLst/>
              <a:rect l="l" t="t" r="r" b="b"/>
              <a:pathLst>
                <a:path w="69" h="95" extrusionOk="0">
                  <a:moveTo>
                    <a:pt x="1" y="1"/>
                  </a:moveTo>
                  <a:lnTo>
                    <a:pt x="1" y="95"/>
                  </a:lnTo>
                  <a:lnTo>
                    <a:pt x="69" y="95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9" name="Google Shape;4879;p52">
              <a:extLst>
                <a:ext uri="{FF2B5EF4-FFF2-40B4-BE49-F238E27FC236}">
                  <a16:creationId xmlns:a16="http://schemas.microsoft.com/office/drawing/2014/main" id="{CEA61F5C-ED88-ACB4-9E5D-CB8CE09DF20D}"/>
                </a:ext>
              </a:extLst>
            </p:cNvPr>
            <p:cNvSpPr/>
            <p:nvPr/>
          </p:nvSpPr>
          <p:spPr>
            <a:xfrm>
              <a:off x="3856916" y="4261765"/>
              <a:ext cx="33582" cy="1731"/>
            </a:xfrm>
            <a:custGeom>
              <a:avLst/>
              <a:gdLst/>
              <a:ahLst/>
              <a:cxnLst/>
              <a:rect l="l" t="t" r="r" b="b"/>
              <a:pathLst>
                <a:path w="1028" h="53" extrusionOk="0">
                  <a:moveTo>
                    <a:pt x="1" y="1"/>
                  </a:moveTo>
                  <a:lnTo>
                    <a:pt x="1" y="53"/>
                  </a:lnTo>
                  <a:lnTo>
                    <a:pt x="1028" y="53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0" name="Google Shape;4880;p52">
              <a:extLst>
                <a:ext uri="{FF2B5EF4-FFF2-40B4-BE49-F238E27FC236}">
                  <a16:creationId xmlns:a16="http://schemas.microsoft.com/office/drawing/2014/main" id="{516ACE77-A6C2-D7F5-EEBE-B0A3D2BC7684}"/>
                </a:ext>
              </a:extLst>
            </p:cNvPr>
            <p:cNvSpPr/>
            <p:nvPr/>
          </p:nvSpPr>
          <p:spPr>
            <a:xfrm>
              <a:off x="3854694" y="4244092"/>
              <a:ext cx="2254" cy="15060"/>
            </a:xfrm>
            <a:custGeom>
              <a:avLst/>
              <a:gdLst/>
              <a:ahLst/>
              <a:cxnLst/>
              <a:rect l="l" t="t" r="r" b="b"/>
              <a:pathLst>
                <a:path w="69" h="461" extrusionOk="0">
                  <a:moveTo>
                    <a:pt x="69" y="1"/>
                  </a:moveTo>
                  <a:cubicBezTo>
                    <a:pt x="43" y="95"/>
                    <a:pt x="14" y="202"/>
                    <a:pt x="1" y="299"/>
                  </a:cubicBezTo>
                  <a:lnTo>
                    <a:pt x="1" y="461"/>
                  </a:lnTo>
                  <a:lnTo>
                    <a:pt x="69" y="461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1" name="Google Shape;4881;p52">
              <a:extLst>
                <a:ext uri="{FF2B5EF4-FFF2-40B4-BE49-F238E27FC236}">
                  <a16:creationId xmlns:a16="http://schemas.microsoft.com/office/drawing/2014/main" id="{E4AD489E-EE2F-6F43-7811-5196FDAAF451}"/>
                </a:ext>
              </a:extLst>
            </p:cNvPr>
            <p:cNvSpPr/>
            <p:nvPr/>
          </p:nvSpPr>
          <p:spPr>
            <a:xfrm>
              <a:off x="3875439" y="4224197"/>
              <a:ext cx="15060" cy="980"/>
            </a:xfrm>
            <a:custGeom>
              <a:avLst/>
              <a:gdLst/>
              <a:ahLst/>
              <a:cxnLst/>
              <a:rect l="l" t="t" r="r" b="b"/>
              <a:pathLst>
                <a:path w="461" h="30" extrusionOk="0">
                  <a:moveTo>
                    <a:pt x="43" y="1"/>
                  </a:moveTo>
                  <a:cubicBezTo>
                    <a:pt x="27" y="17"/>
                    <a:pt x="14" y="17"/>
                    <a:pt x="1" y="30"/>
                  </a:cubicBezTo>
                  <a:lnTo>
                    <a:pt x="461" y="30"/>
                  </a:lnTo>
                  <a:lnTo>
                    <a:pt x="46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2" name="Google Shape;4882;p52">
              <a:extLst>
                <a:ext uri="{FF2B5EF4-FFF2-40B4-BE49-F238E27FC236}">
                  <a16:creationId xmlns:a16="http://schemas.microsoft.com/office/drawing/2014/main" id="{8140947C-6978-3756-EDC3-3CC5443E8A2E}"/>
                </a:ext>
              </a:extLst>
            </p:cNvPr>
            <p:cNvSpPr/>
            <p:nvPr/>
          </p:nvSpPr>
          <p:spPr>
            <a:xfrm>
              <a:off x="3870571" y="4226843"/>
              <a:ext cx="19927" cy="980"/>
            </a:xfrm>
            <a:custGeom>
              <a:avLst/>
              <a:gdLst/>
              <a:ahLst/>
              <a:cxnLst/>
              <a:rect l="l" t="t" r="r" b="b"/>
              <a:pathLst>
                <a:path w="610" h="30" extrusionOk="0">
                  <a:moveTo>
                    <a:pt x="43" y="1"/>
                  </a:moveTo>
                  <a:cubicBezTo>
                    <a:pt x="30" y="17"/>
                    <a:pt x="14" y="17"/>
                    <a:pt x="1" y="30"/>
                  </a:cubicBezTo>
                  <a:lnTo>
                    <a:pt x="610" y="30"/>
                  </a:lnTo>
                  <a:lnTo>
                    <a:pt x="61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3" name="Google Shape;4883;p52">
              <a:extLst>
                <a:ext uri="{FF2B5EF4-FFF2-40B4-BE49-F238E27FC236}">
                  <a16:creationId xmlns:a16="http://schemas.microsoft.com/office/drawing/2014/main" id="{62819E1B-B451-AE49-752A-547F8BF13435}"/>
                </a:ext>
              </a:extLst>
            </p:cNvPr>
            <p:cNvSpPr/>
            <p:nvPr/>
          </p:nvSpPr>
          <p:spPr>
            <a:xfrm>
              <a:off x="3871943" y="4225144"/>
              <a:ext cx="18555" cy="1731"/>
            </a:xfrm>
            <a:custGeom>
              <a:avLst/>
              <a:gdLst/>
              <a:ahLst/>
              <a:cxnLst/>
              <a:rect l="l" t="t" r="r" b="b"/>
              <a:pathLst>
                <a:path w="568" h="53" extrusionOk="0">
                  <a:moveTo>
                    <a:pt x="108" y="1"/>
                  </a:moveTo>
                  <a:cubicBezTo>
                    <a:pt x="69" y="14"/>
                    <a:pt x="27" y="40"/>
                    <a:pt x="1" y="53"/>
                  </a:cubicBezTo>
                  <a:lnTo>
                    <a:pt x="568" y="53"/>
                  </a:lnTo>
                  <a:lnTo>
                    <a:pt x="568" y="14"/>
                  </a:lnTo>
                  <a:lnTo>
                    <a:pt x="56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4" name="Google Shape;4884;p52">
              <a:extLst>
                <a:ext uri="{FF2B5EF4-FFF2-40B4-BE49-F238E27FC236}">
                  <a16:creationId xmlns:a16="http://schemas.microsoft.com/office/drawing/2014/main" id="{6E662B86-57E3-9E58-736C-6D0F09DFDC87}"/>
                </a:ext>
              </a:extLst>
            </p:cNvPr>
            <p:cNvSpPr/>
            <p:nvPr/>
          </p:nvSpPr>
          <p:spPr>
            <a:xfrm>
              <a:off x="3890466" y="4224197"/>
              <a:ext cx="457" cy="980"/>
            </a:xfrm>
            <a:custGeom>
              <a:avLst/>
              <a:gdLst/>
              <a:ahLst/>
              <a:cxnLst/>
              <a:rect l="l" t="t" r="r" b="b"/>
              <a:pathLst>
                <a:path w="14" h="30" extrusionOk="0">
                  <a:moveTo>
                    <a:pt x="1" y="1"/>
                  </a:moveTo>
                  <a:lnTo>
                    <a:pt x="1" y="30"/>
                  </a:lnTo>
                  <a:lnTo>
                    <a:pt x="14" y="30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5" name="Google Shape;4885;p52">
              <a:extLst>
                <a:ext uri="{FF2B5EF4-FFF2-40B4-BE49-F238E27FC236}">
                  <a16:creationId xmlns:a16="http://schemas.microsoft.com/office/drawing/2014/main" id="{6503574E-85E3-8E6F-4373-C6E9F888FF83}"/>
                </a:ext>
              </a:extLst>
            </p:cNvPr>
            <p:cNvSpPr/>
            <p:nvPr/>
          </p:nvSpPr>
          <p:spPr>
            <a:xfrm>
              <a:off x="3890466" y="4226843"/>
              <a:ext cx="457" cy="980"/>
            </a:xfrm>
            <a:custGeom>
              <a:avLst/>
              <a:gdLst/>
              <a:ahLst/>
              <a:cxnLst/>
              <a:rect l="l" t="t" r="r" b="b"/>
              <a:pathLst>
                <a:path w="14" h="30" extrusionOk="0">
                  <a:moveTo>
                    <a:pt x="1" y="1"/>
                  </a:moveTo>
                  <a:lnTo>
                    <a:pt x="1" y="30"/>
                  </a:lnTo>
                  <a:lnTo>
                    <a:pt x="14" y="30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6" name="Google Shape;4886;p52">
              <a:extLst>
                <a:ext uri="{FF2B5EF4-FFF2-40B4-BE49-F238E27FC236}">
                  <a16:creationId xmlns:a16="http://schemas.microsoft.com/office/drawing/2014/main" id="{1804FDED-EEA7-6B97-EF35-5191DEC65610}"/>
                </a:ext>
              </a:extLst>
            </p:cNvPr>
            <p:cNvSpPr/>
            <p:nvPr/>
          </p:nvSpPr>
          <p:spPr>
            <a:xfrm>
              <a:off x="3890466" y="4225569"/>
              <a:ext cx="457" cy="1307"/>
            </a:xfrm>
            <a:custGeom>
              <a:avLst/>
              <a:gdLst/>
              <a:ahLst/>
              <a:cxnLst/>
              <a:rect l="l" t="t" r="r" b="b"/>
              <a:pathLst>
                <a:path w="14" h="40" extrusionOk="0">
                  <a:moveTo>
                    <a:pt x="1" y="1"/>
                  </a:moveTo>
                  <a:lnTo>
                    <a:pt x="1" y="40"/>
                  </a:lnTo>
                  <a:lnTo>
                    <a:pt x="14" y="4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7" name="Google Shape;4887;p52">
              <a:extLst>
                <a:ext uri="{FF2B5EF4-FFF2-40B4-BE49-F238E27FC236}">
                  <a16:creationId xmlns:a16="http://schemas.microsoft.com/office/drawing/2014/main" id="{3F40CB04-D136-4DA1-FF01-0C6E6AB2DD25}"/>
                </a:ext>
              </a:extLst>
            </p:cNvPr>
            <p:cNvSpPr/>
            <p:nvPr/>
          </p:nvSpPr>
          <p:spPr>
            <a:xfrm>
              <a:off x="3890466" y="4225144"/>
              <a:ext cx="457" cy="1731"/>
            </a:xfrm>
            <a:custGeom>
              <a:avLst/>
              <a:gdLst/>
              <a:ahLst/>
              <a:cxnLst/>
              <a:rect l="l" t="t" r="r" b="b"/>
              <a:pathLst>
                <a:path w="14" h="53" extrusionOk="0">
                  <a:moveTo>
                    <a:pt x="1" y="1"/>
                  </a:moveTo>
                  <a:lnTo>
                    <a:pt x="1" y="14"/>
                  </a:lnTo>
                  <a:lnTo>
                    <a:pt x="14" y="53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8" name="Google Shape;4888;p52">
              <a:extLst>
                <a:ext uri="{FF2B5EF4-FFF2-40B4-BE49-F238E27FC236}">
                  <a16:creationId xmlns:a16="http://schemas.microsoft.com/office/drawing/2014/main" id="{53E0B6D5-B8BA-CDED-7890-42A6AE165FA2}"/>
                </a:ext>
              </a:extLst>
            </p:cNvPr>
            <p:cNvSpPr/>
            <p:nvPr/>
          </p:nvSpPr>
          <p:spPr>
            <a:xfrm>
              <a:off x="3893537" y="4261765"/>
              <a:ext cx="33582" cy="1731"/>
            </a:xfrm>
            <a:custGeom>
              <a:avLst/>
              <a:gdLst/>
              <a:ahLst/>
              <a:cxnLst/>
              <a:rect l="l" t="t" r="r" b="b"/>
              <a:pathLst>
                <a:path w="1028" h="53" extrusionOk="0">
                  <a:moveTo>
                    <a:pt x="1" y="1"/>
                  </a:moveTo>
                  <a:lnTo>
                    <a:pt x="1" y="53"/>
                  </a:lnTo>
                  <a:lnTo>
                    <a:pt x="1028" y="53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9" name="Google Shape;4889;p52">
              <a:extLst>
                <a:ext uri="{FF2B5EF4-FFF2-40B4-BE49-F238E27FC236}">
                  <a16:creationId xmlns:a16="http://schemas.microsoft.com/office/drawing/2014/main" id="{B94B9D96-5BA8-1EA3-A967-536A6F5185E0}"/>
                </a:ext>
              </a:extLst>
            </p:cNvPr>
            <p:cNvSpPr/>
            <p:nvPr/>
          </p:nvSpPr>
          <p:spPr>
            <a:xfrm>
              <a:off x="3927088" y="4244517"/>
              <a:ext cx="2679" cy="14635"/>
            </a:xfrm>
            <a:custGeom>
              <a:avLst/>
              <a:gdLst/>
              <a:ahLst/>
              <a:cxnLst/>
              <a:rect l="l" t="t" r="r" b="b"/>
              <a:pathLst>
                <a:path w="82" h="448" extrusionOk="0">
                  <a:moveTo>
                    <a:pt x="1" y="1"/>
                  </a:moveTo>
                  <a:lnTo>
                    <a:pt x="1" y="448"/>
                  </a:lnTo>
                  <a:lnTo>
                    <a:pt x="82" y="448"/>
                  </a:lnTo>
                  <a:lnTo>
                    <a:pt x="82" y="299"/>
                  </a:lnTo>
                  <a:cubicBezTo>
                    <a:pt x="66" y="189"/>
                    <a:pt x="40" y="95"/>
                    <a:pt x="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0" name="Google Shape;4890;p52">
              <a:extLst>
                <a:ext uri="{FF2B5EF4-FFF2-40B4-BE49-F238E27FC236}">
                  <a16:creationId xmlns:a16="http://schemas.microsoft.com/office/drawing/2014/main" id="{6D3C7EAA-6AB4-25A6-9F4A-2F9663F071E1}"/>
                </a:ext>
              </a:extLst>
            </p:cNvPr>
            <p:cNvSpPr/>
            <p:nvPr/>
          </p:nvSpPr>
          <p:spPr>
            <a:xfrm>
              <a:off x="3893537" y="4224197"/>
              <a:ext cx="15484" cy="980"/>
            </a:xfrm>
            <a:custGeom>
              <a:avLst/>
              <a:gdLst/>
              <a:ahLst/>
              <a:cxnLst/>
              <a:rect l="l" t="t" r="r" b="b"/>
              <a:pathLst>
                <a:path w="474" h="30" extrusionOk="0">
                  <a:moveTo>
                    <a:pt x="1" y="1"/>
                  </a:moveTo>
                  <a:lnTo>
                    <a:pt x="1" y="30"/>
                  </a:lnTo>
                  <a:lnTo>
                    <a:pt x="474" y="30"/>
                  </a:lnTo>
                  <a:cubicBezTo>
                    <a:pt x="461" y="17"/>
                    <a:pt x="432" y="17"/>
                    <a:pt x="419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1" name="Google Shape;4891;p52">
              <a:extLst>
                <a:ext uri="{FF2B5EF4-FFF2-40B4-BE49-F238E27FC236}">
                  <a16:creationId xmlns:a16="http://schemas.microsoft.com/office/drawing/2014/main" id="{DE9DE0DF-1FF7-2C71-C6D0-B6D106CB3C55}"/>
                </a:ext>
              </a:extLst>
            </p:cNvPr>
            <p:cNvSpPr/>
            <p:nvPr/>
          </p:nvSpPr>
          <p:spPr>
            <a:xfrm>
              <a:off x="3893537" y="4226843"/>
              <a:ext cx="19829" cy="980"/>
            </a:xfrm>
            <a:custGeom>
              <a:avLst/>
              <a:gdLst/>
              <a:ahLst/>
              <a:cxnLst/>
              <a:rect l="l" t="t" r="r" b="b"/>
              <a:pathLst>
                <a:path w="607" h="30" extrusionOk="0">
                  <a:moveTo>
                    <a:pt x="1" y="1"/>
                  </a:moveTo>
                  <a:lnTo>
                    <a:pt x="1" y="30"/>
                  </a:lnTo>
                  <a:lnTo>
                    <a:pt x="607" y="30"/>
                  </a:lnTo>
                  <a:cubicBezTo>
                    <a:pt x="594" y="17"/>
                    <a:pt x="581" y="17"/>
                    <a:pt x="568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2" name="Google Shape;4892;p52">
              <a:extLst>
                <a:ext uri="{FF2B5EF4-FFF2-40B4-BE49-F238E27FC236}">
                  <a16:creationId xmlns:a16="http://schemas.microsoft.com/office/drawing/2014/main" id="{30FAB2F6-61D2-56CA-3677-51B850E0B96B}"/>
                </a:ext>
              </a:extLst>
            </p:cNvPr>
            <p:cNvSpPr/>
            <p:nvPr/>
          </p:nvSpPr>
          <p:spPr>
            <a:xfrm>
              <a:off x="3893537" y="4225144"/>
              <a:ext cx="18555" cy="1731"/>
            </a:xfrm>
            <a:custGeom>
              <a:avLst/>
              <a:gdLst/>
              <a:ahLst/>
              <a:cxnLst/>
              <a:rect l="l" t="t" r="r" b="b"/>
              <a:pathLst>
                <a:path w="568" h="53" extrusionOk="0">
                  <a:moveTo>
                    <a:pt x="1" y="1"/>
                  </a:moveTo>
                  <a:lnTo>
                    <a:pt x="1" y="27"/>
                  </a:lnTo>
                  <a:lnTo>
                    <a:pt x="1" y="40"/>
                  </a:lnTo>
                  <a:lnTo>
                    <a:pt x="1" y="53"/>
                  </a:lnTo>
                  <a:lnTo>
                    <a:pt x="568" y="53"/>
                  </a:lnTo>
                  <a:cubicBezTo>
                    <a:pt x="542" y="40"/>
                    <a:pt x="500" y="14"/>
                    <a:pt x="47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3" name="Google Shape;4893;p52">
              <a:extLst>
                <a:ext uri="{FF2B5EF4-FFF2-40B4-BE49-F238E27FC236}">
                  <a16:creationId xmlns:a16="http://schemas.microsoft.com/office/drawing/2014/main" id="{413C7946-947E-DB87-5603-08D361938B4F}"/>
                </a:ext>
              </a:extLst>
            </p:cNvPr>
            <p:cNvSpPr/>
            <p:nvPr/>
          </p:nvSpPr>
          <p:spPr>
            <a:xfrm>
              <a:off x="3890891" y="4227790"/>
              <a:ext cx="33" cy="31361"/>
            </a:xfrm>
            <a:custGeom>
              <a:avLst/>
              <a:gdLst/>
              <a:ahLst/>
              <a:cxnLst/>
              <a:rect l="l" t="t" r="r" b="b"/>
              <a:pathLst>
                <a:path w="1" h="960" extrusionOk="0">
                  <a:moveTo>
                    <a:pt x="1" y="1"/>
                  </a:moveTo>
                  <a:lnTo>
                    <a:pt x="1" y="960"/>
                  </a:lnTo>
                  <a:lnTo>
                    <a:pt x="1" y="960"/>
                  </a:lnTo>
                  <a:lnTo>
                    <a:pt x="1" y="96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4" name="Google Shape;4894;p52">
              <a:extLst>
                <a:ext uri="{FF2B5EF4-FFF2-40B4-BE49-F238E27FC236}">
                  <a16:creationId xmlns:a16="http://schemas.microsoft.com/office/drawing/2014/main" id="{B9AD7895-4E5F-20C2-4DB1-B094E20955B0}"/>
                </a:ext>
              </a:extLst>
            </p:cNvPr>
            <p:cNvSpPr/>
            <p:nvPr/>
          </p:nvSpPr>
          <p:spPr>
            <a:xfrm>
              <a:off x="3893537" y="4227790"/>
              <a:ext cx="33" cy="31361"/>
            </a:xfrm>
            <a:custGeom>
              <a:avLst/>
              <a:gdLst/>
              <a:ahLst/>
              <a:cxnLst/>
              <a:rect l="l" t="t" r="r" b="b"/>
              <a:pathLst>
                <a:path w="1" h="960" extrusionOk="0">
                  <a:moveTo>
                    <a:pt x="1" y="1"/>
                  </a:moveTo>
                  <a:lnTo>
                    <a:pt x="1" y="960"/>
                  </a:lnTo>
                  <a:lnTo>
                    <a:pt x="1" y="96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5" name="Google Shape;4895;p52">
              <a:extLst>
                <a:ext uri="{FF2B5EF4-FFF2-40B4-BE49-F238E27FC236}">
                  <a16:creationId xmlns:a16="http://schemas.microsoft.com/office/drawing/2014/main" id="{8C58E7A3-DEB1-79CB-3BD5-FAF8479B1BDF}"/>
                </a:ext>
              </a:extLst>
            </p:cNvPr>
            <p:cNvSpPr/>
            <p:nvPr/>
          </p:nvSpPr>
          <p:spPr>
            <a:xfrm>
              <a:off x="3893537" y="4261765"/>
              <a:ext cx="33" cy="1731"/>
            </a:xfrm>
            <a:custGeom>
              <a:avLst/>
              <a:gdLst/>
              <a:ahLst/>
              <a:cxnLst/>
              <a:rect l="l" t="t" r="r" b="b"/>
              <a:pathLst>
                <a:path w="1" h="53" extrusionOk="0">
                  <a:moveTo>
                    <a:pt x="1" y="53"/>
                  </a:moveTo>
                  <a:lnTo>
                    <a:pt x="1" y="53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6" name="Google Shape;4896;p52">
              <a:extLst>
                <a:ext uri="{FF2B5EF4-FFF2-40B4-BE49-F238E27FC236}">
                  <a16:creationId xmlns:a16="http://schemas.microsoft.com/office/drawing/2014/main" id="{85D6582B-18B7-A67A-ADD9-76AE8F3291A4}"/>
                </a:ext>
              </a:extLst>
            </p:cNvPr>
            <p:cNvSpPr/>
            <p:nvPr/>
          </p:nvSpPr>
          <p:spPr>
            <a:xfrm>
              <a:off x="3890891" y="4227790"/>
              <a:ext cx="2679" cy="31361"/>
            </a:xfrm>
            <a:custGeom>
              <a:avLst/>
              <a:gdLst/>
              <a:ahLst/>
              <a:cxnLst/>
              <a:rect l="l" t="t" r="r" b="b"/>
              <a:pathLst>
                <a:path w="82" h="960" extrusionOk="0">
                  <a:moveTo>
                    <a:pt x="1" y="1"/>
                  </a:moveTo>
                  <a:lnTo>
                    <a:pt x="1" y="960"/>
                  </a:lnTo>
                  <a:lnTo>
                    <a:pt x="82" y="960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7" name="Google Shape;4897;p52">
              <a:extLst>
                <a:ext uri="{FF2B5EF4-FFF2-40B4-BE49-F238E27FC236}">
                  <a16:creationId xmlns:a16="http://schemas.microsoft.com/office/drawing/2014/main" id="{48BDE6BB-02BA-3541-7D64-EF5709D4E480}"/>
                </a:ext>
              </a:extLst>
            </p:cNvPr>
            <p:cNvSpPr/>
            <p:nvPr/>
          </p:nvSpPr>
          <p:spPr>
            <a:xfrm>
              <a:off x="3893537" y="4226843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8" name="Google Shape;4898;p52">
              <a:extLst>
                <a:ext uri="{FF2B5EF4-FFF2-40B4-BE49-F238E27FC236}">
                  <a16:creationId xmlns:a16="http://schemas.microsoft.com/office/drawing/2014/main" id="{4352B829-C897-6586-5D75-7F47711E292F}"/>
                </a:ext>
              </a:extLst>
            </p:cNvPr>
            <p:cNvSpPr/>
            <p:nvPr/>
          </p:nvSpPr>
          <p:spPr>
            <a:xfrm>
              <a:off x="3893537" y="4225994"/>
              <a:ext cx="33" cy="882"/>
            </a:xfrm>
            <a:custGeom>
              <a:avLst/>
              <a:gdLst/>
              <a:ahLst/>
              <a:cxnLst/>
              <a:rect l="l" t="t" r="r" b="b"/>
              <a:pathLst>
                <a:path w="1" h="27" extrusionOk="0">
                  <a:moveTo>
                    <a:pt x="1" y="27"/>
                  </a:moveTo>
                  <a:lnTo>
                    <a:pt x="1" y="27"/>
                  </a:lnTo>
                  <a:lnTo>
                    <a:pt x="1" y="1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9" name="Google Shape;4899;p52">
              <a:extLst>
                <a:ext uri="{FF2B5EF4-FFF2-40B4-BE49-F238E27FC236}">
                  <a16:creationId xmlns:a16="http://schemas.microsoft.com/office/drawing/2014/main" id="{E9FC4CFC-A3EE-0D9B-72C1-EB66DD7C783F}"/>
                </a:ext>
              </a:extLst>
            </p:cNvPr>
            <p:cNvSpPr/>
            <p:nvPr/>
          </p:nvSpPr>
          <p:spPr>
            <a:xfrm>
              <a:off x="3893537" y="4224197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3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0" name="Google Shape;4900;p52">
              <a:extLst>
                <a:ext uri="{FF2B5EF4-FFF2-40B4-BE49-F238E27FC236}">
                  <a16:creationId xmlns:a16="http://schemas.microsoft.com/office/drawing/2014/main" id="{F1860582-53AF-A289-898E-0D4245D608F7}"/>
                </a:ext>
              </a:extLst>
            </p:cNvPr>
            <p:cNvSpPr/>
            <p:nvPr/>
          </p:nvSpPr>
          <p:spPr>
            <a:xfrm>
              <a:off x="3893537" y="4224197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3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1" name="Google Shape;4901;p52">
              <a:extLst>
                <a:ext uri="{FF2B5EF4-FFF2-40B4-BE49-F238E27FC236}">
                  <a16:creationId xmlns:a16="http://schemas.microsoft.com/office/drawing/2014/main" id="{F5F38FE0-43D5-BCD6-42F9-0E3F59B3CEAC}"/>
                </a:ext>
              </a:extLst>
            </p:cNvPr>
            <p:cNvSpPr/>
            <p:nvPr/>
          </p:nvSpPr>
          <p:spPr>
            <a:xfrm>
              <a:off x="3893537" y="4225144"/>
              <a:ext cx="33" cy="882"/>
            </a:xfrm>
            <a:custGeom>
              <a:avLst/>
              <a:gdLst/>
              <a:ahLst/>
              <a:cxnLst/>
              <a:rect l="l" t="t" r="r" b="b"/>
              <a:pathLst>
                <a:path w="1" h="27" extrusionOk="0">
                  <a:moveTo>
                    <a:pt x="1" y="1"/>
                  </a:moveTo>
                  <a:lnTo>
                    <a:pt x="1" y="14"/>
                  </a:lnTo>
                  <a:lnTo>
                    <a:pt x="1" y="27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2" name="Google Shape;4902;p52">
              <a:extLst>
                <a:ext uri="{FF2B5EF4-FFF2-40B4-BE49-F238E27FC236}">
                  <a16:creationId xmlns:a16="http://schemas.microsoft.com/office/drawing/2014/main" id="{C215D661-6334-E0D0-DF8E-A8CA87FF5F19}"/>
                </a:ext>
              </a:extLst>
            </p:cNvPr>
            <p:cNvSpPr/>
            <p:nvPr/>
          </p:nvSpPr>
          <p:spPr>
            <a:xfrm>
              <a:off x="3893537" y="4225144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"/>
                  </a:moveTo>
                  <a:lnTo>
                    <a:pt x="1" y="1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3" name="Google Shape;4903;p52">
              <a:extLst>
                <a:ext uri="{FF2B5EF4-FFF2-40B4-BE49-F238E27FC236}">
                  <a16:creationId xmlns:a16="http://schemas.microsoft.com/office/drawing/2014/main" id="{6F4DF70F-2A1D-D22E-A440-5C095060DC8D}"/>
                </a:ext>
              </a:extLst>
            </p:cNvPr>
            <p:cNvSpPr/>
            <p:nvPr/>
          </p:nvSpPr>
          <p:spPr>
            <a:xfrm>
              <a:off x="3893537" y="4226843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1"/>
                  </a:moveTo>
                  <a:lnTo>
                    <a:pt x="1" y="1"/>
                  </a:lnTo>
                  <a:lnTo>
                    <a:pt x="1" y="30"/>
                  </a:lnTo>
                  <a:lnTo>
                    <a:pt x="1" y="3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4" name="Google Shape;4904;p52">
              <a:extLst>
                <a:ext uri="{FF2B5EF4-FFF2-40B4-BE49-F238E27FC236}">
                  <a16:creationId xmlns:a16="http://schemas.microsoft.com/office/drawing/2014/main" id="{B09CD59A-0B5E-E228-4BD5-EBFDA4C39BDC}"/>
                </a:ext>
              </a:extLst>
            </p:cNvPr>
            <p:cNvSpPr/>
            <p:nvPr/>
          </p:nvSpPr>
          <p:spPr>
            <a:xfrm>
              <a:off x="3893537" y="4225569"/>
              <a:ext cx="33" cy="1307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1"/>
                  </a:moveTo>
                  <a:lnTo>
                    <a:pt x="1" y="40"/>
                  </a:lnTo>
                  <a:lnTo>
                    <a:pt x="1" y="40"/>
                  </a:lnTo>
                  <a:lnTo>
                    <a:pt x="1" y="14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5" name="Google Shape;4905;p52">
              <a:extLst>
                <a:ext uri="{FF2B5EF4-FFF2-40B4-BE49-F238E27FC236}">
                  <a16:creationId xmlns:a16="http://schemas.microsoft.com/office/drawing/2014/main" id="{592C5B83-C4C2-85DF-C8DE-203A92474694}"/>
                </a:ext>
              </a:extLst>
            </p:cNvPr>
            <p:cNvSpPr/>
            <p:nvPr/>
          </p:nvSpPr>
          <p:spPr>
            <a:xfrm>
              <a:off x="3893537" y="4225144"/>
              <a:ext cx="33" cy="1731"/>
            </a:xfrm>
            <a:custGeom>
              <a:avLst/>
              <a:gdLst/>
              <a:ahLst/>
              <a:cxnLst/>
              <a:rect l="l" t="t" r="r" b="b"/>
              <a:pathLst>
                <a:path w="1" h="53" extrusionOk="0">
                  <a:moveTo>
                    <a:pt x="1" y="53"/>
                  </a:moveTo>
                  <a:lnTo>
                    <a:pt x="1" y="53"/>
                  </a:lnTo>
                  <a:lnTo>
                    <a:pt x="1" y="1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6" name="Google Shape;4906;p52">
              <a:extLst>
                <a:ext uri="{FF2B5EF4-FFF2-40B4-BE49-F238E27FC236}">
                  <a16:creationId xmlns:a16="http://schemas.microsoft.com/office/drawing/2014/main" id="{79F0A220-2D51-D197-DA22-F2BD3D6D2563}"/>
                </a:ext>
              </a:extLst>
            </p:cNvPr>
            <p:cNvSpPr/>
            <p:nvPr/>
          </p:nvSpPr>
          <p:spPr>
            <a:xfrm>
              <a:off x="3890891" y="4224197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3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7" name="Google Shape;4907;p52">
              <a:extLst>
                <a:ext uri="{FF2B5EF4-FFF2-40B4-BE49-F238E27FC236}">
                  <a16:creationId xmlns:a16="http://schemas.microsoft.com/office/drawing/2014/main" id="{3442B610-F978-2C8D-DAF7-2B56D64319DF}"/>
                </a:ext>
              </a:extLst>
            </p:cNvPr>
            <p:cNvSpPr/>
            <p:nvPr/>
          </p:nvSpPr>
          <p:spPr>
            <a:xfrm>
              <a:off x="3890891" y="4226843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3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8" name="Google Shape;4908;p52">
              <a:extLst>
                <a:ext uri="{FF2B5EF4-FFF2-40B4-BE49-F238E27FC236}">
                  <a16:creationId xmlns:a16="http://schemas.microsoft.com/office/drawing/2014/main" id="{1284F7DF-CED0-D497-E8C9-3273560428E8}"/>
                </a:ext>
              </a:extLst>
            </p:cNvPr>
            <p:cNvSpPr/>
            <p:nvPr/>
          </p:nvSpPr>
          <p:spPr>
            <a:xfrm>
              <a:off x="3890891" y="4225144"/>
              <a:ext cx="33" cy="1731"/>
            </a:xfrm>
            <a:custGeom>
              <a:avLst/>
              <a:gdLst/>
              <a:ahLst/>
              <a:cxnLst/>
              <a:rect l="l" t="t" r="r" b="b"/>
              <a:pathLst>
                <a:path w="1" h="53" extrusionOk="0">
                  <a:moveTo>
                    <a:pt x="1" y="53"/>
                  </a:moveTo>
                  <a:lnTo>
                    <a:pt x="1" y="53"/>
                  </a:lnTo>
                  <a:lnTo>
                    <a:pt x="1" y="1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9" name="Google Shape;4909;p52">
              <a:extLst>
                <a:ext uri="{FF2B5EF4-FFF2-40B4-BE49-F238E27FC236}">
                  <a16:creationId xmlns:a16="http://schemas.microsoft.com/office/drawing/2014/main" id="{E2819615-65B0-8566-CC34-258E0D0230D2}"/>
                </a:ext>
              </a:extLst>
            </p:cNvPr>
            <p:cNvSpPr/>
            <p:nvPr/>
          </p:nvSpPr>
          <p:spPr>
            <a:xfrm>
              <a:off x="3890891" y="4224197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3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0" name="Google Shape;4910;p52">
              <a:extLst>
                <a:ext uri="{FF2B5EF4-FFF2-40B4-BE49-F238E27FC236}">
                  <a16:creationId xmlns:a16="http://schemas.microsoft.com/office/drawing/2014/main" id="{483DDBBF-E805-E37F-9786-CD7419B725A9}"/>
                </a:ext>
              </a:extLst>
            </p:cNvPr>
            <p:cNvSpPr/>
            <p:nvPr/>
          </p:nvSpPr>
          <p:spPr>
            <a:xfrm>
              <a:off x="3893112" y="4224197"/>
              <a:ext cx="457" cy="980"/>
            </a:xfrm>
            <a:custGeom>
              <a:avLst/>
              <a:gdLst/>
              <a:ahLst/>
              <a:cxnLst/>
              <a:rect l="l" t="t" r="r" b="b"/>
              <a:pathLst>
                <a:path w="14" h="30" extrusionOk="0">
                  <a:moveTo>
                    <a:pt x="1" y="1"/>
                  </a:moveTo>
                  <a:lnTo>
                    <a:pt x="1" y="30"/>
                  </a:lnTo>
                  <a:lnTo>
                    <a:pt x="14" y="30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1" name="Google Shape;4911;p52">
              <a:extLst>
                <a:ext uri="{FF2B5EF4-FFF2-40B4-BE49-F238E27FC236}">
                  <a16:creationId xmlns:a16="http://schemas.microsoft.com/office/drawing/2014/main" id="{FD0CA50F-AFB6-0A92-25CB-3751C107811E}"/>
                </a:ext>
              </a:extLst>
            </p:cNvPr>
            <p:cNvSpPr/>
            <p:nvPr/>
          </p:nvSpPr>
          <p:spPr>
            <a:xfrm>
              <a:off x="3893112" y="4224197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3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2" name="Google Shape;4912;p52">
              <a:extLst>
                <a:ext uri="{FF2B5EF4-FFF2-40B4-BE49-F238E27FC236}">
                  <a16:creationId xmlns:a16="http://schemas.microsoft.com/office/drawing/2014/main" id="{6E95BB44-C826-910E-A86D-07ADED8587AA}"/>
                </a:ext>
              </a:extLst>
            </p:cNvPr>
            <p:cNvSpPr/>
            <p:nvPr/>
          </p:nvSpPr>
          <p:spPr>
            <a:xfrm>
              <a:off x="3890891" y="4224197"/>
              <a:ext cx="2254" cy="980"/>
            </a:xfrm>
            <a:custGeom>
              <a:avLst/>
              <a:gdLst/>
              <a:ahLst/>
              <a:cxnLst/>
              <a:rect l="l" t="t" r="r" b="b"/>
              <a:pathLst>
                <a:path w="69" h="30" extrusionOk="0">
                  <a:moveTo>
                    <a:pt x="1" y="1"/>
                  </a:moveTo>
                  <a:lnTo>
                    <a:pt x="1" y="30"/>
                  </a:lnTo>
                  <a:lnTo>
                    <a:pt x="69" y="30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3" name="Google Shape;4913;p52">
              <a:extLst>
                <a:ext uri="{FF2B5EF4-FFF2-40B4-BE49-F238E27FC236}">
                  <a16:creationId xmlns:a16="http://schemas.microsoft.com/office/drawing/2014/main" id="{1A7D2053-8688-4DBC-4AED-6B4DD08649B8}"/>
                </a:ext>
              </a:extLst>
            </p:cNvPr>
            <p:cNvSpPr/>
            <p:nvPr/>
          </p:nvSpPr>
          <p:spPr>
            <a:xfrm>
              <a:off x="3893537" y="4225144"/>
              <a:ext cx="33" cy="33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4" name="Google Shape;4914;p52">
              <a:extLst>
                <a:ext uri="{FF2B5EF4-FFF2-40B4-BE49-F238E27FC236}">
                  <a16:creationId xmlns:a16="http://schemas.microsoft.com/office/drawing/2014/main" id="{839E4CDF-CC5F-69A7-51FB-6EDADF1AA695}"/>
                </a:ext>
              </a:extLst>
            </p:cNvPr>
            <p:cNvSpPr/>
            <p:nvPr/>
          </p:nvSpPr>
          <p:spPr>
            <a:xfrm>
              <a:off x="3890891" y="4226843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3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5" name="Google Shape;4915;p52">
              <a:extLst>
                <a:ext uri="{FF2B5EF4-FFF2-40B4-BE49-F238E27FC236}">
                  <a16:creationId xmlns:a16="http://schemas.microsoft.com/office/drawing/2014/main" id="{26D01CB6-DC4F-2C6D-4671-9026C5B56B6F}"/>
                </a:ext>
              </a:extLst>
            </p:cNvPr>
            <p:cNvSpPr/>
            <p:nvPr/>
          </p:nvSpPr>
          <p:spPr>
            <a:xfrm>
              <a:off x="3890891" y="4225569"/>
              <a:ext cx="33" cy="1307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40"/>
                  </a:moveTo>
                  <a:lnTo>
                    <a:pt x="1" y="4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6" name="Google Shape;4916;p52">
              <a:extLst>
                <a:ext uri="{FF2B5EF4-FFF2-40B4-BE49-F238E27FC236}">
                  <a16:creationId xmlns:a16="http://schemas.microsoft.com/office/drawing/2014/main" id="{3C42240A-1B2A-E235-C68E-5D05223D7602}"/>
                </a:ext>
              </a:extLst>
            </p:cNvPr>
            <p:cNvSpPr/>
            <p:nvPr/>
          </p:nvSpPr>
          <p:spPr>
            <a:xfrm>
              <a:off x="3890891" y="4225144"/>
              <a:ext cx="33" cy="1731"/>
            </a:xfrm>
            <a:custGeom>
              <a:avLst/>
              <a:gdLst/>
              <a:ahLst/>
              <a:cxnLst/>
              <a:rect l="l" t="t" r="r" b="b"/>
              <a:pathLst>
                <a:path w="1" h="53" extrusionOk="0">
                  <a:moveTo>
                    <a:pt x="1" y="14"/>
                  </a:moveTo>
                  <a:lnTo>
                    <a:pt x="1" y="53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7" name="Google Shape;4917;p52">
              <a:extLst>
                <a:ext uri="{FF2B5EF4-FFF2-40B4-BE49-F238E27FC236}">
                  <a16:creationId xmlns:a16="http://schemas.microsoft.com/office/drawing/2014/main" id="{B8981034-22CF-1DF9-8880-5281D7ADDC9E}"/>
                </a:ext>
              </a:extLst>
            </p:cNvPr>
            <p:cNvSpPr/>
            <p:nvPr/>
          </p:nvSpPr>
          <p:spPr>
            <a:xfrm>
              <a:off x="3893537" y="4226843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1"/>
                  </a:moveTo>
                  <a:lnTo>
                    <a:pt x="1" y="30"/>
                  </a:lnTo>
                  <a:lnTo>
                    <a:pt x="1" y="3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8" name="Google Shape;4918;p52">
              <a:extLst>
                <a:ext uri="{FF2B5EF4-FFF2-40B4-BE49-F238E27FC236}">
                  <a16:creationId xmlns:a16="http://schemas.microsoft.com/office/drawing/2014/main" id="{63AE85AC-635F-B6D5-CB5B-22EB917FE692}"/>
                </a:ext>
              </a:extLst>
            </p:cNvPr>
            <p:cNvSpPr/>
            <p:nvPr/>
          </p:nvSpPr>
          <p:spPr>
            <a:xfrm>
              <a:off x="3893112" y="4225144"/>
              <a:ext cx="457" cy="1307"/>
            </a:xfrm>
            <a:custGeom>
              <a:avLst/>
              <a:gdLst/>
              <a:ahLst/>
              <a:cxnLst/>
              <a:rect l="l" t="t" r="r" b="b"/>
              <a:pathLst>
                <a:path w="14" h="40" extrusionOk="0">
                  <a:moveTo>
                    <a:pt x="1" y="1"/>
                  </a:moveTo>
                  <a:lnTo>
                    <a:pt x="1" y="14"/>
                  </a:lnTo>
                  <a:lnTo>
                    <a:pt x="14" y="40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9" name="Google Shape;4919;p52">
              <a:extLst>
                <a:ext uri="{FF2B5EF4-FFF2-40B4-BE49-F238E27FC236}">
                  <a16:creationId xmlns:a16="http://schemas.microsoft.com/office/drawing/2014/main" id="{3C526EE7-E91E-4482-D3E2-38C3F1F709AF}"/>
                </a:ext>
              </a:extLst>
            </p:cNvPr>
            <p:cNvSpPr/>
            <p:nvPr/>
          </p:nvSpPr>
          <p:spPr>
            <a:xfrm>
              <a:off x="3893537" y="4226843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30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0" name="Google Shape;4920;p52">
              <a:extLst>
                <a:ext uri="{FF2B5EF4-FFF2-40B4-BE49-F238E27FC236}">
                  <a16:creationId xmlns:a16="http://schemas.microsoft.com/office/drawing/2014/main" id="{1646802E-23AD-F9F8-0C2F-FCBB57668543}"/>
                </a:ext>
              </a:extLst>
            </p:cNvPr>
            <p:cNvSpPr/>
            <p:nvPr/>
          </p:nvSpPr>
          <p:spPr>
            <a:xfrm>
              <a:off x="3893112" y="4225569"/>
              <a:ext cx="457" cy="1307"/>
            </a:xfrm>
            <a:custGeom>
              <a:avLst/>
              <a:gdLst/>
              <a:ahLst/>
              <a:cxnLst/>
              <a:rect l="l" t="t" r="r" b="b"/>
              <a:pathLst>
                <a:path w="14" h="40" extrusionOk="0">
                  <a:moveTo>
                    <a:pt x="1" y="1"/>
                  </a:moveTo>
                  <a:lnTo>
                    <a:pt x="14" y="40"/>
                  </a:lnTo>
                  <a:lnTo>
                    <a:pt x="14" y="2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1" name="Google Shape;4921;p52">
              <a:extLst>
                <a:ext uri="{FF2B5EF4-FFF2-40B4-BE49-F238E27FC236}">
                  <a16:creationId xmlns:a16="http://schemas.microsoft.com/office/drawing/2014/main" id="{87AD7785-0E6D-3481-0593-DCE1A83AE983}"/>
                </a:ext>
              </a:extLst>
            </p:cNvPr>
            <p:cNvSpPr/>
            <p:nvPr/>
          </p:nvSpPr>
          <p:spPr>
            <a:xfrm>
              <a:off x="3893112" y="4225144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"/>
                  </a:moveTo>
                  <a:lnTo>
                    <a:pt x="1" y="14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2" name="Google Shape;4922;p52">
              <a:extLst>
                <a:ext uri="{FF2B5EF4-FFF2-40B4-BE49-F238E27FC236}">
                  <a16:creationId xmlns:a16="http://schemas.microsoft.com/office/drawing/2014/main" id="{E15AA819-113F-37BC-E412-20A39E8498F9}"/>
                </a:ext>
              </a:extLst>
            </p:cNvPr>
            <p:cNvSpPr/>
            <p:nvPr/>
          </p:nvSpPr>
          <p:spPr>
            <a:xfrm>
              <a:off x="3893112" y="4226843"/>
              <a:ext cx="457" cy="980"/>
            </a:xfrm>
            <a:custGeom>
              <a:avLst/>
              <a:gdLst/>
              <a:ahLst/>
              <a:cxnLst/>
              <a:rect l="l" t="t" r="r" b="b"/>
              <a:pathLst>
                <a:path w="14" h="30" extrusionOk="0">
                  <a:moveTo>
                    <a:pt x="1" y="1"/>
                  </a:moveTo>
                  <a:lnTo>
                    <a:pt x="1" y="30"/>
                  </a:lnTo>
                  <a:lnTo>
                    <a:pt x="14" y="30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3" name="Google Shape;4923;p52">
              <a:extLst>
                <a:ext uri="{FF2B5EF4-FFF2-40B4-BE49-F238E27FC236}">
                  <a16:creationId xmlns:a16="http://schemas.microsoft.com/office/drawing/2014/main" id="{6C98D6A2-40E3-4FB9-B666-F01FDE508140}"/>
                </a:ext>
              </a:extLst>
            </p:cNvPr>
            <p:cNvSpPr/>
            <p:nvPr/>
          </p:nvSpPr>
          <p:spPr>
            <a:xfrm>
              <a:off x="3893112" y="4225569"/>
              <a:ext cx="457" cy="1307"/>
            </a:xfrm>
            <a:custGeom>
              <a:avLst/>
              <a:gdLst/>
              <a:ahLst/>
              <a:cxnLst/>
              <a:rect l="l" t="t" r="r" b="b"/>
              <a:pathLst>
                <a:path w="14" h="40" extrusionOk="0">
                  <a:moveTo>
                    <a:pt x="1" y="1"/>
                  </a:moveTo>
                  <a:lnTo>
                    <a:pt x="1" y="40"/>
                  </a:lnTo>
                  <a:lnTo>
                    <a:pt x="14" y="4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4" name="Google Shape;4924;p52">
              <a:extLst>
                <a:ext uri="{FF2B5EF4-FFF2-40B4-BE49-F238E27FC236}">
                  <a16:creationId xmlns:a16="http://schemas.microsoft.com/office/drawing/2014/main" id="{E7945D8F-AB05-4C39-A594-3219BCB2303D}"/>
                </a:ext>
              </a:extLst>
            </p:cNvPr>
            <p:cNvSpPr/>
            <p:nvPr/>
          </p:nvSpPr>
          <p:spPr>
            <a:xfrm>
              <a:off x="3890891" y="4226843"/>
              <a:ext cx="2254" cy="980"/>
            </a:xfrm>
            <a:custGeom>
              <a:avLst/>
              <a:gdLst/>
              <a:ahLst/>
              <a:cxnLst/>
              <a:rect l="l" t="t" r="r" b="b"/>
              <a:pathLst>
                <a:path w="69" h="30" extrusionOk="0">
                  <a:moveTo>
                    <a:pt x="1" y="1"/>
                  </a:moveTo>
                  <a:lnTo>
                    <a:pt x="1" y="30"/>
                  </a:lnTo>
                  <a:lnTo>
                    <a:pt x="69" y="30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5" name="Google Shape;4925;p52">
              <a:extLst>
                <a:ext uri="{FF2B5EF4-FFF2-40B4-BE49-F238E27FC236}">
                  <a16:creationId xmlns:a16="http://schemas.microsoft.com/office/drawing/2014/main" id="{BB4CEDCA-F06C-348D-3F87-82602CE2CCC4}"/>
                </a:ext>
              </a:extLst>
            </p:cNvPr>
            <p:cNvSpPr/>
            <p:nvPr/>
          </p:nvSpPr>
          <p:spPr>
            <a:xfrm>
              <a:off x="3890891" y="4225144"/>
              <a:ext cx="2254" cy="1731"/>
            </a:xfrm>
            <a:custGeom>
              <a:avLst/>
              <a:gdLst/>
              <a:ahLst/>
              <a:cxnLst/>
              <a:rect l="l" t="t" r="r" b="b"/>
              <a:pathLst>
                <a:path w="69" h="53" extrusionOk="0">
                  <a:moveTo>
                    <a:pt x="1" y="1"/>
                  </a:moveTo>
                  <a:lnTo>
                    <a:pt x="1" y="53"/>
                  </a:lnTo>
                  <a:lnTo>
                    <a:pt x="69" y="53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6" name="Google Shape;4926;p52">
              <a:extLst>
                <a:ext uri="{FF2B5EF4-FFF2-40B4-BE49-F238E27FC236}">
                  <a16:creationId xmlns:a16="http://schemas.microsoft.com/office/drawing/2014/main" id="{5204294B-36CF-F98A-B2DE-25E1345DC93C}"/>
                </a:ext>
              </a:extLst>
            </p:cNvPr>
            <p:cNvSpPr/>
            <p:nvPr/>
          </p:nvSpPr>
          <p:spPr>
            <a:xfrm>
              <a:off x="3856916" y="4259119"/>
              <a:ext cx="33582" cy="1731"/>
            </a:xfrm>
            <a:custGeom>
              <a:avLst/>
              <a:gdLst/>
              <a:ahLst/>
              <a:cxnLst/>
              <a:rect l="l" t="t" r="r" b="b"/>
              <a:pathLst>
                <a:path w="1028" h="53" extrusionOk="0">
                  <a:moveTo>
                    <a:pt x="1" y="1"/>
                  </a:moveTo>
                  <a:lnTo>
                    <a:pt x="1" y="53"/>
                  </a:lnTo>
                  <a:lnTo>
                    <a:pt x="1028" y="53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7" name="Google Shape;4927;p52">
              <a:extLst>
                <a:ext uri="{FF2B5EF4-FFF2-40B4-BE49-F238E27FC236}">
                  <a16:creationId xmlns:a16="http://schemas.microsoft.com/office/drawing/2014/main" id="{1C9BCEEB-7429-C939-8726-6FCD218F9180}"/>
                </a:ext>
              </a:extLst>
            </p:cNvPr>
            <p:cNvSpPr/>
            <p:nvPr/>
          </p:nvSpPr>
          <p:spPr>
            <a:xfrm>
              <a:off x="3854270" y="4259119"/>
              <a:ext cx="2679" cy="38776"/>
            </a:xfrm>
            <a:custGeom>
              <a:avLst/>
              <a:gdLst/>
              <a:ahLst/>
              <a:cxnLst/>
              <a:rect l="l" t="t" r="r" b="b"/>
              <a:pathLst>
                <a:path w="82" h="1187" extrusionOk="0">
                  <a:moveTo>
                    <a:pt x="1" y="1"/>
                  </a:moveTo>
                  <a:lnTo>
                    <a:pt x="1" y="1187"/>
                  </a:lnTo>
                  <a:lnTo>
                    <a:pt x="14" y="1187"/>
                  </a:lnTo>
                  <a:lnTo>
                    <a:pt x="14" y="1106"/>
                  </a:lnTo>
                  <a:lnTo>
                    <a:pt x="14" y="1093"/>
                  </a:lnTo>
                  <a:lnTo>
                    <a:pt x="82" y="1093"/>
                  </a:lnTo>
                  <a:lnTo>
                    <a:pt x="82" y="134"/>
                  </a:lnTo>
                  <a:lnTo>
                    <a:pt x="14" y="134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8" name="Google Shape;4928;p52">
              <a:extLst>
                <a:ext uri="{FF2B5EF4-FFF2-40B4-BE49-F238E27FC236}">
                  <a16:creationId xmlns:a16="http://schemas.microsoft.com/office/drawing/2014/main" id="{8960C27F-98B2-9307-DB30-CE9C271E98B1}"/>
                </a:ext>
              </a:extLst>
            </p:cNvPr>
            <p:cNvSpPr/>
            <p:nvPr/>
          </p:nvSpPr>
          <p:spPr>
            <a:xfrm>
              <a:off x="3854694" y="4259119"/>
              <a:ext cx="35804" cy="4377"/>
            </a:xfrm>
            <a:custGeom>
              <a:avLst/>
              <a:gdLst/>
              <a:ahLst/>
              <a:cxnLst/>
              <a:rect l="l" t="t" r="r" b="b"/>
              <a:pathLst>
                <a:path w="1096" h="134" extrusionOk="0">
                  <a:moveTo>
                    <a:pt x="1" y="1"/>
                  </a:moveTo>
                  <a:lnTo>
                    <a:pt x="1" y="134"/>
                  </a:lnTo>
                  <a:lnTo>
                    <a:pt x="69" y="134"/>
                  </a:lnTo>
                  <a:lnTo>
                    <a:pt x="69" y="82"/>
                  </a:lnTo>
                  <a:lnTo>
                    <a:pt x="1096" y="82"/>
                  </a:lnTo>
                  <a:lnTo>
                    <a:pt x="1096" y="53"/>
                  </a:lnTo>
                  <a:lnTo>
                    <a:pt x="69" y="53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9" name="Google Shape;4929;p52">
              <a:extLst>
                <a:ext uri="{FF2B5EF4-FFF2-40B4-BE49-F238E27FC236}">
                  <a16:creationId xmlns:a16="http://schemas.microsoft.com/office/drawing/2014/main" id="{9EBE34A6-8BED-0947-7095-FDC53F97D1A0}"/>
                </a:ext>
              </a:extLst>
            </p:cNvPr>
            <p:cNvSpPr/>
            <p:nvPr/>
          </p:nvSpPr>
          <p:spPr>
            <a:xfrm>
              <a:off x="3893537" y="4259119"/>
              <a:ext cx="33582" cy="1731"/>
            </a:xfrm>
            <a:custGeom>
              <a:avLst/>
              <a:gdLst/>
              <a:ahLst/>
              <a:cxnLst/>
              <a:rect l="l" t="t" r="r" b="b"/>
              <a:pathLst>
                <a:path w="1028" h="53" extrusionOk="0">
                  <a:moveTo>
                    <a:pt x="1" y="1"/>
                  </a:moveTo>
                  <a:lnTo>
                    <a:pt x="1" y="53"/>
                  </a:lnTo>
                  <a:lnTo>
                    <a:pt x="1028" y="53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0" name="Google Shape;4930;p52">
              <a:extLst>
                <a:ext uri="{FF2B5EF4-FFF2-40B4-BE49-F238E27FC236}">
                  <a16:creationId xmlns:a16="http://schemas.microsoft.com/office/drawing/2014/main" id="{0834CD72-2E03-03D1-BBDB-1D71A2FAE4E2}"/>
                </a:ext>
              </a:extLst>
            </p:cNvPr>
            <p:cNvSpPr/>
            <p:nvPr/>
          </p:nvSpPr>
          <p:spPr>
            <a:xfrm>
              <a:off x="3927088" y="4263464"/>
              <a:ext cx="2679" cy="31361"/>
            </a:xfrm>
            <a:custGeom>
              <a:avLst/>
              <a:gdLst/>
              <a:ahLst/>
              <a:cxnLst/>
              <a:rect l="l" t="t" r="r" b="b"/>
              <a:pathLst>
                <a:path w="82" h="960" extrusionOk="0">
                  <a:moveTo>
                    <a:pt x="1" y="1"/>
                  </a:moveTo>
                  <a:lnTo>
                    <a:pt x="1" y="960"/>
                  </a:lnTo>
                  <a:lnTo>
                    <a:pt x="82" y="960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1" name="Google Shape;4931;p52">
              <a:extLst>
                <a:ext uri="{FF2B5EF4-FFF2-40B4-BE49-F238E27FC236}">
                  <a16:creationId xmlns:a16="http://schemas.microsoft.com/office/drawing/2014/main" id="{D826C4E2-22D8-336F-AE81-96046BA65975}"/>
                </a:ext>
              </a:extLst>
            </p:cNvPr>
            <p:cNvSpPr/>
            <p:nvPr/>
          </p:nvSpPr>
          <p:spPr>
            <a:xfrm>
              <a:off x="3893537" y="4259119"/>
              <a:ext cx="36228" cy="4377"/>
            </a:xfrm>
            <a:custGeom>
              <a:avLst/>
              <a:gdLst/>
              <a:ahLst/>
              <a:cxnLst/>
              <a:rect l="l" t="t" r="r" b="b"/>
              <a:pathLst>
                <a:path w="1109" h="134" extrusionOk="0">
                  <a:moveTo>
                    <a:pt x="1028" y="1"/>
                  </a:moveTo>
                  <a:lnTo>
                    <a:pt x="1028" y="53"/>
                  </a:lnTo>
                  <a:lnTo>
                    <a:pt x="1" y="53"/>
                  </a:lnTo>
                  <a:lnTo>
                    <a:pt x="1" y="82"/>
                  </a:lnTo>
                  <a:lnTo>
                    <a:pt x="1028" y="82"/>
                  </a:lnTo>
                  <a:lnTo>
                    <a:pt x="1028" y="134"/>
                  </a:lnTo>
                  <a:lnTo>
                    <a:pt x="1109" y="134"/>
                  </a:lnTo>
                  <a:lnTo>
                    <a:pt x="110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2" name="Google Shape;4932;p52">
              <a:extLst>
                <a:ext uri="{FF2B5EF4-FFF2-40B4-BE49-F238E27FC236}">
                  <a16:creationId xmlns:a16="http://schemas.microsoft.com/office/drawing/2014/main" id="{854D0CF2-A92D-2B81-CF1B-C1BACBD3B57E}"/>
                </a:ext>
              </a:extLst>
            </p:cNvPr>
            <p:cNvSpPr/>
            <p:nvPr/>
          </p:nvSpPr>
          <p:spPr>
            <a:xfrm>
              <a:off x="3893537" y="4259119"/>
              <a:ext cx="33" cy="2679"/>
            </a:xfrm>
            <a:custGeom>
              <a:avLst/>
              <a:gdLst/>
              <a:ahLst/>
              <a:cxnLst/>
              <a:rect l="l" t="t" r="r" b="b"/>
              <a:pathLst>
                <a:path w="1" h="82" extrusionOk="0">
                  <a:moveTo>
                    <a:pt x="1" y="27"/>
                  </a:moveTo>
                  <a:lnTo>
                    <a:pt x="1" y="40"/>
                  </a:lnTo>
                  <a:lnTo>
                    <a:pt x="1" y="82"/>
                  </a:lnTo>
                  <a:lnTo>
                    <a:pt x="1" y="82"/>
                  </a:lnTo>
                  <a:lnTo>
                    <a:pt x="1" y="53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3" name="Google Shape;4933;p52">
              <a:extLst>
                <a:ext uri="{FF2B5EF4-FFF2-40B4-BE49-F238E27FC236}">
                  <a16:creationId xmlns:a16="http://schemas.microsoft.com/office/drawing/2014/main" id="{B9B81B97-CCB9-E1EB-A7FA-66C70AF7F08F}"/>
                </a:ext>
              </a:extLst>
            </p:cNvPr>
            <p:cNvSpPr/>
            <p:nvPr/>
          </p:nvSpPr>
          <p:spPr>
            <a:xfrm>
              <a:off x="3893112" y="4259119"/>
              <a:ext cx="457" cy="882"/>
            </a:xfrm>
            <a:custGeom>
              <a:avLst/>
              <a:gdLst/>
              <a:ahLst/>
              <a:cxnLst/>
              <a:rect l="l" t="t" r="r" b="b"/>
              <a:pathLst>
                <a:path w="14" h="27" extrusionOk="0">
                  <a:moveTo>
                    <a:pt x="1" y="1"/>
                  </a:moveTo>
                  <a:lnTo>
                    <a:pt x="14" y="27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4" name="Google Shape;4934;p52">
              <a:extLst>
                <a:ext uri="{FF2B5EF4-FFF2-40B4-BE49-F238E27FC236}">
                  <a16:creationId xmlns:a16="http://schemas.microsoft.com/office/drawing/2014/main" id="{BA43F06B-801E-F44B-B33B-37FDCA311087}"/>
                </a:ext>
              </a:extLst>
            </p:cNvPr>
            <p:cNvSpPr/>
            <p:nvPr/>
          </p:nvSpPr>
          <p:spPr>
            <a:xfrm>
              <a:off x="3890466" y="4263464"/>
              <a:ext cx="457" cy="31361"/>
            </a:xfrm>
            <a:custGeom>
              <a:avLst/>
              <a:gdLst/>
              <a:ahLst/>
              <a:cxnLst/>
              <a:rect l="l" t="t" r="r" b="b"/>
              <a:pathLst>
                <a:path w="14" h="960" extrusionOk="0">
                  <a:moveTo>
                    <a:pt x="1" y="1"/>
                  </a:moveTo>
                  <a:lnTo>
                    <a:pt x="1" y="960"/>
                  </a:lnTo>
                  <a:lnTo>
                    <a:pt x="14" y="960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5" name="Google Shape;4935;p52">
              <a:extLst>
                <a:ext uri="{FF2B5EF4-FFF2-40B4-BE49-F238E27FC236}">
                  <a16:creationId xmlns:a16="http://schemas.microsoft.com/office/drawing/2014/main" id="{CD7476DF-E087-367B-DBAE-B6820D9757CD}"/>
                </a:ext>
              </a:extLst>
            </p:cNvPr>
            <p:cNvSpPr/>
            <p:nvPr/>
          </p:nvSpPr>
          <p:spPr>
            <a:xfrm>
              <a:off x="3890466" y="4259119"/>
              <a:ext cx="457" cy="1731"/>
            </a:xfrm>
            <a:custGeom>
              <a:avLst/>
              <a:gdLst/>
              <a:ahLst/>
              <a:cxnLst/>
              <a:rect l="l" t="t" r="r" b="b"/>
              <a:pathLst>
                <a:path w="14" h="53" extrusionOk="0">
                  <a:moveTo>
                    <a:pt x="1" y="1"/>
                  </a:moveTo>
                  <a:lnTo>
                    <a:pt x="1" y="53"/>
                  </a:lnTo>
                  <a:lnTo>
                    <a:pt x="14" y="53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6" name="Google Shape;4936;p52">
              <a:extLst>
                <a:ext uri="{FF2B5EF4-FFF2-40B4-BE49-F238E27FC236}">
                  <a16:creationId xmlns:a16="http://schemas.microsoft.com/office/drawing/2014/main" id="{A919DA01-5361-9274-6B14-A3CDC64CF33D}"/>
                </a:ext>
              </a:extLst>
            </p:cNvPr>
            <p:cNvSpPr/>
            <p:nvPr/>
          </p:nvSpPr>
          <p:spPr>
            <a:xfrm>
              <a:off x="3890466" y="4260818"/>
              <a:ext cx="457" cy="2679"/>
            </a:xfrm>
            <a:custGeom>
              <a:avLst/>
              <a:gdLst/>
              <a:ahLst/>
              <a:cxnLst/>
              <a:rect l="l" t="t" r="r" b="b"/>
              <a:pathLst>
                <a:path w="14" h="82" extrusionOk="0">
                  <a:moveTo>
                    <a:pt x="1" y="1"/>
                  </a:moveTo>
                  <a:lnTo>
                    <a:pt x="1" y="30"/>
                  </a:lnTo>
                  <a:lnTo>
                    <a:pt x="1" y="82"/>
                  </a:lnTo>
                  <a:lnTo>
                    <a:pt x="14" y="82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7" name="Google Shape;4937;p52">
              <a:extLst>
                <a:ext uri="{FF2B5EF4-FFF2-40B4-BE49-F238E27FC236}">
                  <a16:creationId xmlns:a16="http://schemas.microsoft.com/office/drawing/2014/main" id="{A8A6B563-F28A-57DD-8C21-1B4AC4188781}"/>
                </a:ext>
              </a:extLst>
            </p:cNvPr>
            <p:cNvSpPr/>
            <p:nvPr/>
          </p:nvSpPr>
          <p:spPr>
            <a:xfrm>
              <a:off x="3890891" y="4259119"/>
              <a:ext cx="33" cy="4377"/>
            </a:xfrm>
            <a:custGeom>
              <a:avLst/>
              <a:gdLst/>
              <a:ahLst/>
              <a:cxnLst/>
              <a:rect l="l" t="t" r="r" b="b"/>
              <a:pathLst>
                <a:path w="1" h="134" extrusionOk="0">
                  <a:moveTo>
                    <a:pt x="1" y="53"/>
                  </a:moveTo>
                  <a:lnTo>
                    <a:pt x="1" y="134"/>
                  </a:lnTo>
                  <a:lnTo>
                    <a:pt x="1" y="13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8" name="Google Shape;4938;p52">
              <a:extLst>
                <a:ext uri="{FF2B5EF4-FFF2-40B4-BE49-F238E27FC236}">
                  <a16:creationId xmlns:a16="http://schemas.microsoft.com/office/drawing/2014/main" id="{C3512ADE-F1C7-F029-39FB-E9AF5A4541EB}"/>
                </a:ext>
              </a:extLst>
            </p:cNvPr>
            <p:cNvSpPr/>
            <p:nvPr/>
          </p:nvSpPr>
          <p:spPr>
            <a:xfrm>
              <a:off x="3893112" y="4263464"/>
              <a:ext cx="457" cy="31361"/>
            </a:xfrm>
            <a:custGeom>
              <a:avLst/>
              <a:gdLst/>
              <a:ahLst/>
              <a:cxnLst/>
              <a:rect l="l" t="t" r="r" b="b"/>
              <a:pathLst>
                <a:path w="14" h="960" extrusionOk="0">
                  <a:moveTo>
                    <a:pt x="1" y="1"/>
                  </a:moveTo>
                  <a:lnTo>
                    <a:pt x="1" y="960"/>
                  </a:lnTo>
                  <a:lnTo>
                    <a:pt x="14" y="960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9" name="Google Shape;4939;p52">
              <a:extLst>
                <a:ext uri="{FF2B5EF4-FFF2-40B4-BE49-F238E27FC236}">
                  <a16:creationId xmlns:a16="http://schemas.microsoft.com/office/drawing/2014/main" id="{351F33E5-3ED5-7BA2-259F-351BCF5B17FA}"/>
                </a:ext>
              </a:extLst>
            </p:cNvPr>
            <p:cNvSpPr/>
            <p:nvPr/>
          </p:nvSpPr>
          <p:spPr>
            <a:xfrm>
              <a:off x="3893537" y="4259969"/>
              <a:ext cx="33" cy="3528"/>
            </a:xfrm>
            <a:custGeom>
              <a:avLst/>
              <a:gdLst/>
              <a:ahLst/>
              <a:cxnLst/>
              <a:rect l="l" t="t" r="r" b="b"/>
              <a:pathLst>
                <a:path w="1" h="108" extrusionOk="0">
                  <a:moveTo>
                    <a:pt x="1" y="108"/>
                  </a:moveTo>
                  <a:lnTo>
                    <a:pt x="1" y="108"/>
                  </a:lnTo>
                  <a:lnTo>
                    <a:pt x="1" y="56"/>
                  </a:lnTo>
                  <a:lnTo>
                    <a:pt x="1" y="1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0" name="Google Shape;4940;p52">
              <a:extLst>
                <a:ext uri="{FF2B5EF4-FFF2-40B4-BE49-F238E27FC236}">
                  <a16:creationId xmlns:a16="http://schemas.microsoft.com/office/drawing/2014/main" id="{692E37B6-9812-678B-1FBF-410637EA93A9}"/>
                </a:ext>
              </a:extLst>
            </p:cNvPr>
            <p:cNvSpPr/>
            <p:nvPr/>
          </p:nvSpPr>
          <p:spPr>
            <a:xfrm>
              <a:off x="3893112" y="4259119"/>
              <a:ext cx="457" cy="4377"/>
            </a:xfrm>
            <a:custGeom>
              <a:avLst/>
              <a:gdLst/>
              <a:ahLst/>
              <a:cxnLst/>
              <a:rect l="l" t="t" r="r" b="b"/>
              <a:pathLst>
                <a:path w="14" h="134" extrusionOk="0">
                  <a:moveTo>
                    <a:pt x="1" y="1"/>
                  </a:moveTo>
                  <a:lnTo>
                    <a:pt x="1" y="134"/>
                  </a:lnTo>
                  <a:lnTo>
                    <a:pt x="14" y="134"/>
                  </a:lnTo>
                  <a:lnTo>
                    <a:pt x="14" y="2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1" name="Google Shape;4941;p52">
              <a:extLst>
                <a:ext uri="{FF2B5EF4-FFF2-40B4-BE49-F238E27FC236}">
                  <a16:creationId xmlns:a16="http://schemas.microsoft.com/office/drawing/2014/main" id="{A6BB74A9-81E1-52AB-1FDF-5E654F41C311}"/>
                </a:ext>
              </a:extLst>
            </p:cNvPr>
            <p:cNvSpPr/>
            <p:nvPr/>
          </p:nvSpPr>
          <p:spPr>
            <a:xfrm>
              <a:off x="3890891" y="4263464"/>
              <a:ext cx="2254" cy="31361"/>
            </a:xfrm>
            <a:custGeom>
              <a:avLst/>
              <a:gdLst/>
              <a:ahLst/>
              <a:cxnLst/>
              <a:rect l="l" t="t" r="r" b="b"/>
              <a:pathLst>
                <a:path w="69" h="960" extrusionOk="0">
                  <a:moveTo>
                    <a:pt x="1" y="1"/>
                  </a:moveTo>
                  <a:lnTo>
                    <a:pt x="1" y="960"/>
                  </a:lnTo>
                  <a:lnTo>
                    <a:pt x="69" y="960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2" name="Google Shape;4942;p52">
              <a:extLst>
                <a:ext uri="{FF2B5EF4-FFF2-40B4-BE49-F238E27FC236}">
                  <a16:creationId xmlns:a16="http://schemas.microsoft.com/office/drawing/2014/main" id="{7BA43BEE-77A2-5F41-1024-36DD0AA6499B}"/>
                </a:ext>
              </a:extLst>
            </p:cNvPr>
            <p:cNvSpPr/>
            <p:nvPr/>
          </p:nvSpPr>
          <p:spPr>
            <a:xfrm>
              <a:off x="3890891" y="4259119"/>
              <a:ext cx="33" cy="4377"/>
            </a:xfrm>
            <a:custGeom>
              <a:avLst/>
              <a:gdLst/>
              <a:ahLst/>
              <a:cxnLst/>
              <a:rect l="l" t="t" r="r" b="b"/>
              <a:pathLst>
                <a:path w="1" h="134" extrusionOk="0">
                  <a:moveTo>
                    <a:pt x="1" y="134"/>
                  </a:moveTo>
                  <a:lnTo>
                    <a:pt x="1" y="13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3" name="Google Shape;4943;p52">
              <a:extLst>
                <a:ext uri="{FF2B5EF4-FFF2-40B4-BE49-F238E27FC236}">
                  <a16:creationId xmlns:a16="http://schemas.microsoft.com/office/drawing/2014/main" id="{7E678D48-ED81-E7FB-827D-499281083312}"/>
                </a:ext>
              </a:extLst>
            </p:cNvPr>
            <p:cNvSpPr/>
            <p:nvPr/>
          </p:nvSpPr>
          <p:spPr>
            <a:xfrm>
              <a:off x="3890891" y="4259119"/>
              <a:ext cx="2254" cy="4377"/>
            </a:xfrm>
            <a:custGeom>
              <a:avLst/>
              <a:gdLst/>
              <a:ahLst/>
              <a:cxnLst/>
              <a:rect l="l" t="t" r="r" b="b"/>
              <a:pathLst>
                <a:path w="69" h="134" extrusionOk="0">
                  <a:moveTo>
                    <a:pt x="1" y="1"/>
                  </a:moveTo>
                  <a:lnTo>
                    <a:pt x="1" y="134"/>
                  </a:lnTo>
                  <a:lnTo>
                    <a:pt x="69" y="134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4" name="Google Shape;4944;p52">
              <a:extLst>
                <a:ext uri="{FF2B5EF4-FFF2-40B4-BE49-F238E27FC236}">
                  <a16:creationId xmlns:a16="http://schemas.microsoft.com/office/drawing/2014/main" id="{B0F4C94E-7FFB-114E-2016-DD08ACB60B3A}"/>
                </a:ext>
              </a:extLst>
            </p:cNvPr>
            <p:cNvSpPr/>
            <p:nvPr/>
          </p:nvSpPr>
          <p:spPr>
            <a:xfrm>
              <a:off x="3854694" y="4330990"/>
              <a:ext cx="36228" cy="2679"/>
            </a:xfrm>
            <a:custGeom>
              <a:avLst/>
              <a:gdLst/>
              <a:ahLst/>
              <a:cxnLst/>
              <a:rect l="l" t="t" r="r" b="b"/>
              <a:pathLst>
                <a:path w="1109" h="82" extrusionOk="0">
                  <a:moveTo>
                    <a:pt x="1" y="1"/>
                  </a:moveTo>
                  <a:lnTo>
                    <a:pt x="1" y="82"/>
                  </a:lnTo>
                  <a:lnTo>
                    <a:pt x="1109" y="82"/>
                  </a:lnTo>
                  <a:lnTo>
                    <a:pt x="110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5" name="Google Shape;4945;p52">
              <a:extLst>
                <a:ext uri="{FF2B5EF4-FFF2-40B4-BE49-F238E27FC236}">
                  <a16:creationId xmlns:a16="http://schemas.microsoft.com/office/drawing/2014/main" id="{22ADB06C-495E-B3D9-6769-12161AAD60FB}"/>
                </a:ext>
              </a:extLst>
            </p:cNvPr>
            <p:cNvSpPr/>
            <p:nvPr/>
          </p:nvSpPr>
          <p:spPr>
            <a:xfrm>
              <a:off x="3854694" y="4297864"/>
              <a:ext cx="2254" cy="33158"/>
            </a:xfrm>
            <a:custGeom>
              <a:avLst/>
              <a:gdLst/>
              <a:ahLst/>
              <a:cxnLst/>
              <a:rect l="l" t="t" r="r" b="b"/>
              <a:pathLst>
                <a:path w="69" h="1015" extrusionOk="0">
                  <a:moveTo>
                    <a:pt x="1" y="1"/>
                  </a:moveTo>
                  <a:lnTo>
                    <a:pt x="1" y="1015"/>
                  </a:lnTo>
                  <a:lnTo>
                    <a:pt x="69" y="1015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6" name="Google Shape;4946;p52">
              <a:extLst>
                <a:ext uri="{FF2B5EF4-FFF2-40B4-BE49-F238E27FC236}">
                  <a16:creationId xmlns:a16="http://schemas.microsoft.com/office/drawing/2014/main" id="{C024F98C-FD17-BDFA-E1BB-5555FE988F8E}"/>
                </a:ext>
              </a:extLst>
            </p:cNvPr>
            <p:cNvSpPr/>
            <p:nvPr/>
          </p:nvSpPr>
          <p:spPr>
            <a:xfrm>
              <a:off x="3854694" y="4294793"/>
              <a:ext cx="35804" cy="457"/>
            </a:xfrm>
            <a:custGeom>
              <a:avLst/>
              <a:gdLst/>
              <a:ahLst/>
              <a:cxnLst/>
              <a:rect l="l" t="t" r="r" b="b"/>
              <a:pathLst>
                <a:path w="1096" h="14" extrusionOk="0">
                  <a:moveTo>
                    <a:pt x="1" y="1"/>
                  </a:moveTo>
                  <a:lnTo>
                    <a:pt x="1" y="14"/>
                  </a:lnTo>
                  <a:lnTo>
                    <a:pt x="1096" y="14"/>
                  </a:lnTo>
                  <a:lnTo>
                    <a:pt x="1096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7" name="Google Shape;4947;p52">
              <a:extLst>
                <a:ext uri="{FF2B5EF4-FFF2-40B4-BE49-F238E27FC236}">
                  <a16:creationId xmlns:a16="http://schemas.microsoft.com/office/drawing/2014/main" id="{B8FDA54F-986F-9B34-966E-DC76D43A52C6}"/>
                </a:ext>
              </a:extLst>
            </p:cNvPr>
            <p:cNvSpPr/>
            <p:nvPr/>
          </p:nvSpPr>
          <p:spPr>
            <a:xfrm>
              <a:off x="3856916" y="4297439"/>
              <a:ext cx="33582" cy="457"/>
            </a:xfrm>
            <a:custGeom>
              <a:avLst/>
              <a:gdLst/>
              <a:ahLst/>
              <a:cxnLst/>
              <a:rect l="l" t="t" r="r" b="b"/>
              <a:pathLst>
                <a:path w="1028" h="14" extrusionOk="0">
                  <a:moveTo>
                    <a:pt x="1" y="1"/>
                  </a:moveTo>
                  <a:lnTo>
                    <a:pt x="1" y="14"/>
                  </a:lnTo>
                  <a:lnTo>
                    <a:pt x="1028" y="14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8" name="Google Shape;4948;p52">
              <a:extLst>
                <a:ext uri="{FF2B5EF4-FFF2-40B4-BE49-F238E27FC236}">
                  <a16:creationId xmlns:a16="http://schemas.microsoft.com/office/drawing/2014/main" id="{72D0BE26-3875-C3EC-D108-35E1779D94FF}"/>
                </a:ext>
              </a:extLst>
            </p:cNvPr>
            <p:cNvSpPr/>
            <p:nvPr/>
          </p:nvSpPr>
          <p:spPr>
            <a:xfrm>
              <a:off x="3854694" y="4295218"/>
              <a:ext cx="35804" cy="2679"/>
            </a:xfrm>
            <a:custGeom>
              <a:avLst/>
              <a:gdLst/>
              <a:ahLst/>
              <a:cxnLst/>
              <a:rect l="l" t="t" r="r" b="b"/>
              <a:pathLst>
                <a:path w="1096" h="82" extrusionOk="0">
                  <a:moveTo>
                    <a:pt x="1" y="1"/>
                  </a:moveTo>
                  <a:lnTo>
                    <a:pt x="1" y="82"/>
                  </a:lnTo>
                  <a:lnTo>
                    <a:pt x="69" y="82"/>
                  </a:lnTo>
                  <a:lnTo>
                    <a:pt x="69" y="69"/>
                  </a:lnTo>
                  <a:lnTo>
                    <a:pt x="1096" y="69"/>
                  </a:lnTo>
                  <a:lnTo>
                    <a:pt x="1096" y="30"/>
                  </a:lnTo>
                  <a:lnTo>
                    <a:pt x="1096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9" name="Google Shape;4949;p52">
              <a:extLst>
                <a:ext uri="{FF2B5EF4-FFF2-40B4-BE49-F238E27FC236}">
                  <a16:creationId xmlns:a16="http://schemas.microsoft.com/office/drawing/2014/main" id="{8EC8221D-4985-4FC6-1BCB-0C2E6A4B1DB2}"/>
                </a:ext>
              </a:extLst>
            </p:cNvPr>
            <p:cNvSpPr/>
            <p:nvPr/>
          </p:nvSpPr>
          <p:spPr>
            <a:xfrm>
              <a:off x="3890466" y="4294793"/>
              <a:ext cx="457" cy="457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1" y="1"/>
                  </a:moveTo>
                  <a:lnTo>
                    <a:pt x="1" y="14"/>
                  </a:lnTo>
                  <a:lnTo>
                    <a:pt x="14" y="14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0" name="Google Shape;4950;p52">
              <a:extLst>
                <a:ext uri="{FF2B5EF4-FFF2-40B4-BE49-F238E27FC236}">
                  <a16:creationId xmlns:a16="http://schemas.microsoft.com/office/drawing/2014/main" id="{E62B0DF2-ACE8-C409-F6B2-06E913A29546}"/>
                </a:ext>
              </a:extLst>
            </p:cNvPr>
            <p:cNvSpPr/>
            <p:nvPr/>
          </p:nvSpPr>
          <p:spPr>
            <a:xfrm>
              <a:off x="3890466" y="4297439"/>
              <a:ext cx="457" cy="457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1" y="1"/>
                  </a:moveTo>
                  <a:lnTo>
                    <a:pt x="1" y="14"/>
                  </a:lnTo>
                  <a:lnTo>
                    <a:pt x="14" y="14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1" name="Google Shape;4951;p52">
              <a:extLst>
                <a:ext uri="{FF2B5EF4-FFF2-40B4-BE49-F238E27FC236}">
                  <a16:creationId xmlns:a16="http://schemas.microsoft.com/office/drawing/2014/main" id="{71A098D2-B4A7-AD29-7769-42CA270CE008}"/>
                </a:ext>
              </a:extLst>
            </p:cNvPr>
            <p:cNvSpPr/>
            <p:nvPr/>
          </p:nvSpPr>
          <p:spPr>
            <a:xfrm>
              <a:off x="3890466" y="4296165"/>
              <a:ext cx="457" cy="1307"/>
            </a:xfrm>
            <a:custGeom>
              <a:avLst/>
              <a:gdLst/>
              <a:ahLst/>
              <a:cxnLst/>
              <a:rect l="l" t="t" r="r" b="b"/>
              <a:pathLst>
                <a:path w="14" h="40" extrusionOk="0">
                  <a:moveTo>
                    <a:pt x="1" y="1"/>
                  </a:moveTo>
                  <a:lnTo>
                    <a:pt x="1" y="40"/>
                  </a:lnTo>
                  <a:lnTo>
                    <a:pt x="14" y="4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2" name="Google Shape;4952;p52">
              <a:extLst>
                <a:ext uri="{FF2B5EF4-FFF2-40B4-BE49-F238E27FC236}">
                  <a16:creationId xmlns:a16="http://schemas.microsoft.com/office/drawing/2014/main" id="{452F06B1-4C97-EE21-3283-38B59A94B119}"/>
                </a:ext>
              </a:extLst>
            </p:cNvPr>
            <p:cNvSpPr/>
            <p:nvPr/>
          </p:nvSpPr>
          <p:spPr>
            <a:xfrm>
              <a:off x="3890466" y="4295218"/>
              <a:ext cx="457" cy="2254"/>
            </a:xfrm>
            <a:custGeom>
              <a:avLst/>
              <a:gdLst/>
              <a:ahLst/>
              <a:cxnLst/>
              <a:rect l="l" t="t" r="r" b="b"/>
              <a:pathLst>
                <a:path w="14" h="69" extrusionOk="0">
                  <a:moveTo>
                    <a:pt x="1" y="1"/>
                  </a:moveTo>
                  <a:lnTo>
                    <a:pt x="1" y="30"/>
                  </a:lnTo>
                  <a:lnTo>
                    <a:pt x="14" y="69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3" name="Google Shape;4953;p52">
              <a:extLst>
                <a:ext uri="{FF2B5EF4-FFF2-40B4-BE49-F238E27FC236}">
                  <a16:creationId xmlns:a16="http://schemas.microsoft.com/office/drawing/2014/main" id="{6728DE08-58B0-4633-9517-B724252FA919}"/>
                </a:ext>
              </a:extLst>
            </p:cNvPr>
            <p:cNvSpPr/>
            <p:nvPr/>
          </p:nvSpPr>
          <p:spPr>
            <a:xfrm>
              <a:off x="3893537" y="4330990"/>
              <a:ext cx="36228" cy="2679"/>
            </a:xfrm>
            <a:custGeom>
              <a:avLst/>
              <a:gdLst/>
              <a:ahLst/>
              <a:cxnLst/>
              <a:rect l="l" t="t" r="r" b="b"/>
              <a:pathLst>
                <a:path w="1109" h="82" extrusionOk="0">
                  <a:moveTo>
                    <a:pt x="1" y="1"/>
                  </a:moveTo>
                  <a:lnTo>
                    <a:pt x="1" y="82"/>
                  </a:lnTo>
                  <a:lnTo>
                    <a:pt x="1109" y="82"/>
                  </a:lnTo>
                  <a:lnTo>
                    <a:pt x="110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4" name="Google Shape;4954;p52">
              <a:extLst>
                <a:ext uri="{FF2B5EF4-FFF2-40B4-BE49-F238E27FC236}">
                  <a16:creationId xmlns:a16="http://schemas.microsoft.com/office/drawing/2014/main" id="{6D55257E-B6BC-0D47-DB13-E1969E9F03C8}"/>
                </a:ext>
              </a:extLst>
            </p:cNvPr>
            <p:cNvSpPr/>
            <p:nvPr/>
          </p:nvSpPr>
          <p:spPr>
            <a:xfrm>
              <a:off x="3927088" y="4297864"/>
              <a:ext cx="2679" cy="33158"/>
            </a:xfrm>
            <a:custGeom>
              <a:avLst/>
              <a:gdLst/>
              <a:ahLst/>
              <a:cxnLst/>
              <a:rect l="l" t="t" r="r" b="b"/>
              <a:pathLst>
                <a:path w="82" h="1015" extrusionOk="0">
                  <a:moveTo>
                    <a:pt x="1" y="1"/>
                  </a:moveTo>
                  <a:lnTo>
                    <a:pt x="1" y="1015"/>
                  </a:lnTo>
                  <a:lnTo>
                    <a:pt x="82" y="1015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5" name="Google Shape;4955;p52">
              <a:extLst>
                <a:ext uri="{FF2B5EF4-FFF2-40B4-BE49-F238E27FC236}">
                  <a16:creationId xmlns:a16="http://schemas.microsoft.com/office/drawing/2014/main" id="{A30C0688-D891-3897-6966-76626ABB6E0E}"/>
                </a:ext>
              </a:extLst>
            </p:cNvPr>
            <p:cNvSpPr/>
            <p:nvPr/>
          </p:nvSpPr>
          <p:spPr>
            <a:xfrm>
              <a:off x="3893537" y="4294793"/>
              <a:ext cx="33582" cy="457"/>
            </a:xfrm>
            <a:custGeom>
              <a:avLst/>
              <a:gdLst/>
              <a:ahLst/>
              <a:cxnLst/>
              <a:rect l="l" t="t" r="r" b="b"/>
              <a:pathLst>
                <a:path w="1028" h="14" extrusionOk="0">
                  <a:moveTo>
                    <a:pt x="1" y="1"/>
                  </a:moveTo>
                  <a:lnTo>
                    <a:pt x="1" y="14"/>
                  </a:lnTo>
                  <a:lnTo>
                    <a:pt x="1028" y="14"/>
                  </a:lnTo>
                  <a:lnTo>
                    <a:pt x="1028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6" name="Google Shape;4956;p52">
              <a:extLst>
                <a:ext uri="{FF2B5EF4-FFF2-40B4-BE49-F238E27FC236}">
                  <a16:creationId xmlns:a16="http://schemas.microsoft.com/office/drawing/2014/main" id="{3242708B-49F9-E5E6-CEC5-4CE2D3B9C4BD}"/>
                </a:ext>
              </a:extLst>
            </p:cNvPr>
            <p:cNvSpPr/>
            <p:nvPr/>
          </p:nvSpPr>
          <p:spPr>
            <a:xfrm>
              <a:off x="3893537" y="4297439"/>
              <a:ext cx="36228" cy="457"/>
            </a:xfrm>
            <a:custGeom>
              <a:avLst/>
              <a:gdLst/>
              <a:ahLst/>
              <a:cxnLst/>
              <a:rect l="l" t="t" r="r" b="b"/>
              <a:pathLst>
                <a:path w="1109" h="14" extrusionOk="0">
                  <a:moveTo>
                    <a:pt x="1" y="1"/>
                  </a:moveTo>
                  <a:lnTo>
                    <a:pt x="1" y="14"/>
                  </a:lnTo>
                  <a:lnTo>
                    <a:pt x="1109" y="14"/>
                  </a:lnTo>
                  <a:lnTo>
                    <a:pt x="110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7" name="Google Shape;4957;p52">
              <a:extLst>
                <a:ext uri="{FF2B5EF4-FFF2-40B4-BE49-F238E27FC236}">
                  <a16:creationId xmlns:a16="http://schemas.microsoft.com/office/drawing/2014/main" id="{DF0F265A-65FE-9A15-E6C0-093FA1081CEF}"/>
                </a:ext>
              </a:extLst>
            </p:cNvPr>
            <p:cNvSpPr/>
            <p:nvPr/>
          </p:nvSpPr>
          <p:spPr>
            <a:xfrm>
              <a:off x="3893537" y="4294793"/>
              <a:ext cx="36228" cy="2679"/>
            </a:xfrm>
            <a:custGeom>
              <a:avLst/>
              <a:gdLst/>
              <a:ahLst/>
              <a:cxnLst/>
              <a:rect l="l" t="t" r="r" b="b"/>
              <a:pathLst>
                <a:path w="1109" h="82" extrusionOk="0">
                  <a:moveTo>
                    <a:pt x="1028" y="1"/>
                  </a:moveTo>
                  <a:lnTo>
                    <a:pt x="1028" y="14"/>
                  </a:lnTo>
                  <a:lnTo>
                    <a:pt x="1" y="14"/>
                  </a:lnTo>
                  <a:lnTo>
                    <a:pt x="1" y="56"/>
                  </a:lnTo>
                  <a:lnTo>
                    <a:pt x="1" y="82"/>
                  </a:lnTo>
                  <a:lnTo>
                    <a:pt x="1109" y="82"/>
                  </a:lnTo>
                  <a:lnTo>
                    <a:pt x="110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8" name="Google Shape;4958;p52">
              <a:extLst>
                <a:ext uri="{FF2B5EF4-FFF2-40B4-BE49-F238E27FC236}">
                  <a16:creationId xmlns:a16="http://schemas.microsoft.com/office/drawing/2014/main" id="{0F2231F6-E629-2998-9CE8-53C5C8E340FE}"/>
                </a:ext>
              </a:extLst>
            </p:cNvPr>
            <p:cNvSpPr/>
            <p:nvPr/>
          </p:nvSpPr>
          <p:spPr>
            <a:xfrm>
              <a:off x="3890891" y="4330990"/>
              <a:ext cx="33" cy="2679"/>
            </a:xfrm>
            <a:custGeom>
              <a:avLst/>
              <a:gdLst/>
              <a:ahLst/>
              <a:cxnLst/>
              <a:rect l="l" t="t" r="r" b="b"/>
              <a:pathLst>
                <a:path w="1" h="82" extrusionOk="0">
                  <a:moveTo>
                    <a:pt x="1" y="82"/>
                  </a:moveTo>
                  <a:lnTo>
                    <a:pt x="1" y="82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9" name="Google Shape;4959;p52">
              <a:extLst>
                <a:ext uri="{FF2B5EF4-FFF2-40B4-BE49-F238E27FC236}">
                  <a16:creationId xmlns:a16="http://schemas.microsoft.com/office/drawing/2014/main" id="{FD6DAB20-3F13-E8B3-E938-73BC9139A633}"/>
                </a:ext>
              </a:extLst>
            </p:cNvPr>
            <p:cNvSpPr/>
            <p:nvPr/>
          </p:nvSpPr>
          <p:spPr>
            <a:xfrm>
              <a:off x="3890891" y="4297864"/>
              <a:ext cx="33" cy="33158"/>
            </a:xfrm>
            <a:custGeom>
              <a:avLst/>
              <a:gdLst/>
              <a:ahLst/>
              <a:cxnLst/>
              <a:rect l="l" t="t" r="r" b="b"/>
              <a:pathLst>
                <a:path w="1" h="1015" extrusionOk="0">
                  <a:moveTo>
                    <a:pt x="1" y="1"/>
                  </a:moveTo>
                  <a:lnTo>
                    <a:pt x="1" y="1015"/>
                  </a:lnTo>
                  <a:lnTo>
                    <a:pt x="1" y="1015"/>
                  </a:lnTo>
                  <a:lnTo>
                    <a:pt x="1" y="101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0" name="Google Shape;4960;p52">
              <a:extLst>
                <a:ext uri="{FF2B5EF4-FFF2-40B4-BE49-F238E27FC236}">
                  <a16:creationId xmlns:a16="http://schemas.microsoft.com/office/drawing/2014/main" id="{2ED4B0A9-80DB-9BDC-F46D-09B396B91130}"/>
                </a:ext>
              </a:extLst>
            </p:cNvPr>
            <p:cNvSpPr/>
            <p:nvPr/>
          </p:nvSpPr>
          <p:spPr>
            <a:xfrm>
              <a:off x="3893537" y="4330990"/>
              <a:ext cx="33" cy="2679"/>
            </a:xfrm>
            <a:custGeom>
              <a:avLst/>
              <a:gdLst/>
              <a:ahLst/>
              <a:cxnLst/>
              <a:rect l="l" t="t" r="r" b="b"/>
              <a:pathLst>
                <a:path w="1" h="82" extrusionOk="0">
                  <a:moveTo>
                    <a:pt x="1" y="82"/>
                  </a:moveTo>
                  <a:lnTo>
                    <a:pt x="1" y="82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1" name="Google Shape;4961;p52">
              <a:extLst>
                <a:ext uri="{FF2B5EF4-FFF2-40B4-BE49-F238E27FC236}">
                  <a16:creationId xmlns:a16="http://schemas.microsoft.com/office/drawing/2014/main" id="{717395EA-69E4-759A-ACE2-C73605023BAD}"/>
                </a:ext>
              </a:extLst>
            </p:cNvPr>
            <p:cNvSpPr/>
            <p:nvPr/>
          </p:nvSpPr>
          <p:spPr>
            <a:xfrm>
              <a:off x="3893537" y="4297864"/>
              <a:ext cx="33" cy="33158"/>
            </a:xfrm>
            <a:custGeom>
              <a:avLst/>
              <a:gdLst/>
              <a:ahLst/>
              <a:cxnLst/>
              <a:rect l="l" t="t" r="r" b="b"/>
              <a:pathLst>
                <a:path w="1" h="1015" extrusionOk="0">
                  <a:moveTo>
                    <a:pt x="1" y="1"/>
                  </a:moveTo>
                  <a:lnTo>
                    <a:pt x="1" y="1015"/>
                  </a:lnTo>
                  <a:lnTo>
                    <a:pt x="1" y="1015"/>
                  </a:lnTo>
                  <a:lnTo>
                    <a:pt x="1" y="101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2" name="Google Shape;4962;p52">
              <a:extLst>
                <a:ext uri="{FF2B5EF4-FFF2-40B4-BE49-F238E27FC236}">
                  <a16:creationId xmlns:a16="http://schemas.microsoft.com/office/drawing/2014/main" id="{9F3C5396-7D20-C049-DEF7-D2C8B02A54E8}"/>
                </a:ext>
              </a:extLst>
            </p:cNvPr>
            <p:cNvSpPr/>
            <p:nvPr/>
          </p:nvSpPr>
          <p:spPr>
            <a:xfrm>
              <a:off x="3890891" y="4330990"/>
              <a:ext cx="2679" cy="2679"/>
            </a:xfrm>
            <a:custGeom>
              <a:avLst/>
              <a:gdLst/>
              <a:ahLst/>
              <a:cxnLst/>
              <a:rect l="l" t="t" r="r" b="b"/>
              <a:pathLst>
                <a:path w="82" h="82" extrusionOk="0">
                  <a:moveTo>
                    <a:pt x="1" y="1"/>
                  </a:moveTo>
                  <a:lnTo>
                    <a:pt x="1" y="82"/>
                  </a:lnTo>
                  <a:lnTo>
                    <a:pt x="82" y="82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3" name="Google Shape;4963;p52">
              <a:extLst>
                <a:ext uri="{FF2B5EF4-FFF2-40B4-BE49-F238E27FC236}">
                  <a16:creationId xmlns:a16="http://schemas.microsoft.com/office/drawing/2014/main" id="{F4E6D638-6917-E32F-71F3-CBBE6DCA4711}"/>
                </a:ext>
              </a:extLst>
            </p:cNvPr>
            <p:cNvSpPr/>
            <p:nvPr/>
          </p:nvSpPr>
          <p:spPr>
            <a:xfrm>
              <a:off x="3890891" y="4297864"/>
              <a:ext cx="2679" cy="33158"/>
            </a:xfrm>
            <a:custGeom>
              <a:avLst/>
              <a:gdLst/>
              <a:ahLst/>
              <a:cxnLst/>
              <a:rect l="l" t="t" r="r" b="b"/>
              <a:pathLst>
                <a:path w="82" h="1015" extrusionOk="0">
                  <a:moveTo>
                    <a:pt x="1" y="1"/>
                  </a:moveTo>
                  <a:lnTo>
                    <a:pt x="1" y="1015"/>
                  </a:lnTo>
                  <a:lnTo>
                    <a:pt x="82" y="1015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4" name="Google Shape;4964;p52">
              <a:extLst>
                <a:ext uri="{FF2B5EF4-FFF2-40B4-BE49-F238E27FC236}">
                  <a16:creationId xmlns:a16="http://schemas.microsoft.com/office/drawing/2014/main" id="{56C51D20-76FF-A6C9-D94A-529B3A59DA11}"/>
                </a:ext>
              </a:extLst>
            </p:cNvPr>
            <p:cNvSpPr/>
            <p:nvPr/>
          </p:nvSpPr>
          <p:spPr>
            <a:xfrm>
              <a:off x="3893537" y="4297439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5" name="Google Shape;4965;p52">
              <a:extLst>
                <a:ext uri="{FF2B5EF4-FFF2-40B4-BE49-F238E27FC236}">
                  <a16:creationId xmlns:a16="http://schemas.microsoft.com/office/drawing/2014/main" id="{B98674AF-A90E-F501-EDDA-7E591D523FAF}"/>
                </a:ext>
              </a:extLst>
            </p:cNvPr>
            <p:cNvSpPr/>
            <p:nvPr/>
          </p:nvSpPr>
          <p:spPr>
            <a:xfrm>
              <a:off x="3893537" y="4296590"/>
              <a:ext cx="33" cy="882"/>
            </a:xfrm>
            <a:custGeom>
              <a:avLst/>
              <a:gdLst/>
              <a:ahLst/>
              <a:cxnLst/>
              <a:rect l="l" t="t" r="r" b="b"/>
              <a:pathLst>
                <a:path w="1" h="27" extrusionOk="0">
                  <a:moveTo>
                    <a:pt x="1" y="27"/>
                  </a:moveTo>
                  <a:lnTo>
                    <a:pt x="1" y="27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6" name="Google Shape;4966;p52">
              <a:extLst>
                <a:ext uri="{FF2B5EF4-FFF2-40B4-BE49-F238E27FC236}">
                  <a16:creationId xmlns:a16="http://schemas.microsoft.com/office/drawing/2014/main" id="{05AA797D-8FCD-A3BE-7D03-4ECFAD743C86}"/>
                </a:ext>
              </a:extLst>
            </p:cNvPr>
            <p:cNvSpPr/>
            <p:nvPr/>
          </p:nvSpPr>
          <p:spPr>
            <a:xfrm>
              <a:off x="3893537" y="4294793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7" name="Google Shape;4967;p52">
              <a:extLst>
                <a:ext uri="{FF2B5EF4-FFF2-40B4-BE49-F238E27FC236}">
                  <a16:creationId xmlns:a16="http://schemas.microsoft.com/office/drawing/2014/main" id="{6D064382-CB33-BCD2-3AB1-07611581D1C6}"/>
                </a:ext>
              </a:extLst>
            </p:cNvPr>
            <p:cNvSpPr/>
            <p:nvPr/>
          </p:nvSpPr>
          <p:spPr>
            <a:xfrm>
              <a:off x="3893537" y="4294793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8" name="Google Shape;4968;p52">
              <a:extLst>
                <a:ext uri="{FF2B5EF4-FFF2-40B4-BE49-F238E27FC236}">
                  <a16:creationId xmlns:a16="http://schemas.microsoft.com/office/drawing/2014/main" id="{A5F27BEC-E4CD-287B-F7D2-D721DE110DD9}"/>
                </a:ext>
              </a:extLst>
            </p:cNvPr>
            <p:cNvSpPr/>
            <p:nvPr/>
          </p:nvSpPr>
          <p:spPr>
            <a:xfrm>
              <a:off x="3893537" y="4295218"/>
              <a:ext cx="33" cy="1405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1"/>
                  </a:moveTo>
                  <a:lnTo>
                    <a:pt x="1" y="30"/>
                  </a:lnTo>
                  <a:lnTo>
                    <a:pt x="1" y="43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9" name="Google Shape;4969;p52">
              <a:extLst>
                <a:ext uri="{FF2B5EF4-FFF2-40B4-BE49-F238E27FC236}">
                  <a16:creationId xmlns:a16="http://schemas.microsoft.com/office/drawing/2014/main" id="{D1B78782-90A4-C723-CD46-DA71257C0AE7}"/>
                </a:ext>
              </a:extLst>
            </p:cNvPr>
            <p:cNvSpPr/>
            <p:nvPr/>
          </p:nvSpPr>
          <p:spPr>
            <a:xfrm>
              <a:off x="3893537" y="4295218"/>
              <a:ext cx="33" cy="980"/>
            </a:xfrm>
            <a:custGeom>
              <a:avLst/>
              <a:gdLst/>
              <a:ahLst/>
              <a:cxnLst/>
              <a:rect l="l" t="t" r="r" b="b"/>
              <a:pathLst>
                <a:path w="1" h="30" extrusionOk="0">
                  <a:moveTo>
                    <a:pt x="1" y="14"/>
                  </a:moveTo>
                  <a:lnTo>
                    <a:pt x="1" y="3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0" name="Google Shape;4970;p52">
              <a:extLst>
                <a:ext uri="{FF2B5EF4-FFF2-40B4-BE49-F238E27FC236}">
                  <a16:creationId xmlns:a16="http://schemas.microsoft.com/office/drawing/2014/main" id="{D8867D46-30A6-694A-4106-E52DF74E32B1}"/>
                </a:ext>
              </a:extLst>
            </p:cNvPr>
            <p:cNvSpPr/>
            <p:nvPr/>
          </p:nvSpPr>
          <p:spPr>
            <a:xfrm>
              <a:off x="3893537" y="4297439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"/>
                  </a:moveTo>
                  <a:lnTo>
                    <a:pt x="1" y="1"/>
                  </a:ln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1" name="Google Shape;4971;p52">
              <a:extLst>
                <a:ext uri="{FF2B5EF4-FFF2-40B4-BE49-F238E27FC236}">
                  <a16:creationId xmlns:a16="http://schemas.microsoft.com/office/drawing/2014/main" id="{5D408FD4-5234-71B6-2AF1-DC5632C9171A}"/>
                </a:ext>
              </a:extLst>
            </p:cNvPr>
            <p:cNvSpPr/>
            <p:nvPr/>
          </p:nvSpPr>
          <p:spPr>
            <a:xfrm>
              <a:off x="3893537" y="4296165"/>
              <a:ext cx="33" cy="1307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1"/>
                  </a:moveTo>
                  <a:lnTo>
                    <a:pt x="1" y="40"/>
                  </a:lnTo>
                  <a:lnTo>
                    <a:pt x="1" y="40"/>
                  </a:lnTo>
                  <a:lnTo>
                    <a:pt x="1" y="14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2" name="Google Shape;4972;p52">
              <a:extLst>
                <a:ext uri="{FF2B5EF4-FFF2-40B4-BE49-F238E27FC236}">
                  <a16:creationId xmlns:a16="http://schemas.microsoft.com/office/drawing/2014/main" id="{107D63DE-DDA6-E882-62DF-9BE05ECA5CB6}"/>
                </a:ext>
              </a:extLst>
            </p:cNvPr>
            <p:cNvSpPr/>
            <p:nvPr/>
          </p:nvSpPr>
          <p:spPr>
            <a:xfrm>
              <a:off x="3893537" y="4295643"/>
              <a:ext cx="33" cy="1829"/>
            </a:xfrm>
            <a:custGeom>
              <a:avLst/>
              <a:gdLst/>
              <a:ahLst/>
              <a:cxnLst/>
              <a:rect l="l" t="t" r="r" b="b"/>
              <a:pathLst>
                <a:path w="1" h="56" extrusionOk="0">
                  <a:moveTo>
                    <a:pt x="1" y="56"/>
                  </a:moveTo>
                  <a:lnTo>
                    <a:pt x="1" y="56"/>
                  </a:lnTo>
                  <a:lnTo>
                    <a:pt x="1" y="1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3" name="Google Shape;4973;p52">
              <a:extLst>
                <a:ext uri="{FF2B5EF4-FFF2-40B4-BE49-F238E27FC236}">
                  <a16:creationId xmlns:a16="http://schemas.microsoft.com/office/drawing/2014/main" id="{C2AD99CD-B094-49B4-3BEF-04EA4F5488F2}"/>
                </a:ext>
              </a:extLst>
            </p:cNvPr>
            <p:cNvSpPr/>
            <p:nvPr/>
          </p:nvSpPr>
          <p:spPr>
            <a:xfrm>
              <a:off x="3890891" y="4294793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4" name="Google Shape;4974;p52">
              <a:extLst>
                <a:ext uri="{FF2B5EF4-FFF2-40B4-BE49-F238E27FC236}">
                  <a16:creationId xmlns:a16="http://schemas.microsoft.com/office/drawing/2014/main" id="{7636506E-B05E-919F-7A23-AD99349EBD4C}"/>
                </a:ext>
              </a:extLst>
            </p:cNvPr>
            <p:cNvSpPr/>
            <p:nvPr/>
          </p:nvSpPr>
          <p:spPr>
            <a:xfrm>
              <a:off x="3890891" y="4297439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5" name="Google Shape;4975;p52">
              <a:extLst>
                <a:ext uri="{FF2B5EF4-FFF2-40B4-BE49-F238E27FC236}">
                  <a16:creationId xmlns:a16="http://schemas.microsoft.com/office/drawing/2014/main" id="{156EB60B-E162-6817-8BA6-B6AB8C832186}"/>
                </a:ext>
              </a:extLst>
            </p:cNvPr>
            <p:cNvSpPr/>
            <p:nvPr/>
          </p:nvSpPr>
          <p:spPr>
            <a:xfrm>
              <a:off x="3890891" y="4295218"/>
              <a:ext cx="33" cy="2254"/>
            </a:xfrm>
            <a:custGeom>
              <a:avLst/>
              <a:gdLst/>
              <a:ahLst/>
              <a:cxnLst/>
              <a:rect l="l" t="t" r="r" b="b"/>
              <a:pathLst>
                <a:path w="1" h="69" extrusionOk="0">
                  <a:moveTo>
                    <a:pt x="1" y="69"/>
                  </a:moveTo>
                  <a:lnTo>
                    <a:pt x="1" y="69"/>
                  </a:lnTo>
                  <a:lnTo>
                    <a:pt x="1" y="3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6" name="Google Shape;4976;p52">
              <a:extLst>
                <a:ext uri="{FF2B5EF4-FFF2-40B4-BE49-F238E27FC236}">
                  <a16:creationId xmlns:a16="http://schemas.microsoft.com/office/drawing/2014/main" id="{4D3C61F8-7BB9-7C68-673E-7E94AADB5E36}"/>
                </a:ext>
              </a:extLst>
            </p:cNvPr>
            <p:cNvSpPr/>
            <p:nvPr/>
          </p:nvSpPr>
          <p:spPr>
            <a:xfrm>
              <a:off x="3890891" y="4294793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7" name="Google Shape;4977;p52">
              <a:extLst>
                <a:ext uri="{FF2B5EF4-FFF2-40B4-BE49-F238E27FC236}">
                  <a16:creationId xmlns:a16="http://schemas.microsoft.com/office/drawing/2014/main" id="{EB0F1A55-2F8C-06B0-1FE3-FA15936A7F62}"/>
                </a:ext>
              </a:extLst>
            </p:cNvPr>
            <p:cNvSpPr/>
            <p:nvPr/>
          </p:nvSpPr>
          <p:spPr>
            <a:xfrm>
              <a:off x="3893112" y="4294793"/>
              <a:ext cx="457" cy="457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1" y="1"/>
                  </a:moveTo>
                  <a:lnTo>
                    <a:pt x="1" y="14"/>
                  </a:lnTo>
                  <a:lnTo>
                    <a:pt x="14" y="14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8" name="Google Shape;4978;p52">
              <a:extLst>
                <a:ext uri="{FF2B5EF4-FFF2-40B4-BE49-F238E27FC236}">
                  <a16:creationId xmlns:a16="http://schemas.microsoft.com/office/drawing/2014/main" id="{EB7A78F9-45B7-E0A6-4E0B-9234B2FE136A}"/>
                </a:ext>
              </a:extLst>
            </p:cNvPr>
            <p:cNvSpPr/>
            <p:nvPr/>
          </p:nvSpPr>
          <p:spPr>
            <a:xfrm>
              <a:off x="3893112" y="4294793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9" name="Google Shape;4979;p52">
              <a:extLst>
                <a:ext uri="{FF2B5EF4-FFF2-40B4-BE49-F238E27FC236}">
                  <a16:creationId xmlns:a16="http://schemas.microsoft.com/office/drawing/2014/main" id="{F19B1A0C-8BF0-C7A0-B349-D51ED9A093C4}"/>
                </a:ext>
              </a:extLst>
            </p:cNvPr>
            <p:cNvSpPr/>
            <p:nvPr/>
          </p:nvSpPr>
          <p:spPr>
            <a:xfrm>
              <a:off x="3890891" y="4294793"/>
              <a:ext cx="2254" cy="457"/>
            </a:xfrm>
            <a:custGeom>
              <a:avLst/>
              <a:gdLst/>
              <a:ahLst/>
              <a:cxnLst/>
              <a:rect l="l" t="t" r="r" b="b"/>
              <a:pathLst>
                <a:path w="69" h="14" extrusionOk="0">
                  <a:moveTo>
                    <a:pt x="1" y="1"/>
                  </a:moveTo>
                  <a:lnTo>
                    <a:pt x="1" y="14"/>
                  </a:lnTo>
                  <a:lnTo>
                    <a:pt x="69" y="14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0" name="Google Shape;4980;p52">
              <a:extLst>
                <a:ext uri="{FF2B5EF4-FFF2-40B4-BE49-F238E27FC236}">
                  <a16:creationId xmlns:a16="http://schemas.microsoft.com/office/drawing/2014/main" id="{13158579-F32A-D42C-9274-3D022AF67FBA}"/>
                </a:ext>
              </a:extLst>
            </p:cNvPr>
            <p:cNvSpPr/>
            <p:nvPr/>
          </p:nvSpPr>
          <p:spPr>
            <a:xfrm>
              <a:off x="3893537" y="4295218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"/>
                  </a:moveTo>
                  <a:lnTo>
                    <a:pt x="1" y="14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1" name="Google Shape;4981;p52">
              <a:extLst>
                <a:ext uri="{FF2B5EF4-FFF2-40B4-BE49-F238E27FC236}">
                  <a16:creationId xmlns:a16="http://schemas.microsoft.com/office/drawing/2014/main" id="{7C58735E-FA04-988C-5CFC-EE7F571413CB}"/>
                </a:ext>
              </a:extLst>
            </p:cNvPr>
            <p:cNvSpPr/>
            <p:nvPr/>
          </p:nvSpPr>
          <p:spPr>
            <a:xfrm>
              <a:off x="3890891" y="4297439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2" name="Google Shape;4982;p52">
              <a:extLst>
                <a:ext uri="{FF2B5EF4-FFF2-40B4-BE49-F238E27FC236}">
                  <a16:creationId xmlns:a16="http://schemas.microsoft.com/office/drawing/2014/main" id="{C23DE07B-4093-02C2-5E33-DB8005D8E8B8}"/>
                </a:ext>
              </a:extLst>
            </p:cNvPr>
            <p:cNvSpPr/>
            <p:nvPr/>
          </p:nvSpPr>
          <p:spPr>
            <a:xfrm>
              <a:off x="3890891" y="4296165"/>
              <a:ext cx="33" cy="1307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40"/>
                  </a:moveTo>
                  <a:lnTo>
                    <a:pt x="1" y="4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3" name="Google Shape;4983;p52">
              <a:extLst>
                <a:ext uri="{FF2B5EF4-FFF2-40B4-BE49-F238E27FC236}">
                  <a16:creationId xmlns:a16="http://schemas.microsoft.com/office/drawing/2014/main" id="{3969A0B1-A050-2515-283A-9CE807C3CE21}"/>
                </a:ext>
              </a:extLst>
            </p:cNvPr>
            <p:cNvSpPr/>
            <p:nvPr/>
          </p:nvSpPr>
          <p:spPr>
            <a:xfrm>
              <a:off x="3890891" y="4295218"/>
              <a:ext cx="33" cy="2254"/>
            </a:xfrm>
            <a:custGeom>
              <a:avLst/>
              <a:gdLst/>
              <a:ahLst/>
              <a:cxnLst/>
              <a:rect l="l" t="t" r="r" b="b"/>
              <a:pathLst>
                <a:path w="1" h="69" extrusionOk="0">
                  <a:moveTo>
                    <a:pt x="1" y="30"/>
                  </a:moveTo>
                  <a:lnTo>
                    <a:pt x="1" y="69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4" name="Google Shape;4984;p52">
              <a:extLst>
                <a:ext uri="{FF2B5EF4-FFF2-40B4-BE49-F238E27FC236}">
                  <a16:creationId xmlns:a16="http://schemas.microsoft.com/office/drawing/2014/main" id="{188F2FB8-9F0D-D4DF-DF13-7283307ADF88}"/>
                </a:ext>
              </a:extLst>
            </p:cNvPr>
            <p:cNvSpPr/>
            <p:nvPr/>
          </p:nvSpPr>
          <p:spPr>
            <a:xfrm>
              <a:off x="3893537" y="4297439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5" name="Google Shape;4985;p52">
              <a:extLst>
                <a:ext uri="{FF2B5EF4-FFF2-40B4-BE49-F238E27FC236}">
                  <a16:creationId xmlns:a16="http://schemas.microsoft.com/office/drawing/2014/main" id="{13DBC3A1-53A2-0CFC-4018-AEC31A50C549}"/>
                </a:ext>
              </a:extLst>
            </p:cNvPr>
            <p:cNvSpPr/>
            <p:nvPr/>
          </p:nvSpPr>
          <p:spPr>
            <a:xfrm>
              <a:off x="3893112" y="4295218"/>
              <a:ext cx="457" cy="1405"/>
            </a:xfrm>
            <a:custGeom>
              <a:avLst/>
              <a:gdLst/>
              <a:ahLst/>
              <a:cxnLst/>
              <a:rect l="l" t="t" r="r" b="b"/>
              <a:pathLst>
                <a:path w="14" h="43" extrusionOk="0">
                  <a:moveTo>
                    <a:pt x="1" y="1"/>
                  </a:moveTo>
                  <a:lnTo>
                    <a:pt x="1" y="14"/>
                  </a:lnTo>
                  <a:lnTo>
                    <a:pt x="14" y="43"/>
                  </a:lnTo>
                  <a:lnTo>
                    <a:pt x="14" y="14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6" name="Google Shape;4986;p52">
              <a:extLst>
                <a:ext uri="{FF2B5EF4-FFF2-40B4-BE49-F238E27FC236}">
                  <a16:creationId xmlns:a16="http://schemas.microsoft.com/office/drawing/2014/main" id="{9E8FA60A-AD8C-D4CC-0C62-C1F649D20314}"/>
                </a:ext>
              </a:extLst>
            </p:cNvPr>
            <p:cNvSpPr/>
            <p:nvPr/>
          </p:nvSpPr>
          <p:spPr>
            <a:xfrm>
              <a:off x="3893537" y="4297439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4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7" name="Google Shape;4987;p52">
              <a:extLst>
                <a:ext uri="{FF2B5EF4-FFF2-40B4-BE49-F238E27FC236}">
                  <a16:creationId xmlns:a16="http://schemas.microsoft.com/office/drawing/2014/main" id="{4147F6CA-212D-CC8D-DC87-EFC7312FF94C}"/>
                </a:ext>
              </a:extLst>
            </p:cNvPr>
            <p:cNvSpPr/>
            <p:nvPr/>
          </p:nvSpPr>
          <p:spPr>
            <a:xfrm>
              <a:off x="3893112" y="4295643"/>
              <a:ext cx="457" cy="1829"/>
            </a:xfrm>
            <a:custGeom>
              <a:avLst/>
              <a:gdLst/>
              <a:ahLst/>
              <a:cxnLst/>
              <a:rect l="l" t="t" r="r" b="b"/>
              <a:pathLst>
                <a:path w="14" h="56" extrusionOk="0">
                  <a:moveTo>
                    <a:pt x="1" y="1"/>
                  </a:moveTo>
                  <a:lnTo>
                    <a:pt x="14" y="56"/>
                  </a:lnTo>
                  <a:lnTo>
                    <a:pt x="14" y="3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8" name="Google Shape;4988;p52">
              <a:extLst>
                <a:ext uri="{FF2B5EF4-FFF2-40B4-BE49-F238E27FC236}">
                  <a16:creationId xmlns:a16="http://schemas.microsoft.com/office/drawing/2014/main" id="{B1599F21-EE71-0435-B0E1-BC7B64A44CA3}"/>
                </a:ext>
              </a:extLst>
            </p:cNvPr>
            <p:cNvSpPr/>
            <p:nvPr/>
          </p:nvSpPr>
          <p:spPr>
            <a:xfrm>
              <a:off x="3893112" y="4295218"/>
              <a:ext cx="33" cy="457"/>
            </a:xfrm>
            <a:custGeom>
              <a:avLst/>
              <a:gdLst/>
              <a:ahLst/>
              <a:cxnLst/>
              <a:rect l="l" t="t" r="r" b="b"/>
              <a:pathLst>
                <a:path w="1" h="14" extrusionOk="0">
                  <a:moveTo>
                    <a:pt x="1" y="1"/>
                  </a:moveTo>
                  <a:lnTo>
                    <a:pt x="1" y="14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9" name="Google Shape;4989;p52">
              <a:extLst>
                <a:ext uri="{FF2B5EF4-FFF2-40B4-BE49-F238E27FC236}">
                  <a16:creationId xmlns:a16="http://schemas.microsoft.com/office/drawing/2014/main" id="{2F7AF498-E4C0-88D5-AD0C-65C72CFD88DC}"/>
                </a:ext>
              </a:extLst>
            </p:cNvPr>
            <p:cNvSpPr/>
            <p:nvPr/>
          </p:nvSpPr>
          <p:spPr>
            <a:xfrm>
              <a:off x="3893112" y="4297439"/>
              <a:ext cx="457" cy="457"/>
            </a:xfrm>
            <a:custGeom>
              <a:avLst/>
              <a:gdLst/>
              <a:ahLst/>
              <a:cxnLst/>
              <a:rect l="l" t="t" r="r" b="b"/>
              <a:pathLst>
                <a:path w="14" h="14" extrusionOk="0">
                  <a:moveTo>
                    <a:pt x="1" y="1"/>
                  </a:moveTo>
                  <a:lnTo>
                    <a:pt x="1" y="14"/>
                  </a:lnTo>
                  <a:lnTo>
                    <a:pt x="14" y="14"/>
                  </a:lnTo>
                  <a:lnTo>
                    <a:pt x="1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0" name="Google Shape;4990;p52">
              <a:extLst>
                <a:ext uri="{FF2B5EF4-FFF2-40B4-BE49-F238E27FC236}">
                  <a16:creationId xmlns:a16="http://schemas.microsoft.com/office/drawing/2014/main" id="{70BFDE9E-843D-8041-FFBF-0182092609DE}"/>
                </a:ext>
              </a:extLst>
            </p:cNvPr>
            <p:cNvSpPr/>
            <p:nvPr/>
          </p:nvSpPr>
          <p:spPr>
            <a:xfrm>
              <a:off x="3893112" y="4295643"/>
              <a:ext cx="457" cy="1829"/>
            </a:xfrm>
            <a:custGeom>
              <a:avLst/>
              <a:gdLst/>
              <a:ahLst/>
              <a:cxnLst/>
              <a:rect l="l" t="t" r="r" b="b"/>
              <a:pathLst>
                <a:path w="14" h="56" extrusionOk="0">
                  <a:moveTo>
                    <a:pt x="1" y="1"/>
                  </a:moveTo>
                  <a:lnTo>
                    <a:pt x="1" y="56"/>
                  </a:lnTo>
                  <a:lnTo>
                    <a:pt x="14" y="56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1" name="Google Shape;4991;p52">
              <a:extLst>
                <a:ext uri="{FF2B5EF4-FFF2-40B4-BE49-F238E27FC236}">
                  <a16:creationId xmlns:a16="http://schemas.microsoft.com/office/drawing/2014/main" id="{A39790E4-7B2E-756E-E0E5-4A14EA19C743}"/>
                </a:ext>
              </a:extLst>
            </p:cNvPr>
            <p:cNvSpPr/>
            <p:nvPr/>
          </p:nvSpPr>
          <p:spPr>
            <a:xfrm>
              <a:off x="3890891" y="4297439"/>
              <a:ext cx="2254" cy="457"/>
            </a:xfrm>
            <a:custGeom>
              <a:avLst/>
              <a:gdLst/>
              <a:ahLst/>
              <a:cxnLst/>
              <a:rect l="l" t="t" r="r" b="b"/>
              <a:pathLst>
                <a:path w="69" h="14" extrusionOk="0">
                  <a:moveTo>
                    <a:pt x="1" y="1"/>
                  </a:moveTo>
                  <a:lnTo>
                    <a:pt x="1" y="14"/>
                  </a:lnTo>
                  <a:lnTo>
                    <a:pt x="69" y="14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2" name="Google Shape;4992;p52">
              <a:extLst>
                <a:ext uri="{FF2B5EF4-FFF2-40B4-BE49-F238E27FC236}">
                  <a16:creationId xmlns:a16="http://schemas.microsoft.com/office/drawing/2014/main" id="{F8733151-F5DD-26FC-971D-C8A79D5506FC}"/>
                </a:ext>
              </a:extLst>
            </p:cNvPr>
            <p:cNvSpPr/>
            <p:nvPr/>
          </p:nvSpPr>
          <p:spPr>
            <a:xfrm>
              <a:off x="3890891" y="4295218"/>
              <a:ext cx="2254" cy="2254"/>
            </a:xfrm>
            <a:custGeom>
              <a:avLst/>
              <a:gdLst/>
              <a:ahLst/>
              <a:cxnLst/>
              <a:rect l="l" t="t" r="r" b="b"/>
              <a:pathLst>
                <a:path w="69" h="69" extrusionOk="0">
                  <a:moveTo>
                    <a:pt x="1" y="1"/>
                  </a:moveTo>
                  <a:lnTo>
                    <a:pt x="1" y="69"/>
                  </a:lnTo>
                  <a:lnTo>
                    <a:pt x="69" y="69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3" name="Google Shape;4993;p52">
              <a:extLst>
                <a:ext uri="{FF2B5EF4-FFF2-40B4-BE49-F238E27FC236}">
                  <a16:creationId xmlns:a16="http://schemas.microsoft.com/office/drawing/2014/main" id="{0C903C38-7B3F-297D-D5AD-7952C646C0EF}"/>
                </a:ext>
              </a:extLst>
            </p:cNvPr>
            <p:cNvSpPr/>
            <p:nvPr/>
          </p:nvSpPr>
          <p:spPr>
            <a:xfrm>
              <a:off x="3852473" y="4221126"/>
              <a:ext cx="79415" cy="113389"/>
            </a:xfrm>
            <a:custGeom>
              <a:avLst/>
              <a:gdLst/>
              <a:ahLst/>
              <a:cxnLst/>
              <a:rect l="l" t="t" r="r" b="b"/>
              <a:pathLst>
                <a:path w="2431" h="3471" extrusionOk="0">
                  <a:moveTo>
                    <a:pt x="1216" y="111"/>
                  </a:moveTo>
                  <a:cubicBezTo>
                    <a:pt x="1825" y="111"/>
                    <a:pt x="2324" y="610"/>
                    <a:pt x="2324" y="1216"/>
                  </a:cubicBezTo>
                  <a:lnTo>
                    <a:pt x="2324" y="3364"/>
                  </a:lnTo>
                  <a:lnTo>
                    <a:pt x="111" y="3364"/>
                  </a:lnTo>
                  <a:lnTo>
                    <a:pt x="111" y="1216"/>
                  </a:lnTo>
                  <a:cubicBezTo>
                    <a:pt x="111" y="610"/>
                    <a:pt x="597" y="111"/>
                    <a:pt x="1216" y="111"/>
                  </a:cubicBezTo>
                  <a:close/>
                  <a:moveTo>
                    <a:pt x="1216" y="1"/>
                  </a:moveTo>
                  <a:cubicBezTo>
                    <a:pt x="542" y="1"/>
                    <a:pt x="1" y="542"/>
                    <a:pt x="1" y="1216"/>
                  </a:cubicBezTo>
                  <a:lnTo>
                    <a:pt x="1" y="3471"/>
                  </a:lnTo>
                  <a:lnTo>
                    <a:pt x="2431" y="3471"/>
                  </a:lnTo>
                  <a:lnTo>
                    <a:pt x="2431" y="1216"/>
                  </a:lnTo>
                  <a:cubicBezTo>
                    <a:pt x="2431" y="542"/>
                    <a:pt x="1880" y="1"/>
                    <a:pt x="1216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4" name="Google Shape;4994;p52">
              <a:extLst>
                <a:ext uri="{FF2B5EF4-FFF2-40B4-BE49-F238E27FC236}">
                  <a16:creationId xmlns:a16="http://schemas.microsoft.com/office/drawing/2014/main" id="{43BF073F-72A7-9683-DA6F-90A123FA74DA}"/>
                </a:ext>
              </a:extLst>
            </p:cNvPr>
            <p:cNvSpPr/>
            <p:nvPr/>
          </p:nvSpPr>
          <p:spPr>
            <a:xfrm>
              <a:off x="3720689" y="4003718"/>
              <a:ext cx="343074" cy="144717"/>
            </a:xfrm>
            <a:custGeom>
              <a:avLst/>
              <a:gdLst/>
              <a:ahLst/>
              <a:cxnLst/>
              <a:rect l="l" t="t" r="r" b="b"/>
              <a:pathLst>
                <a:path w="10502" h="4430" extrusionOk="0">
                  <a:moveTo>
                    <a:pt x="5224" y="1"/>
                  </a:moveTo>
                  <a:lnTo>
                    <a:pt x="4589" y="542"/>
                  </a:lnTo>
                  <a:lnTo>
                    <a:pt x="1" y="4401"/>
                  </a:lnTo>
                  <a:lnTo>
                    <a:pt x="1187" y="4430"/>
                  </a:lnTo>
                  <a:lnTo>
                    <a:pt x="5250" y="1080"/>
                  </a:lnTo>
                  <a:lnTo>
                    <a:pt x="9316" y="4430"/>
                  </a:lnTo>
                  <a:lnTo>
                    <a:pt x="10502" y="4401"/>
                  </a:lnTo>
                  <a:lnTo>
                    <a:pt x="5914" y="542"/>
                  </a:lnTo>
                  <a:lnTo>
                    <a:pt x="5266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5" name="Google Shape;4995;p52">
              <a:extLst>
                <a:ext uri="{FF2B5EF4-FFF2-40B4-BE49-F238E27FC236}">
                  <a16:creationId xmlns:a16="http://schemas.microsoft.com/office/drawing/2014/main" id="{8F241C43-B338-4449-659B-22DC8AFEC4C5}"/>
                </a:ext>
              </a:extLst>
            </p:cNvPr>
            <p:cNvSpPr/>
            <p:nvPr/>
          </p:nvSpPr>
          <p:spPr>
            <a:xfrm>
              <a:off x="3546468" y="3808328"/>
              <a:ext cx="274276" cy="470608"/>
            </a:xfrm>
            <a:custGeom>
              <a:avLst/>
              <a:gdLst/>
              <a:ahLst/>
              <a:cxnLst/>
              <a:rect l="l" t="t" r="r" b="b"/>
              <a:pathLst>
                <a:path w="8396" h="14406" extrusionOk="0">
                  <a:moveTo>
                    <a:pt x="4145" y="150"/>
                  </a:moveTo>
                  <a:cubicBezTo>
                    <a:pt x="2431" y="1"/>
                    <a:pt x="1511" y="4498"/>
                    <a:pt x="879" y="7158"/>
                  </a:cubicBezTo>
                  <a:cubicBezTo>
                    <a:pt x="1" y="10910"/>
                    <a:pt x="27" y="14406"/>
                    <a:pt x="3429" y="14312"/>
                  </a:cubicBezTo>
                  <a:cubicBezTo>
                    <a:pt x="5522" y="14244"/>
                    <a:pt x="8396" y="14299"/>
                    <a:pt x="6912" y="7385"/>
                  </a:cubicBezTo>
                  <a:cubicBezTo>
                    <a:pt x="6290" y="4456"/>
                    <a:pt x="5927" y="312"/>
                    <a:pt x="4145" y="15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6" name="Google Shape;4996;p52">
              <a:extLst>
                <a:ext uri="{FF2B5EF4-FFF2-40B4-BE49-F238E27FC236}">
                  <a16:creationId xmlns:a16="http://schemas.microsoft.com/office/drawing/2014/main" id="{84BBD89A-7989-771F-49DA-F303F9801FF7}"/>
                </a:ext>
              </a:extLst>
            </p:cNvPr>
            <p:cNvSpPr/>
            <p:nvPr/>
          </p:nvSpPr>
          <p:spPr>
            <a:xfrm>
              <a:off x="3669040" y="4171797"/>
              <a:ext cx="6174" cy="25971"/>
            </a:xfrm>
            <a:custGeom>
              <a:avLst/>
              <a:gdLst/>
              <a:ahLst/>
              <a:cxnLst/>
              <a:rect l="l" t="t" r="r" b="b"/>
              <a:pathLst>
                <a:path w="189" h="795" extrusionOk="0">
                  <a:moveTo>
                    <a:pt x="124" y="108"/>
                  </a:moveTo>
                  <a:lnTo>
                    <a:pt x="176" y="202"/>
                  </a:lnTo>
                  <a:cubicBezTo>
                    <a:pt x="189" y="688"/>
                    <a:pt x="189" y="539"/>
                    <a:pt x="163" y="688"/>
                  </a:cubicBezTo>
                  <a:lnTo>
                    <a:pt x="82" y="795"/>
                  </a:lnTo>
                  <a:lnTo>
                    <a:pt x="1" y="581"/>
                  </a:lnTo>
                  <a:cubicBezTo>
                    <a:pt x="14" y="1"/>
                    <a:pt x="95" y="82"/>
                    <a:pt x="124" y="10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7" name="Google Shape;4997;p52">
              <a:extLst>
                <a:ext uri="{FF2B5EF4-FFF2-40B4-BE49-F238E27FC236}">
                  <a16:creationId xmlns:a16="http://schemas.microsoft.com/office/drawing/2014/main" id="{B09E685A-2633-0F2B-B9CF-DF4ED4DD31A4}"/>
                </a:ext>
              </a:extLst>
            </p:cNvPr>
            <p:cNvSpPr/>
            <p:nvPr/>
          </p:nvSpPr>
          <p:spPr>
            <a:xfrm>
              <a:off x="3708732" y="4167778"/>
              <a:ext cx="8396" cy="27865"/>
            </a:xfrm>
            <a:custGeom>
              <a:avLst/>
              <a:gdLst/>
              <a:ahLst/>
              <a:cxnLst/>
              <a:rect l="l" t="t" r="r" b="b"/>
              <a:pathLst>
                <a:path w="257" h="853" extrusionOk="0">
                  <a:moveTo>
                    <a:pt x="189" y="1"/>
                  </a:moveTo>
                  <a:lnTo>
                    <a:pt x="257" y="82"/>
                  </a:lnTo>
                  <a:cubicBezTo>
                    <a:pt x="244" y="205"/>
                    <a:pt x="244" y="351"/>
                    <a:pt x="244" y="351"/>
                  </a:cubicBezTo>
                  <a:cubicBezTo>
                    <a:pt x="231" y="500"/>
                    <a:pt x="205" y="675"/>
                    <a:pt x="205" y="675"/>
                  </a:cubicBezTo>
                  <a:cubicBezTo>
                    <a:pt x="189" y="730"/>
                    <a:pt x="150" y="798"/>
                    <a:pt x="150" y="798"/>
                  </a:cubicBezTo>
                  <a:lnTo>
                    <a:pt x="82" y="853"/>
                  </a:lnTo>
                  <a:lnTo>
                    <a:pt x="43" y="756"/>
                  </a:lnTo>
                  <a:cubicBezTo>
                    <a:pt x="1" y="542"/>
                    <a:pt x="56" y="351"/>
                    <a:pt x="82" y="95"/>
                  </a:cubicBezTo>
                  <a:lnTo>
                    <a:pt x="16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8" name="Google Shape;4998;p52">
              <a:extLst>
                <a:ext uri="{FF2B5EF4-FFF2-40B4-BE49-F238E27FC236}">
                  <a16:creationId xmlns:a16="http://schemas.microsoft.com/office/drawing/2014/main" id="{986BECBD-B5F5-E42C-E850-FECDDBBA86D0}"/>
                </a:ext>
              </a:extLst>
            </p:cNvPr>
            <p:cNvSpPr/>
            <p:nvPr/>
          </p:nvSpPr>
          <p:spPr>
            <a:xfrm>
              <a:off x="3614843" y="4165132"/>
              <a:ext cx="3953" cy="19927"/>
            </a:xfrm>
            <a:custGeom>
              <a:avLst/>
              <a:gdLst/>
              <a:ahLst/>
              <a:cxnLst/>
              <a:rect l="l" t="t" r="r" b="b"/>
              <a:pathLst>
                <a:path w="121" h="610" extrusionOk="0">
                  <a:moveTo>
                    <a:pt x="95" y="43"/>
                  </a:moveTo>
                  <a:lnTo>
                    <a:pt x="121" y="176"/>
                  </a:lnTo>
                  <a:lnTo>
                    <a:pt x="121" y="393"/>
                  </a:lnTo>
                  <a:cubicBezTo>
                    <a:pt x="121" y="461"/>
                    <a:pt x="108" y="555"/>
                    <a:pt x="108" y="555"/>
                  </a:cubicBezTo>
                  <a:lnTo>
                    <a:pt x="53" y="610"/>
                  </a:lnTo>
                  <a:lnTo>
                    <a:pt x="1" y="555"/>
                  </a:lnTo>
                  <a:cubicBezTo>
                    <a:pt x="14" y="69"/>
                    <a:pt x="1" y="189"/>
                    <a:pt x="53" y="69"/>
                  </a:cubicBezTo>
                  <a:cubicBezTo>
                    <a:pt x="53" y="69"/>
                    <a:pt x="66" y="1"/>
                    <a:pt x="95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9" name="Google Shape;4999;p52">
              <a:extLst>
                <a:ext uri="{FF2B5EF4-FFF2-40B4-BE49-F238E27FC236}">
                  <a16:creationId xmlns:a16="http://schemas.microsoft.com/office/drawing/2014/main" id="{CF6284BA-5F8D-9B19-275A-3B231B4A62C8}"/>
                </a:ext>
              </a:extLst>
            </p:cNvPr>
            <p:cNvSpPr/>
            <p:nvPr/>
          </p:nvSpPr>
          <p:spPr>
            <a:xfrm>
              <a:off x="3570284" y="4159840"/>
              <a:ext cx="6174" cy="24697"/>
            </a:xfrm>
            <a:custGeom>
              <a:avLst/>
              <a:gdLst/>
              <a:ahLst/>
              <a:cxnLst/>
              <a:rect l="l" t="t" r="r" b="b"/>
              <a:pathLst>
                <a:path w="189" h="756" extrusionOk="0">
                  <a:moveTo>
                    <a:pt x="95" y="43"/>
                  </a:moveTo>
                  <a:lnTo>
                    <a:pt x="150" y="150"/>
                  </a:lnTo>
                  <a:cubicBezTo>
                    <a:pt x="150" y="325"/>
                    <a:pt x="163" y="500"/>
                    <a:pt x="189" y="675"/>
                  </a:cubicBezTo>
                  <a:lnTo>
                    <a:pt x="150" y="756"/>
                  </a:lnTo>
                  <a:cubicBezTo>
                    <a:pt x="150" y="756"/>
                    <a:pt x="95" y="717"/>
                    <a:pt x="82" y="704"/>
                  </a:cubicBezTo>
                  <a:cubicBezTo>
                    <a:pt x="1" y="432"/>
                    <a:pt x="1" y="176"/>
                    <a:pt x="1" y="150"/>
                  </a:cubicBezTo>
                  <a:cubicBezTo>
                    <a:pt x="14" y="108"/>
                    <a:pt x="1" y="137"/>
                    <a:pt x="40" y="82"/>
                  </a:cubicBezTo>
                  <a:cubicBezTo>
                    <a:pt x="40" y="82"/>
                    <a:pt x="53" y="1"/>
                    <a:pt x="95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0" name="Google Shape;5000;p52">
              <a:extLst>
                <a:ext uri="{FF2B5EF4-FFF2-40B4-BE49-F238E27FC236}">
                  <a16:creationId xmlns:a16="http://schemas.microsoft.com/office/drawing/2014/main" id="{3B067993-856C-0987-C698-0657FC873479}"/>
                </a:ext>
              </a:extLst>
            </p:cNvPr>
            <p:cNvSpPr/>
            <p:nvPr/>
          </p:nvSpPr>
          <p:spPr>
            <a:xfrm>
              <a:off x="3643951" y="4139096"/>
              <a:ext cx="6174" cy="19927"/>
            </a:xfrm>
            <a:custGeom>
              <a:avLst/>
              <a:gdLst/>
              <a:ahLst/>
              <a:cxnLst/>
              <a:rect l="l" t="t" r="r" b="b"/>
              <a:pathLst>
                <a:path w="189" h="610" extrusionOk="0">
                  <a:moveTo>
                    <a:pt x="82" y="14"/>
                  </a:moveTo>
                  <a:lnTo>
                    <a:pt x="163" y="14"/>
                  </a:lnTo>
                  <a:lnTo>
                    <a:pt x="189" y="205"/>
                  </a:lnTo>
                  <a:cubicBezTo>
                    <a:pt x="163" y="448"/>
                    <a:pt x="134" y="487"/>
                    <a:pt x="134" y="487"/>
                  </a:cubicBezTo>
                  <a:lnTo>
                    <a:pt x="66" y="610"/>
                  </a:lnTo>
                  <a:lnTo>
                    <a:pt x="1" y="367"/>
                  </a:lnTo>
                  <a:cubicBezTo>
                    <a:pt x="14" y="231"/>
                    <a:pt x="27" y="30"/>
                    <a:pt x="27" y="30"/>
                  </a:cubicBezTo>
                  <a:cubicBezTo>
                    <a:pt x="27" y="30"/>
                    <a:pt x="53" y="1"/>
                    <a:pt x="82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1" name="Google Shape;5001;p52">
              <a:extLst>
                <a:ext uri="{FF2B5EF4-FFF2-40B4-BE49-F238E27FC236}">
                  <a16:creationId xmlns:a16="http://schemas.microsoft.com/office/drawing/2014/main" id="{B279E1A9-2013-098E-F0AF-2AC02A9372FA}"/>
                </a:ext>
              </a:extLst>
            </p:cNvPr>
            <p:cNvSpPr/>
            <p:nvPr/>
          </p:nvSpPr>
          <p:spPr>
            <a:xfrm>
              <a:off x="3685766" y="4134228"/>
              <a:ext cx="6272" cy="19502"/>
            </a:xfrm>
            <a:custGeom>
              <a:avLst/>
              <a:gdLst/>
              <a:ahLst/>
              <a:cxnLst/>
              <a:rect l="l" t="t" r="r" b="b"/>
              <a:pathLst>
                <a:path w="192" h="597" extrusionOk="0">
                  <a:moveTo>
                    <a:pt x="124" y="1"/>
                  </a:moveTo>
                  <a:lnTo>
                    <a:pt x="192" y="69"/>
                  </a:lnTo>
                  <a:cubicBezTo>
                    <a:pt x="192" y="286"/>
                    <a:pt x="150" y="542"/>
                    <a:pt x="150" y="542"/>
                  </a:cubicBezTo>
                  <a:lnTo>
                    <a:pt x="82" y="597"/>
                  </a:lnTo>
                  <a:lnTo>
                    <a:pt x="30" y="529"/>
                  </a:lnTo>
                  <a:cubicBezTo>
                    <a:pt x="1" y="487"/>
                    <a:pt x="1" y="474"/>
                    <a:pt x="1" y="474"/>
                  </a:cubicBezTo>
                  <a:cubicBezTo>
                    <a:pt x="30" y="273"/>
                    <a:pt x="69" y="30"/>
                    <a:pt x="69" y="30"/>
                  </a:cubicBezTo>
                  <a:cubicBezTo>
                    <a:pt x="69" y="30"/>
                    <a:pt x="98" y="1"/>
                    <a:pt x="12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2" name="Google Shape;5002;p52">
              <a:extLst>
                <a:ext uri="{FF2B5EF4-FFF2-40B4-BE49-F238E27FC236}">
                  <a16:creationId xmlns:a16="http://schemas.microsoft.com/office/drawing/2014/main" id="{781D9C6A-900C-374F-F452-9CAF9580E1AA}"/>
                </a:ext>
              </a:extLst>
            </p:cNvPr>
            <p:cNvSpPr/>
            <p:nvPr/>
          </p:nvSpPr>
          <p:spPr>
            <a:xfrm>
              <a:off x="3585736" y="4132529"/>
              <a:ext cx="5325" cy="21201"/>
            </a:xfrm>
            <a:custGeom>
              <a:avLst/>
              <a:gdLst/>
              <a:ahLst/>
              <a:cxnLst/>
              <a:rect l="l" t="t" r="r" b="b"/>
              <a:pathLst>
                <a:path w="163" h="649" extrusionOk="0">
                  <a:moveTo>
                    <a:pt x="121" y="1"/>
                  </a:moveTo>
                  <a:lnTo>
                    <a:pt x="163" y="95"/>
                  </a:lnTo>
                  <a:lnTo>
                    <a:pt x="163" y="189"/>
                  </a:lnTo>
                  <a:cubicBezTo>
                    <a:pt x="163" y="244"/>
                    <a:pt x="163" y="296"/>
                    <a:pt x="147" y="338"/>
                  </a:cubicBezTo>
                  <a:cubicBezTo>
                    <a:pt x="147" y="445"/>
                    <a:pt x="121" y="526"/>
                    <a:pt x="108" y="607"/>
                  </a:cubicBezTo>
                  <a:lnTo>
                    <a:pt x="53" y="649"/>
                  </a:lnTo>
                  <a:lnTo>
                    <a:pt x="1" y="458"/>
                  </a:lnTo>
                  <a:cubicBezTo>
                    <a:pt x="14" y="364"/>
                    <a:pt x="27" y="244"/>
                    <a:pt x="27" y="244"/>
                  </a:cubicBezTo>
                  <a:lnTo>
                    <a:pt x="27" y="150"/>
                  </a:lnTo>
                  <a:cubicBezTo>
                    <a:pt x="40" y="27"/>
                    <a:pt x="53" y="27"/>
                    <a:pt x="53" y="27"/>
                  </a:cubicBezTo>
                  <a:cubicBezTo>
                    <a:pt x="53" y="27"/>
                    <a:pt x="82" y="1"/>
                    <a:pt x="12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3" name="Google Shape;5003;p52">
              <a:extLst>
                <a:ext uri="{FF2B5EF4-FFF2-40B4-BE49-F238E27FC236}">
                  <a16:creationId xmlns:a16="http://schemas.microsoft.com/office/drawing/2014/main" id="{ED9856D4-97E5-A716-7DA4-920DD5DB3F44}"/>
                </a:ext>
              </a:extLst>
            </p:cNvPr>
            <p:cNvSpPr/>
            <p:nvPr/>
          </p:nvSpPr>
          <p:spPr>
            <a:xfrm>
              <a:off x="3711803" y="4118874"/>
              <a:ext cx="6697" cy="25121"/>
            </a:xfrm>
            <a:custGeom>
              <a:avLst/>
              <a:gdLst/>
              <a:ahLst/>
              <a:cxnLst/>
              <a:rect l="l" t="t" r="r" b="b"/>
              <a:pathLst>
                <a:path w="205" h="769" extrusionOk="0">
                  <a:moveTo>
                    <a:pt x="137" y="40"/>
                  </a:moveTo>
                  <a:cubicBezTo>
                    <a:pt x="137" y="40"/>
                    <a:pt x="205" y="163"/>
                    <a:pt x="205" y="338"/>
                  </a:cubicBezTo>
                  <a:lnTo>
                    <a:pt x="192" y="487"/>
                  </a:lnTo>
                  <a:cubicBezTo>
                    <a:pt x="192" y="581"/>
                    <a:pt x="163" y="675"/>
                    <a:pt x="82" y="769"/>
                  </a:cubicBezTo>
                  <a:lnTo>
                    <a:pt x="43" y="701"/>
                  </a:lnTo>
                  <a:cubicBezTo>
                    <a:pt x="1" y="552"/>
                    <a:pt x="1" y="688"/>
                    <a:pt x="14" y="487"/>
                  </a:cubicBezTo>
                  <a:cubicBezTo>
                    <a:pt x="14" y="487"/>
                    <a:pt x="30" y="257"/>
                    <a:pt x="56" y="95"/>
                  </a:cubicBezTo>
                  <a:cubicBezTo>
                    <a:pt x="56" y="95"/>
                    <a:pt x="111" y="1"/>
                    <a:pt x="137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4" name="Google Shape;5004;p52">
              <a:extLst>
                <a:ext uri="{FF2B5EF4-FFF2-40B4-BE49-F238E27FC236}">
                  <a16:creationId xmlns:a16="http://schemas.microsoft.com/office/drawing/2014/main" id="{9461B7E8-119E-41B0-D1F1-729B20DBE972}"/>
                </a:ext>
              </a:extLst>
            </p:cNvPr>
            <p:cNvSpPr/>
            <p:nvPr/>
          </p:nvSpPr>
          <p:spPr>
            <a:xfrm>
              <a:off x="3614321" y="4108714"/>
              <a:ext cx="7971" cy="28715"/>
            </a:xfrm>
            <a:custGeom>
              <a:avLst/>
              <a:gdLst/>
              <a:ahLst/>
              <a:cxnLst/>
              <a:rect l="l" t="t" r="r" b="b"/>
              <a:pathLst>
                <a:path w="244" h="879" extrusionOk="0">
                  <a:moveTo>
                    <a:pt x="179" y="53"/>
                  </a:moveTo>
                  <a:cubicBezTo>
                    <a:pt x="244" y="82"/>
                    <a:pt x="218" y="121"/>
                    <a:pt x="218" y="121"/>
                  </a:cubicBezTo>
                  <a:cubicBezTo>
                    <a:pt x="218" y="150"/>
                    <a:pt x="205" y="189"/>
                    <a:pt x="205" y="215"/>
                  </a:cubicBezTo>
                  <a:cubicBezTo>
                    <a:pt x="192" y="377"/>
                    <a:pt x="163" y="620"/>
                    <a:pt x="163" y="620"/>
                  </a:cubicBezTo>
                  <a:cubicBezTo>
                    <a:pt x="69" y="879"/>
                    <a:pt x="1" y="688"/>
                    <a:pt x="1" y="688"/>
                  </a:cubicBezTo>
                  <a:cubicBezTo>
                    <a:pt x="1" y="568"/>
                    <a:pt x="43" y="364"/>
                    <a:pt x="43" y="364"/>
                  </a:cubicBezTo>
                  <a:cubicBezTo>
                    <a:pt x="69" y="257"/>
                    <a:pt x="98" y="95"/>
                    <a:pt x="98" y="95"/>
                  </a:cubicBezTo>
                  <a:cubicBezTo>
                    <a:pt x="150" y="1"/>
                    <a:pt x="111" y="40"/>
                    <a:pt x="179" y="5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5" name="Google Shape;5005;p52">
              <a:extLst>
                <a:ext uri="{FF2B5EF4-FFF2-40B4-BE49-F238E27FC236}">
                  <a16:creationId xmlns:a16="http://schemas.microsoft.com/office/drawing/2014/main" id="{43E69CD8-3258-D6D4-18CE-59F54C5DB629}"/>
                </a:ext>
              </a:extLst>
            </p:cNvPr>
            <p:cNvSpPr/>
            <p:nvPr/>
          </p:nvSpPr>
          <p:spPr>
            <a:xfrm>
              <a:off x="3661526" y="4102050"/>
              <a:ext cx="5749" cy="20777"/>
            </a:xfrm>
            <a:custGeom>
              <a:avLst/>
              <a:gdLst/>
              <a:ahLst/>
              <a:cxnLst/>
              <a:rect l="l" t="t" r="r" b="b"/>
              <a:pathLst>
                <a:path w="176" h="636" extrusionOk="0">
                  <a:moveTo>
                    <a:pt x="137" y="1"/>
                  </a:moveTo>
                  <a:lnTo>
                    <a:pt x="176" y="69"/>
                  </a:lnTo>
                  <a:lnTo>
                    <a:pt x="176" y="500"/>
                  </a:lnTo>
                  <a:cubicBezTo>
                    <a:pt x="150" y="581"/>
                    <a:pt x="124" y="581"/>
                    <a:pt x="124" y="581"/>
                  </a:cubicBezTo>
                  <a:lnTo>
                    <a:pt x="69" y="636"/>
                  </a:lnTo>
                  <a:lnTo>
                    <a:pt x="14" y="542"/>
                  </a:lnTo>
                  <a:cubicBezTo>
                    <a:pt x="1" y="393"/>
                    <a:pt x="43" y="231"/>
                    <a:pt x="56" y="69"/>
                  </a:cubicBezTo>
                  <a:cubicBezTo>
                    <a:pt x="56" y="69"/>
                    <a:pt x="82" y="1"/>
                    <a:pt x="13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6" name="Google Shape;5006;p52">
              <a:extLst>
                <a:ext uri="{FF2B5EF4-FFF2-40B4-BE49-F238E27FC236}">
                  <a16:creationId xmlns:a16="http://schemas.microsoft.com/office/drawing/2014/main" id="{7319A654-1C2C-1753-680F-6018F89BB4B3}"/>
                </a:ext>
              </a:extLst>
            </p:cNvPr>
            <p:cNvSpPr/>
            <p:nvPr/>
          </p:nvSpPr>
          <p:spPr>
            <a:xfrm>
              <a:off x="3571558" y="4094111"/>
              <a:ext cx="4475" cy="20777"/>
            </a:xfrm>
            <a:custGeom>
              <a:avLst/>
              <a:gdLst/>
              <a:ahLst/>
              <a:cxnLst/>
              <a:rect l="l" t="t" r="r" b="b"/>
              <a:pathLst>
                <a:path w="137" h="636" extrusionOk="0">
                  <a:moveTo>
                    <a:pt x="137" y="30"/>
                  </a:moveTo>
                  <a:lnTo>
                    <a:pt x="111" y="529"/>
                  </a:lnTo>
                  <a:cubicBezTo>
                    <a:pt x="95" y="568"/>
                    <a:pt x="95" y="597"/>
                    <a:pt x="95" y="597"/>
                  </a:cubicBezTo>
                  <a:lnTo>
                    <a:pt x="43" y="636"/>
                  </a:lnTo>
                  <a:lnTo>
                    <a:pt x="1" y="500"/>
                  </a:lnTo>
                  <a:cubicBezTo>
                    <a:pt x="14" y="354"/>
                    <a:pt x="56" y="124"/>
                    <a:pt x="56" y="124"/>
                  </a:cubicBezTo>
                  <a:cubicBezTo>
                    <a:pt x="82" y="56"/>
                    <a:pt x="82" y="69"/>
                    <a:pt x="82" y="69"/>
                  </a:cubicBezTo>
                  <a:cubicBezTo>
                    <a:pt x="82" y="69"/>
                    <a:pt x="111" y="1"/>
                    <a:pt x="137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7" name="Google Shape;5007;p52">
              <a:extLst>
                <a:ext uri="{FF2B5EF4-FFF2-40B4-BE49-F238E27FC236}">
                  <a16:creationId xmlns:a16="http://schemas.microsoft.com/office/drawing/2014/main" id="{2FA89736-CED6-7D96-3DC6-A239659AA7CA}"/>
                </a:ext>
              </a:extLst>
            </p:cNvPr>
            <p:cNvSpPr/>
            <p:nvPr/>
          </p:nvSpPr>
          <p:spPr>
            <a:xfrm>
              <a:off x="3730326" y="4091890"/>
              <a:ext cx="7546" cy="19502"/>
            </a:xfrm>
            <a:custGeom>
              <a:avLst/>
              <a:gdLst/>
              <a:ahLst/>
              <a:cxnLst/>
              <a:rect l="l" t="t" r="r" b="b"/>
              <a:pathLst>
                <a:path w="231" h="597" extrusionOk="0">
                  <a:moveTo>
                    <a:pt x="124" y="43"/>
                  </a:moveTo>
                  <a:cubicBezTo>
                    <a:pt x="231" y="179"/>
                    <a:pt x="218" y="1"/>
                    <a:pt x="218" y="273"/>
                  </a:cubicBezTo>
                  <a:lnTo>
                    <a:pt x="176" y="516"/>
                  </a:lnTo>
                  <a:lnTo>
                    <a:pt x="124" y="597"/>
                  </a:lnTo>
                  <a:lnTo>
                    <a:pt x="56" y="516"/>
                  </a:lnTo>
                  <a:lnTo>
                    <a:pt x="30" y="448"/>
                  </a:lnTo>
                  <a:cubicBezTo>
                    <a:pt x="1" y="163"/>
                    <a:pt x="1" y="218"/>
                    <a:pt x="1" y="163"/>
                  </a:cubicBezTo>
                  <a:cubicBezTo>
                    <a:pt x="1" y="163"/>
                    <a:pt x="69" y="1"/>
                    <a:pt x="124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8" name="Google Shape;5008;p52">
              <a:extLst>
                <a:ext uri="{FF2B5EF4-FFF2-40B4-BE49-F238E27FC236}">
                  <a16:creationId xmlns:a16="http://schemas.microsoft.com/office/drawing/2014/main" id="{4CFE5959-DDE4-8DB5-4920-4C6B3E4189CD}"/>
                </a:ext>
              </a:extLst>
            </p:cNvPr>
            <p:cNvSpPr/>
            <p:nvPr/>
          </p:nvSpPr>
          <p:spPr>
            <a:xfrm>
              <a:off x="3695077" y="4087120"/>
              <a:ext cx="6599" cy="25971"/>
            </a:xfrm>
            <a:custGeom>
              <a:avLst/>
              <a:gdLst/>
              <a:ahLst/>
              <a:cxnLst/>
              <a:rect l="l" t="t" r="r" b="b"/>
              <a:pathLst>
                <a:path w="202" h="795" extrusionOk="0">
                  <a:moveTo>
                    <a:pt x="137" y="121"/>
                  </a:moveTo>
                  <a:cubicBezTo>
                    <a:pt x="189" y="134"/>
                    <a:pt x="202" y="176"/>
                    <a:pt x="202" y="176"/>
                  </a:cubicBezTo>
                  <a:cubicBezTo>
                    <a:pt x="189" y="270"/>
                    <a:pt x="137" y="662"/>
                    <a:pt x="137" y="662"/>
                  </a:cubicBezTo>
                  <a:cubicBezTo>
                    <a:pt x="40" y="795"/>
                    <a:pt x="27" y="675"/>
                    <a:pt x="27" y="675"/>
                  </a:cubicBezTo>
                  <a:cubicBezTo>
                    <a:pt x="1" y="607"/>
                    <a:pt x="1" y="675"/>
                    <a:pt x="1" y="568"/>
                  </a:cubicBezTo>
                  <a:cubicBezTo>
                    <a:pt x="1" y="526"/>
                    <a:pt x="14" y="325"/>
                    <a:pt x="14" y="325"/>
                  </a:cubicBezTo>
                  <a:cubicBezTo>
                    <a:pt x="40" y="1"/>
                    <a:pt x="82" y="108"/>
                    <a:pt x="137" y="1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9" name="Google Shape;5009;p52">
              <a:extLst>
                <a:ext uri="{FF2B5EF4-FFF2-40B4-BE49-F238E27FC236}">
                  <a16:creationId xmlns:a16="http://schemas.microsoft.com/office/drawing/2014/main" id="{857192A6-96DC-8BA9-E054-3EFA439DA4FE}"/>
                </a:ext>
              </a:extLst>
            </p:cNvPr>
            <p:cNvSpPr/>
            <p:nvPr/>
          </p:nvSpPr>
          <p:spPr>
            <a:xfrm>
              <a:off x="3594948" y="4079606"/>
              <a:ext cx="6174" cy="26069"/>
            </a:xfrm>
            <a:custGeom>
              <a:avLst/>
              <a:gdLst/>
              <a:ahLst/>
              <a:cxnLst/>
              <a:rect l="l" t="t" r="r" b="b"/>
              <a:pathLst>
                <a:path w="189" h="798" extrusionOk="0">
                  <a:moveTo>
                    <a:pt x="163" y="108"/>
                  </a:moveTo>
                  <a:lnTo>
                    <a:pt x="189" y="377"/>
                  </a:lnTo>
                  <a:cubicBezTo>
                    <a:pt x="189" y="445"/>
                    <a:pt x="163" y="555"/>
                    <a:pt x="163" y="555"/>
                  </a:cubicBezTo>
                  <a:cubicBezTo>
                    <a:pt x="1" y="798"/>
                    <a:pt x="27" y="539"/>
                    <a:pt x="27" y="539"/>
                  </a:cubicBezTo>
                  <a:cubicBezTo>
                    <a:pt x="27" y="487"/>
                    <a:pt x="43" y="445"/>
                    <a:pt x="43" y="393"/>
                  </a:cubicBezTo>
                  <a:cubicBezTo>
                    <a:pt x="95" y="1"/>
                    <a:pt x="108" y="121"/>
                    <a:pt x="137" y="95"/>
                  </a:cubicBezTo>
                  <a:cubicBezTo>
                    <a:pt x="137" y="95"/>
                    <a:pt x="137" y="69"/>
                    <a:pt x="163" y="10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0" name="Google Shape;5010;p52">
              <a:extLst>
                <a:ext uri="{FF2B5EF4-FFF2-40B4-BE49-F238E27FC236}">
                  <a16:creationId xmlns:a16="http://schemas.microsoft.com/office/drawing/2014/main" id="{A7CB64A3-9E82-C965-FD66-AB79EB8E267C}"/>
                </a:ext>
              </a:extLst>
            </p:cNvPr>
            <p:cNvSpPr/>
            <p:nvPr/>
          </p:nvSpPr>
          <p:spPr>
            <a:xfrm>
              <a:off x="3627551" y="4069022"/>
              <a:ext cx="5847" cy="21626"/>
            </a:xfrm>
            <a:custGeom>
              <a:avLst/>
              <a:gdLst/>
              <a:ahLst/>
              <a:cxnLst/>
              <a:rect l="l" t="t" r="r" b="b"/>
              <a:pathLst>
                <a:path w="179" h="662" extrusionOk="0">
                  <a:moveTo>
                    <a:pt x="124" y="40"/>
                  </a:moveTo>
                  <a:cubicBezTo>
                    <a:pt x="124" y="40"/>
                    <a:pt x="179" y="163"/>
                    <a:pt x="179" y="176"/>
                  </a:cubicBezTo>
                  <a:cubicBezTo>
                    <a:pt x="179" y="325"/>
                    <a:pt x="150" y="539"/>
                    <a:pt x="150" y="539"/>
                  </a:cubicBezTo>
                  <a:cubicBezTo>
                    <a:pt x="137" y="607"/>
                    <a:pt x="137" y="620"/>
                    <a:pt x="137" y="620"/>
                  </a:cubicBezTo>
                  <a:lnTo>
                    <a:pt x="98" y="662"/>
                  </a:lnTo>
                  <a:lnTo>
                    <a:pt x="17" y="649"/>
                  </a:lnTo>
                  <a:lnTo>
                    <a:pt x="1" y="513"/>
                  </a:lnTo>
                  <a:cubicBezTo>
                    <a:pt x="30" y="325"/>
                    <a:pt x="56" y="82"/>
                    <a:pt x="56" y="82"/>
                  </a:cubicBezTo>
                  <a:cubicBezTo>
                    <a:pt x="56" y="82"/>
                    <a:pt x="98" y="1"/>
                    <a:pt x="124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1" name="Google Shape;5011;p52">
              <a:extLst>
                <a:ext uri="{FF2B5EF4-FFF2-40B4-BE49-F238E27FC236}">
                  <a16:creationId xmlns:a16="http://schemas.microsoft.com/office/drawing/2014/main" id="{1723DDC3-756A-5391-5280-3E6F10599529}"/>
                </a:ext>
              </a:extLst>
            </p:cNvPr>
            <p:cNvSpPr/>
            <p:nvPr/>
          </p:nvSpPr>
          <p:spPr>
            <a:xfrm>
              <a:off x="3711378" y="4060659"/>
              <a:ext cx="7122" cy="22475"/>
            </a:xfrm>
            <a:custGeom>
              <a:avLst/>
              <a:gdLst/>
              <a:ahLst/>
              <a:cxnLst/>
              <a:rect l="l" t="t" r="r" b="b"/>
              <a:pathLst>
                <a:path w="218" h="688" extrusionOk="0">
                  <a:moveTo>
                    <a:pt x="137" y="14"/>
                  </a:moveTo>
                  <a:lnTo>
                    <a:pt x="205" y="40"/>
                  </a:lnTo>
                  <a:lnTo>
                    <a:pt x="218" y="526"/>
                  </a:lnTo>
                  <a:lnTo>
                    <a:pt x="124" y="688"/>
                  </a:lnTo>
                  <a:cubicBezTo>
                    <a:pt x="14" y="539"/>
                    <a:pt x="27" y="568"/>
                    <a:pt x="27" y="568"/>
                  </a:cubicBezTo>
                  <a:lnTo>
                    <a:pt x="14" y="445"/>
                  </a:lnTo>
                  <a:cubicBezTo>
                    <a:pt x="1" y="283"/>
                    <a:pt x="14" y="53"/>
                    <a:pt x="14" y="53"/>
                  </a:cubicBezTo>
                  <a:cubicBezTo>
                    <a:pt x="82" y="1"/>
                    <a:pt x="108" y="14"/>
                    <a:pt x="137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2" name="Google Shape;5012;p52">
              <a:extLst>
                <a:ext uri="{FF2B5EF4-FFF2-40B4-BE49-F238E27FC236}">
                  <a16:creationId xmlns:a16="http://schemas.microsoft.com/office/drawing/2014/main" id="{9EA2E096-2741-B335-D00F-8D7D9EEBF8B1}"/>
                </a:ext>
              </a:extLst>
            </p:cNvPr>
            <p:cNvSpPr/>
            <p:nvPr/>
          </p:nvSpPr>
          <p:spPr>
            <a:xfrm>
              <a:off x="3655385" y="4053994"/>
              <a:ext cx="7122" cy="22573"/>
            </a:xfrm>
            <a:custGeom>
              <a:avLst/>
              <a:gdLst/>
              <a:ahLst/>
              <a:cxnLst/>
              <a:rect l="l" t="t" r="r" b="b"/>
              <a:pathLst>
                <a:path w="218" h="691" extrusionOk="0">
                  <a:moveTo>
                    <a:pt x="163" y="56"/>
                  </a:moveTo>
                  <a:lnTo>
                    <a:pt x="218" y="244"/>
                  </a:lnTo>
                  <a:cubicBezTo>
                    <a:pt x="176" y="636"/>
                    <a:pt x="189" y="529"/>
                    <a:pt x="150" y="594"/>
                  </a:cubicBezTo>
                  <a:lnTo>
                    <a:pt x="69" y="691"/>
                  </a:lnTo>
                  <a:lnTo>
                    <a:pt x="27" y="623"/>
                  </a:lnTo>
                  <a:cubicBezTo>
                    <a:pt x="1" y="542"/>
                    <a:pt x="1" y="529"/>
                    <a:pt x="1" y="529"/>
                  </a:cubicBezTo>
                  <a:cubicBezTo>
                    <a:pt x="14" y="406"/>
                    <a:pt x="1" y="338"/>
                    <a:pt x="56" y="150"/>
                  </a:cubicBezTo>
                  <a:cubicBezTo>
                    <a:pt x="56" y="150"/>
                    <a:pt x="121" y="1"/>
                    <a:pt x="163" y="5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3" name="Google Shape;5013;p52">
              <a:extLst>
                <a:ext uri="{FF2B5EF4-FFF2-40B4-BE49-F238E27FC236}">
                  <a16:creationId xmlns:a16="http://schemas.microsoft.com/office/drawing/2014/main" id="{F9FDE19C-19B6-63BB-715E-4A1ACCEC7619}"/>
                </a:ext>
              </a:extLst>
            </p:cNvPr>
            <p:cNvSpPr/>
            <p:nvPr/>
          </p:nvSpPr>
          <p:spPr>
            <a:xfrm>
              <a:off x="3591877" y="4037693"/>
              <a:ext cx="6174" cy="19829"/>
            </a:xfrm>
            <a:custGeom>
              <a:avLst/>
              <a:gdLst/>
              <a:ahLst/>
              <a:cxnLst/>
              <a:rect l="l" t="t" r="r" b="b"/>
              <a:pathLst>
                <a:path w="189" h="607" extrusionOk="0">
                  <a:moveTo>
                    <a:pt x="163" y="40"/>
                  </a:moveTo>
                  <a:lnTo>
                    <a:pt x="189" y="163"/>
                  </a:lnTo>
                  <a:cubicBezTo>
                    <a:pt x="163" y="338"/>
                    <a:pt x="108" y="555"/>
                    <a:pt x="108" y="555"/>
                  </a:cubicBezTo>
                  <a:lnTo>
                    <a:pt x="40" y="607"/>
                  </a:lnTo>
                  <a:cubicBezTo>
                    <a:pt x="40" y="607"/>
                    <a:pt x="1" y="445"/>
                    <a:pt x="1" y="419"/>
                  </a:cubicBezTo>
                  <a:cubicBezTo>
                    <a:pt x="1" y="393"/>
                    <a:pt x="1" y="364"/>
                    <a:pt x="14" y="338"/>
                  </a:cubicBezTo>
                  <a:cubicBezTo>
                    <a:pt x="40" y="218"/>
                    <a:pt x="82" y="95"/>
                    <a:pt x="82" y="95"/>
                  </a:cubicBezTo>
                  <a:cubicBezTo>
                    <a:pt x="82" y="95"/>
                    <a:pt x="137" y="1"/>
                    <a:pt x="163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4" name="Google Shape;5014;p52">
              <a:extLst>
                <a:ext uri="{FF2B5EF4-FFF2-40B4-BE49-F238E27FC236}">
                  <a16:creationId xmlns:a16="http://schemas.microsoft.com/office/drawing/2014/main" id="{A20DB891-D31D-40B4-8DAA-C013D6083268}"/>
                </a:ext>
              </a:extLst>
            </p:cNvPr>
            <p:cNvSpPr/>
            <p:nvPr/>
          </p:nvSpPr>
          <p:spPr>
            <a:xfrm>
              <a:off x="3687563" y="4031029"/>
              <a:ext cx="6697" cy="21724"/>
            </a:xfrm>
            <a:custGeom>
              <a:avLst/>
              <a:gdLst/>
              <a:ahLst/>
              <a:cxnLst/>
              <a:rect l="l" t="t" r="r" b="b"/>
              <a:pathLst>
                <a:path w="205" h="665" extrusionOk="0">
                  <a:moveTo>
                    <a:pt x="124" y="30"/>
                  </a:moveTo>
                  <a:cubicBezTo>
                    <a:pt x="124" y="30"/>
                    <a:pt x="205" y="163"/>
                    <a:pt x="205" y="299"/>
                  </a:cubicBezTo>
                  <a:cubicBezTo>
                    <a:pt x="189" y="354"/>
                    <a:pt x="176" y="516"/>
                    <a:pt x="150" y="610"/>
                  </a:cubicBezTo>
                  <a:lnTo>
                    <a:pt x="108" y="665"/>
                  </a:lnTo>
                  <a:lnTo>
                    <a:pt x="43" y="555"/>
                  </a:lnTo>
                  <a:cubicBezTo>
                    <a:pt x="1" y="393"/>
                    <a:pt x="14" y="111"/>
                    <a:pt x="56" y="69"/>
                  </a:cubicBezTo>
                  <a:cubicBezTo>
                    <a:pt x="56" y="69"/>
                    <a:pt x="82" y="1"/>
                    <a:pt x="124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5" name="Google Shape;5015;p52">
              <a:extLst>
                <a:ext uri="{FF2B5EF4-FFF2-40B4-BE49-F238E27FC236}">
                  <a16:creationId xmlns:a16="http://schemas.microsoft.com/office/drawing/2014/main" id="{5C48C2F9-6FD5-F0BA-2CAB-4E5BE13493B0}"/>
                </a:ext>
              </a:extLst>
            </p:cNvPr>
            <p:cNvSpPr/>
            <p:nvPr/>
          </p:nvSpPr>
          <p:spPr>
            <a:xfrm>
              <a:off x="3729052" y="4025736"/>
              <a:ext cx="7546" cy="22998"/>
            </a:xfrm>
            <a:custGeom>
              <a:avLst/>
              <a:gdLst/>
              <a:ahLst/>
              <a:cxnLst/>
              <a:rect l="l" t="t" r="r" b="b"/>
              <a:pathLst>
                <a:path w="231" h="704" extrusionOk="0">
                  <a:moveTo>
                    <a:pt x="150" y="17"/>
                  </a:moveTo>
                  <a:lnTo>
                    <a:pt x="202" y="56"/>
                  </a:lnTo>
                  <a:cubicBezTo>
                    <a:pt x="215" y="273"/>
                    <a:pt x="231" y="529"/>
                    <a:pt x="231" y="529"/>
                  </a:cubicBezTo>
                  <a:cubicBezTo>
                    <a:pt x="215" y="584"/>
                    <a:pt x="202" y="610"/>
                    <a:pt x="202" y="610"/>
                  </a:cubicBezTo>
                  <a:lnTo>
                    <a:pt x="150" y="704"/>
                  </a:lnTo>
                  <a:lnTo>
                    <a:pt x="82" y="623"/>
                  </a:lnTo>
                  <a:cubicBezTo>
                    <a:pt x="40" y="555"/>
                    <a:pt x="27" y="516"/>
                    <a:pt x="27" y="516"/>
                  </a:cubicBezTo>
                  <a:cubicBezTo>
                    <a:pt x="14" y="367"/>
                    <a:pt x="1" y="150"/>
                    <a:pt x="1" y="150"/>
                  </a:cubicBezTo>
                  <a:cubicBezTo>
                    <a:pt x="1" y="56"/>
                    <a:pt x="14" y="1"/>
                    <a:pt x="150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6" name="Google Shape;5016;p52">
              <a:extLst>
                <a:ext uri="{FF2B5EF4-FFF2-40B4-BE49-F238E27FC236}">
                  <a16:creationId xmlns:a16="http://schemas.microsoft.com/office/drawing/2014/main" id="{2F864773-4300-6833-89D2-EB55AF08EF53}"/>
                </a:ext>
              </a:extLst>
            </p:cNvPr>
            <p:cNvSpPr/>
            <p:nvPr/>
          </p:nvSpPr>
          <p:spPr>
            <a:xfrm>
              <a:off x="3621834" y="4025736"/>
              <a:ext cx="7546" cy="16432"/>
            </a:xfrm>
            <a:custGeom>
              <a:avLst/>
              <a:gdLst/>
              <a:ahLst/>
              <a:cxnLst/>
              <a:rect l="l" t="t" r="r" b="b"/>
              <a:pathLst>
                <a:path w="231" h="503" extrusionOk="0">
                  <a:moveTo>
                    <a:pt x="192" y="1"/>
                  </a:moveTo>
                  <a:cubicBezTo>
                    <a:pt x="192" y="1"/>
                    <a:pt x="231" y="163"/>
                    <a:pt x="192" y="380"/>
                  </a:cubicBezTo>
                  <a:lnTo>
                    <a:pt x="124" y="503"/>
                  </a:lnTo>
                  <a:lnTo>
                    <a:pt x="30" y="448"/>
                  </a:lnTo>
                  <a:cubicBezTo>
                    <a:pt x="1" y="273"/>
                    <a:pt x="56" y="192"/>
                    <a:pt x="95" y="56"/>
                  </a:cubicBezTo>
                  <a:cubicBezTo>
                    <a:pt x="95" y="56"/>
                    <a:pt x="150" y="1"/>
                    <a:pt x="19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7" name="Google Shape;5017;p52">
              <a:extLst>
                <a:ext uri="{FF2B5EF4-FFF2-40B4-BE49-F238E27FC236}">
                  <a16:creationId xmlns:a16="http://schemas.microsoft.com/office/drawing/2014/main" id="{ED3EFEEB-5FAA-D952-FC4B-17D5D6D17919}"/>
                </a:ext>
              </a:extLst>
            </p:cNvPr>
            <p:cNvSpPr/>
            <p:nvPr/>
          </p:nvSpPr>
          <p:spPr>
            <a:xfrm>
              <a:off x="3651889" y="4010807"/>
              <a:ext cx="10617" cy="15484"/>
            </a:xfrm>
            <a:custGeom>
              <a:avLst/>
              <a:gdLst/>
              <a:ahLst/>
              <a:cxnLst/>
              <a:rect l="l" t="t" r="r" b="b"/>
              <a:pathLst>
                <a:path w="325" h="474" extrusionOk="0">
                  <a:moveTo>
                    <a:pt x="257" y="27"/>
                  </a:moveTo>
                  <a:cubicBezTo>
                    <a:pt x="296" y="108"/>
                    <a:pt x="283" y="53"/>
                    <a:pt x="325" y="134"/>
                  </a:cubicBezTo>
                  <a:lnTo>
                    <a:pt x="296" y="377"/>
                  </a:lnTo>
                  <a:lnTo>
                    <a:pt x="270" y="406"/>
                  </a:lnTo>
                  <a:lnTo>
                    <a:pt x="228" y="474"/>
                  </a:lnTo>
                  <a:cubicBezTo>
                    <a:pt x="1" y="283"/>
                    <a:pt x="66" y="445"/>
                    <a:pt x="121" y="163"/>
                  </a:cubicBezTo>
                  <a:lnTo>
                    <a:pt x="176" y="82"/>
                  </a:lnTo>
                  <a:lnTo>
                    <a:pt x="228" y="27"/>
                  </a:lnTo>
                  <a:cubicBezTo>
                    <a:pt x="228" y="27"/>
                    <a:pt x="228" y="1"/>
                    <a:pt x="257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8" name="Google Shape;5018;p52">
              <a:extLst>
                <a:ext uri="{FF2B5EF4-FFF2-40B4-BE49-F238E27FC236}">
                  <a16:creationId xmlns:a16="http://schemas.microsoft.com/office/drawing/2014/main" id="{6E37C573-4F0E-FAD3-4824-F10303024E20}"/>
                </a:ext>
              </a:extLst>
            </p:cNvPr>
            <p:cNvSpPr/>
            <p:nvPr/>
          </p:nvSpPr>
          <p:spPr>
            <a:xfrm>
              <a:off x="3594524" y="4003718"/>
              <a:ext cx="5749" cy="18980"/>
            </a:xfrm>
            <a:custGeom>
              <a:avLst/>
              <a:gdLst/>
              <a:ahLst/>
              <a:cxnLst/>
              <a:rect l="l" t="t" r="r" b="b"/>
              <a:pathLst>
                <a:path w="176" h="581" extrusionOk="0">
                  <a:moveTo>
                    <a:pt x="95" y="27"/>
                  </a:moveTo>
                  <a:lnTo>
                    <a:pt x="163" y="150"/>
                  </a:lnTo>
                  <a:cubicBezTo>
                    <a:pt x="176" y="299"/>
                    <a:pt x="163" y="351"/>
                    <a:pt x="163" y="351"/>
                  </a:cubicBezTo>
                  <a:cubicBezTo>
                    <a:pt x="163" y="419"/>
                    <a:pt x="150" y="513"/>
                    <a:pt x="150" y="513"/>
                  </a:cubicBezTo>
                  <a:lnTo>
                    <a:pt x="82" y="581"/>
                  </a:lnTo>
                  <a:cubicBezTo>
                    <a:pt x="82" y="581"/>
                    <a:pt x="40" y="529"/>
                    <a:pt x="14" y="231"/>
                  </a:cubicBezTo>
                  <a:cubicBezTo>
                    <a:pt x="1" y="82"/>
                    <a:pt x="27" y="95"/>
                    <a:pt x="27" y="95"/>
                  </a:cubicBezTo>
                  <a:cubicBezTo>
                    <a:pt x="27" y="95"/>
                    <a:pt x="56" y="1"/>
                    <a:pt x="95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9" name="Google Shape;5019;p52">
              <a:extLst>
                <a:ext uri="{FF2B5EF4-FFF2-40B4-BE49-F238E27FC236}">
                  <a16:creationId xmlns:a16="http://schemas.microsoft.com/office/drawing/2014/main" id="{2A007FF3-F566-F488-50B8-0B446F13C27E}"/>
                </a:ext>
              </a:extLst>
            </p:cNvPr>
            <p:cNvSpPr/>
            <p:nvPr/>
          </p:nvSpPr>
          <p:spPr>
            <a:xfrm>
              <a:off x="3707458" y="4001496"/>
              <a:ext cx="6599" cy="19502"/>
            </a:xfrm>
            <a:custGeom>
              <a:avLst/>
              <a:gdLst/>
              <a:ahLst/>
              <a:cxnLst/>
              <a:rect l="l" t="t" r="r" b="b"/>
              <a:pathLst>
                <a:path w="202" h="597" extrusionOk="0">
                  <a:moveTo>
                    <a:pt x="108" y="30"/>
                  </a:moveTo>
                  <a:cubicBezTo>
                    <a:pt x="176" y="111"/>
                    <a:pt x="189" y="111"/>
                    <a:pt x="189" y="111"/>
                  </a:cubicBezTo>
                  <a:cubicBezTo>
                    <a:pt x="189" y="124"/>
                    <a:pt x="202" y="435"/>
                    <a:pt x="202" y="435"/>
                  </a:cubicBezTo>
                  <a:cubicBezTo>
                    <a:pt x="189" y="487"/>
                    <a:pt x="176" y="529"/>
                    <a:pt x="176" y="529"/>
                  </a:cubicBezTo>
                  <a:lnTo>
                    <a:pt x="121" y="597"/>
                  </a:lnTo>
                  <a:lnTo>
                    <a:pt x="14" y="448"/>
                  </a:lnTo>
                  <a:cubicBezTo>
                    <a:pt x="14" y="354"/>
                    <a:pt x="1" y="325"/>
                    <a:pt x="14" y="150"/>
                  </a:cubicBezTo>
                  <a:lnTo>
                    <a:pt x="53" y="56"/>
                  </a:lnTo>
                  <a:cubicBezTo>
                    <a:pt x="95" y="30"/>
                    <a:pt x="82" y="1"/>
                    <a:pt x="108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0" name="Google Shape;5020;p52">
              <a:extLst>
                <a:ext uri="{FF2B5EF4-FFF2-40B4-BE49-F238E27FC236}">
                  <a16:creationId xmlns:a16="http://schemas.microsoft.com/office/drawing/2014/main" id="{69216D37-4B8A-5CBF-0F60-27CB5597A92E}"/>
                </a:ext>
              </a:extLst>
            </p:cNvPr>
            <p:cNvSpPr/>
            <p:nvPr/>
          </p:nvSpPr>
          <p:spPr>
            <a:xfrm>
              <a:off x="3616117" y="3982124"/>
              <a:ext cx="6697" cy="23847"/>
            </a:xfrm>
            <a:custGeom>
              <a:avLst/>
              <a:gdLst/>
              <a:ahLst/>
              <a:cxnLst/>
              <a:rect l="l" t="t" r="r" b="b"/>
              <a:pathLst>
                <a:path w="205" h="730" extrusionOk="0">
                  <a:moveTo>
                    <a:pt x="137" y="27"/>
                  </a:moveTo>
                  <a:cubicBezTo>
                    <a:pt x="137" y="27"/>
                    <a:pt x="205" y="176"/>
                    <a:pt x="176" y="406"/>
                  </a:cubicBezTo>
                  <a:lnTo>
                    <a:pt x="124" y="607"/>
                  </a:lnTo>
                  <a:lnTo>
                    <a:pt x="43" y="730"/>
                  </a:lnTo>
                  <a:lnTo>
                    <a:pt x="1" y="474"/>
                  </a:lnTo>
                  <a:cubicBezTo>
                    <a:pt x="56" y="14"/>
                    <a:pt x="108" y="1"/>
                    <a:pt x="137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1" name="Google Shape;5021;p52">
              <a:extLst>
                <a:ext uri="{FF2B5EF4-FFF2-40B4-BE49-F238E27FC236}">
                  <a16:creationId xmlns:a16="http://schemas.microsoft.com/office/drawing/2014/main" id="{4DDB7B47-A653-507E-75E7-EF2521FAEE75}"/>
                </a:ext>
              </a:extLst>
            </p:cNvPr>
            <p:cNvSpPr/>
            <p:nvPr/>
          </p:nvSpPr>
          <p:spPr>
            <a:xfrm>
              <a:off x="3678351" y="3975982"/>
              <a:ext cx="9670" cy="19829"/>
            </a:xfrm>
            <a:custGeom>
              <a:avLst/>
              <a:gdLst/>
              <a:ahLst/>
              <a:cxnLst/>
              <a:rect l="l" t="t" r="r" b="b"/>
              <a:pathLst>
                <a:path w="296" h="607" extrusionOk="0">
                  <a:moveTo>
                    <a:pt x="134" y="95"/>
                  </a:moveTo>
                  <a:cubicBezTo>
                    <a:pt x="296" y="147"/>
                    <a:pt x="215" y="53"/>
                    <a:pt x="215" y="419"/>
                  </a:cubicBezTo>
                  <a:lnTo>
                    <a:pt x="215" y="526"/>
                  </a:lnTo>
                  <a:cubicBezTo>
                    <a:pt x="202" y="581"/>
                    <a:pt x="176" y="607"/>
                    <a:pt x="176" y="607"/>
                  </a:cubicBezTo>
                  <a:lnTo>
                    <a:pt x="82" y="607"/>
                  </a:lnTo>
                  <a:lnTo>
                    <a:pt x="27" y="471"/>
                  </a:lnTo>
                  <a:cubicBezTo>
                    <a:pt x="14" y="1"/>
                    <a:pt x="1" y="176"/>
                    <a:pt x="53" y="108"/>
                  </a:cubicBezTo>
                  <a:cubicBezTo>
                    <a:pt x="53" y="108"/>
                    <a:pt x="108" y="95"/>
                    <a:pt x="134" y="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2" name="Google Shape;5022;p52">
              <a:extLst>
                <a:ext uri="{FF2B5EF4-FFF2-40B4-BE49-F238E27FC236}">
                  <a16:creationId xmlns:a16="http://schemas.microsoft.com/office/drawing/2014/main" id="{C89083AD-D182-0936-F4AE-B5128238AF17}"/>
                </a:ext>
              </a:extLst>
            </p:cNvPr>
            <p:cNvSpPr/>
            <p:nvPr/>
          </p:nvSpPr>
          <p:spPr>
            <a:xfrm>
              <a:off x="3713600" y="3965822"/>
              <a:ext cx="11466" cy="20254"/>
            </a:xfrm>
            <a:custGeom>
              <a:avLst/>
              <a:gdLst/>
              <a:ahLst/>
              <a:cxnLst/>
              <a:rect l="l" t="t" r="r" b="b"/>
              <a:pathLst>
                <a:path w="351" h="620" extrusionOk="0">
                  <a:moveTo>
                    <a:pt x="312" y="40"/>
                  </a:moveTo>
                  <a:cubicBezTo>
                    <a:pt x="351" y="296"/>
                    <a:pt x="338" y="325"/>
                    <a:pt x="338" y="393"/>
                  </a:cubicBezTo>
                  <a:cubicBezTo>
                    <a:pt x="351" y="594"/>
                    <a:pt x="338" y="581"/>
                    <a:pt x="338" y="581"/>
                  </a:cubicBezTo>
                  <a:lnTo>
                    <a:pt x="312" y="620"/>
                  </a:lnTo>
                  <a:lnTo>
                    <a:pt x="176" y="594"/>
                  </a:lnTo>
                  <a:cubicBezTo>
                    <a:pt x="176" y="594"/>
                    <a:pt x="150" y="296"/>
                    <a:pt x="121" y="82"/>
                  </a:cubicBezTo>
                  <a:cubicBezTo>
                    <a:pt x="121" y="82"/>
                    <a:pt x="1" y="1"/>
                    <a:pt x="312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3" name="Google Shape;5023;p52">
              <a:extLst>
                <a:ext uri="{FF2B5EF4-FFF2-40B4-BE49-F238E27FC236}">
                  <a16:creationId xmlns:a16="http://schemas.microsoft.com/office/drawing/2014/main" id="{139513C5-CB91-7881-1A59-13329F9D36AE}"/>
                </a:ext>
              </a:extLst>
            </p:cNvPr>
            <p:cNvSpPr/>
            <p:nvPr/>
          </p:nvSpPr>
          <p:spPr>
            <a:xfrm>
              <a:off x="3646597" y="3955663"/>
              <a:ext cx="7024" cy="21626"/>
            </a:xfrm>
            <a:custGeom>
              <a:avLst/>
              <a:gdLst/>
              <a:ahLst/>
              <a:cxnLst/>
              <a:rect l="l" t="t" r="r" b="b"/>
              <a:pathLst>
                <a:path w="215" h="662" extrusionOk="0">
                  <a:moveTo>
                    <a:pt x="163" y="40"/>
                  </a:moveTo>
                  <a:lnTo>
                    <a:pt x="215" y="202"/>
                  </a:lnTo>
                  <a:cubicBezTo>
                    <a:pt x="215" y="283"/>
                    <a:pt x="215" y="218"/>
                    <a:pt x="202" y="338"/>
                  </a:cubicBezTo>
                  <a:lnTo>
                    <a:pt x="189" y="487"/>
                  </a:lnTo>
                  <a:cubicBezTo>
                    <a:pt x="176" y="542"/>
                    <a:pt x="147" y="607"/>
                    <a:pt x="147" y="607"/>
                  </a:cubicBezTo>
                  <a:lnTo>
                    <a:pt x="95" y="662"/>
                  </a:lnTo>
                  <a:lnTo>
                    <a:pt x="27" y="500"/>
                  </a:lnTo>
                  <a:cubicBezTo>
                    <a:pt x="14" y="406"/>
                    <a:pt x="1" y="500"/>
                    <a:pt x="27" y="283"/>
                  </a:cubicBezTo>
                  <a:cubicBezTo>
                    <a:pt x="40" y="121"/>
                    <a:pt x="121" y="1"/>
                    <a:pt x="163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4" name="Google Shape;5024;p52">
              <a:extLst>
                <a:ext uri="{FF2B5EF4-FFF2-40B4-BE49-F238E27FC236}">
                  <a16:creationId xmlns:a16="http://schemas.microsoft.com/office/drawing/2014/main" id="{7EC616EE-A3B5-BBFE-0EB4-538303F2ACF5}"/>
                </a:ext>
              </a:extLst>
            </p:cNvPr>
            <p:cNvSpPr/>
            <p:nvPr/>
          </p:nvSpPr>
          <p:spPr>
            <a:xfrm>
              <a:off x="3693705" y="3941060"/>
              <a:ext cx="7122" cy="22998"/>
            </a:xfrm>
            <a:custGeom>
              <a:avLst/>
              <a:gdLst/>
              <a:ahLst/>
              <a:cxnLst/>
              <a:rect l="l" t="t" r="r" b="b"/>
              <a:pathLst>
                <a:path w="218" h="704" extrusionOk="0">
                  <a:moveTo>
                    <a:pt x="137" y="1"/>
                  </a:moveTo>
                  <a:cubicBezTo>
                    <a:pt x="218" y="43"/>
                    <a:pt x="192" y="69"/>
                    <a:pt x="192" y="69"/>
                  </a:cubicBezTo>
                  <a:lnTo>
                    <a:pt x="192" y="367"/>
                  </a:lnTo>
                  <a:cubicBezTo>
                    <a:pt x="192" y="542"/>
                    <a:pt x="137" y="649"/>
                    <a:pt x="137" y="649"/>
                  </a:cubicBezTo>
                  <a:lnTo>
                    <a:pt x="82" y="704"/>
                  </a:lnTo>
                  <a:lnTo>
                    <a:pt x="30" y="636"/>
                  </a:lnTo>
                  <a:cubicBezTo>
                    <a:pt x="1" y="422"/>
                    <a:pt x="1" y="623"/>
                    <a:pt x="1" y="354"/>
                  </a:cubicBezTo>
                  <a:lnTo>
                    <a:pt x="30" y="69"/>
                  </a:lnTo>
                  <a:lnTo>
                    <a:pt x="43" y="30"/>
                  </a:lnTo>
                  <a:cubicBezTo>
                    <a:pt x="43" y="30"/>
                    <a:pt x="82" y="1"/>
                    <a:pt x="13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5" name="Google Shape;5025;p52">
              <a:extLst>
                <a:ext uri="{FF2B5EF4-FFF2-40B4-BE49-F238E27FC236}">
                  <a16:creationId xmlns:a16="http://schemas.microsoft.com/office/drawing/2014/main" id="{3ED9DE69-EB70-7E67-9A2E-6B0D441745A2}"/>
                </a:ext>
              </a:extLst>
            </p:cNvPr>
            <p:cNvSpPr/>
            <p:nvPr/>
          </p:nvSpPr>
          <p:spPr>
            <a:xfrm>
              <a:off x="3607330" y="3933644"/>
              <a:ext cx="6599" cy="27343"/>
            </a:xfrm>
            <a:custGeom>
              <a:avLst/>
              <a:gdLst/>
              <a:ahLst/>
              <a:cxnLst/>
              <a:rect l="l" t="t" r="r" b="b"/>
              <a:pathLst>
                <a:path w="202" h="837" extrusionOk="0">
                  <a:moveTo>
                    <a:pt x="202" y="108"/>
                  </a:moveTo>
                  <a:cubicBezTo>
                    <a:pt x="202" y="108"/>
                    <a:pt x="202" y="364"/>
                    <a:pt x="150" y="620"/>
                  </a:cubicBezTo>
                  <a:lnTo>
                    <a:pt x="108" y="782"/>
                  </a:lnTo>
                  <a:lnTo>
                    <a:pt x="53" y="837"/>
                  </a:lnTo>
                  <a:lnTo>
                    <a:pt x="1" y="769"/>
                  </a:lnTo>
                  <a:cubicBezTo>
                    <a:pt x="14" y="552"/>
                    <a:pt x="53" y="338"/>
                    <a:pt x="82" y="121"/>
                  </a:cubicBezTo>
                  <a:cubicBezTo>
                    <a:pt x="82" y="121"/>
                    <a:pt x="121" y="1"/>
                    <a:pt x="202" y="10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6" name="Google Shape;5026;p52">
              <a:extLst>
                <a:ext uri="{FF2B5EF4-FFF2-40B4-BE49-F238E27FC236}">
                  <a16:creationId xmlns:a16="http://schemas.microsoft.com/office/drawing/2014/main" id="{90566C40-6F76-EA7F-E333-30DC1498FA9F}"/>
                </a:ext>
              </a:extLst>
            </p:cNvPr>
            <p:cNvSpPr/>
            <p:nvPr/>
          </p:nvSpPr>
          <p:spPr>
            <a:xfrm>
              <a:off x="3637711" y="3928352"/>
              <a:ext cx="6697" cy="14112"/>
            </a:xfrm>
            <a:custGeom>
              <a:avLst/>
              <a:gdLst/>
              <a:ahLst/>
              <a:cxnLst/>
              <a:rect l="l" t="t" r="r" b="b"/>
              <a:pathLst>
                <a:path w="205" h="432" extrusionOk="0">
                  <a:moveTo>
                    <a:pt x="124" y="1"/>
                  </a:moveTo>
                  <a:lnTo>
                    <a:pt x="205" y="53"/>
                  </a:lnTo>
                  <a:cubicBezTo>
                    <a:pt x="192" y="189"/>
                    <a:pt x="163" y="338"/>
                    <a:pt x="163" y="338"/>
                  </a:cubicBezTo>
                  <a:cubicBezTo>
                    <a:pt x="137" y="351"/>
                    <a:pt x="124" y="377"/>
                    <a:pt x="124" y="377"/>
                  </a:cubicBezTo>
                  <a:lnTo>
                    <a:pt x="82" y="432"/>
                  </a:lnTo>
                  <a:lnTo>
                    <a:pt x="1" y="309"/>
                  </a:lnTo>
                  <a:cubicBezTo>
                    <a:pt x="14" y="176"/>
                    <a:pt x="1" y="228"/>
                    <a:pt x="30" y="82"/>
                  </a:cubicBezTo>
                  <a:lnTo>
                    <a:pt x="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7" name="Google Shape;5027;p52">
              <a:extLst>
                <a:ext uri="{FF2B5EF4-FFF2-40B4-BE49-F238E27FC236}">
                  <a16:creationId xmlns:a16="http://schemas.microsoft.com/office/drawing/2014/main" id="{7DA544A8-E5CA-6BBB-6E8E-291FEE97FF4B}"/>
                </a:ext>
              </a:extLst>
            </p:cNvPr>
            <p:cNvSpPr/>
            <p:nvPr/>
          </p:nvSpPr>
          <p:spPr>
            <a:xfrm>
              <a:off x="3668615" y="3923059"/>
              <a:ext cx="5749" cy="25121"/>
            </a:xfrm>
            <a:custGeom>
              <a:avLst/>
              <a:gdLst/>
              <a:ahLst/>
              <a:cxnLst/>
              <a:rect l="l" t="t" r="r" b="b"/>
              <a:pathLst>
                <a:path w="176" h="769" extrusionOk="0">
                  <a:moveTo>
                    <a:pt x="121" y="1"/>
                  </a:moveTo>
                  <a:lnTo>
                    <a:pt x="163" y="95"/>
                  </a:lnTo>
                  <a:cubicBezTo>
                    <a:pt x="163" y="176"/>
                    <a:pt x="176" y="215"/>
                    <a:pt x="176" y="338"/>
                  </a:cubicBezTo>
                  <a:lnTo>
                    <a:pt x="163" y="445"/>
                  </a:lnTo>
                  <a:cubicBezTo>
                    <a:pt x="1" y="769"/>
                    <a:pt x="14" y="419"/>
                    <a:pt x="14" y="419"/>
                  </a:cubicBezTo>
                  <a:cubicBezTo>
                    <a:pt x="14" y="176"/>
                    <a:pt x="27" y="14"/>
                    <a:pt x="27" y="14"/>
                  </a:cubicBezTo>
                  <a:cubicBezTo>
                    <a:pt x="27" y="14"/>
                    <a:pt x="56" y="1"/>
                    <a:pt x="12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8" name="Google Shape;5028;p52">
              <a:extLst>
                <a:ext uri="{FF2B5EF4-FFF2-40B4-BE49-F238E27FC236}">
                  <a16:creationId xmlns:a16="http://schemas.microsoft.com/office/drawing/2014/main" id="{049CE2DB-463D-0EF0-42B2-2A38EA0C6B76}"/>
                </a:ext>
              </a:extLst>
            </p:cNvPr>
            <p:cNvSpPr/>
            <p:nvPr/>
          </p:nvSpPr>
          <p:spPr>
            <a:xfrm>
              <a:off x="3714024" y="3909829"/>
              <a:ext cx="5749" cy="23325"/>
            </a:xfrm>
            <a:custGeom>
              <a:avLst/>
              <a:gdLst/>
              <a:ahLst/>
              <a:cxnLst/>
              <a:rect l="l" t="t" r="r" b="b"/>
              <a:pathLst>
                <a:path w="176" h="714" extrusionOk="0">
                  <a:moveTo>
                    <a:pt x="137" y="40"/>
                  </a:moveTo>
                  <a:lnTo>
                    <a:pt x="176" y="568"/>
                  </a:lnTo>
                  <a:cubicBezTo>
                    <a:pt x="163" y="620"/>
                    <a:pt x="137" y="675"/>
                    <a:pt x="108" y="714"/>
                  </a:cubicBezTo>
                  <a:lnTo>
                    <a:pt x="27" y="552"/>
                  </a:lnTo>
                  <a:cubicBezTo>
                    <a:pt x="14" y="325"/>
                    <a:pt x="1" y="228"/>
                    <a:pt x="1" y="95"/>
                  </a:cubicBezTo>
                  <a:lnTo>
                    <a:pt x="82" y="1"/>
                  </a:lnTo>
                  <a:cubicBezTo>
                    <a:pt x="95" y="14"/>
                    <a:pt x="124" y="27"/>
                    <a:pt x="137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9" name="Google Shape;5029;p52">
              <a:extLst>
                <a:ext uri="{FF2B5EF4-FFF2-40B4-BE49-F238E27FC236}">
                  <a16:creationId xmlns:a16="http://schemas.microsoft.com/office/drawing/2014/main" id="{1B67AE74-C609-0B8E-EA39-BCB7D6E72FB1}"/>
                </a:ext>
              </a:extLst>
            </p:cNvPr>
            <p:cNvSpPr/>
            <p:nvPr/>
          </p:nvSpPr>
          <p:spPr>
            <a:xfrm>
              <a:off x="3691059" y="3895651"/>
              <a:ext cx="6697" cy="22998"/>
            </a:xfrm>
            <a:custGeom>
              <a:avLst/>
              <a:gdLst/>
              <a:ahLst/>
              <a:cxnLst/>
              <a:rect l="l" t="t" r="r" b="b"/>
              <a:pathLst>
                <a:path w="205" h="704" extrusionOk="0">
                  <a:moveTo>
                    <a:pt x="111" y="56"/>
                  </a:moveTo>
                  <a:lnTo>
                    <a:pt x="179" y="192"/>
                  </a:lnTo>
                  <a:cubicBezTo>
                    <a:pt x="192" y="325"/>
                    <a:pt x="205" y="419"/>
                    <a:pt x="150" y="581"/>
                  </a:cubicBezTo>
                  <a:cubicBezTo>
                    <a:pt x="150" y="581"/>
                    <a:pt x="124" y="649"/>
                    <a:pt x="69" y="704"/>
                  </a:cubicBezTo>
                  <a:lnTo>
                    <a:pt x="1" y="555"/>
                  </a:lnTo>
                  <a:cubicBezTo>
                    <a:pt x="1" y="393"/>
                    <a:pt x="17" y="192"/>
                    <a:pt x="17" y="192"/>
                  </a:cubicBezTo>
                  <a:lnTo>
                    <a:pt x="30" y="150"/>
                  </a:lnTo>
                  <a:cubicBezTo>
                    <a:pt x="30" y="150"/>
                    <a:pt x="69" y="1"/>
                    <a:pt x="111" y="5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0" name="Google Shape;5030;p52">
              <a:extLst>
                <a:ext uri="{FF2B5EF4-FFF2-40B4-BE49-F238E27FC236}">
                  <a16:creationId xmlns:a16="http://schemas.microsoft.com/office/drawing/2014/main" id="{C170592C-8C68-F4FC-FACD-F37EAF7BB362}"/>
                </a:ext>
              </a:extLst>
            </p:cNvPr>
            <p:cNvSpPr/>
            <p:nvPr/>
          </p:nvSpPr>
          <p:spPr>
            <a:xfrm>
              <a:off x="3627551" y="3890783"/>
              <a:ext cx="6697" cy="21201"/>
            </a:xfrm>
            <a:custGeom>
              <a:avLst/>
              <a:gdLst/>
              <a:ahLst/>
              <a:cxnLst/>
              <a:rect l="l" t="t" r="r" b="b"/>
              <a:pathLst>
                <a:path w="205" h="649" extrusionOk="0">
                  <a:moveTo>
                    <a:pt x="163" y="30"/>
                  </a:moveTo>
                  <a:cubicBezTo>
                    <a:pt x="163" y="30"/>
                    <a:pt x="205" y="111"/>
                    <a:pt x="192" y="244"/>
                  </a:cubicBezTo>
                  <a:lnTo>
                    <a:pt x="163" y="380"/>
                  </a:lnTo>
                  <a:cubicBezTo>
                    <a:pt x="124" y="529"/>
                    <a:pt x="82" y="610"/>
                    <a:pt x="82" y="610"/>
                  </a:cubicBezTo>
                  <a:lnTo>
                    <a:pt x="30" y="649"/>
                  </a:lnTo>
                  <a:cubicBezTo>
                    <a:pt x="30" y="649"/>
                    <a:pt x="1" y="435"/>
                    <a:pt x="1" y="422"/>
                  </a:cubicBezTo>
                  <a:cubicBezTo>
                    <a:pt x="17" y="286"/>
                    <a:pt x="69" y="111"/>
                    <a:pt x="69" y="111"/>
                  </a:cubicBezTo>
                  <a:cubicBezTo>
                    <a:pt x="98" y="17"/>
                    <a:pt x="82" y="82"/>
                    <a:pt x="137" y="30"/>
                  </a:cubicBezTo>
                  <a:cubicBezTo>
                    <a:pt x="137" y="30"/>
                    <a:pt x="137" y="1"/>
                    <a:pt x="163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1" name="Google Shape;5031;p52">
              <a:extLst>
                <a:ext uri="{FF2B5EF4-FFF2-40B4-BE49-F238E27FC236}">
                  <a16:creationId xmlns:a16="http://schemas.microsoft.com/office/drawing/2014/main" id="{075707D0-E6F3-CAD1-ECC6-BA42D22D66E4}"/>
                </a:ext>
              </a:extLst>
            </p:cNvPr>
            <p:cNvSpPr/>
            <p:nvPr/>
          </p:nvSpPr>
          <p:spPr>
            <a:xfrm>
              <a:off x="3661102" y="3877552"/>
              <a:ext cx="10192" cy="25219"/>
            </a:xfrm>
            <a:custGeom>
              <a:avLst/>
              <a:gdLst/>
              <a:ahLst/>
              <a:cxnLst/>
              <a:rect l="l" t="t" r="r" b="b"/>
              <a:pathLst>
                <a:path w="312" h="772" extrusionOk="0">
                  <a:moveTo>
                    <a:pt x="150" y="137"/>
                  </a:moveTo>
                  <a:cubicBezTo>
                    <a:pt x="257" y="299"/>
                    <a:pt x="312" y="1"/>
                    <a:pt x="189" y="568"/>
                  </a:cubicBezTo>
                  <a:cubicBezTo>
                    <a:pt x="176" y="623"/>
                    <a:pt x="137" y="704"/>
                    <a:pt x="137" y="704"/>
                  </a:cubicBezTo>
                  <a:lnTo>
                    <a:pt x="69" y="772"/>
                  </a:lnTo>
                  <a:lnTo>
                    <a:pt x="1" y="542"/>
                  </a:lnTo>
                  <a:cubicBezTo>
                    <a:pt x="1" y="218"/>
                    <a:pt x="56" y="192"/>
                    <a:pt x="56" y="192"/>
                  </a:cubicBezTo>
                  <a:cubicBezTo>
                    <a:pt x="56" y="192"/>
                    <a:pt x="124" y="111"/>
                    <a:pt x="150" y="13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2" name="Google Shape;5032;p52">
              <a:extLst>
                <a:ext uri="{FF2B5EF4-FFF2-40B4-BE49-F238E27FC236}">
                  <a16:creationId xmlns:a16="http://schemas.microsoft.com/office/drawing/2014/main" id="{F179406F-AA59-40A7-E6A1-1CCA21399C06}"/>
                </a:ext>
              </a:extLst>
            </p:cNvPr>
            <p:cNvSpPr/>
            <p:nvPr/>
          </p:nvSpPr>
          <p:spPr>
            <a:xfrm>
              <a:off x="3692431" y="3851614"/>
              <a:ext cx="7122" cy="22475"/>
            </a:xfrm>
            <a:custGeom>
              <a:avLst/>
              <a:gdLst/>
              <a:ahLst/>
              <a:cxnLst/>
              <a:rect l="l" t="t" r="r" b="b"/>
              <a:pathLst>
                <a:path w="218" h="688" extrusionOk="0">
                  <a:moveTo>
                    <a:pt x="150" y="53"/>
                  </a:moveTo>
                  <a:lnTo>
                    <a:pt x="202" y="163"/>
                  </a:lnTo>
                  <a:cubicBezTo>
                    <a:pt x="218" y="215"/>
                    <a:pt x="202" y="228"/>
                    <a:pt x="202" y="228"/>
                  </a:cubicBezTo>
                  <a:cubicBezTo>
                    <a:pt x="202" y="228"/>
                    <a:pt x="189" y="445"/>
                    <a:pt x="189" y="633"/>
                  </a:cubicBezTo>
                  <a:lnTo>
                    <a:pt x="163" y="688"/>
                  </a:lnTo>
                  <a:lnTo>
                    <a:pt x="40" y="662"/>
                  </a:lnTo>
                  <a:cubicBezTo>
                    <a:pt x="1" y="487"/>
                    <a:pt x="27" y="432"/>
                    <a:pt x="40" y="283"/>
                  </a:cubicBezTo>
                  <a:cubicBezTo>
                    <a:pt x="40" y="283"/>
                    <a:pt x="108" y="1"/>
                    <a:pt x="150" y="5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3" name="Google Shape;5033;p52">
              <a:extLst>
                <a:ext uri="{FF2B5EF4-FFF2-40B4-BE49-F238E27FC236}">
                  <a16:creationId xmlns:a16="http://schemas.microsoft.com/office/drawing/2014/main" id="{C86F7527-40CC-5157-3E0E-24464DA9CF65}"/>
                </a:ext>
              </a:extLst>
            </p:cNvPr>
            <p:cNvSpPr/>
            <p:nvPr/>
          </p:nvSpPr>
          <p:spPr>
            <a:xfrm>
              <a:off x="3637711" y="3850666"/>
              <a:ext cx="8918" cy="19927"/>
            </a:xfrm>
            <a:custGeom>
              <a:avLst/>
              <a:gdLst/>
              <a:ahLst/>
              <a:cxnLst/>
              <a:rect l="l" t="t" r="r" b="b"/>
              <a:pathLst>
                <a:path w="273" h="610" extrusionOk="0">
                  <a:moveTo>
                    <a:pt x="257" y="30"/>
                  </a:moveTo>
                  <a:lnTo>
                    <a:pt x="273" y="163"/>
                  </a:lnTo>
                  <a:cubicBezTo>
                    <a:pt x="218" y="325"/>
                    <a:pt x="205" y="393"/>
                    <a:pt x="124" y="542"/>
                  </a:cubicBezTo>
                  <a:lnTo>
                    <a:pt x="43" y="610"/>
                  </a:lnTo>
                  <a:cubicBezTo>
                    <a:pt x="43" y="610"/>
                    <a:pt x="1" y="529"/>
                    <a:pt x="30" y="393"/>
                  </a:cubicBezTo>
                  <a:lnTo>
                    <a:pt x="137" y="111"/>
                  </a:lnTo>
                  <a:cubicBezTo>
                    <a:pt x="176" y="30"/>
                    <a:pt x="192" y="43"/>
                    <a:pt x="192" y="43"/>
                  </a:cubicBezTo>
                  <a:cubicBezTo>
                    <a:pt x="192" y="43"/>
                    <a:pt x="244" y="1"/>
                    <a:pt x="257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4" name="Google Shape;5034;p52">
              <a:extLst>
                <a:ext uri="{FF2B5EF4-FFF2-40B4-BE49-F238E27FC236}">
                  <a16:creationId xmlns:a16="http://schemas.microsoft.com/office/drawing/2014/main" id="{DD311797-7070-A14C-3558-8FE3482D7428}"/>
                </a:ext>
              </a:extLst>
            </p:cNvPr>
            <p:cNvSpPr/>
            <p:nvPr/>
          </p:nvSpPr>
          <p:spPr>
            <a:xfrm>
              <a:off x="3661951" y="3836162"/>
              <a:ext cx="7546" cy="19404"/>
            </a:xfrm>
            <a:custGeom>
              <a:avLst/>
              <a:gdLst/>
              <a:ahLst/>
              <a:cxnLst/>
              <a:rect l="l" t="t" r="r" b="b"/>
              <a:pathLst>
                <a:path w="231" h="594" extrusionOk="0">
                  <a:moveTo>
                    <a:pt x="231" y="40"/>
                  </a:moveTo>
                  <a:cubicBezTo>
                    <a:pt x="231" y="40"/>
                    <a:pt x="218" y="312"/>
                    <a:pt x="163" y="500"/>
                  </a:cubicBezTo>
                  <a:lnTo>
                    <a:pt x="69" y="594"/>
                  </a:lnTo>
                  <a:lnTo>
                    <a:pt x="30" y="500"/>
                  </a:lnTo>
                  <a:cubicBezTo>
                    <a:pt x="1" y="432"/>
                    <a:pt x="17" y="445"/>
                    <a:pt x="43" y="393"/>
                  </a:cubicBezTo>
                  <a:cubicBezTo>
                    <a:pt x="82" y="231"/>
                    <a:pt x="137" y="69"/>
                    <a:pt x="137" y="69"/>
                  </a:cubicBezTo>
                  <a:cubicBezTo>
                    <a:pt x="137" y="69"/>
                    <a:pt x="218" y="1"/>
                    <a:pt x="231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5" name="Google Shape;5035;p52">
              <a:extLst>
                <a:ext uri="{FF2B5EF4-FFF2-40B4-BE49-F238E27FC236}">
                  <a16:creationId xmlns:a16="http://schemas.microsoft.com/office/drawing/2014/main" id="{F59BB061-ABA9-5E26-B1E2-DE337F765CFC}"/>
                </a:ext>
              </a:extLst>
            </p:cNvPr>
            <p:cNvSpPr/>
            <p:nvPr/>
          </p:nvSpPr>
          <p:spPr>
            <a:xfrm>
              <a:off x="3680474" y="3821134"/>
              <a:ext cx="4900" cy="19927"/>
            </a:xfrm>
            <a:custGeom>
              <a:avLst/>
              <a:gdLst/>
              <a:ahLst/>
              <a:cxnLst/>
              <a:rect l="l" t="t" r="r" b="b"/>
              <a:pathLst>
                <a:path w="150" h="610" extrusionOk="0">
                  <a:moveTo>
                    <a:pt x="124" y="27"/>
                  </a:moveTo>
                  <a:lnTo>
                    <a:pt x="150" y="137"/>
                  </a:lnTo>
                  <a:cubicBezTo>
                    <a:pt x="137" y="380"/>
                    <a:pt x="124" y="367"/>
                    <a:pt x="124" y="406"/>
                  </a:cubicBezTo>
                  <a:lnTo>
                    <a:pt x="82" y="568"/>
                  </a:lnTo>
                  <a:lnTo>
                    <a:pt x="56" y="610"/>
                  </a:lnTo>
                  <a:lnTo>
                    <a:pt x="17" y="419"/>
                  </a:lnTo>
                  <a:cubicBezTo>
                    <a:pt x="1" y="218"/>
                    <a:pt x="1" y="312"/>
                    <a:pt x="30" y="124"/>
                  </a:cubicBezTo>
                  <a:cubicBezTo>
                    <a:pt x="43" y="27"/>
                    <a:pt x="69" y="43"/>
                    <a:pt x="69" y="43"/>
                  </a:cubicBezTo>
                  <a:cubicBezTo>
                    <a:pt x="69" y="43"/>
                    <a:pt x="98" y="1"/>
                    <a:pt x="124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6" name="Google Shape;5036;p52">
              <a:extLst>
                <a:ext uri="{FF2B5EF4-FFF2-40B4-BE49-F238E27FC236}">
                  <a16:creationId xmlns:a16="http://schemas.microsoft.com/office/drawing/2014/main" id="{2E7F9DF4-BD60-9C25-330D-13326AC3BDFE}"/>
                </a:ext>
              </a:extLst>
            </p:cNvPr>
            <p:cNvSpPr/>
            <p:nvPr/>
          </p:nvSpPr>
          <p:spPr>
            <a:xfrm>
              <a:off x="3664173" y="4253304"/>
              <a:ext cx="37078" cy="89999"/>
            </a:xfrm>
            <a:custGeom>
              <a:avLst/>
              <a:gdLst/>
              <a:ahLst/>
              <a:cxnLst/>
              <a:rect l="l" t="t" r="r" b="b"/>
              <a:pathLst>
                <a:path w="1135" h="2755" extrusionOk="0">
                  <a:moveTo>
                    <a:pt x="1" y="2755"/>
                  </a:moveTo>
                  <a:lnTo>
                    <a:pt x="1" y="568"/>
                  </a:lnTo>
                  <a:cubicBezTo>
                    <a:pt x="1" y="260"/>
                    <a:pt x="257" y="1"/>
                    <a:pt x="568" y="1"/>
                  </a:cubicBezTo>
                  <a:cubicBezTo>
                    <a:pt x="879" y="1"/>
                    <a:pt x="1135" y="260"/>
                    <a:pt x="1135" y="568"/>
                  </a:cubicBezTo>
                  <a:lnTo>
                    <a:pt x="1135" y="2674"/>
                  </a:lnTo>
                  <a:lnTo>
                    <a:pt x="1041" y="2674"/>
                  </a:lnTo>
                  <a:cubicBezTo>
                    <a:pt x="743" y="2674"/>
                    <a:pt x="435" y="2703"/>
                    <a:pt x="137" y="2742"/>
                  </a:cubicBezTo>
                  <a:cubicBezTo>
                    <a:pt x="95" y="2742"/>
                    <a:pt x="43" y="2755"/>
                    <a:pt x="1" y="2755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7" name="Google Shape;5037;p52">
              <a:extLst>
                <a:ext uri="{FF2B5EF4-FFF2-40B4-BE49-F238E27FC236}">
                  <a16:creationId xmlns:a16="http://schemas.microsoft.com/office/drawing/2014/main" id="{4AA7ED1F-8645-269E-112E-BE76876C3534}"/>
                </a:ext>
              </a:extLst>
            </p:cNvPr>
            <p:cNvSpPr/>
            <p:nvPr/>
          </p:nvSpPr>
          <p:spPr>
            <a:xfrm>
              <a:off x="3650517" y="4248959"/>
              <a:ext cx="51680" cy="27343"/>
            </a:xfrm>
            <a:custGeom>
              <a:avLst/>
              <a:gdLst/>
              <a:ahLst/>
              <a:cxnLst/>
              <a:rect l="l" t="t" r="r" b="b"/>
              <a:pathLst>
                <a:path w="1582" h="837" extrusionOk="0">
                  <a:moveTo>
                    <a:pt x="176" y="432"/>
                  </a:moveTo>
                  <a:cubicBezTo>
                    <a:pt x="124" y="500"/>
                    <a:pt x="69" y="568"/>
                    <a:pt x="27" y="636"/>
                  </a:cubicBezTo>
                  <a:cubicBezTo>
                    <a:pt x="27" y="649"/>
                    <a:pt x="1" y="701"/>
                    <a:pt x="1" y="701"/>
                  </a:cubicBezTo>
                  <a:cubicBezTo>
                    <a:pt x="108" y="756"/>
                    <a:pt x="286" y="636"/>
                    <a:pt x="351" y="581"/>
                  </a:cubicBezTo>
                  <a:cubicBezTo>
                    <a:pt x="380" y="555"/>
                    <a:pt x="406" y="526"/>
                    <a:pt x="432" y="513"/>
                  </a:cubicBezTo>
                  <a:lnTo>
                    <a:pt x="474" y="474"/>
                  </a:lnTo>
                  <a:cubicBezTo>
                    <a:pt x="448" y="513"/>
                    <a:pt x="419" y="555"/>
                    <a:pt x="406" y="594"/>
                  </a:cubicBezTo>
                  <a:cubicBezTo>
                    <a:pt x="380" y="636"/>
                    <a:pt x="299" y="798"/>
                    <a:pt x="406" y="782"/>
                  </a:cubicBezTo>
                  <a:cubicBezTo>
                    <a:pt x="487" y="782"/>
                    <a:pt x="581" y="717"/>
                    <a:pt x="636" y="662"/>
                  </a:cubicBezTo>
                  <a:cubicBezTo>
                    <a:pt x="649" y="636"/>
                    <a:pt x="675" y="607"/>
                    <a:pt x="691" y="594"/>
                  </a:cubicBezTo>
                  <a:cubicBezTo>
                    <a:pt x="704" y="581"/>
                    <a:pt x="704" y="555"/>
                    <a:pt x="730" y="555"/>
                  </a:cubicBezTo>
                  <a:cubicBezTo>
                    <a:pt x="798" y="594"/>
                    <a:pt x="934" y="837"/>
                    <a:pt x="1015" y="688"/>
                  </a:cubicBezTo>
                  <a:cubicBezTo>
                    <a:pt x="1028" y="662"/>
                    <a:pt x="1028" y="649"/>
                    <a:pt x="1028" y="620"/>
                  </a:cubicBezTo>
                  <a:cubicBezTo>
                    <a:pt x="1041" y="594"/>
                    <a:pt x="1041" y="568"/>
                    <a:pt x="1028" y="539"/>
                  </a:cubicBezTo>
                  <a:cubicBezTo>
                    <a:pt x="1028" y="526"/>
                    <a:pt x="1041" y="555"/>
                    <a:pt x="1054" y="555"/>
                  </a:cubicBezTo>
                  <a:cubicBezTo>
                    <a:pt x="1067" y="568"/>
                    <a:pt x="1067" y="581"/>
                    <a:pt x="1080" y="594"/>
                  </a:cubicBezTo>
                  <a:cubicBezTo>
                    <a:pt x="1122" y="620"/>
                    <a:pt x="1148" y="662"/>
                    <a:pt x="1190" y="675"/>
                  </a:cubicBezTo>
                  <a:cubicBezTo>
                    <a:pt x="1310" y="756"/>
                    <a:pt x="1446" y="756"/>
                    <a:pt x="1540" y="649"/>
                  </a:cubicBezTo>
                  <a:cubicBezTo>
                    <a:pt x="1582" y="581"/>
                    <a:pt x="1553" y="500"/>
                    <a:pt x="1527" y="432"/>
                  </a:cubicBezTo>
                  <a:cubicBezTo>
                    <a:pt x="1446" y="270"/>
                    <a:pt x="1258" y="163"/>
                    <a:pt x="1054" y="108"/>
                  </a:cubicBezTo>
                  <a:cubicBezTo>
                    <a:pt x="675" y="1"/>
                    <a:pt x="325" y="176"/>
                    <a:pt x="108" y="432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8" name="Google Shape;5038;p52">
              <a:extLst>
                <a:ext uri="{FF2B5EF4-FFF2-40B4-BE49-F238E27FC236}">
                  <a16:creationId xmlns:a16="http://schemas.microsoft.com/office/drawing/2014/main" id="{EF8DABFB-5883-0917-5968-8C8CC6B2B6A8}"/>
                </a:ext>
              </a:extLst>
            </p:cNvPr>
            <p:cNvSpPr/>
            <p:nvPr/>
          </p:nvSpPr>
          <p:spPr>
            <a:xfrm>
              <a:off x="3667243" y="4233932"/>
              <a:ext cx="7546" cy="17706"/>
            </a:xfrm>
            <a:custGeom>
              <a:avLst/>
              <a:gdLst/>
              <a:ahLst/>
              <a:cxnLst/>
              <a:rect l="l" t="t" r="r" b="b"/>
              <a:pathLst>
                <a:path w="231" h="542" extrusionOk="0">
                  <a:moveTo>
                    <a:pt x="137" y="27"/>
                  </a:moveTo>
                  <a:lnTo>
                    <a:pt x="205" y="124"/>
                  </a:lnTo>
                  <a:cubicBezTo>
                    <a:pt x="231" y="163"/>
                    <a:pt x="231" y="108"/>
                    <a:pt x="218" y="257"/>
                  </a:cubicBezTo>
                  <a:cubicBezTo>
                    <a:pt x="218" y="257"/>
                    <a:pt x="192" y="448"/>
                    <a:pt x="192" y="474"/>
                  </a:cubicBezTo>
                  <a:lnTo>
                    <a:pt x="137" y="542"/>
                  </a:lnTo>
                  <a:lnTo>
                    <a:pt x="69" y="432"/>
                  </a:lnTo>
                  <a:cubicBezTo>
                    <a:pt x="17" y="231"/>
                    <a:pt x="1" y="286"/>
                    <a:pt x="30" y="150"/>
                  </a:cubicBezTo>
                  <a:cubicBezTo>
                    <a:pt x="30" y="150"/>
                    <a:pt x="98" y="1"/>
                    <a:pt x="137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9" name="Google Shape;5039;p52">
              <a:extLst>
                <a:ext uri="{FF2B5EF4-FFF2-40B4-BE49-F238E27FC236}">
                  <a16:creationId xmlns:a16="http://schemas.microsoft.com/office/drawing/2014/main" id="{FB39377F-9C61-09F9-7DEA-CD98F81DC1D8}"/>
                </a:ext>
              </a:extLst>
            </p:cNvPr>
            <p:cNvSpPr/>
            <p:nvPr/>
          </p:nvSpPr>
          <p:spPr>
            <a:xfrm>
              <a:off x="3713175" y="4234781"/>
              <a:ext cx="6599" cy="15909"/>
            </a:xfrm>
            <a:custGeom>
              <a:avLst/>
              <a:gdLst/>
              <a:ahLst/>
              <a:cxnLst/>
              <a:rect l="l" t="t" r="r" b="b"/>
              <a:pathLst>
                <a:path w="202" h="487" extrusionOk="0">
                  <a:moveTo>
                    <a:pt x="163" y="69"/>
                  </a:moveTo>
                  <a:lnTo>
                    <a:pt x="202" y="163"/>
                  </a:lnTo>
                  <a:cubicBezTo>
                    <a:pt x="176" y="273"/>
                    <a:pt x="121" y="448"/>
                    <a:pt x="121" y="448"/>
                  </a:cubicBezTo>
                  <a:lnTo>
                    <a:pt x="40" y="487"/>
                  </a:lnTo>
                  <a:cubicBezTo>
                    <a:pt x="40" y="487"/>
                    <a:pt x="14" y="448"/>
                    <a:pt x="1" y="422"/>
                  </a:cubicBezTo>
                  <a:cubicBezTo>
                    <a:pt x="95" y="1"/>
                    <a:pt x="134" y="69"/>
                    <a:pt x="163" y="69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0" name="Google Shape;5040;p52">
              <a:extLst>
                <a:ext uri="{FF2B5EF4-FFF2-40B4-BE49-F238E27FC236}">
                  <a16:creationId xmlns:a16="http://schemas.microsoft.com/office/drawing/2014/main" id="{9AF6E19F-8BA9-B83A-289A-DC8552CE5403}"/>
                </a:ext>
              </a:extLst>
            </p:cNvPr>
            <p:cNvSpPr/>
            <p:nvPr/>
          </p:nvSpPr>
          <p:spPr>
            <a:xfrm>
              <a:off x="3622782" y="4223772"/>
              <a:ext cx="12316" cy="23423"/>
            </a:xfrm>
            <a:custGeom>
              <a:avLst/>
              <a:gdLst/>
              <a:ahLst/>
              <a:cxnLst/>
              <a:rect l="l" t="t" r="r" b="b"/>
              <a:pathLst>
                <a:path w="377" h="717" extrusionOk="0">
                  <a:moveTo>
                    <a:pt x="163" y="30"/>
                  </a:moveTo>
                  <a:cubicBezTo>
                    <a:pt x="163" y="30"/>
                    <a:pt x="189" y="111"/>
                    <a:pt x="283" y="354"/>
                  </a:cubicBezTo>
                  <a:lnTo>
                    <a:pt x="351" y="568"/>
                  </a:lnTo>
                  <a:cubicBezTo>
                    <a:pt x="351" y="581"/>
                    <a:pt x="364" y="610"/>
                    <a:pt x="377" y="623"/>
                  </a:cubicBezTo>
                  <a:lnTo>
                    <a:pt x="351" y="717"/>
                  </a:lnTo>
                  <a:cubicBezTo>
                    <a:pt x="351" y="717"/>
                    <a:pt x="270" y="717"/>
                    <a:pt x="134" y="529"/>
                  </a:cubicBezTo>
                  <a:lnTo>
                    <a:pt x="95" y="448"/>
                  </a:lnTo>
                  <a:cubicBezTo>
                    <a:pt x="40" y="312"/>
                    <a:pt x="27" y="231"/>
                    <a:pt x="1" y="82"/>
                  </a:cubicBezTo>
                  <a:lnTo>
                    <a:pt x="40" y="43"/>
                  </a:lnTo>
                  <a:cubicBezTo>
                    <a:pt x="40" y="43"/>
                    <a:pt x="121" y="1"/>
                    <a:pt x="163" y="3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1" name="Google Shape;5041;p52">
              <a:extLst>
                <a:ext uri="{FF2B5EF4-FFF2-40B4-BE49-F238E27FC236}">
                  <a16:creationId xmlns:a16="http://schemas.microsoft.com/office/drawing/2014/main" id="{4DAA517C-408A-F89B-921D-D5D398674919}"/>
                </a:ext>
              </a:extLst>
            </p:cNvPr>
            <p:cNvSpPr/>
            <p:nvPr/>
          </p:nvSpPr>
          <p:spPr>
            <a:xfrm>
              <a:off x="3732547" y="4216781"/>
              <a:ext cx="10617" cy="28617"/>
            </a:xfrm>
            <a:custGeom>
              <a:avLst/>
              <a:gdLst/>
              <a:ahLst/>
              <a:cxnLst/>
              <a:rect l="l" t="t" r="r" b="b"/>
              <a:pathLst>
                <a:path w="325" h="876" extrusionOk="0">
                  <a:moveTo>
                    <a:pt x="286" y="27"/>
                  </a:moveTo>
                  <a:cubicBezTo>
                    <a:pt x="312" y="121"/>
                    <a:pt x="325" y="66"/>
                    <a:pt x="312" y="147"/>
                  </a:cubicBezTo>
                  <a:lnTo>
                    <a:pt x="257" y="364"/>
                  </a:lnTo>
                  <a:cubicBezTo>
                    <a:pt x="231" y="513"/>
                    <a:pt x="189" y="633"/>
                    <a:pt x="176" y="649"/>
                  </a:cubicBezTo>
                  <a:cubicBezTo>
                    <a:pt x="163" y="688"/>
                    <a:pt x="124" y="756"/>
                    <a:pt x="124" y="756"/>
                  </a:cubicBezTo>
                  <a:lnTo>
                    <a:pt x="27" y="876"/>
                  </a:lnTo>
                  <a:cubicBezTo>
                    <a:pt x="27" y="876"/>
                    <a:pt x="1" y="743"/>
                    <a:pt x="27" y="594"/>
                  </a:cubicBezTo>
                  <a:lnTo>
                    <a:pt x="205" y="53"/>
                  </a:lnTo>
                  <a:cubicBezTo>
                    <a:pt x="205" y="53"/>
                    <a:pt x="257" y="1"/>
                    <a:pt x="286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2" name="Google Shape;5042;p52">
              <a:extLst>
                <a:ext uri="{FF2B5EF4-FFF2-40B4-BE49-F238E27FC236}">
                  <a16:creationId xmlns:a16="http://schemas.microsoft.com/office/drawing/2014/main" id="{1AA58DB1-0B01-18CE-5CC3-BB6A9156EA7D}"/>
                </a:ext>
              </a:extLst>
            </p:cNvPr>
            <p:cNvSpPr/>
            <p:nvPr/>
          </p:nvSpPr>
          <p:spPr>
            <a:xfrm>
              <a:off x="3584788" y="4216781"/>
              <a:ext cx="15909" cy="25971"/>
            </a:xfrm>
            <a:custGeom>
              <a:avLst/>
              <a:gdLst/>
              <a:ahLst/>
              <a:cxnLst/>
              <a:rect l="l" t="t" r="r" b="b"/>
              <a:pathLst>
                <a:path w="487" h="795" extrusionOk="0">
                  <a:moveTo>
                    <a:pt x="406" y="782"/>
                  </a:moveTo>
                  <a:cubicBezTo>
                    <a:pt x="312" y="688"/>
                    <a:pt x="192" y="526"/>
                    <a:pt x="176" y="500"/>
                  </a:cubicBezTo>
                  <a:cubicBezTo>
                    <a:pt x="163" y="471"/>
                    <a:pt x="150" y="445"/>
                    <a:pt x="137" y="432"/>
                  </a:cubicBezTo>
                  <a:cubicBezTo>
                    <a:pt x="124" y="390"/>
                    <a:pt x="111" y="364"/>
                    <a:pt x="95" y="338"/>
                  </a:cubicBezTo>
                  <a:cubicBezTo>
                    <a:pt x="43" y="228"/>
                    <a:pt x="1" y="53"/>
                    <a:pt x="1" y="53"/>
                  </a:cubicBezTo>
                  <a:lnTo>
                    <a:pt x="43" y="1"/>
                  </a:lnTo>
                  <a:cubicBezTo>
                    <a:pt x="43" y="1"/>
                    <a:pt x="124" y="1"/>
                    <a:pt x="299" y="351"/>
                  </a:cubicBezTo>
                  <a:cubicBezTo>
                    <a:pt x="461" y="662"/>
                    <a:pt x="312" y="390"/>
                    <a:pt x="487" y="743"/>
                  </a:cubicBezTo>
                  <a:lnTo>
                    <a:pt x="474" y="795"/>
                  </a:lnTo>
                  <a:cubicBezTo>
                    <a:pt x="474" y="795"/>
                    <a:pt x="435" y="795"/>
                    <a:pt x="406" y="782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3" name="Google Shape;5043;p52">
              <a:extLst>
                <a:ext uri="{FF2B5EF4-FFF2-40B4-BE49-F238E27FC236}">
                  <a16:creationId xmlns:a16="http://schemas.microsoft.com/office/drawing/2014/main" id="{392211A4-8E66-9BE7-4781-AADDB09A85FA}"/>
                </a:ext>
              </a:extLst>
            </p:cNvPr>
            <p:cNvSpPr/>
            <p:nvPr/>
          </p:nvSpPr>
          <p:spPr>
            <a:xfrm>
              <a:off x="3696351" y="4202178"/>
              <a:ext cx="7122" cy="23423"/>
            </a:xfrm>
            <a:custGeom>
              <a:avLst/>
              <a:gdLst/>
              <a:ahLst/>
              <a:cxnLst/>
              <a:rect l="l" t="t" r="r" b="b"/>
              <a:pathLst>
                <a:path w="218" h="717" extrusionOk="0">
                  <a:moveTo>
                    <a:pt x="150" y="27"/>
                  </a:moveTo>
                  <a:lnTo>
                    <a:pt x="218" y="189"/>
                  </a:lnTo>
                  <a:lnTo>
                    <a:pt x="218" y="312"/>
                  </a:lnTo>
                  <a:cubicBezTo>
                    <a:pt x="192" y="649"/>
                    <a:pt x="192" y="581"/>
                    <a:pt x="179" y="610"/>
                  </a:cubicBezTo>
                  <a:lnTo>
                    <a:pt x="98" y="717"/>
                  </a:lnTo>
                  <a:lnTo>
                    <a:pt x="30" y="636"/>
                  </a:lnTo>
                  <a:cubicBezTo>
                    <a:pt x="1" y="419"/>
                    <a:pt x="17" y="529"/>
                    <a:pt x="30" y="325"/>
                  </a:cubicBezTo>
                  <a:lnTo>
                    <a:pt x="30" y="205"/>
                  </a:lnTo>
                  <a:cubicBezTo>
                    <a:pt x="56" y="95"/>
                    <a:pt x="98" y="69"/>
                    <a:pt x="98" y="69"/>
                  </a:cubicBezTo>
                  <a:cubicBezTo>
                    <a:pt x="98" y="69"/>
                    <a:pt x="124" y="1"/>
                    <a:pt x="150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4" name="Google Shape;5044;p52">
              <a:extLst>
                <a:ext uri="{FF2B5EF4-FFF2-40B4-BE49-F238E27FC236}">
                  <a16:creationId xmlns:a16="http://schemas.microsoft.com/office/drawing/2014/main" id="{3F7FFEF8-5A3F-C4CA-11C6-5B7729444608}"/>
                </a:ext>
              </a:extLst>
            </p:cNvPr>
            <p:cNvSpPr/>
            <p:nvPr/>
          </p:nvSpPr>
          <p:spPr>
            <a:xfrm>
              <a:off x="3642579" y="4191594"/>
              <a:ext cx="9768" cy="35804"/>
            </a:xfrm>
            <a:custGeom>
              <a:avLst/>
              <a:gdLst/>
              <a:ahLst/>
              <a:cxnLst/>
              <a:rect l="l" t="t" r="r" b="b"/>
              <a:pathLst>
                <a:path w="299" h="1096" extrusionOk="0">
                  <a:moveTo>
                    <a:pt x="95" y="27"/>
                  </a:moveTo>
                  <a:lnTo>
                    <a:pt x="163" y="137"/>
                  </a:lnTo>
                  <a:cubicBezTo>
                    <a:pt x="189" y="286"/>
                    <a:pt x="124" y="43"/>
                    <a:pt x="244" y="594"/>
                  </a:cubicBezTo>
                  <a:cubicBezTo>
                    <a:pt x="286" y="743"/>
                    <a:pt x="299" y="905"/>
                    <a:pt x="299" y="905"/>
                  </a:cubicBezTo>
                  <a:cubicBezTo>
                    <a:pt x="257" y="1096"/>
                    <a:pt x="218" y="973"/>
                    <a:pt x="218" y="973"/>
                  </a:cubicBezTo>
                  <a:cubicBezTo>
                    <a:pt x="1" y="772"/>
                    <a:pt x="82" y="918"/>
                    <a:pt x="14" y="286"/>
                  </a:cubicBezTo>
                  <a:cubicBezTo>
                    <a:pt x="1" y="69"/>
                    <a:pt x="43" y="82"/>
                    <a:pt x="43" y="82"/>
                  </a:cubicBezTo>
                  <a:cubicBezTo>
                    <a:pt x="43" y="82"/>
                    <a:pt x="56" y="1"/>
                    <a:pt x="95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5" name="Google Shape;5045;p52">
              <a:extLst>
                <a:ext uri="{FF2B5EF4-FFF2-40B4-BE49-F238E27FC236}">
                  <a16:creationId xmlns:a16="http://schemas.microsoft.com/office/drawing/2014/main" id="{99EBDB84-59F3-AC0F-E3C0-360FDEB9080C}"/>
                </a:ext>
              </a:extLst>
            </p:cNvPr>
            <p:cNvSpPr/>
            <p:nvPr/>
          </p:nvSpPr>
          <p:spPr>
            <a:xfrm>
              <a:off x="3593674" y="4188523"/>
              <a:ext cx="8396" cy="23847"/>
            </a:xfrm>
            <a:custGeom>
              <a:avLst/>
              <a:gdLst/>
              <a:ahLst/>
              <a:cxnLst/>
              <a:rect l="l" t="t" r="r" b="b"/>
              <a:pathLst>
                <a:path w="257" h="730" extrusionOk="0">
                  <a:moveTo>
                    <a:pt x="134" y="27"/>
                  </a:moveTo>
                  <a:cubicBezTo>
                    <a:pt x="134" y="27"/>
                    <a:pt x="228" y="351"/>
                    <a:pt x="257" y="581"/>
                  </a:cubicBezTo>
                  <a:lnTo>
                    <a:pt x="202" y="730"/>
                  </a:lnTo>
                  <a:lnTo>
                    <a:pt x="134" y="662"/>
                  </a:lnTo>
                  <a:cubicBezTo>
                    <a:pt x="27" y="568"/>
                    <a:pt x="82" y="607"/>
                    <a:pt x="53" y="513"/>
                  </a:cubicBezTo>
                  <a:cubicBezTo>
                    <a:pt x="1" y="283"/>
                    <a:pt x="27" y="27"/>
                    <a:pt x="27" y="27"/>
                  </a:cubicBezTo>
                  <a:cubicBezTo>
                    <a:pt x="27" y="27"/>
                    <a:pt x="82" y="1"/>
                    <a:pt x="134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6" name="Google Shape;5046;p52">
              <a:extLst>
                <a:ext uri="{FF2B5EF4-FFF2-40B4-BE49-F238E27FC236}">
                  <a16:creationId xmlns:a16="http://schemas.microsoft.com/office/drawing/2014/main" id="{BA332A2B-623D-08D7-55A3-82C0F42FC46D}"/>
                </a:ext>
              </a:extLst>
            </p:cNvPr>
            <p:cNvSpPr/>
            <p:nvPr/>
          </p:nvSpPr>
          <p:spPr>
            <a:xfrm>
              <a:off x="3725034" y="4179212"/>
              <a:ext cx="7971" cy="30936"/>
            </a:xfrm>
            <a:custGeom>
              <a:avLst/>
              <a:gdLst/>
              <a:ahLst/>
              <a:cxnLst/>
              <a:rect l="l" t="t" r="r" b="b"/>
              <a:pathLst>
                <a:path w="244" h="947" extrusionOk="0">
                  <a:moveTo>
                    <a:pt x="163" y="17"/>
                  </a:moveTo>
                  <a:cubicBezTo>
                    <a:pt x="244" y="43"/>
                    <a:pt x="205" y="69"/>
                    <a:pt x="205" y="124"/>
                  </a:cubicBezTo>
                  <a:cubicBezTo>
                    <a:pt x="205" y="312"/>
                    <a:pt x="205" y="516"/>
                    <a:pt x="192" y="704"/>
                  </a:cubicBezTo>
                  <a:lnTo>
                    <a:pt x="150" y="879"/>
                  </a:lnTo>
                  <a:lnTo>
                    <a:pt x="82" y="947"/>
                  </a:lnTo>
                  <a:lnTo>
                    <a:pt x="30" y="866"/>
                  </a:lnTo>
                  <a:cubicBezTo>
                    <a:pt x="1" y="584"/>
                    <a:pt x="56" y="367"/>
                    <a:pt x="95" y="56"/>
                  </a:cubicBezTo>
                  <a:cubicBezTo>
                    <a:pt x="95" y="56"/>
                    <a:pt x="124" y="1"/>
                    <a:pt x="163" y="1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7" name="Google Shape;5047;p52">
              <a:extLst>
                <a:ext uri="{FF2B5EF4-FFF2-40B4-BE49-F238E27FC236}">
                  <a16:creationId xmlns:a16="http://schemas.microsoft.com/office/drawing/2014/main" id="{08AD0A93-89A1-4C59-E500-2DF27AA55F4D}"/>
                </a:ext>
              </a:extLst>
            </p:cNvPr>
            <p:cNvSpPr/>
            <p:nvPr/>
          </p:nvSpPr>
          <p:spPr>
            <a:xfrm>
              <a:off x="3739212" y="3931423"/>
              <a:ext cx="5325" cy="19404"/>
            </a:xfrm>
            <a:custGeom>
              <a:avLst/>
              <a:gdLst/>
              <a:ahLst/>
              <a:cxnLst/>
              <a:rect l="l" t="t" r="r" b="b"/>
              <a:pathLst>
                <a:path w="163" h="594" extrusionOk="0">
                  <a:moveTo>
                    <a:pt x="108" y="69"/>
                  </a:moveTo>
                  <a:cubicBezTo>
                    <a:pt x="108" y="69"/>
                    <a:pt x="147" y="312"/>
                    <a:pt x="163" y="526"/>
                  </a:cubicBezTo>
                  <a:lnTo>
                    <a:pt x="108" y="594"/>
                  </a:lnTo>
                  <a:cubicBezTo>
                    <a:pt x="108" y="594"/>
                    <a:pt x="14" y="296"/>
                    <a:pt x="14" y="108"/>
                  </a:cubicBezTo>
                  <a:cubicBezTo>
                    <a:pt x="1" y="27"/>
                    <a:pt x="40" y="1"/>
                    <a:pt x="108" y="69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8" name="Google Shape;5048;p52">
              <a:extLst>
                <a:ext uri="{FF2B5EF4-FFF2-40B4-BE49-F238E27FC236}">
                  <a16:creationId xmlns:a16="http://schemas.microsoft.com/office/drawing/2014/main" id="{2D1E463D-9459-997C-AA53-FE38E706DD31}"/>
                </a:ext>
              </a:extLst>
            </p:cNvPr>
            <p:cNvSpPr/>
            <p:nvPr/>
          </p:nvSpPr>
          <p:spPr>
            <a:xfrm>
              <a:off x="3727255" y="3881146"/>
              <a:ext cx="9343" cy="22475"/>
            </a:xfrm>
            <a:custGeom>
              <a:avLst/>
              <a:gdLst/>
              <a:ahLst/>
              <a:cxnLst/>
              <a:rect l="l" t="t" r="r" b="b"/>
              <a:pathLst>
                <a:path w="286" h="688" extrusionOk="0">
                  <a:moveTo>
                    <a:pt x="56" y="40"/>
                  </a:moveTo>
                  <a:lnTo>
                    <a:pt x="163" y="150"/>
                  </a:lnTo>
                  <a:cubicBezTo>
                    <a:pt x="218" y="283"/>
                    <a:pt x="270" y="474"/>
                    <a:pt x="270" y="474"/>
                  </a:cubicBezTo>
                  <a:cubicBezTo>
                    <a:pt x="286" y="513"/>
                    <a:pt x="270" y="539"/>
                    <a:pt x="270" y="539"/>
                  </a:cubicBezTo>
                  <a:cubicBezTo>
                    <a:pt x="270" y="539"/>
                    <a:pt x="270" y="688"/>
                    <a:pt x="150" y="526"/>
                  </a:cubicBezTo>
                  <a:lnTo>
                    <a:pt x="1" y="121"/>
                  </a:lnTo>
                  <a:cubicBezTo>
                    <a:pt x="14" y="1"/>
                    <a:pt x="27" y="27"/>
                    <a:pt x="56" y="4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9" name="Google Shape;5049;p52">
              <a:extLst>
                <a:ext uri="{FF2B5EF4-FFF2-40B4-BE49-F238E27FC236}">
                  <a16:creationId xmlns:a16="http://schemas.microsoft.com/office/drawing/2014/main" id="{727FB1EF-8D59-1EAE-30B9-F28DE80E3B74}"/>
                </a:ext>
              </a:extLst>
            </p:cNvPr>
            <p:cNvSpPr/>
            <p:nvPr/>
          </p:nvSpPr>
          <p:spPr>
            <a:xfrm>
              <a:off x="3427817" y="3948574"/>
              <a:ext cx="202408" cy="347615"/>
            </a:xfrm>
            <a:custGeom>
              <a:avLst/>
              <a:gdLst/>
              <a:ahLst/>
              <a:cxnLst/>
              <a:rect l="l" t="t" r="r" b="b"/>
              <a:pathLst>
                <a:path w="6196" h="10641" extrusionOk="0">
                  <a:moveTo>
                    <a:pt x="3066" y="111"/>
                  </a:moveTo>
                  <a:cubicBezTo>
                    <a:pt x="1796" y="1"/>
                    <a:pt x="1122" y="3322"/>
                    <a:pt x="662" y="5279"/>
                  </a:cubicBezTo>
                  <a:cubicBezTo>
                    <a:pt x="1" y="8049"/>
                    <a:pt x="27" y="10641"/>
                    <a:pt x="2538" y="10560"/>
                  </a:cubicBezTo>
                  <a:cubicBezTo>
                    <a:pt x="4077" y="10505"/>
                    <a:pt x="6196" y="10544"/>
                    <a:pt x="5104" y="5457"/>
                  </a:cubicBezTo>
                  <a:cubicBezTo>
                    <a:pt x="4644" y="3283"/>
                    <a:pt x="4375" y="231"/>
                    <a:pt x="3066" y="11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0" name="Google Shape;5050;p52">
              <a:extLst>
                <a:ext uri="{FF2B5EF4-FFF2-40B4-BE49-F238E27FC236}">
                  <a16:creationId xmlns:a16="http://schemas.microsoft.com/office/drawing/2014/main" id="{810C3922-3571-B998-EA42-1C44B327115F}"/>
                </a:ext>
              </a:extLst>
            </p:cNvPr>
            <p:cNvSpPr/>
            <p:nvPr/>
          </p:nvSpPr>
          <p:spPr>
            <a:xfrm>
              <a:off x="3518210" y="4216781"/>
              <a:ext cx="4900" cy="18980"/>
            </a:xfrm>
            <a:custGeom>
              <a:avLst/>
              <a:gdLst/>
              <a:ahLst/>
              <a:cxnLst/>
              <a:rect l="l" t="t" r="r" b="b"/>
              <a:pathLst>
                <a:path w="150" h="581" extrusionOk="0">
                  <a:moveTo>
                    <a:pt x="95" y="82"/>
                  </a:moveTo>
                  <a:lnTo>
                    <a:pt x="150" y="147"/>
                  </a:lnTo>
                  <a:cubicBezTo>
                    <a:pt x="150" y="513"/>
                    <a:pt x="150" y="390"/>
                    <a:pt x="124" y="500"/>
                  </a:cubicBezTo>
                  <a:lnTo>
                    <a:pt x="69" y="581"/>
                  </a:lnTo>
                  <a:lnTo>
                    <a:pt x="1" y="419"/>
                  </a:lnTo>
                  <a:cubicBezTo>
                    <a:pt x="14" y="1"/>
                    <a:pt x="82" y="53"/>
                    <a:pt x="95" y="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1" name="Google Shape;5051;p52">
              <a:extLst>
                <a:ext uri="{FF2B5EF4-FFF2-40B4-BE49-F238E27FC236}">
                  <a16:creationId xmlns:a16="http://schemas.microsoft.com/office/drawing/2014/main" id="{972EE1D7-D001-0A49-418D-16DE77B1BF05}"/>
                </a:ext>
              </a:extLst>
            </p:cNvPr>
            <p:cNvSpPr/>
            <p:nvPr/>
          </p:nvSpPr>
          <p:spPr>
            <a:xfrm>
              <a:off x="3547742" y="4213612"/>
              <a:ext cx="6272" cy="20777"/>
            </a:xfrm>
            <a:custGeom>
              <a:avLst/>
              <a:gdLst/>
              <a:ahLst/>
              <a:cxnLst/>
              <a:rect l="l" t="t" r="r" b="b"/>
              <a:pathLst>
                <a:path w="192" h="636" extrusionOk="0">
                  <a:moveTo>
                    <a:pt x="137" y="1"/>
                  </a:moveTo>
                  <a:lnTo>
                    <a:pt x="192" y="69"/>
                  </a:lnTo>
                  <a:cubicBezTo>
                    <a:pt x="176" y="150"/>
                    <a:pt x="176" y="273"/>
                    <a:pt x="176" y="273"/>
                  </a:cubicBezTo>
                  <a:cubicBezTo>
                    <a:pt x="163" y="380"/>
                    <a:pt x="150" y="503"/>
                    <a:pt x="150" y="503"/>
                  </a:cubicBezTo>
                  <a:cubicBezTo>
                    <a:pt x="137" y="542"/>
                    <a:pt x="111" y="597"/>
                    <a:pt x="111" y="597"/>
                  </a:cubicBezTo>
                  <a:lnTo>
                    <a:pt x="69" y="636"/>
                  </a:lnTo>
                  <a:lnTo>
                    <a:pt x="30" y="568"/>
                  </a:lnTo>
                  <a:cubicBezTo>
                    <a:pt x="1" y="406"/>
                    <a:pt x="43" y="273"/>
                    <a:pt x="69" y="69"/>
                  </a:cubicBezTo>
                  <a:lnTo>
                    <a:pt x="12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2" name="Google Shape;5052;p52">
              <a:extLst>
                <a:ext uri="{FF2B5EF4-FFF2-40B4-BE49-F238E27FC236}">
                  <a16:creationId xmlns:a16="http://schemas.microsoft.com/office/drawing/2014/main" id="{081795E2-8F44-CFC1-55CF-92CA1B7E4F66}"/>
                </a:ext>
              </a:extLst>
            </p:cNvPr>
            <p:cNvSpPr/>
            <p:nvPr/>
          </p:nvSpPr>
          <p:spPr>
            <a:xfrm>
              <a:off x="3478518" y="4211913"/>
              <a:ext cx="3103" cy="14537"/>
            </a:xfrm>
            <a:custGeom>
              <a:avLst/>
              <a:gdLst/>
              <a:ahLst/>
              <a:cxnLst/>
              <a:rect l="l" t="t" r="r" b="b"/>
              <a:pathLst>
                <a:path w="95" h="445" extrusionOk="0">
                  <a:moveTo>
                    <a:pt x="69" y="27"/>
                  </a:moveTo>
                  <a:lnTo>
                    <a:pt x="95" y="134"/>
                  </a:lnTo>
                  <a:cubicBezTo>
                    <a:pt x="95" y="189"/>
                    <a:pt x="95" y="244"/>
                    <a:pt x="82" y="296"/>
                  </a:cubicBezTo>
                  <a:lnTo>
                    <a:pt x="82" y="406"/>
                  </a:lnTo>
                  <a:lnTo>
                    <a:pt x="43" y="445"/>
                  </a:lnTo>
                  <a:lnTo>
                    <a:pt x="1" y="406"/>
                  </a:lnTo>
                  <a:cubicBezTo>
                    <a:pt x="14" y="40"/>
                    <a:pt x="1" y="134"/>
                    <a:pt x="43" y="40"/>
                  </a:cubicBezTo>
                  <a:cubicBezTo>
                    <a:pt x="43" y="40"/>
                    <a:pt x="43" y="1"/>
                    <a:pt x="69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3" name="Google Shape;5053;p52">
              <a:extLst>
                <a:ext uri="{FF2B5EF4-FFF2-40B4-BE49-F238E27FC236}">
                  <a16:creationId xmlns:a16="http://schemas.microsoft.com/office/drawing/2014/main" id="{ED7DC559-6763-F1F3-9A9D-1ECBF6C200B0}"/>
                </a:ext>
              </a:extLst>
            </p:cNvPr>
            <p:cNvSpPr/>
            <p:nvPr/>
          </p:nvSpPr>
          <p:spPr>
            <a:xfrm>
              <a:off x="3445490" y="4207895"/>
              <a:ext cx="4802" cy="18130"/>
            </a:xfrm>
            <a:custGeom>
              <a:avLst/>
              <a:gdLst/>
              <a:ahLst/>
              <a:cxnLst/>
              <a:rect l="l" t="t" r="r" b="b"/>
              <a:pathLst>
                <a:path w="147" h="555" extrusionOk="0">
                  <a:moveTo>
                    <a:pt x="66" y="30"/>
                  </a:moveTo>
                  <a:lnTo>
                    <a:pt x="108" y="111"/>
                  </a:lnTo>
                  <a:cubicBezTo>
                    <a:pt x="121" y="244"/>
                    <a:pt x="121" y="367"/>
                    <a:pt x="147" y="500"/>
                  </a:cubicBezTo>
                  <a:lnTo>
                    <a:pt x="108" y="555"/>
                  </a:lnTo>
                  <a:cubicBezTo>
                    <a:pt x="108" y="555"/>
                    <a:pt x="82" y="529"/>
                    <a:pt x="53" y="529"/>
                  </a:cubicBezTo>
                  <a:cubicBezTo>
                    <a:pt x="1" y="325"/>
                    <a:pt x="1" y="137"/>
                    <a:pt x="14" y="111"/>
                  </a:cubicBezTo>
                  <a:cubicBezTo>
                    <a:pt x="14" y="82"/>
                    <a:pt x="1" y="95"/>
                    <a:pt x="27" y="56"/>
                  </a:cubicBezTo>
                  <a:cubicBezTo>
                    <a:pt x="27" y="56"/>
                    <a:pt x="40" y="1"/>
                    <a:pt x="66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4" name="Google Shape;5054;p52">
              <a:extLst>
                <a:ext uri="{FF2B5EF4-FFF2-40B4-BE49-F238E27FC236}">
                  <a16:creationId xmlns:a16="http://schemas.microsoft.com/office/drawing/2014/main" id="{C7D1BDAD-D34D-3526-8598-ACE6054B1B16}"/>
                </a:ext>
              </a:extLst>
            </p:cNvPr>
            <p:cNvSpPr/>
            <p:nvPr/>
          </p:nvSpPr>
          <p:spPr>
            <a:xfrm>
              <a:off x="3500112" y="4192966"/>
              <a:ext cx="4051" cy="14112"/>
            </a:xfrm>
            <a:custGeom>
              <a:avLst/>
              <a:gdLst/>
              <a:ahLst/>
              <a:cxnLst/>
              <a:rect l="l" t="t" r="r" b="b"/>
              <a:pathLst>
                <a:path w="124" h="432" extrusionOk="0">
                  <a:moveTo>
                    <a:pt x="56" y="1"/>
                  </a:moveTo>
                  <a:lnTo>
                    <a:pt x="124" y="1"/>
                  </a:lnTo>
                  <a:lnTo>
                    <a:pt x="124" y="134"/>
                  </a:lnTo>
                  <a:cubicBezTo>
                    <a:pt x="124" y="325"/>
                    <a:pt x="95" y="351"/>
                    <a:pt x="95" y="351"/>
                  </a:cubicBezTo>
                  <a:lnTo>
                    <a:pt x="43" y="432"/>
                  </a:lnTo>
                  <a:lnTo>
                    <a:pt x="1" y="257"/>
                  </a:lnTo>
                  <a:cubicBezTo>
                    <a:pt x="1" y="163"/>
                    <a:pt x="14" y="14"/>
                    <a:pt x="14" y="14"/>
                  </a:cubicBezTo>
                  <a:cubicBezTo>
                    <a:pt x="14" y="14"/>
                    <a:pt x="30" y="1"/>
                    <a:pt x="5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5" name="Google Shape;5055;p52">
              <a:extLst>
                <a:ext uri="{FF2B5EF4-FFF2-40B4-BE49-F238E27FC236}">
                  <a16:creationId xmlns:a16="http://schemas.microsoft.com/office/drawing/2014/main" id="{89B76F14-14CE-9D39-2AB8-86E08E22B947}"/>
                </a:ext>
              </a:extLst>
            </p:cNvPr>
            <p:cNvSpPr/>
            <p:nvPr/>
          </p:nvSpPr>
          <p:spPr>
            <a:xfrm>
              <a:off x="3531016" y="4188948"/>
              <a:ext cx="4475" cy="14635"/>
            </a:xfrm>
            <a:custGeom>
              <a:avLst/>
              <a:gdLst/>
              <a:ahLst/>
              <a:cxnLst/>
              <a:rect l="l" t="t" r="r" b="b"/>
              <a:pathLst>
                <a:path w="137" h="448" extrusionOk="0">
                  <a:moveTo>
                    <a:pt x="82" y="1"/>
                  </a:moveTo>
                  <a:lnTo>
                    <a:pt x="137" y="56"/>
                  </a:lnTo>
                  <a:cubicBezTo>
                    <a:pt x="137" y="218"/>
                    <a:pt x="95" y="406"/>
                    <a:pt x="95" y="406"/>
                  </a:cubicBezTo>
                  <a:lnTo>
                    <a:pt x="56" y="448"/>
                  </a:lnTo>
                  <a:lnTo>
                    <a:pt x="14" y="393"/>
                  </a:lnTo>
                  <a:cubicBezTo>
                    <a:pt x="1" y="367"/>
                    <a:pt x="1" y="351"/>
                    <a:pt x="1" y="351"/>
                  </a:cubicBezTo>
                  <a:cubicBezTo>
                    <a:pt x="14" y="205"/>
                    <a:pt x="40" y="27"/>
                    <a:pt x="40" y="27"/>
                  </a:cubicBezTo>
                  <a:cubicBezTo>
                    <a:pt x="40" y="27"/>
                    <a:pt x="56" y="1"/>
                    <a:pt x="8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6" name="Google Shape;5056;p52">
              <a:extLst>
                <a:ext uri="{FF2B5EF4-FFF2-40B4-BE49-F238E27FC236}">
                  <a16:creationId xmlns:a16="http://schemas.microsoft.com/office/drawing/2014/main" id="{3877C9DC-099E-0209-EEF9-86C8DCA6142F}"/>
                </a:ext>
              </a:extLst>
            </p:cNvPr>
            <p:cNvSpPr/>
            <p:nvPr/>
          </p:nvSpPr>
          <p:spPr>
            <a:xfrm>
              <a:off x="3456924" y="4187674"/>
              <a:ext cx="3953" cy="15909"/>
            </a:xfrm>
            <a:custGeom>
              <a:avLst/>
              <a:gdLst/>
              <a:ahLst/>
              <a:cxnLst/>
              <a:rect l="l" t="t" r="r" b="b"/>
              <a:pathLst>
                <a:path w="121" h="487" extrusionOk="0">
                  <a:moveTo>
                    <a:pt x="95" y="1"/>
                  </a:moveTo>
                  <a:lnTo>
                    <a:pt x="121" y="66"/>
                  </a:lnTo>
                  <a:lnTo>
                    <a:pt x="121" y="147"/>
                  </a:lnTo>
                  <a:cubicBezTo>
                    <a:pt x="121" y="176"/>
                    <a:pt x="121" y="215"/>
                    <a:pt x="108" y="257"/>
                  </a:cubicBezTo>
                  <a:cubicBezTo>
                    <a:pt x="108" y="338"/>
                    <a:pt x="95" y="390"/>
                    <a:pt x="82" y="445"/>
                  </a:cubicBezTo>
                  <a:lnTo>
                    <a:pt x="40" y="487"/>
                  </a:lnTo>
                  <a:lnTo>
                    <a:pt x="1" y="338"/>
                  </a:lnTo>
                  <a:cubicBezTo>
                    <a:pt x="14" y="270"/>
                    <a:pt x="14" y="176"/>
                    <a:pt x="14" y="176"/>
                  </a:cubicBezTo>
                  <a:cubicBezTo>
                    <a:pt x="14" y="163"/>
                    <a:pt x="27" y="134"/>
                    <a:pt x="27" y="108"/>
                  </a:cubicBezTo>
                  <a:cubicBezTo>
                    <a:pt x="27" y="14"/>
                    <a:pt x="40" y="27"/>
                    <a:pt x="40" y="27"/>
                  </a:cubicBezTo>
                  <a:cubicBezTo>
                    <a:pt x="40" y="27"/>
                    <a:pt x="69" y="1"/>
                    <a:pt x="9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7" name="Google Shape;5057;p52">
              <a:extLst>
                <a:ext uri="{FF2B5EF4-FFF2-40B4-BE49-F238E27FC236}">
                  <a16:creationId xmlns:a16="http://schemas.microsoft.com/office/drawing/2014/main" id="{249BDD29-B865-279F-9A35-5D6BA8EA4870}"/>
                </a:ext>
              </a:extLst>
            </p:cNvPr>
            <p:cNvSpPr/>
            <p:nvPr/>
          </p:nvSpPr>
          <p:spPr>
            <a:xfrm>
              <a:off x="3549964" y="4177938"/>
              <a:ext cx="4900" cy="18130"/>
            </a:xfrm>
            <a:custGeom>
              <a:avLst/>
              <a:gdLst/>
              <a:ahLst/>
              <a:cxnLst/>
              <a:rect l="l" t="t" r="r" b="b"/>
              <a:pathLst>
                <a:path w="150" h="555" extrusionOk="0">
                  <a:moveTo>
                    <a:pt x="108" y="27"/>
                  </a:moveTo>
                  <a:cubicBezTo>
                    <a:pt x="108" y="27"/>
                    <a:pt x="150" y="108"/>
                    <a:pt x="150" y="244"/>
                  </a:cubicBezTo>
                  <a:lnTo>
                    <a:pt x="150" y="351"/>
                  </a:lnTo>
                  <a:cubicBezTo>
                    <a:pt x="137" y="419"/>
                    <a:pt x="124" y="487"/>
                    <a:pt x="69" y="555"/>
                  </a:cubicBezTo>
                  <a:lnTo>
                    <a:pt x="27" y="500"/>
                  </a:lnTo>
                  <a:cubicBezTo>
                    <a:pt x="1" y="406"/>
                    <a:pt x="1" y="500"/>
                    <a:pt x="14" y="351"/>
                  </a:cubicBezTo>
                  <a:cubicBezTo>
                    <a:pt x="14" y="351"/>
                    <a:pt x="14" y="189"/>
                    <a:pt x="43" y="69"/>
                  </a:cubicBezTo>
                  <a:cubicBezTo>
                    <a:pt x="43" y="69"/>
                    <a:pt x="82" y="1"/>
                    <a:pt x="108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8" name="Google Shape;5058;p52">
              <a:extLst>
                <a:ext uri="{FF2B5EF4-FFF2-40B4-BE49-F238E27FC236}">
                  <a16:creationId xmlns:a16="http://schemas.microsoft.com/office/drawing/2014/main" id="{B3079FAD-1F4A-20CD-C781-06287DD0DDBA}"/>
                </a:ext>
              </a:extLst>
            </p:cNvPr>
            <p:cNvSpPr/>
            <p:nvPr/>
          </p:nvSpPr>
          <p:spPr>
            <a:xfrm>
              <a:off x="3478093" y="4170000"/>
              <a:ext cx="5749" cy="21201"/>
            </a:xfrm>
            <a:custGeom>
              <a:avLst/>
              <a:gdLst/>
              <a:ahLst/>
              <a:cxnLst/>
              <a:rect l="l" t="t" r="r" b="b"/>
              <a:pathLst>
                <a:path w="176" h="649" extrusionOk="0">
                  <a:moveTo>
                    <a:pt x="137" y="40"/>
                  </a:moveTo>
                  <a:cubicBezTo>
                    <a:pt x="176" y="69"/>
                    <a:pt x="163" y="95"/>
                    <a:pt x="163" y="95"/>
                  </a:cubicBezTo>
                  <a:cubicBezTo>
                    <a:pt x="163" y="121"/>
                    <a:pt x="150" y="150"/>
                    <a:pt x="150" y="163"/>
                  </a:cubicBezTo>
                  <a:cubicBezTo>
                    <a:pt x="137" y="283"/>
                    <a:pt x="121" y="461"/>
                    <a:pt x="121" y="461"/>
                  </a:cubicBezTo>
                  <a:cubicBezTo>
                    <a:pt x="56" y="649"/>
                    <a:pt x="1" y="513"/>
                    <a:pt x="1" y="513"/>
                  </a:cubicBezTo>
                  <a:cubicBezTo>
                    <a:pt x="1" y="419"/>
                    <a:pt x="40" y="270"/>
                    <a:pt x="40" y="270"/>
                  </a:cubicBezTo>
                  <a:cubicBezTo>
                    <a:pt x="56" y="189"/>
                    <a:pt x="69" y="82"/>
                    <a:pt x="69" y="82"/>
                  </a:cubicBezTo>
                  <a:cubicBezTo>
                    <a:pt x="108" y="1"/>
                    <a:pt x="82" y="40"/>
                    <a:pt x="137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9" name="Google Shape;5059;p52">
              <a:extLst>
                <a:ext uri="{FF2B5EF4-FFF2-40B4-BE49-F238E27FC236}">
                  <a16:creationId xmlns:a16="http://schemas.microsoft.com/office/drawing/2014/main" id="{88F9E8CE-22DA-F1CE-1DA1-A0B0E56FA4E0}"/>
                </a:ext>
              </a:extLst>
            </p:cNvPr>
            <p:cNvSpPr/>
            <p:nvPr/>
          </p:nvSpPr>
          <p:spPr>
            <a:xfrm>
              <a:off x="3512918" y="4165557"/>
              <a:ext cx="4475" cy="15060"/>
            </a:xfrm>
            <a:custGeom>
              <a:avLst/>
              <a:gdLst/>
              <a:ahLst/>
              <a:cxnLst/>
              <a:rect l="l" t="t" r="r" b="b"/>
              <a:pathLst>
                <a:path w="137" h="461" extrusionOk="0">
                  <a:moveTo>
                    <a:pt x="95" y="1"/>
                  </a:moveTo>
                  <a:lnTo>
                    <a:pt x="137" y="43"/>
                  </a:lnTo>
                  <a:cubicBezTo>
                    <a:pt x="137" y="231"/>
                    <a:pt x="124" y="367"/>
                    <a:pt x="124" y="367"/>
                  </a:cubicBezTo>
                  <a:cubicBezTo>
                    <a:pt x="108" y="419"/>
                    <a:pt x="95" y="419"/>
                    <a:pt x="95" y="419"/>
                  </a:cubicBezTo>
                  <a:lnTo>
                    <a:pt x="56" y="461"/>
                  </a:lnTo>
                  <a:lnTo>
                    <a:pt x="14" y="393"/>
                  </a:lnTo>
                  <a:cubicBezTo>
                    <a:pt x="1" y="286"/>
                    <a:pt x="27" y="163"/>
                    <a:pt x="43" y="43"/>
                  </a:cubicBezTo>
                  <a:cubicBezTo>
                    <a:pt x="43" y="43"/>
                    <a:pt x="69" y="1"/>
                    <a:pt x="9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0" name="Google Shape;5060;p52">
              <a:extLst>
                <a:ext uri="{FF2B5EF4-FFF2-40B4-BE49-F238E27FC236}">
                  <a16:creationId xmlns:a16="http://schemas.microsoft.com/office/drawing/2014/main" id="{C73BAED8-0779-D353-4994-7210D3645C92}"/>
                </a:ext>
              </a:extLst>
            </p:cNvPr>
            <p:cNvSpPr/>
            <p:nvPr/>
          </p:nvSpPr>
          <p:spPr>
            <a:xfrm>
              <a:off x="3446340" y="4159415"/>
              <a:ext cx="3528" cy="15484"/>
            </a:xfrm>
            <a:custGeom>
              <a:avLst/>
              <a:gdLst/>
              <a:ahLst/>
              <a:cxnLst/>
              <a:rect l="l" t="t" r="r" b="b"/>
              <a:pathLst>
                <a:path w="108" h="474" extrusionOk="0">
                  <a:moveTo>
                    <a:pt x="108" y="27"/>
                  </a:moveTo>
                  <a:lnTo>
                    <a:pt x="95" y="393"/>
                  </a:lnTo>
                  <a:cubicBezTo>
                    <a:pt x="82" y="419"/>
                    <a:pt x="69" y="445"/>
                    <a:pt x="69" y="445"/>
                  </a:cubicBezTo>
                  <a:lnTo>
                    <a:pt x="40" y="474"/>
                  </a:lnTo>
                  <a:lnTo>
                    <a:pt x="1" y="364"/>
                  </a:lnTo>
                  <a:cubicBezTo>
                    <a:pt x="14" y="257"/>
                    <a:pt x="40" y="95"/>
                    <a:pt x="40" y="95"/>
                  </a:cubicBezTo>
                  <a:cubicBezTo>
                    <a:pt x="69" y="40"/>
                    <a:pt x="69" y="56"/>
                    <a:pt x="69" y="56"/>
                  </a:cubicBezTo>
                  <a:cubicBezTo>
                    <a:pt x="69" y="56"/>
                    <a:pt x="82" y="1"/>
                    <a:pt x="108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1" name="Google Shape;5061;p52">
              <a:extLst>
                <a:ext uri="{FF2B5EF4-FFF2-40B4-BE49-F238E27FC236}">
                  <a16:creationId xmlns:a16="http://schemas.microsoft.com/office/drawing/2014/main" id="{66DBC065-A4E8-501B-024F-7B450798E076}"/>
                </a:ext>
              </a:extLst>
            </p:cNvPr>
            <p:cNvSpPr/>
            <p:nvPr/>
          </p:nvSpPr>
          <p:spPr>
            <a:xfrm>
              <a:off x="3563619" y="4157619"/>
              <a:ext cx="5749" cy="14635"/>
            </a:xfrm>
            <a:custGeom>
              <a:avLst/>
              <a:gdLst/>
              <a:ahLst/>
              <a:cxnLst/>
              <a:rect l="l" t="t" r="r" b="b"/>
              <a:pathLst>
                <a:path w="176" h="448" extrusionOk="0">
                  <a:moveTo>
                    <a:pt x="95" y="43"/>
                  </a:moveTo>
                  <a:cubicBezTo>
                    <a:pt x="176" y="137"/>
                    <a:pt x="163" y="14"/>
                    <a:pt x="163" y="205"/>
                  </a:cubicBezTo>
                  <a:lnTo>
                    <a:pt x="137" y="380"/>
                  </a:lnTo>
                  <a:lnTo>
                    <a:pt x="82" y="448"/>
                  </a:lnTo>
                  <a:lnTo>
                    <a:pt x="43" y="380"/>
                  </a:lnTo>
                  <a:lnTo>
                    <a:pt x="14" y="338"/>
                  </a:lnTo>
                  <a:cubicBezTo>
                    <a:pt x="1" y="124"/>
                    <a:pt x="1" y="176"/>
                    <a:pt x="1" y="124"/>
                  </a:cubicBezTo>
                  <a:cubicBezTo>
                    <a:pt x="1" y="124"/>
                    <a:pt x="56" y="1"/>
                    <a:pt x="95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2" name="Google Shape;5062;p52">
              <a:extLst>
                <a:ext uri="{FF2B5EF4-FFF2-40B4-BE49-F238E27FC236}">
                  <a16:creationId xmlns:a16="http://schemas.microsoft.com/office/drawing/2014/main" id="{CA26E849-7B56-4C28-0665-4017B49B86FA}"/>
                </a:ext>
              </a:extLst>
            </p:cNvPr>
            <p:cNvSpPr/>
            <p:nvPr/>
          </p:nvSpPr>
          <p:spPr>
            <a:xfrm>
              <a:off x="3537583" y="4154123"/>
              <a:ext cx="4900" cy="19404"/>
            </a:xfrm>
            <a:custGeom>
              <a:avLst/>
              <a:gdLst/>
              <a:ahLst/>
              <a:cxnLst/>
              <a:rect l="l" t="t" r="r" b="b"/>
              <a:pathLst>
                <a:path w="150" h="594" extrusionOk="0">
                  <a:moveTo>
                    <a:pt x="98" y="95"/>
                  </a:moveTo>
                  <a:cubicBezTo>
                    <a:pt x="150" y="108"/>
                    <a:pt x="150" y="137"/>
                    <a:pt x="150" y="137"/>
                  </a:cubicBezTo>
                  <a:cubicBezTo>
                    <a:pt x="150" y="202"/>
                    <a:pt x="98" y="487"/>
                    <a:pt x="98" y="487"/>
                  </a:cubicBezTo>
                  <a:cubicBezTo>
                    <a:pt x="30" y="594"/>
                    <a:pt x="30" y="500"/>
                    <a:pt x="30" y="500"/>
                  </a:cubicBezTo>
                  <a:cubicBezTo>
                    <a:pt x="1" y="461"/>
                    <a:pt x="1" y="500"/>
                    <a:pt x="1" y="419"/>
                  </a:cubicBezTo>
                  <a:cubicBezTo>
                    <a:pt x="1" y="393"/>
                    <a:pt x="17" y="244"/>
                    <a:pt x="17" y="244"/>
                  </a:cubicBezTo>
                  <a:cubicBezTo>
                    <a:pt x="30" y="1"/>
                    <a:pt x="56" y="82"/>
                    <a:pt x="98" y="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3" name="Google Shape;5063;p52">
              <a:extLst>
                <a:ext uri="{FF2B5EF4-FFF2-40B4-BE49-F238E27FC236}">
                  <a16:creationId xmlns:a16="http://schemas.microsoft.com/office/drawing/2014/main" id="{67FA0394-A2B0-ECEE-F789-76585EEF4130}"/>
                </a:ext>
              </a:extLst>
            </p:cNvPr>
            <p:cNvSpPr/>
            <p:nvPr/>
          </p:nvSpPr>
          <p:spPr>
            <a:xfrm>
              <a:off x="3463491" y="4148831"/>
              <a:ext cx="4900" cy="18980"/>
            </a:xfrm>
            <a:custGeom>
              <a:avLst/>
              <a:gdLst/>
              <a:ahLst/>
              <a:cxnLst/>
              <a:rect l="l" t="t" r="r" b="b"/>
              <a:pathLst>
                <a:path w="150" h="581" extrusionOk="0">
                  <a:moveTo>
                    <a:pt x="137" y="69"/>
                  </a:moveTo>
                  <a:lnTo>
                    <a:pt x="150" y="270"/>
                  </a:lnTo>
                  <a:cubicBezTo>
                    <a:pt x="150" y="325"/>
                    <a:pt x="137" y="406"/>
                    <a:pt x="137" y="406"/>
                  </a:cubicBezTo>
                  <a:cubicBezTo>
                    <a:pt x="1" y="581"/>
                    <a:pt x="30" y="393"/>
                    <a:pt x="30" y="393"/>
                  </a:cubicBezTo>
                  <a:cubicBezTo>
                    <a:pt x="30" y="364"/>
                    <a:pt x="30" y="325"/>
                    <a:pt x="43" y="283"/>
                  </a:cubicBezTo>
                  <a:cubicBezTo>
                    <a:pt x="82" y="1"/>
                    <a:pt x="98" y="95"/>
                    <a:pt x="111" y="69"/>
                  </a:cubicBezTo>
                  <a:cubicBezTo>
                    <a:pt x="111" y="69"/>
                    <a:pt x="111" y="56"/>
                    <a:pt x="137" y="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4" name="Google Shape;5064;p52">
              <a:extLst>
                <a:ext uri="{FF2B5EF4-FFF2-40B4-BE49-F238E27FC236}">
                  <a16:creationId xmlns:a16="http://schemas.microsoft.com/office/drawing/2014/main" id="{02B5B287-59A4-47DA-AD90-A717416145D2}"/>
                </a:ext>
              </a:extLst>
            </p:cNvPr>
            <p:cNvSpPr/>
            <p:nvPr/>
          </p:nvSpPr>
          <p:spPr>
            <a:xfrm>
              <a:off x="3487829" y="4140892"/>
              <a:ext cx="4377" cy="15909"/>
            </a:xfrm>
            <a:custGeom>
              <a:avLst/>
              <a:gdLst/>
              <a:ahLst/>
              <a:cxnLst/>
              <a:rect l="l" t="t" r="r" b="b"/>
              <a:pathLst>
                <a:path w="134" h="487" extrusionOk="0">
                  <a:moveTo>
                    <a:pt x="95" y="27"/>
                  </a:moveTo>
                  <a:cubicBezTo>
                    <a:pt x="95" y="27"/>
                    <a:pt x="134" y="121"/>
                    <a:pt x="134" y="137"/>
                  </a:cubicBezTo>
                  <a:cubicBezTo>
                    <a:pt x="134" y="244"/>
                    <a:pt x="108" y="393"/>
                    <a:pt x="108" y="393"/>
                  </a:cubicBezTo>
                  <a:cubicBezTo>
                    <a:pt x="108" y="445"/>
                    <a:pt x="95" y="461"/>
                    <a:pt x="95" y="461"/>
                  </a:cubicBezTo>
                  <a:lnTo>
                    <a:pt x="82" y="487"/>
                  </a:lnTo>
                  <a:lnTo>
                    <a:pt x="14" y="487"/>
                  </a:lnTo>
                  <a:lnTo>
                    <a:pt x="1" y="380"/>
                  </a:lnTo>
                  <a:cubicBezTo>
                    <a:pt x="27" y="244"/>
                    <a:pt x="40" y="56"/>
                    <a:pt x="40" y="56"/>
                  </a:cubicBezTo>
                  <a:cubicBezTo>
                    <a:pt x="40" y="56"/>
                    <a:pt x="66" y="1"/>
                    <a:pt x="95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5" name="Google Shape;5065;p52">
              <a:extLst>
                <a:ext uri="{FF2B5EF4-FFF2-40B4-BE49-F238E27FC236}">
                  <a16:creationId xmlns:a16="http://schemas.microsoft.com/office/drawing/2014/main" id="{B37D54F8-3000-5439-D231-C55F2253765F}"/>
                </a:ext>
              </a:extLst>
            </p:cNvPr>
            <p:cNvSpPr/>
            <p:nvPr/>
          </p:nvSpPr>
          <p:spPr>
            <a:xfrm>
              <a:off x="3549964" y="4134751"/>
              <a:ext cx="4900" cy="16758"/>
            </a:xfrm>
            <a:custGeom>
              <a:avLst/>
              <a:gdLst/>
              <a:ahLst/>
              <a:cxnLst/>
              <a:rect l="l" t="t" r="r" b="b"/>
              <a:pathLst>
                <a:path w="150" h="513" extrusionOk="0">
                  <a:moveTo>
                    <a:pt x="95" y="14"/>
                  </a:moveTo>
                  <a:lnTo>
                    <a:pt x="137" y="27"/>
                  </a:lnTo>
                  <a:lnTo>
                    <a:pt x="150" y="390"/>
                  </a:lnTo>
                  <a:lnTo>
                    <a:pt x="82" y="513"/>
                  </a:lnTo>
                  <a:cubicBezTo>
                    <a:pt x="1" y="406"/>
                    <a:pt x="14" y="419"/>
                    <a:pt x="14" y="419"/>
                  </a:cubicBezTo>
                  <a:lnTo>
                    <a:pt x="1" y="338"/>
                  </a:lnTo>
                  <a:lnTo>
                    <a:pt x="1" y="40"/>
                  </a:lnTo>
                  <a:cubicBezTo>
                    <a:pt x="56" y="1"/>
                    <a:pt x="69" y="14"/>
                    <a:pt x="95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6" name="Google Shape;5066;p52">
              <a:extLst>
                <a:ext uri="{FF2B5EF4-FFF2-40B4-BE49-F238E27FC236}">
                  <a16:creationId xmlns:a16="http://schemas.microsoft.com/office/drawing/2014/main" id="{A04B54EC-EB00-D0A2-D456-5CC93ADF1E70}"/>
                </a:ext>
              </a:extLst>
            </p:cNvPr>
            <p:cNvSpPr/>
            <p:nvPr/>
          </p:nvSpPr>
          <p:spPr>
            <a:xfrm>
              <a:off x="3508475" y="4129883"/>
              <a:ext cx="5325" cy="16758"/>
            </a:xfrm>
            <a:custGeom>
              <a:avLst/>
              <a:gdLst/>
              <a:ahLst/>
              <a:cxnLst/>
              <a:rect l="l" t="t" r="r" b="b"/>
              <a:pathLst>
                <a:path w="163" h="513" extrusionOk="0">
                  <a:moveTo>
                    <a:pt x="124" y="40"/>
                  </a:moveTo>
                  <a:lnTo>
                    <a:pt x="163" y="176"/>
                  </a:lnTo>
                  <a:cubicBezTo>
                    <a:pt x="124" y="458"/>
                    <a:pt x="137" y="393"/>
                    <a:pt x="111" y="432"/>
                  </a:cubicBezTo>
                  <a:lnTo>
                    <a:pt x="56" y="513"/>
                  </a:lnTo>
                  <a:lnTo>
                    <a:pt x="17" y="458"/>
                  </a:lnTo>
                  <a:cubicBezTo>
                    <a:pt x="1" y="406"/>
                    <a:pt x="1" y="393"/>
                    <a:pt x="1" y="393"/>
                  </a:cubicBezTo>
                  <a:cubicBezTo>
                    <a:pt x="1" y="296"/>
                    <a:pt x="1" y="244"/>
                    <a:pt x="30" y="108"/>
                  </a:cubicBezTo>
                  <a:cubicBezTo>
                    <a:pt x="30" y="108"/>
                    <a:pt x="98" y="1"/>
                    <a:pt x="124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7" name="Google Shape;5067;p52">
              <a:extLst>
                <a:ext uri="{FF2B5EF4-FFF2-40B4-BE49-F238E27FC236}">
                  <a16:creationId xmlns:a16="http://schemas.microsoft.com/office/drawing/2014/main" id="{7641442F-DF76-2C45-2AE4-8B1AAE234EF5}"/>
                </a:ext>
              </a:extLst>
            </p:cNvPr>
            <p:cNvSpPr/>
            <p:nvPr/>
          </p:nvSpPr>
          <p:spPr>
            <a:xfrm>
              <a:off x="3461367" y="4117927"/>
              <a:ext cx="4802" cy="14635"/>
            </a:xfrm>
            <a:custGeom>
              <a:avLst/>
              <a:gdLst/>
              <a:ahLst/>
              <a:cxnLst/>
              <a:rect l="l" t="t" r="r" b="b"/>
              <a:pathLst>
                <a:path w="147" h="448" extrusionOk="0">
                  <a:moveTo>
                    <a:pt x="121" y="30"/>
                  </a:moveTo>
                  <a:lnTo>
                    <a:pt x="147" y="111"/>
                  </a:lnTo>
                  <a:cubicBezTo>
                    <a:pt x="121" y="244"/>
                    <a:pt x="82" y="406"/>
                    <a:pt x="82" y="406"/>
                  </a:cubicBezTo>
                  <a:lnTo>
                    <a:pt x="40" y="448"/>
                  </a:lnTo>
                  <a:cubicBezTo>
                    <a:pt x="40" y="448"/>
                    <a:pt x="1" y="325"/>
                    <a:pt x="1" y="312"/>
                  </a:cubicBezTo>
                  <a:cubicBezTo>
                    <a:pt x="14" y="286"/>
                    <a:pt x="14" y="273"/>
                    <a:pt x="14" y="244"/>
                  </a:cubicBezTo>
                  <a:cubicBezTo>
                    <a:pt x="40" y="150"/>
                    <a:pt x="66" y="69"/>
                    <a:pt x="66" y="69"/>
                  </a:cubicBezTo>
                  <a:cubicBezTo>
                    <a:pt x="66" y="69"/>
                    <a:pt x="108" y="1"/>
                    <a:pt x="121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8" name="Google Shape;5068;p52">
              <a:extLst>
                <a:ext uri="{FF2B5EF4-FFF2-40B4-BE49-F238E27FC236}">
                  <a16:creationId xmlns:a16="http://schemas.microsoft.com/office/drawing/2014/main" id="{9CB78AE6-2943-9C63-508F-C59DECF652D0}"/>
                </a:ext>
              </a:extLst>
            </p:cNvPr>
            <p:cNvSpPr/>
            <p:nvPr/>
          </p:nvSpPr>
          <p:spPr>
            <a:xfrm>
              <a:off x="3531866" y="4112634"/>
              <a:ext cx="4900" cy="16334"/>
            </a:xfrm>
            <a:custGeom>
              <a:avLst/>
              <a:gdLst/>
              <a:ahLst/>
              <a:cxnLst/>
              <a:rect l="l" t="t" r="r" b="b"/>
              <a:pathLst>
                <a:path w="150" h="500" extrusionOk="0">
                  <a:moveTo>
                    <a:pt x="95" y="30"/>
                  </a:moveTo>
                  <a:cubicBezTo>
                    <a:pt x="95" y="30"/>
                    <a:pt x="150" y="124"/>
                    <a:pt x="150" y="231"/>
                  </a:cubicBezTo>
                  <a:cubicBezTo>
                    <a:pt x="150" y="273"/>
                    <a:pt x="137" y="380"/>
                    <a:pt x="124" y="448"/>
                  </a:cubicBezTo>
                  <a:lnTo>
                    <a:pt x="82" y="500"/>
                  </a:lnTo>
                  <a:lnTo>
                    <a:pt x="43" y="419"/>
                  </a:lnTo>
                  <a:cubicBezTo>
                    <a:pt x="1" y="299"/>
                    <a:pt x="30" y="95"/>
                    <a:pt x="56" y="56"/>
                  </a:cubicBezTo>
                  <a:cubicBezTo>
                    <a:pt x="56" y="56"/>
                    <a:pt x="69" y="1"/>
                    <a:pt x="95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9" name="Google Shape;5069;p52">
              <a:extLst>
                <a:ext uri="{FF2B5EF4-FFF2-40B4-BE49-F238E27FC236}">
                  <a16:creationId xmlns:a16="http://schemas.microsoft.com/office/drawing/2014/main" id="{6332567D-2CB4-109C-3B54-9C92AEA847C7}"/>
                </a:ext>
              </a:extLst>
            </p:cNvPr>
            <p:cNvSpPr/>
            <p:nvPr/>
          </p:nvSpPr>
          <p:spPr>
            <a:xfrm>
              <a:off x="3562770" y="4109139"/>
              <a:ext cx="5325" cy="16758"/>
            </a:xfrm>
            <a:custGeom>
              <a:avLst/>
              <a:gdLst/>
              <a:ahLst/>
              <a:cxnLst/>
              <a:rect l="l" t="t" r="r" b="b"/>
              <a:pathLst>
                <a:path w="163" h="513" extrusionOk="0">
                  <a:moveTo>
                    <a:pt x="108" y="14"/>
                  </a:moveTo>
                  <a:lnTo>
                    <a:pt x="150" y="40"/>
                  </a:lnTo>
                  <a:cubicBezTo>
                    <a:pt x="163" y="202"/>
                    <a:pt x="163" y="380"/>
                    <a:pt x="163" y="380"/>
                  </a:cubicBezTo>
                  <a:cubicBezTo>
                    <a:pt x="163" y="419"/>
                    <a:pt x="150" y="445"/>
                    <a:pt x="150" y="445"/>
                  </a:cubicBezTo>
                  <a:lnTo>
                    <a:pt x="108" y="513"/>
                  </a:lnTo>
                  <a:lnTo>
                    <a:pt x="56" y="461"/>
                  </a:lnTo>
                  <a:cubicBezTo>
                    <a:pt x="27" y="406"/>
                    <a:pt x="27" y="380"/>
                    <a:pt x="27" y="380"/>
                  </a:cubicBezTo>
                  <a:cubicBezTo>
                    <a:pt x="14" y="270"/>
                    <a:pt x="1" y="108"/>
                    <a:pt x="1" y="108"/>
                  </a:cubicBezTo>
                  <a:cubicBezTo>
                    <a:pt x="1" y="40"/>
                    <a:pt x="14" y="1"/>
                    <a:pt x="108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0" name="Google Shape;5070;p52">
              <a:extLst>
                <a:ext uri="{FF2B5EF4-FFF2-40B4-BE49-F238E27FC236}">
                  <a16:creationId xmlns:a16="http://schemas.microsoft.com/office/drawing/2014/main" id="{C3F318F4-7AA4-B68E-2794-2BBE3BA20773}"/>
                </a:ext>
              </a:extLst>
            </p:cNvPr>
            <p:cNvSpPr/>
            <p:nvPr/>
          </p:nvSpPr>
          <p:spPr>
            <a:xfrm>
              <a:off x="3483810" y="4109139"/>
              <a:ext cx="5325" cy="11891"/>
            </a:xfrm>
            <a:custGeom>
              <a:avLst/>
              <a:gdLst/>
              <a:ahLst/>
              <a:cxnLst/>
              <a:rect l="l" t="t" r="r" b="b"/>
              <a:pathLst>
                <a:path w="163" h="364" extrusionOk="0">
                  <a:moveTo>
                    <a:pt x="137" y="1"/>
                  </a:moveTo>
                  <a:cubicBezTo>
                    <a:pt x="137" y="1"/>
                    <a:pt x="163" y="121"/>
                    <a:pt x="137" y="283"/>
                  </a:cubicBezTo>
                  <a:lnTo>
                    <a:pt x="82" y="364"/>
                  </a:lnTo>
                  <a:lnTo>
                    <a:pt x="14" y="325"/>
                  </a:lnTo>
                  <a:cubicBezTo>
                    <a:pt x="1" y="189"/>
                    <a:pt x="43" y="137"/>
                    <a:pt x="69" y="27"/>
                  </a:cubicBezTo>
                  <a:cubicBezTo>
                    <a:pt x="69" y="27"/>
                    <a:pt x="108" y="1"/>
                    <a:pt x="13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1" name="Google Shape;5071;p52">
              <a:extLst>
                <a:ext uri="{FF2B5EF4-FFF2-40B4-BE49-F238E27FC236}">
                  <a16:creationId xmlns:a16="http://schemas.microsoft.com/office/drawing/2014/main" id="{079378C8-3902-3B36-C0B3-4E56803369C5}"/>
                </a:ext>
              </a:extLst>
            </p:cNvPr>
            <p:cNvSpPr/>
            <p:nvPr/>
          </p:nvSpPr>
          <p:spPr>
            <a:xfrm>
              <a:off x="3505829" y="4098129"/>
              <a:ext cx="7971" cy="11466"/>
            </a:xfrm>
            <a:custGeom>
              <a:avLst/>
              <a:gdLst/>
              <a:ahLst/>
              <a:cxnLst/>
              <a:rect l="l" t="t" r="r" b="b"/>
              <a:pathLst>
                <a:path w="244" h="351" extrusionOk="0">
                  <a:moveTo>
                    <a:pt x="192" y="14"/>
                  </a:moveTo>
                  <a:cubicBezTo>
                    <a:pt x="218" y="69"/>
                    <a:pt x="205" y="40"/>
                    <a:pt x="244" y="95"/>
                  </a:cubicBezTo>
                  <a:lnTo>
                    <a:pt x="218" y="270"/>
                  </a:lnTo>
                  <a:cubicBezTo>
                    <a:pt x="218" y="283"/>
                    <a:pt x="205" y="296"/>
                    <a:pt x="205" y="296"/>
                  </a:cubicBezTo>
                  <a:lnTo>
                    <a:pt x="163" y="351"/>
                  </a:lnTo>
                  <a:cubicBezTo>
                    <a:pt x="1" y="202"/>
                    <a:pt x="43" y="325"/>
                    <a:pt x="98" y="108"/>
                  </a:cubicBezTo>
                  <a:lnTo>
                    <a:pt x="137" y="53"/>
                  </a:lnTo>
                  <a:lnTo>
                    <a:pt x="163" y="14"/>
                  </a:lnTo>
                  <a:cubicBezTo>
                    <a:pt x="163" y="14"/>
                    <a:pt x="163" y="1"/>
                    <a:pt x="192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2" name="Google Shape;5072;p52">
              <a:extLst>
                <a:ext uri="{FF2B5EF4-FFF2-40B4-BE49-F238E27FC236}">
                  <a16:creationId xmlns:a16="http://schemas.microsoft.com/office/drawing/2014/main" id="{C8D96FA2-539E-4DDD-2908-388A9E3777EB}"/>
                </a:ext>
              </a:extLst>
            </p:cNvPr>
            <p:cNvSpPr/>
            <p:nvPr/>
          </p:nvSpPr>
          <p:spPr>
            <a:xfrm>
              <a:off x="3463491" y="4092837"/>
              <a:ext cx="4475" cy="13688"/>
            </a:xfrm>
            <a:custGeom>
              <a:avLst/>
              <a:gdLst/>
              <a:ahLst/>
              <a:cxnLst/>
              <a:rect l="l" t="t" r="r" b="b"/>
              <a:pathLst>
                <a:path w="137" h="419" extrusionOk="0">
                  <a:moveTo>
                    <a:pt x="69" y="14"/>
                  </a:moveTo>
                  <a:lnTo>
                    <a:pt x="124" y="108"/>
                  </a:lnTo>
                  <a:cubicBezTo>
                    <a:pt x="137" y="215"/>
                    <a:pt x="124" y="257"/>
                    <a:pt x="124" y="257"/>
                  </a:cubicBezTo>
                  <a:cubicBezTo>
                    <a:pt x="111" y="312"/>
                    <a:pt x="111" y="377"/>
                    <a:pt x="111" y="377"/>
                  </a:cubicBezTo>
                  <a:lnTo>
                    <a:pt x="56" y="419"/>
                  </a:lnTo>
                  <a:cubicBezTo>
                    <a:pt x="56" y="419"/>
                    <a:pt x="30" y="393"/>
                    <a:pt x="17" y="163"/>
                  </a:cubicBezTo>
                  <a:cubicBezTo>
                    <a:pt x="1" y="53"/>
                    <a:pt x="17" y="69"/>
                    <a:pt x="17" y="69"/>
                  </a:cubicBezTo>
                  <a:cubicBezTo>
                    <a:pt x="17" y="69"/>
                    <a:pt x="43" y="1"/>
                    <a:pt x="69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3" name="Google Shape;5073;p52">
              <a:extLst>
                <a:ext uri="{FF2B5EF4-FFF2-40B4-BE49-F238E27FC236}">
                  <a16:creationId xmlns:a16="http://schemas.microsoft.com/office/drawing/2014/main" id="{BCABC9AD-21B0-518E-C7FE-7FC0F66561B8}"/>
                </a:ext>
              </a:extLst>
            </p:cNvPr>
            <p:cNvSpPr/>
            <p:nvPr/>
          </p:nvSpPr>
          <p:spPr>
            <a:xfrm>
              <a:off x="3546893" y="4091040"/>
              <a:ext cx="4900" cy="14635"/>
            </a:xfrm>
            <a:custGeom>
              <a:avLst/>
              <a:gdLst/>
              <a:ahLst/>
              <a:cxnLst/>
              <a:rect l="l" t="t" r="r" b="b"/>
              <a:pathLst>
                <a:path w="150" h="448" extrusionOk="0">
                  <a:moveTo>
                    <a:pt x="82" y="14"/>
                  </a:moveTo>
                  <a:lnTo>
                    <a:pt x="137" y="82"/>
                  </a:lnTo>
                  <a:cubicBezTo>
                    <a:pt x="137" y="95"/>
                    <a:pt x="150" y="325"/>
                    <a:pt x="150" y="325"/>
                  </a:cubicBezTo>
                  <a:cubicBezTo>
                    <a:pt x="137" y="367"/>
                    <a:pt x="121" y="393"/>
                    <a:pt x="121" y="393"/>
                  </a:cubicBezTo>
                  <a:lnTo>
                    <a:pt x="82" y="448"/>
                  </a:lnTo>
                  <a:lnTo>
                    <a:pt x="14" y="325"/>
                  </a:lnTo>
                  <a:cubicBezTo>
                    <a:pt x="1" y="257"/>
                    <a:pt x="1" y="244"/>
                    <a:pt x="1" y="108"/>
                  </a:cubicBezTo>
                  <a:lnTo>
                    <a:pt x="40" y="43"/>
                  </a:lnTo>
                  <a:cubicBezTo>
                    <a:pt x="69" y="27"/>
                    <a:pt x="56" y="1"/>
                    <a:pt x="82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4" name="Google Shape;5074;p52">
              <a:extLst>
                <a:ext uri="{FF2B5EF4-FFF2-40B4-BE49-F238E27FC236}">
                  <a16:creationId xmlns:a16="http://schemas.microsoft.com/office/drawing/2014/main" id="{03495C03-C971-B269-6676-87DBB918CCC2}"/>
                </a:ext>
              </a:extLst>
            </p:cNvPr>
            <p:cNvSpPr/>
            <p:nvPr/>
          </p:nvSpPr>
          <p:spPr>
            <a:xfrm>
              <a:off x="3479368" y="4076960"/>
              <a:ext cx="4900" cy="17608"/>
            </a:xfrm>
            <a:custGeom>
              <a:avLst/>
              <a:gdLst/>
              <a:ahLst/>
              <a:cxnLst/>
              <a:rect l="l" t="t" r="r" b="b"/>
              <a:pathLst>
                <a:path w="150" h="539" extrusionOk="0">
                  <a:moveTo>
                    <a:pt x="111" y="14"/>
                  </a:moveTo>
                  <a:cubicBezTo>
                    <a:pt x="111" y="14"/>
                    <a:pt x="150" y="134"/>
                    <a:pt x="137" y="296"/>
                  </a:cubicBezTo>
                  <a:lnTo>
                    <a:pt x="98" y="445"/>
                  </a:lnTo>
                  <a:lnTo>
                    <a:pt x="43" y="539"/>
                  </a:lnTo>
                  <a:lnTo>
                    <a:pt x="1" y="351"/>
                  </a:lnTo>
                  <a:cubicBezTo>
                    <a:pt x="43" y="14"/>
                    <a:pt x="82" y="1"/>
                    <a:pt x="111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5" name="Google Shape;5075;p52">
              <a:extLst>
                <a:ext uri="{FF2B5EF4-FFF2-40B4-BE49-F238E27FC236}">
                  <a16:creationId xmlns:a16="http://schemas.microsoft.com/office/drawing/2014/main" id="{30F07C1A-07AB-583F-325F-E95B3A89F4D8}"/>
                </a:ext>
              </a:extLst>
            </p:cNvPr>
            <p:cNvSpPr/>
            <p:nvPr/>
          </p:nvSpPr>
          <p:spPr>
            <a:xfrm>
              <a:off x="3525299" y="4072517"/>
              <a:ext cx="7024" cy="14112"/>
            </a:xfrm>
            <a:custGeom>
              <a:avLst/>
              <a:gdLst/>
              <a:ahLst/>
              <a:cxnLst/>
              <a:rect l="l" t="t" r="r" b="b"/>
              <a:pathLst>
                <a:path w="215" h="432" extrusionOk="0">
                  <a:moveTo>
                    <a:pt x="108" y="69"/>
                  </a:moveTo>
                  <a:cubicBezTo>
                    <a:pt x="215" y="95"/>
                    <a:pt x="163" y="27"/>
                    <a:pt x="163" y="299"/>
                  </a:cubicBezTo>
                  <a:lnTo>
                    <a:pt x="163" y="380"/>
                  </a:lnTo>
                  <a:cubicBezTo>
                    <a:pt x="150" y="419"/>
                    <a:pt x="134" y="432"/>
                    <a:pt x="134" y="432"/>
                  </a:cubicBezTo>
                  <a:lnTo>
                    <a:pt x="53" y="432"/>
                  </a:lnTo>
                  <a:lnTo>
                    <a:pt x="27" y="338"/>
                  </a:lnTo>
                  <a:cubicBezTo>
                    <a:pt x="14" y="1"/>
                    <a:pt x="1" y="124"/>
                    <a:pt x="40" y="82"/>
                  </a:cubicBezTo>
                  <a:cubicBezTo>
                    <a:pt x="40" y="82"/>
                    <a:pt x="82" y="69"/>
                    <a:pt x="108" y="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6" name="Google Shape;5076;p52">
              <a:extLst>
                <a:ext uri="{FF2B5EF4-FFF2-40B4-BE49-F238E27FC236}">
                  <a16:creationId xmlns:a16="http://schemas.microsoft.com/office/drawing/2014/main" id="{DF3F8906-D6C9-CDDD-1821-C38387833EF8}"/>
                </a:ext>
              </a:extLst>
            </p:cNvPr>
            <p:cNvSpPr/>
            <p:nvPr/>
          </p:nvSpPr>
          <p:spPr>
            <a:xfrm>
              <a:off x="3551336" y="4065004"/>
              <a:ext cx="8396" cy="14635"/>
            </a:xfrm>
            <a:custGeom>
              <a:avLst/>
              <a:gdLst/>
              <a:ahLst/>
              <a:cxnLst/>
              <a:rect l="l" t="t" r="r" b="b"/>
              <a:pathLst>
                <a:path w="257" h="448" extrusionOk="0">
                  <a:moveTo>
                    <a:pt x="228" y="14"/>
                  </a:moveTo>
                  <a:cubicBezTo>
                    <a:pt x="257" y="218"/>
                    <a:pt x="244" y="231"/>
                    <a:pt x="257" y="286"/>
                  </a:cubicBezTo>
                  <a:lnTo>
                    <a:pt x="257" y="419"/>
                  </a:lnTo>
                  <a:lnTo>
                    <a:pt x="228" y="448"/>
                  </a:lnTo>
                  <a:lnTo>
                    <a:pt x="134" y="435"/>
                  </a:lnTo>
                  <a:cubicBezTo>
                    <a:pt x="134" y="435"/>
                    <a:pt x="108" y="205"/>
                    <a:pt x="95" y="56"/>
                  </a:cubicBezTo>
                  <a:cubicBezTo>
                    <a:pt x="95" y="56"/>
                    <a:pt x="1" y="1"/>
                    <a:pt x="228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7" name="Google Shape;5077;p52">
              <a:extLst>
                <a:ext uri="{FF2B5EF4-FFF2-40B4-BE49-F238E27FC236}">
                  <a16:creationId xmlns:a16="http://schemas.microsoft.com/office/drawing/2014/main" id="{310D0B30-C970-EDFE-5B41-6F3E89CE5930}"/>
                </a:ext>
              </a:extLst>
            </p:cNvPr>
            <p:cNvSpPr/>
            <p:nvPr/>
          </p:nvSpPr>
          <p:spPr>
            <a:xfrm>
              <a:off x="3501909" y="4057065"/>
              <a:ext cx="5325" cy="16334"/>
            </a:xfrm>
            <a:custGeom>
              <a:avLst/>
              <a:gdLst/>
              <a:ahLst/>
              <a:cxnLst/>
              <a:rect l="l" t="t" r="r" b="b"/>
              <a:pathLst>
                <a:path w="163" h="500" extrusionOk="0">
                  <a:moveTo>
                    <a:pt x="121" y="43"/>
                  </a:moveTo>
                  <a:lnTo>
                    <a:pt x="163" y="163"/>
                  </a:lnTo>
                  <a:cubicBezTo>
                    <a:pt x="163" y="218"/>
                    <a:pt x="163" y="163"/>
                    <a:pt x="150" y="257"/>
                  </a:cubicBezTo>
                  <a:lnTo>
                    <a:pt x="137" y="367"/>
                  </a:lnTo>
                  <a:cubicBezTo>
                    <a:pt x="121" y="406"/>
                    <a:pt x="108" y="448"/>
                    <a:pt x="108" y="448"/>
                  </a:cubicBezTo>
                  <a:lnTo>
                    <a:pt x="69" y="500"/>
                  </a:lnTo>
                  <a:lnTo>
                    <a:pt x="14" y="380"/>
                  </a:lnTo>
                  <a:cubicBezTo>
                    <a:pt x="1" y="299"/>
                    <a:pt x="1" y="380"/>
                    <a:pt x="14" y="218"/>
                  </a:cubicBezTo>
                  <a:cubicBezTo>
                    <a:pt x="27" y="95"/>
                    <a:pt x="95" y="1"/>
                    <a:pt x="121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8" name="Google Shape;5078;p52">
              <a:extLst>
                <a:ext uri="{FF2B5EF4-FFF2-40B4-BE49-F238E27FC236}">
                  <a16:creationId xmlns:a16="http://schemas.microsoft.com/office/drawing/2014/main" id="{DA225EEA-6DF0-816C-1AA0-C41D04557C8B}"/>
                </a:ext>
              </a:extLst>
            </p:cNvPr>
            <p:cNvSpPr/>
            <p:nvPr/>
          </p:nvSpPr>
          <p:spPr>
            <a:xfrm>
              <a:off x="3536733" y="4046481"/>
              <a:ext cx="4900" cy="17281"/>
            </a:xfrm>
            <a:custGeom>
              <a:avLst/>
              <a:gdLst/>
              <a:ahLst/>
              <a:cxnLst/>
              <a:rect l="l" t="t" r="r" b="b"/>
              <a:pathLst>
                <a:path w="150" h="529" extrusionOk="0">
                  <a:moveTo>
                    <a:pt x="95" y="1"/>
                  </a:moveTo>
                  <a:cubicBezTo>
                    <a:pt x="150" y="30"/>
                    <a:pt x="150" y="56"/>
                    <a:pt x="150" y="56"/>
                  </a:cubicBezTo>
                  <a:cubicBezTo>
                    <a:pt x="137" y="150"/>
                    <a:pt x="137" y="257"/>
                    <a:pt x="137" y="273"/>
                  </a:cubicBezTo>
                  <a:cubicBezTo>
                    <a:pt x="137" y="406"/>
                    <a:pt x="95" y="487"/>
                    <a:pt x="95" y="487"/>
                  </a:cubicBezTo>
                  <a:lnTo>
                    <a:pt x="56" y="529"/>
                  </a:lnTo>
                  <a:lnTo>
                    <a:pt x="14" y="474"/>
                  </a:lnTo>
                  <a:cubicBezTo>
                    <a:pt x="1" y="312"/>
                    <a:pt x="1" y="461"/>
                    <a:pt x="1" y="273"/>
                  </a:cubicBezTo>
                  <a:lnTo>
                    <a:pt x="14" y="56"/>
                  </a:lnTo>
                  <a:lnTo>
                    <a:pt x="27" y="14"/>
                  </a:lnTo>
                  <a:cubicBezTo>
                    <a:pt x="27" y="14"/>
                    <a:pt x="69" y="1"/>
                    <a:pt x="9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9" name="Google Shape;5079;p52">
              <a:extLst>
                <a:ext uri="{FF2B5EF4-FFF2-40B4-BE49-F238E27FC236}">
                  <a16:creationId xmlns:a16="http://schemas.microsoft.com/office/drawing/2014/main" id="{77520D47-095B-D2D9-8ECA-6701A2E35F1C}"/>
                </a:ext>
              </a:extLst>
            </p:cNvPr>
            <p:cNvSpPr/>
            <p:nvPr/>
          </p:nvSpPr>
          <p:spPr>
            <a:xfrm>
              <a:off x="3472801" y="4041188"/>
              <a:ext cx="4900" cy="19927"/>
            </a:xfrm>
            <a:custGeom>
              <a:avLst/>
              <a:gdLst/>
              <a:ahLst/>
              <a:cxnLst/>
              <a:rect l="l" t="t" r="r" b="b"/>
              <a:pathLst>
                <a:path w="150" h="610" extrusionOk="0">
                  <a:moveTo>
                    <a:pt x="150" y="69"/>
                  </a:moveTo>
                  <a:cubicBezTo>
                    <a:pt x="150" y="69"/>
                    <a:pt x="150" y="273"/>
                    <a:pt x="108" y="448"/>
                  </a:cubicBezTo>
                  <a:lnTo>
                    <a:pt x="82" y="568"/>
                  </a:lnTo>
                  <a:lnTo>
                    <a:pt x="40" y="610"/>
                  </a:lnTo>
                  <a:lnTo>
                    <a:pt x="1" y="568"/>
                  </a:lnTo>
                  <a:cubicBezTo>
                    <a:pt x="14" y="406"/>
                    <a:pt x="40" y="244"/>
                    <a:pt x="69" y="82"/>
                  </a:cubicBezTo>
                  <a:cubicBezTo>
                    <a:pt x="69" y="82"/>
                    <a:pt x="95" y="1"/>
                    <a:pt x="150" y="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0" name="Google Shape;5080;p52">
              <a:extLst>
                <a:ext uri="{FF2B5EF4-FFF2-40B4-BE49-F238E27FC236}">
                  <a16:creationId xmlns:a16="http://schemas.microsoft.com/office/drawing/2014/main" id="{066C0C21-892A-8DC5-5055-AABF7D4B846D}"/>
                </a:ext>
              </a:extLst>
            </p:cNvPr>
            <p:cNvSpPr/>
            <p:nvPr/>
          </p:nvSpPr>
          <p:spPr>
            <a:xfrm>
              <a:off x="3495244" y="4037268"/>
              <a:ext cx="4900" cy="10192"/>
            </a:xfrm>
            <a:custGeom>
              <a:avLst/>
              <a:gdLst/>
              <a:ahLst/>
              <a:cxnLst/>
              <a:rect l="l" t="t" r="r" b="b"/>
              <a:pathLst>
                <a:path w="150" h="312" extrusionOk="0">
                  <a:moveTo>
                    <a:pt x="98" y="1"/>
                  </a:moveTo>
                  <a:lnTo>
                    <a:pt x="150" y="40"/>
                  </a:lnTo>
                  <a:cubicBezTo>
                    <a:pt x="137" y="134"/>
                    <a:pt x="124" y="244"/>
                    <a:pt x="124" y="244"/>
                  </a:cubicBezTo>
                  <a:lnTo>
                    <a:pt x="98" y="270"/>
                  </a:lnTo>
                  <a:lnTo>
                    <a:pt x="56" y="312"/>
                  </a:lnTo>
                  <a:lnTo>
                    <a:pt x="1" y="231"/>
                  </a:lnTo>
                  <a:cubicBezTo>
                    <a:pt x="17" y="134"/>
                    <a:pt x="17" y="176"/>
                    <a:pt x="17" y="53"/>
                  </a:cubicBezTo>
                  <a:lnTo>
                    <a:pt x="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1" name="Google Shape;5081;p52">
              <a:extLst>
                <a:ext uri="{FF2B5EF4-FFF2-40B4-BE49-F238E27FC236}">
                  <a16:creationId xmlns:a16="http://schemas.microsoft.com/office/drawing/2014/main" id="{91063EBD-2F73-E6CD-F907-397F975DC8EF}"/>
                </a:ext>
              </a:extLst>
            </p:cNvPr>
            <p:cNvSpPr/>
            <p:nvPr/>
          </p:nvSpPr>
          <p:spPr>
            <a:xfrm>
              <a:off x="3518210" y="4033250"/>
              <a:ext cx="4051" cy="18555"/>
            </a:xfrm>
            <a:custGeom>
              <a:avLst/>
              <a:gdLst/>
              <a:ahLst/>
              <a:cxnLst/>
              <a:rect l="l" t="t" r="r" b="b"/>
              <a:pathLst>
                <a:path w="124" h="568" extrusionOk="0">
                  <a:moveTo>
                    <a:pt x="95" y="1"/>
                  </a:moveTo>
                  <a:lnTo>
                    <a:pt x="124" y="69"/>
                  </a:lnTo>
                  <a:lnTo>
                    <a:pt x="124" y="244"/>
                  </a:lnTo>
                  <a:lnTo>
                    <a:pt x="124" y="325"/>
                  </a:lnTo>
                  <a:cubicBezTo>
                    <a:pt x="1" y="568"/>
                    <a:pt x="1" y="312"/>
                    <a:pt x="1" y="312"/>
                  </a:cubicBezTo>
                  <a:cubicBezTo>
                    <a:pt x="14" y="137"/>
                    <a:pt x="14" y="14"/>
                    <a:pt x="14" y="14"/>
                  </a:cubicBezTo>
                  <a:cubicBezTo>
                    <a:pt x="14" y="14"/>
                    <a:pt x="43" y="1"/>
                    <a:pt x="9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2" name="Google Shape;5082;p52">
              <a:extLst>
                <a:ext uri="{FF2B5EF4-FFF2-40B4-BE49-F238E27FC236}">
                  <a16:creationId xmlns:a16="http://schemas.microsoft.com/office/drawing/2014/main" id="{0DFAB49A-E307-8330-DC80-F270CDFE671F}"/>
                </a:ext>
              </a:extLst>
            </p:cNvPr>
            <p:cNvSpPr/>
            <p:nvPr/>
          </p:nvSpPr>
          <p:spPr>
            <a:xfrm>
              <a:off x="3551761" y="4023613"/>
              <a:ext cx="4377" cy="17183"/>
            </a:xfrm>
            <a:custGeom>
              <a:avLst/>
              <a:gdLst/>
              <a:ahLst/>
              <a:cxnLst/>
              <a:rect l="l" t="t" r="r" b="b"/>
              <a:pathLst>
                <a:path w="134" h="526" extrusionOk="0">
                  <a:moveTo>
                    <a:pt x="95" y="27"/>
                  </a:moveTo>
                  <a:lnTo>
                    <a:pt x="134" y="419"/>
                  </a:lnTo>
                  <a:cubicBezTo>
                    <a:pt x="121" y="458"/>
                    <a:pt x="95" y="487"/>
                    <a:pt x="82" y="526"/>
                  </a:cubicBezTo>
                  <a:lnTo>
                    <a:pt x="14" y="406"/>
                  </a:lnTo>
                  <a:cubicBezTo>
                    <a:pt x="1" y="228"/>
                    <a:pt x="1" y="163"/>
                    <a:pt x="1" y="66"/>
                  </a:cubicBezTo>
                  <a:lnTo>
                    <a:pt x="53" y="1"/>
                  </a:lnTo>
                  <a:cubicBezTo>
                    <a:pt x="69" y="1"/>
                    <a:pt x="82" y="14"/>
                    <a:pt x="95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3" name="Google Shape;5083;p52">
              <a:extLst>
                <a:ext uri="{FF2B5EF4-FFF2-40B4-BE49-F238E27FC236}">
                  <a16:creationId xmlns:a16="http://schemas.microsoft.com/office/drawing/2014/main" id="{BF5CC9CA-7D43-9A4B-0393-CB275724EC3E}"/>
                </a:ext>
              </a:extLst>
            </p:cNvPr>
            <p:cNvSpPr/>
            <p:nvPr/>
          </p:nvSpPr>
          <p:spPr>
            <a:xfrm>
              <a:off x="3534936" y="4013028"/>
              <a:ext cx="4475" cy="17183"/>
            </a:xfrm>
            <a:custGeom>
              <a:avLst/>
              <a:gdLst/>
              <a:ahLst/>
              <a:cxnLst/>
              <a:rect l="l" t="t" r="r" b="b"/>
              <a:pathLst>
                <a:path w="137" h="526" extrusionOk="0">
                  <a:moveTo>
                    <a:pt x="69" y="40"/>
                  </a:moveTo>
                  <a:lnTo>
                    <a:pt x="124" y="147"/>
                  </a:lnTo>
                  <a:cubicBezTo>
                    <a:pt x="124" y="244"/>
                    <a:pt x="137" y="309"/>
                    <a:pt x="98" y="432"/>
                  </a:cubicBezTo>
                  <a:cubicBezTo>
                    <a:pt x="98" y="432"/>
                    <a:pt x="82" y="471"/>
                    <a:pt x="43" y="526"/>
                  </a:cubicBezTo>
                  <a:lnTo>
                    <a:pt x="1" y="419"/>
                  </a:lnTo>
                  <a:lnTo>
                    <a:pt x="1" y="147"/>
                  </a:lnTo>
                  <a:lnTo>
                    <a:pt x="17" y="108"/>
                  </a:lnTo>
                  <a:cubicBezTo>
                    <a:pt x="17" y="108"/>
                    <a:pt x="43" y="1"/>
                    <a:pt x="69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4" name="Google Shape;5084;p52">
              <a:extLst>
                <a:ext uri="{FF2B5EF4-FFF2-40B4-BE49-F238E27FC236}">
                  <a16:creationId xmlns:a16="http://schemas.microsoft.com/office/drawing/2014/main" id="{6B30590F-73E2-98F4-048B-EF3BE5AF107A}"/>
                </a:ext>
              </a:extLst>
            </p:cNvPr>
            <p:cNvSpPr/>
            <p:nvPr/>
          </p:nvSpPr>
          <p:spPr>
            <a:xfrm>
              <a:off x="3487829" y="4009435"/>
              <a:ext cx="4802" cy="15909"/>
            </a:xfrm>
            <a:custGeom>
              <a:avLst/>
              <a:gdLst/>
              <a:ahLst/>
              <a:cxnLst/>
              <a:rect l="l" t="t" r="r" b="b"/>
              <a:pathLst>
                <a:path w="147" h="487" extrusionOk="0">
                  <a:moveTo>
                    <a:pt x="121" y="14"/>
                  </a:moveTo>
                  <a:cubicBezTo>
                    <a:pt x="121" y="14"/>
                    <a:pt x="147" y="82"/>
                    <a:pt x="134" y="176"/>
                  </a:cubicBezTo>
                  <a:lnTo>
                    <a:pt x="121" y="273"/>
                  </a:lnTo>
                  <a:cubicBezTo>
                    <a:pt x="95" y="380"/>
                    <a:pt x="66" y="448"/>
                    <a:pt x="66" y="448"/>
                  </a:cubicBezTo>
                  <a:lnTo>
                    <a:pt x="27" y="487"/>
                  </a:lnTo>
                  <a:lnTo>
                    <a:pt x="1" y="312"/>
                  </a:lnTo>
                  <a:cubicBezTo>
                    <a:pt x="14" y="218"/>
                    <a:pt x="53" y="82"/>
                    <a:pt x="53" y="82"/>
                  </a:cubicBezTo>
                  <a:cubicBezTo>
                    <a:pt x="66" y="1"/>
                    <a:pt x="66" y="56"/>
                    <a:pt x="108" y="14"/>
                  </a:cubicBezTo>
                  <a:cubicBezTo>
                    <a:pt x="108" y="14"/>
                    <a:pt x="108" y="1"/>
                    <a:pt x="121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5" name="Google Shape;5085;p52">
              <a:extLst>
                <a:ext uri="{FF2B5EF4-FFF2-40B4-BE49-F238E27FC236}">
                  <a16:creationId xmlns:a16="http://schemas.microsoft.com/office/drawing/2014/main" id="{AB2B714A-A648-4531-F7F6-3E94C1B2E486}"/>
                </a:ext>
              </a:extLst>
            </p:cNvPr>
            <p:cNvSpPr/>
            <p:nvPr/>
          </p:nvSpPr>
          <p:spPr>
            <a:xfrm>
              <a:off x="3512493" y="3999798"/>
              <a:ext cx="7546" cy="18555"/>
            </a:xfrm>
            <a:custGeom>
              <a:avLst/>
              <a:gdLst/>
              <a:ahLst/>
              <a:cxnLst/>
              <a:rect l="l" t="t" r="r" b="b"/>
              <a:pathLst>
                <a:path w="231" h="568" extrusionOk="0">
                  <a:moveTo>
                    <a:pt x="108" y="108"/>
                  </a:moveTo>
                  <a:cubicBezTo>
                    <a:pt x="189" y="215"/>
                    <a:pt x="231" y="1"/>
                    <a:pt x="137" y="419"/>
                  </a:cubicBezTo>
                  <a:cubicBezTo>
                    <a:pt x="137" y="458"/>
                    <a:pt x="95" y="513"/>
                    <a:pt x="95" y="513"/>
                  </a:cubicBezTo>
                  <a:lnTo>
                    <a:pt x="56" y="568"/>
                  </a:lnTo>
                  <a:lnTo>
                    <a:pt x="1" y="406"/>
                  </a:lnTo>
                  <a:cubicBezTo>
                    <a:pt x="1" y="147"/>
                    <a:pt x="40" y="134"/>
                    <a:pt x="40" y="134"/>
                  </a:cubicBezTo>
                  <a:cubicBezTo>
                    <a:pt x="40" y="134"/>
                    <a:pt x="95" y="82"/>
                    <a:pt x="108" y="10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6" name="Google Shape;5086;p52">
              <a:extLst>
                <a:ext uri="{FF2B5EF4-FFF2-40B4-BE49-F238E27FC236}">
                  <a16:creationId xmlns:a16="http://schemas.microsoft.com/office/drawing/2014/main" id="{16F7CBFF-BF0D-4866-F35C-3826E9ABE624}"/>
                </a:ext>
              </a:extLst>
            </p:cNvPr>
            <p:cNvSpPr/>
            <p:nvPr/>
          </p:nvSpPr>
          <p:spPr>
            <a:xfrm>
              <a:off x="3535884" y="3980752"/>
              <a:ext cx="4900" cy="16432"/>
            </a:xfrm>
            <a:custGeom>
              <a:avLst/>
              <a:gdLst/>
              <a:ahLst/>
              <a:cxnLst/>
              <a:rect l="l" t="t" r="r" b="b"/>
              <a:pathLst>
                <a:path w="150" h="503" extrusionOk="0">
                  <a:moveTo>
                    <a:pt x="108" y="30"/>
                  </a:moveTo>
                  <a:lnTo>
                    <a:pt x="150" y="111"/>
                  </a:lnTo>
                  <a:lnTo>
                    <a:pt x="150" y="163"/>
                  </a:lnTo>
                  <a:cubicBezTo>
                    <a:pt x="150" y="163"/>
                    <a:pt x="134" y="325"/>
                    <a:pt x="134" y="461"/>
                  </a:cubicBezTo>
                  <a:lnTo>
                    <a:pt x="121" y="503"/>
                  </a:lnTo>
                  <a:lnTo>
                    <a:pt x="27" y="487"/>
                  </a:lnTo>
                  <a:cubicBezTo>
                    <a:pt x="1" y="354"/>
                    <a:pt x="14" y="312"/>
                    <a:pt x="27" y="205"/>
                  </a:cubicBezTo>
                  <a:cubicBezTo>
                    <a:pt x="27" y="205"/>
                    <a:pt x="82" y="1"/>
                    <a:pt x="108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7" name="Google Shape;5087;p52">
              <a:extLst>
                <a:ext uri="{FF2B5EF4-FFF2-40B4-BE49-F238E27FC236}">
                  <a16:creationId xmlns:a16="http://schemas.microsoft.com/office/drawing/2014/main" id="{F655E132-50EF-D435-563A-DF06DAB2FC79}"/>
                </a:ext>
              </a:extLst>
            </p:cNvPr>
            <p:cNvSpPr/>
            <p:nvPr/>
          </p:nvSpPr>
          <p:spPr>
            <a:xfrm>
              <a:off x="3495244" y="3979903"/>
              <a:ext cx="6697" cy="14635"/>
            </a:xfrm>
            <a:custGeom>
              <a:avLst/>
              <a:gdLst/>
              <a:ahLst/>
              <a:cxnLst/>
              <a:rect l="l" t="t" r="r" b="b"/>
              <a:pathLst>
                <a:path w="205" h="448" extrusionOk="0">
                  <a:moveTo>
                    <a:pt x="192" y="14"/>
                  </a:moveTo>
                  <a:lnTo>
                    <a:pt x="205" y="124"/>
                  </a:lnTo>
                  <a:cubicBezTo>
                    <a:pt x="163" y="231"/>
                    <a:pt x="150" y="286"/>
                    <a:pt x="98" y="406"/>
                  </a:cubicBezTo>
                  <a:lnTo>
                    <a:pt x="30" y="448"/>
                  </a:lnTo>
                  <a:cubicBezTo>
                    <a:pt x="30" y="448"/>
                    <a:pt x="1" y="380"/>
                    <a:pt x="30" y="286"/>
                  </a:cubicBezTo>
                  <a:lnTo>
                    <a:pt x="111" y="82"/>
                  </a:lnTo>
                  <a:cubicBezTo>
                    <a:pt x="137" y="14"/>
                    <a:pt x="137" y="27"/>
                    <a:pt x="137" y="27"/>
                  </a:cubicBezTo>
                  <a:cubicBezTo>
                    <a:pt x="137" y="27"/>
                    <a:pt x="179" y="1"/>
                    <a:pt x="192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8" name="Google Shape;5088;p52">
              <a:extLst>
                <a:ext uri="{FF2B5EF4-FFF2-40B4-BE49-F238E27FC236}">
                  <a16:creationId xmlns:a16="http://schemas.microsoft.com/office/drawing/2014/main" id="{EC10AE8A-8BFF-64CA-DA18-9FBCB38FA0F9}"/>
                </a:ext>
              </a:extLst>
            </p:cNvPr>
            <p:cNvSpPr/>
            <p:nvPr/>
          </p:nvSpPr>
          <p:spPr>
            <a:xfrm>
              <a:off x="3512918" y="3969318"/>
              <a:ext cx="6174" cy="14112"/>
            </a:xfrm>
            <a:custGeom>
              <a:avLst/>
              <a:gdLst/>
              <a:ahLst/>
              <a:cxnLst/>
              <a:rect l="l" t="t" r="r" b="b"/>
              <a:pathLst>
                <a:path w="189" h="432" extrusionOk="0">
                  <a:moveTo>
                    <a:pt x="189" y="27"/>
                  </a:moveTo>
                  <a:cubicBezTo>
                    <a:pt x="189" y="27"/>
                    <a:pt x="176" y="231"/>
                    <a:pt x="124" y="367"/>
                  </a:cubicBezTo>
                  <a:lnTo>
                    <a:pt x="56" y="432"/>
                  </a:lnTo>
                  <a:lnTo>
                    <a:pt x="27" y="367"/>
                  </a:lnTo>
                  <a:cubicBezTo>
                    <a:pt x="1" y="312"/>
                    <a:pt x="27" y="325"/>
                    <a:pt x="43" y="286"/>
                  </a:cubicBezTo>
                  <a:cubicBezTo>
                    <a:pt x="69" y="163"/>
                    <a:pt x="108" y="43"/>
                    <a:pt x="108" y="43"/>
                  </a:cubicBezTo>
                  <a:cubicBezTo>
                    <a:pt x="108" y="43"/>
                    <a:pt x="163" y="1"/>
                    <a:pt x="189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9" name="Google Shape;5089;p52">
              <a:extLst>
                <a:ext uri="{FF2B5EF4-FFF2-40B4-BE49-F238E27FC236}">
                  <a16:creationId xmlns:a16="http://schemas.microsoft.com/office/drawing/2014/main" id="{173E0E75-427F-7951-9E60-7B83FC4B6B1F}"/>
                </a:ext>
              </a:extLst>
            </p:cNvPr>
            <p:cNvSpPr/>
            <p:nvPr/>
          </p:nvSpPr>
          <p:spPr>
            <a:xfrm>
              <a:off x="3526998" y="3957884"/>
              <a:ext cx="3626" cy="14537"/>
            </a:xfrm>
            <a:custGeom>
              <a:avLst/>
              <a:gdLst/>
              <a:ahLst/>
              <a:cxnLst/>
              <a:rect l="l" t="t" r="r" b="b"/>
              <a:pathLst>
                <a:path w="111" h="445" extrusionOk="0">
                  <a:moveTo>
                    <a:pt x="82" y="27"/>
                  </a:moveTo>
                  <a:lnTo>
                    <a:pt x="111" y="108"/>
                  </a:lnTo>
                  <a:cubicBezTo>
                    <a:pt x="98" y="283"/>
                    <a:pt x="98" y="270"/>
                    <a:pt x="82" y="296"/>
                  </a:cubicBezTo>
                  <a:lnTo>
                    <a:pt x="56" y="419"/>
                  </a:lnTo>
                  <a:lnTo>
                    <a:pt x="30" y="445"/>
                  </a:lnTo>
                  <a:lnTo>
                    <a:pt x="1" y="312"/>
                  </a:lnTo>
                  <a:cubicBezTo>
                    <a:pt x="1" y="163"/>
                    <a:pt x="1" y="231"/>
                    <a:pt x="17" y="95"/>
                  </a:cubicBezTo>
                  <a:cubicBezTo>
                    <a:pt x="30" y="27"/>
                    <a:pt x="43" y="40"/>
                    <a:pt x="43" y="40"/>
                  </a:cubicBezTo>
                  <a:cubicBezTo>
                    <a:pt x="43" y="40"/>
                    <a:pt x="69" y="1"/>
                    <a:pt x="82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0" name="Google Shape;5090;p52">
              <a:extLst>
                <a:ext uri="{FF2B5EF4-FFF2-40B4-BE49-F238E27FC236}">
                  <a16:creationId xmlns:a16="http://schemas.microsoft.com/office/drawing/2014/main" id="{746926F3-E798-7F9C-DCE6-9B53E79E5F03}"/>
                </a:ext>
              </a:extLst>
            </p:cNvPr>
            <p:cNvSpPr/>
            <p:nvPr/>
          </p:nvSpPr>
          <p:spPr>
            <a:xfrm>
              <a:off x="3514715" y="4276695"/>
              <a:ext cx="27767" cy="66609"/>
            </a:xfrm>
            <a:custGeom>
              <a:avLst/>
              <a:gdLst/>
              <a:ahLst/>
              <a:cxnLst/>
              <a:rect l="l" t="t" r="r" b="b"/>
              <a:pathLst>
                <a:path w="850" h="2039" extrusionOk="0">
                  <a:moveTo>
                    <a:pt x="1" y="2039"/>
                  </a:moveTo>
                  <a:lnTo>
                    <a:pt x="1" y="419"/>
                  </a:lnTo>
                  <a:cubicBezTo>
                    <a:pt x="1" y="192"/>
                    <a:pt x="189" y="1"/>
                    <a:pt x="419" y="1"/>
                  </a:cubicBezTo>
                  <a:cubicBezTo>
                    <a:pt x="662" y="1"/>
                    <a:pt x="850" y="192"/>
                    <a:pt x="850" y="419"/>
                  </a:cubicBezTo>
                  <a:lnTo>
                    <a:pt x="850" y="1974"/>
                  </a:lnTo>
                  <a:lnTo>
                    <a:pt x="769" y="1974"/>
                  </a:lnTo>
                  <a:cubicBezTo>
                    <a:pt x="555" y="1987"/>
                    <a:pt x="325" y="2000"/>
                    <a:pt x="108" y="2026"/>
                  </a:cubicBezTo>
                  <a:cubicBezTo>
                    <a:pt x="69" y="2026"/>
                    <a:pt x="40" y="2039"/>
                    <a:pt x="1" y="2039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1" name="Google Shape;5091;p52">
              <a:extLst>
                <a:ext uri="{FF2B5EF4-FFF2-40B4-BE49-F238E27FC236}">
                  <a16:creationId xmlns:a16="http://schemas.microsoft.com/office/drawing/2014/main" id="{64AD15B5-AECE-740C-59F5-7868574C8275}"/>
                </a:ext>
              </a:extLst>
            </p:cNvPr>
            <p:cNvSpPr/>
            <p:nvPr/>
          </p:nvSpPr>
          <p:spPr>
            <a:xfrm>
              <a:off x="3504555" y="4273624"/>
              <a:ext cx="38352" cy="20352"/>
            </a:xfrm>
            <a:custGeom>
              <a:avLst/>
              <a:gdLst/>
              <a:ahLst/>
              <a:cxnLst/>
              <a:rect l="l" t="t" r="r" b="b"/>
              <a:pathLst>
                <a:path w="1174" h="623" extrusionOk="0">
                  <a:moveTo>
                    <a:pt x="137" y="312"/>
                  </a:moveTo>
                  <a:cubicBezTo>
                    <a:pt x="95" y="367"/>
                    <a:pt x="56" y="419"/>
                    <a:pt x="27" y="474"/>
                  </a:cubicBezTo>
                  <a:cubicBezTo>
                    <a:pt x="27" y="474"/>
                    <a:pt x="1" y="529"/>
                    <a:pt x="14" y="529"/>
                  </a:cubicBezTo>
                  <a:cubicBezTo>
                    <a:pt x="95" y="555"/>
                    <a:pt x="218" y="474"/>
                    <a:pt x="270" y="432"/>
                  </a:cubicBezTo>
                  <a:lnTo>
                    <a:pt x="325" y="380"/>
                  </a:lnTo>
                  <a:lnTo>
                    <a:pt x="351" y="351"/>
                  </a:lnTo>
                  <a:cubicBezTo>
                    <a:pt x="338" y="380"/>
                    <a:pt x="325" y="406"/>
                    <a:pt x="299" y="432"/>
                  </a:cubicBezTo>
                  <a:cubicBezTo>
                    <a:pt x="283" y="474"/>
                    <a:pt x="231" y="581"/>
                    <a:pt x="299" y="581"/>
                  </a:cubicBezTo>
                  <a:cubicBezTo>
                    <a:pt x="364" y="581"/>
                    <a:pt x="432" y="529"/>
                    <a:pt x="474" y="487"/>
                  </a:cubicBezTo>
                  <a:cubicBezTo>
                    <a:pt x="487" y="474"/>
                    <a:pt x="500" y="461"/>
                    <a:pt x="526" y="432"/>
                  </a:cubicBezTo>
                  <a:cubicBezTo>
                    <a:pt x="526" y="432"/>
                    <a:pt x="526" y="406"/>
                    <a:pt x="542" y="406"/>
                  </a:cubicBezTo>
                  <a:cubicBezTo>
                    <a:pt x="594" y="432"/>
                    <a:pt x="688" y="623"/>
                    <a:pt x="756" y="513"/>
                  </a:cubicBezTo>
                  <a:cubicBezTo>
                    <a:pt x="756" y="500"/>
                    <a:pt x="769" y="474"/>
                    <a:pt x="769" y="461"/>
                  </a:cubicBezTo>
                  <a:lnTo>
                    <a:pt x="769" y="393"/>
                  </a:lnTo>
                  <a:cubicBezTo>
                    <a:pt x="769" y="393"/>
                    <a:pt x="785" y="406"/>
                    <a:pt x="785" y="419"/>
                  </a:cubicBezTo>
                  <a:cubicBezTo>
                    <a:pt x="798" y="419"/>
                    <a:pt x="798" y="432"/>
                    <a:pt x="811" y="432"/>
                  </a:cubicBezTo>
                  <a:cubicBezTo>
                    <a:pt x="837" y="461"/>
                    <a:pt x="866" y="487"/>
                    <a:pt x="892" y="500"/>
                  </a:cubicBezTo>
                  <a:cubicBezTo>
                    <a:pt x="973" y="555"/>
                    <a:pt x="1080" y="555"/>
                    <a:pt x="1135" y="474"/>
                  </a:cubicBezTo>
                  <a:cubicBezTo>
                    <a:pt x="1174" y="432"/>
                    <a:pt x="1161" y="367"/>
                    <a:pt x="1135" y="325"/>
                  </a:cubicBezTo>
                  <a:cubicBezTo>
                    <a:pt x="1080" y="205"/>
                    <a:pt x="931" y="124"/>
                    <a:pt x="785" y="82"/>
                  </a:cubicBezTo>
                  <a:cubicBezTo>
                    <a:pt x="500" y="1"/>
                    <a:pt x="244" y="137"/>
                    <a:pt x="95" y="325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2" name="Google Shape;5092;p52">
              <a:extLst>
                <a:ext uri="{FF2B5EF4-FFF2-40B4-BE49-F238E27FC236}">
                  <a16:creationId xmlns:a16="http://schemas.microsoft.com/office/drawing/2014/main" id="{67ED2A32-7BB2-515C-EBEF-1F03A042F736}"/>
                </a:ext>
              </a:extLst>
            </p:cNvPr>
            <p:cNvSpPr/>
            <p:nvPr/>
          </p:nvSpPr>
          <p:spPr>
            <a:xfrm>
              <a:off x="3517361" y="4262615"/>
              <a:ext cx="5325" cy="13263"/>
            </a:xfrm>
            <a:custGeom>
              <a:avLst/>
              <a:gdLst/>
              <a:ahLst/>
              <a:cxnLst/>
              <a:rect l="l" t="t" r="r" b="b"/>
              <a:pathLst>
                <a:path w="163" h="406" extrusionOk="0">
                  <a:moveTo>
                    <a:pt x="95" y="27"/>
                  </a:moveTo>
                  <a:lnTo>
                    <a:pt x="150" y="82"/>
                  </a:lnTo>
                  <a:cubicBezTo>
                    <a:pt x="163" y="121"/>
                    <a:pt x="163" y="82"/>
                    <a:pt x="163" y="189"/>
                  </a:cubicBezTo>
                  <a:cubicBezTo>
                    <a:pt x="163" y="189"/>
                    <a:pt x="134" y="325"/>
                    <a:pt x="134" y="351"/>
                  </a:cubicBezTo>
                  <a:lnTo>
                    <a:pt x="95" y="406"/>
                  </a:lnTo>
                  <a:lnTo>
                    <a:pt x="40" y="312"/>
                  </a:lnTo>
                  <a:cubicBezTo>
                    <a:pt x="1" y="163"/>
                    <a:pt x="1" y="202"/>
                    <a:pt x="14" y="108"/>
                  </a:cubicBezTo>
                  <a:cubicBezTo>
                    <a:pt x="14" y="108"/>
                    <a:pt x="69" y="1"/>
                    <a:pt x="95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3" name="Google Shape;5093;p52">
              <a:extLst>
                <a:ext uri="{FF2B5EF4-FFF2-40B4-BE49-F238E27FC236}">
                  <a16:creationId xmlns:a16="http://schemas.microsoft.com/office/drawing/2014/main" id="{143538ED-0027-BE47-838E-3D1EB6BA8D5F}"/>
                </a:ext>
              </a:extLst>
            </p:cNvPr>
            <p:cNvSpPr/>
            <p:nvPr/>
          </p:nvSpPr>
          <p:spPr>
            <a:xfrm>
              <a:off x="3551336" y="4263464"/>
              <a:ext cx="4377" cy="11564"/>
            </a:xfrm>
            <a:custGeom>
              <a:avLst/>
              <a:gdLst/>
              <a:ahLst/>
              <a:cxnLst/>
              <a:rect l="l" t="t" r="r" b="b"/>
              <a:pathLst>
                <a:path w="134" h="354" extrusionOk="0">
                  <a:moveTo>
                    <a:pt x="121" y="43"/>
                  </a:moveTo>
                  <a:lnTo>
                    <a:pt x="134" y="111"/>
                  </a:lnTo>
                  <a:cubicBezTo>
                    <a:pt x="121" y="205"/>
                    <a:pt x="82" y="325"/>
                    <a:pt x="82" y="325"/>
                  </a:cubicBezTo>
                  <a:lnTo>
                    <a:pt x="27" y="354"/>
                  </a:lnTo>
                  <a:cubicBezTo>
                    <a:pt x="27" y="354"/>
                    <a:pt x="1" y="325"/>
                    <a:pt x="1" y="299"/>
                  </a:cubicBezTo>
                  <a:cubicBezTo>
                    <a:pt x="66" y="1"/>
                    <a:pt x="95" y="43"/>
                    <a:pt x="121" y="43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4" name="Google Shape;5094;p52">
              <a:extLst>
                <a:ext uri="{FF2B5EF4-FFF2-40B4-BE49-F238E27FC236}">
                  <a16:creationId xmlns:a16="http://schemas.microsoft.com/office/drawing/2014/main" id="{92E020CA-73ED-5ECE-B42A-68F1F97330A6}"/>
                </a:ext>
              </a:extLst>
            </p:cNvPr>
            <p:cNvSpPr/>
            <p:nvPr/>
          </p:nvSpPr>
          <p:spPr>
            <a:xfrm>
              <a:off x="3484235" y="4255101"/>
              <a:ext cx="8918" cy="17281"/>
            </a:xfrm>
            <a:custGeom>
              <a:avLst/>
              <a:gdLst/>
              <a:ahLst/>
              <a:cxnLst/>
              <a:rect l="l" t="t" r="r" b="b"/>
              <a:pathLst>
                <a:path w="273" h="529" extrusionOk="0">
                  <a:moveTo>
                    <a:pt x="124" y="27"/>
                  </a:moveTo>
                  <a:cubicBezTo>
                    <a:pt x="124" y="27"/>
                    <a:pt x="137" y="82"/>
                    <a:pt x="218" y="257"/>
                  </a:cubicBezTo>
                  <a:lnTo>
                    <a:pt x="257" y="419"/>
                  </a:lnTo>
                  <a:cubicBezTo>
                    <a:pt x="273" y="432"/>
                    <a:pt x="273" y="448"/>
                    <a:pt x="273" y="461"/>
                  </a:cubicBezTo>
                  <a:lnTo>
                    <a:pt x="257" y="529"/>
                  </a:lnTo>
                  <a:cubicBezTo>
                    <a:pt x="257" y="529"/>
                    <a:pt x="205" y="529"/>
                    <a:pt x="111" y="393"/>
                  </a:cubicBezTo>
                  <a:lnTo>
                    <a:pt x="69" y="325"/>
                  </a:lnTo>
                  <a:cubicBezTo>
                    <a:pt x="30" y="231"/>
                    <a:pt x="14" y="176"/>
                    <a:pt x="1" y="69"/>
                  </a:cubicBezTo>
                  <a:lnTo>
                    <a:pt x="30" y="27"/>
                  </a:lnTo>
                  <a:cubicBezTo>
                    <a:pt x="30" y="27"/>
                    <a:pt x="95" y="1"/>
                    <a:pt x="124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5" name="Google Shape;5095;p52">
              <a:extLst>
                <a:ext uri="{FF2B5EF4-FFF2-40B4-BE49-F238E27FC236}">
                  <a16:creationId xmlns:a16="http://schemas.microsoft.com/office/drawing/2014/main" id="{5E0F5916-5407-CCEF-94F2-A7DBC60EE5A2}"/>
                </a:ext>
              </a:extLst>
            </p:cNvPr>
            <p:cNvSpPr/>
            <p:nvPr/>
          </p:nvSpPr>
          <p:spPr>
            <a:xfrm>
              <a:off x="3565416" y="4249809"/>
              <a:ext cx="7971" cy="21201"/>
            </a:xfrm>
            <a:custGeom>
              <a:avLst/>
              <a:gdLst/>
              <a:ahLst/>
              <a:cxnLst/>
              <a:rect l="l" t="t" r="r" b="b"/>
              <a:pathLst>
                <a:path w="244" h="649" extrusionOk="0">
                  <a:moveTo>
                    <a:pt x="202" y="27"/>
                  </a:moveTo>
                  <a:cubicBezTo>
                    <a:pt x="231" y="95"/>
                    <a:pt x="244" y="56"/>
                    <a:pt x="231" y="108"/>
                  </a:cubicBezTo>
                  <a:lnTo>
                    <a:pt x="189" y="270"/>
                  </a:lnTo>
                  <a:cubicBezTo>
                    <a:pt x="163" y="380"/>
                    <a:pt x="137" y="474"/>
                    <a:pt x="137" y="474"/>
                  </a:cubicBezTo>
                  <a:cubicBezTo>
                    <a:pt x="108" y="513"/>
                    <a:pt x="95" y="568"/>
                    <a:pt x="95" y="568"/>
                  </a:cubicBezTo>
                  <a:lnTo>
                    <a:pt x="14" y="649"/>
                  </a:lnTo>
                  <a:cubicBezTo>
                    <a:pt x="14" y="649"/>
                    <a:pt x="1" y="555"/>
                    <a:pt x="14" y="448"/>
                  </a:cubicBezTo>
                  <a:lnTo>
                    <a:pt x="150" y="56"/>
                  </a:lnTo>
                  <a:cubicBezTo>
                    <a:pt x="150" y="56"/>
                    <a:pt x="189" y="1"/>
                    <a:pt x="202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6" name="Google Shape;5096;p52">
              <a:extLst>
                <a:ext uri="{FF2B5EF4-FFF2-40B4-BE49-F238E27FC236}">
                  <a16:creationId xmlns:a16="http://schemas.microsoft.com/office/drawing/2014/main" id="{9C7079CA-430A-620A-9D29-DB6FBC1EEF2E}"/>
                </a:ext>
              </a:extLst>
            </p:cNvPr>
            <p:cNvSpPr/>
            <p:nvPr/>
          </p:nvSpPr>
          <p:spPr>
            <a:xfrm>
              <a:off x="3456075" y="4249809"/>
              <a:ext cx="11891" cy="19404"/>
            </a:xfrm>
            <a:custGeom>
              <a:avLst/>
              <a:gdLst/>
              <a:ahLst/>
              <a:cxnLst/>
              <a:rect l="l" t="t" r="r" b="b"/>
              <a:pathLst>
                <a:path w="364" h="594" extrusionOk="0">
                  <a:moveTo>
                    <a:pt x="309" y="581"/>
                  </a:moveTo>
                  <a:cubicBezTo>
                    <a:pt x="228" y="513"/>
                    <a:pt x="147" y="393"/>
                    <a:pt x="134" y="380"/>
                  </a:cubicBezTo>
                  <a:cubicBezTo>
                    <a:pt x="121" y="351"/>
                    <a:pt x="121" y="338"/>
                    <a:pt x="108" y="325"/>
                  </a:cubicBezTo>
                  <a:cubicBezTo>
                    <a:pt x="95" y="299"/>
                    <a:pt x="82" y="270"/>
                    <a:pt x="82" y="257"/>
                  </a:cubicBezTo>
                  <a:cubicBezTo>
                    <a:pt x="40" y="176"/>
                    <a:pt x="1" y="56"/>
                    <a:pt x="1" y="56"/>
                  </a:cubicBezTo>
                  <a:lnTo>
                    <a:pt x="40" y="1"/>
                  </a:lnTo>
                  <a:cubicBezTo>
                    <a:pt x="40" y="1"/>
                    <a:pt x="95" y="1"/>
                    <a:pt x="228" y="270"/>
                  </a:cubicBezTo>
                  <a:cubicBezTo>
                    <a:pt x="351" y="500"/>
                    <a:pt x="244" y="299"/>
                    <a:pt x="364" y="555"/>
                  </a:cubicBezTo>
                  <a:lnTo>
                    <a:pt x="364" y="594"/>
                  </a:lnTo>
                  <a:cubicBezTo>
                    <a:pt x="364" y="594"/>
                    <a:pt x="325" y="594"/>
                    <a:pt x="309" y="58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7" name="Google Shape;5097;p52">
              <a:extLst>
                <a:ext uri="{FF2B5EF4-FFF2-40B4-BE49-F238E27FC236}">
                  <a16:creationId xmlns:a16="http://schemas.microsoft.com/office/drawing/2014/main" id="{33281619-E749-534B-04C5-6249EA4BE9FD}"/>
                </a:ext>
              </a:extLst>
            </p:cNvPr>
            <p:cNvSpPr/>
            <p:nvPr/>
          </p:nvSpPr>
          <p:spPr>
            <a:xfrm>
              <a:off x="3538955" y="4239224"/>
              <a:ext cx="4900" cy="17281"/>
            </a:xfrm>
            <a:custGeom>
              <a:avLst/>
              <a:gdLst/>
              <a:ahLst/>
              <a:cxnLst/>
              <a:rect l="l" t="t" r="r" b="b"/>
              <a:pathLst>
                <a:path w="150" h="529" extrusionOk="0">
                  <a:moveTo>
                    <a:pt x="95" y="14"/>
                  </a:moveTo>
                  <a:lnTo>
                    <a:pt x="150" y="137"/>
                  </a:lnTo>
                  <a:lnTo>
                    <a:pt x="150" y="231"/>
                  </a:lnTo>
                  <a:cubicBezTo>
                    <a:pt x="137" y="474"/>
                    <a:pt x="121" y="419"/>
                    <a:pt x="121" y="448"/>
                  </a:cubicBezTo>
                  <a:lnTo>
                    <a:pt x="56" y="529"/>
                  </a:lnTo>
                  <a:lnTo>
                    <a:pt x="14" y="474"/>
                  </a:lnTo>
                  <a:cubicBezTo>
                    <a:pt x="1" y="299"/>
                    <a:pt x="1" y="393"/>
                    <a:pt x="14" y="244"/>
                  </a:cubicBezTo>
                  <a:lnTo>
                    <a:pt x="14" y="150"/>
                  </a:lnTo>
                  <a:cubicBezTo>
                    <a:pt x="27" y="69"/>
                    <a:pt x="56" y="43"/>
                    <a:pt x="56" y="43"/>
                  </a:cubicBezTo>
                  <a:cubicBezTo>
                    <a:pt x="56" y="43"/>
                    <a:pt x="82" y="1"/>
                    <a:pt x="95" y="14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8" name="Google Shape;5098;p52">
              <a:extLst>
                <a:ext uri="{FF2B5EF4-FFF2-40B4-BE49-F238E27FC236}">
                  <a16:creationId xmlns:a16="http://schemas.microsoft.com/office/drawing/2014/main" id="{FF587AEF-683D-E718-99DC-2871CD7BFDB4}"/>
                </a:ext>
              </a:extLst>
            </p:cNvPr>
            <p:cNvSpPr/>
            <p:nvPr/>
          </p:nvSpPr>
          <p:spPr>
            <a:xfrm>
              <a:off x="3498838" y="4231286"/>
              <a:ext cx="7546" cy="26493"/>
            </a:xfrm>
            <a:custGeom>
              <a:avLst/>
              <a:gdLst/>
              <a:ahLst/>
              <a:cxnLst/>
              <a:rect l="l" t="t" r="r" b="b"/>
              <a:pathLst>
                <a:path w="231" h="811" extrusionOk="0">
                  <a:moveTo>
                    <a:pt x="82" y="27"/>
                  </a:moveTo>
                  <a:lnTo>
                    <a:pt x="121" y="108"/>
                  </a:lnTo>
                  <a:cubicBezTo>
                    <a:pt x="150" y="205"/>
                    <a:pt x="95" y="27"/>
                    <a:pt x="189" y="448"/>
                  </a:cubicBezTo>
                  <a:cubicBezTo>
                    <a:pt x="215" y="542"/>
                    <a:pt x="231" y="675"/>
                    <a:pt x="231" y="675"/>
                  </a:cubicBezTo>
                  <a:cubicBezTo>
                    <a:pt x="189" y="811"/>
                    <a:pt x="163" y="717"/>
                    <a:pt x="163" y="717"/>
                  </a:cubicBezTo>
                  <a:cubicBezTo>
                    <a:pt x="1" y="568"/>
                    <a:pt x="69" y="691"/>
                    <a:pt x="14" y="218"/>
                  </a:cubicBezTo>
                  <a:cubicBezTo>
                    <a:pt x="1" y="56"/>
                    <a:pt x="40" y="69"/>
                    <a:pt x="40" y="69"/>
                  </a:cubicBezTo>
                  <a:cubicBezTo>
                    <a:pt x="40" y="69"/>
                    <a:pt x="40" y="1"/>
                    <a:pt x="82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9" name="Google Shape;5099;p52">
              <a:extLst>
                <a:ext uri="{FF2B5EF4-FFF2-40B4-BE49-F238E27FC236}">
                  <a16:creationId xmlns:a16="http://schemas.microsoft.com/office/drawing/2014/main" id="{A3D00B46-D379-77FB-E933-A4A21F3BB2CB}"/>
                </a:ext>
              </a:extLst>
            </p:cNvPr>
            <p:cNvSpPr/>
            <p:nvPr/>
          </p:nvSpPr>
          <p:spPr>
            <a:xfrm>
              <a:off x="3462641" y="4229064"/>
              <a:ext cx="6174" cy="17706"/>
            </a:xfrm>
            <a:custGeom>
              <a:avLst/>
              <a:gdLst/>
              <a:ahLst/>
              <a:cxnLst/>
              <a:rect l="l" t="t" r="r" b="b"/>
              <a:pathLst>
                <a:path w="189" h="542" extrusionOk="0">
                  <a:moveTo>
                    <a:pt x="108" y="30"/>
                  </a:moveTo>
                  <a:cubicBezTo>
                    <a:pt x="108" y="30"/>
                    <a:pt x="176" y="257"/>
                    <a:pt x="189" y="435"/>
                  </a:cubicBezTo>
                  <a:lnTo>
                    <a:pt x="163" y="542"/>
                  </a:lnTo>
                  <a:lnTo>
                    <a:pt x="108" y="487"/>
                  </a:lnTo>
                  <a:cubicBezTo>
                    <a:pt x="27" y="419"/>
                    <a:pt x="56" y="461"/>
                    <a:pt x="43" y="380"/>
                  </a:cubicBezTo>
                  <a:cubicBezTo>
                    <a:pt x="1" y="205"/>
                    <a:pt x="27" y="30"/>
                    <a:pt x="27" y="30"/>
                  </a:cubicBezTo>
                  <a:cubicBezTo>
                    <a:pt x="27" y="30"/>
                    <a:pt x="69" y="1"/>
                    <a:pt x="108" y="3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0" name="Google Shape;5100;p52">
              <a:extLst>
                <a:ext uri="{FF2B5EF4-FFF2-40B4-BE49-F238E27FC236}">
                  <a16:creationId xmlns:a16="http://schemas.microsoft.com/office/drawing/2014/main" id="{A5EA03FB-25F0-4B29-D6FE-8A8D7B4F0F2C}"/>
                </a:ext>
              </a:extLst>
            </p:cNvPr>
            <p:cNvSpPr/>
            <p:nvPr/>
          </p:nvSpPr>
          <p:spPr>
            <a:xfrm>
              <a:off x="3560124" y="4222498"/>
              <a:ext cx="5749" cy="22475"/>
            </a:xfrm>
            <a:custGeom>
              <a:avLst/>
              <a:gdLst/>
              <a:ahLst/>
              <a:cxnLst/>
              <a:rect l="l" t="t" r="r" b="b"/>
              <a:pathLst>
                <a:path w="176" h="688" extrusionOk="0">
                  <a:moveTo>
                    <a:pt x="108" y="1"/>
                  </a:moveTo>
                  <a:cubicBezTo>
                    <a:pt x="176" y="27"/>
                    <a:pt x="137" y="40"/>
                    <a:pt x="137" y="82"/>
                  </a:cubicBezTo>
                  <a:lnTo>
                    <a:pt x="137" y="513"/>
                  </a:lnTo>
                  <a:lnTo>
                    <a:pt x="108" y="636"/>
                  </a:lnTo>
                  <a:lnTo>
                    <a:pt x="56" y="688"/>
                  </a:lnTo>
                  <a:lnTo>
                    <a:pt x="14" y="636"/>
                  </a:lnTo>
                  <a:cubicBezTo>
                    <a:pt x="1" y="432"/>
                    <a:pt x="27" y="270"/>
                    <a:pt x="56" y="40"/>
                  </a:cubicBezTo>
                  <a:cubicBezTo>
                    <a:pt x="56" y="40"/>
                    <a:pt x="82" y="1"/>
                    <a:pt x="108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1" name="Google Shape;5101;p52">
              <a:extLst>
                <a:ext uri="{FF2B5EF4-FFF2-40B4-BE49-F238E27FC236}">
                  <a16:creationId xmlns:a16="http://schemas.microsoft.com/office/drawing/2014/main" id="{1E8DABC0-32B7-0609-495B-7CAA3849F3BC}"/>
                </a:ext>
              </a:extLst>
            </p:cNvPr>
            <p:cNvSpPr/>
            <p:nvPr/>
          </p:nvSpPr>
          <p:spPr>
            <a:xfrm>
              <a:off x="3570284" y="4039490"/>
              <a:ext cx="3953" cy="14112"/>
            </a:xfrm>
            <a:custGeom>
              <a:avLst/>
              <a:gdLst/>
              <a:ahLst/>
              <a:cxnLst/>
              <a:rect l="l" t="t" r="r" b="b"/>
              <a:pathLst>
                <a:path w="121" h="432" extrusionOk="0">
                  <a:moveTo>
                    <a:pt x="82" y="40"/>
                  </a:moveTo>
                  <a:cubicBezTo>
                    <a:pt x="82" y="40"/>
                    <a:pt x="108" y="228"/>
                    <a:pt x="121" y="390"/>
                  </a:cubicBezTo>
                  <a:lnTo>
                    <a:pt x="82" y="432"/>
                  </a:lnTo>
                  <a:cubicBezTo>
                    <a:pt x="82" y="432"/>
                    <a:pt x="14" y="215"/>
                    <a:pt x="1" y="82"/>
                  </a:cubicBezTo>
                  <a:cubicBezTo>
                    <a:pt x="1" y="27"/>
                    <a:pt x="27" y="1"/>
                    <a:pt x="82" y="4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2" name="Google Shape;5102;p52">
              <a:extLst>
                <a:ext uri="{FF2B5EF4-FFF2-40B4-BE49-F238E27FC236}">
                  <a16:creationId xmlns:a16="http://schemas.microsoft.com/office/drawing/2014/main" id="{D6FE6EF0-F8FF-5AD8-E4A5-DE0D4840704E}"/>
                </a:ext>
              </a:extLst>
            </p:cNvPr>
            <p:cNvSpPr/>
            <p:nvPr/>
          </p:nvSpPr>
          <p:spPr>
            <a:xfrm>
              <a:off x="3561398" y="4002444"/>
              <a:ext cx="6697" cy="16758"/>
            </a:xfrm>
            <a:custGeom>
              <a:avLst/>
              <a:gdLst/>
              <a:ahLst/>
              <a:cxnLst/>
              <a:rect l="l" t="t" r="r" b="b"/>
              <a:pathLst>
                <a:path w="205" h="513" extrusionOk="0">
                  <a:moveTo>
                    <a:pt x="43" y="27"/>
                  </a:moveTo>
                  <a:lnTo>
                    <a:pt x="124" y="108"/>
                  </a:lnTo>
                  <a:cubicBezTo>
                    <a:pt x="163" y="202"/>
                    <a:pt x="205" y="351"/>
                    <a:pt x="205" y="351"/>
                  </a:cubicBezTo>
                  <a:cubicBezTo>
                    <a:pt x="205" y="377"/>
                    <a:pt x="192" y="406"/>
                    <a:pt x="192" y="406"/>
                  </a:cubicBezTo>
                  <a:cubicBezTo>
                    <a:pt x="192" y="406"/>
                    <a:pt x="205" y="513"/>
                    <a:pt x="111" y="377"/>
                  </a:cubicBezTo>
                  <a:lnTo>
                    <a:pt x="1" y="95"/>
                  </a:lnTo>
                  <a:cubicBezTo>
                    <a:pt x="17" y="1"/>
                    <a:pt x="30" y="14"/>
                    <a:pt x="43" y="27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3" name="Google Shape;5103;p52">
              <a:extLst>
                <a:ext uri="{FF2B5EF4-FFF2-40B4-BE49-F238E27FC236}">
                  <a16:creationId xmlns:a16="http://schemas.microsoft.com/office/drawing/2014/main" id="{FB4EE36D-C606-2203-7F3E-9B1B4A63AAE5}"/>
                </a:ext>
              </a:extLst>
            </p:cNvPr>
            <p:cNvSpPr/>
            <p:nvPr/>
          </p:nvSpPr>
          <p:spPr>
            <a:xfrm>
              <a:off x="3183947" y="3809700"/>
              <a:ext cx="311844" cy="455581"/>
            </a:xfrm>
            <a:custGeom>
              <a:avLst/>
              <a:gdLst/>
              <a:ahLst/>
              <a:cxnLst/>
              <a:rect l="l" t="t" r="r" b="b"/>
              <a:pathLst>
                <a:path w="9546" h="13946" extrusionOk="0">
                  <a:moveTo>
                    <a:pt x="6170" y="13946"/>
                  </a:moveTo>
                  <a:lnTo>
                    <a:pt x="3374" y="13946"/>
                  </a:lnTo>
                  <a:cubicBezTo>
                    <a:pt x="1203" y="13758"/>
                    <a:pt x="1" y="10813"/>
                    <a:pt x="2376" y="9274"/>
                  </a:cubicBezTo>
                  <a:cubicBezTo>
                    <a:pt x="4751" y="7722"/>
                    <a:pt x="419" y="7087"/>
                    <a:pt x="2376" y="5253"/>
                  </a:cubicBezTo>
                  <a:cubicBezTo>
                    <a:pt x="4346" y="3429"/>
                    <a:pt x="3510" y="4009"/>
                    <a:pt x="3374" y="2094"/>
                  </a:cubicBezTo>
                  <a:cubicBezTo>
                    <a:pt x="3322" y="1446"/>
                    <a:pt x="3523" y="176"/>
                    <a:pt x="4563" y="95"/>
                  </a:cubicBezTo>
                  <a:cubicBezTo>
                    <a:pt x="5940" y="1"/>
                    <a:pt x="6225" y="1349"/>
                    <a:pt x="6170" y="2094"/>
                  </a:cubicBezTo>
                  <a:cubicBezTo>
                    <a:pt x="6034" y="4009"/>
                    <a:pt x="5198" y="3429"/>
                    <a:pt x="7168" y="5253"/>
                  </a:cubicBezTo>
                  <a:cubicBezTo>
                    <a:pt x="9125" y="7087"/>
                    <a:pt x="4793" y="7722"/>
                    <a:pt x="7168" y="9274"/>
                  </a:cubicBezTo>
                  <a:cubicBezTo>
                    <a:pt x="9546" y="10813"/>
                    <a:pt x="8344" y="13758"/>
                    <a:pt x="6170" y="13946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4" name="Google Shape;5104;p52">
              <a:extLst>
                <a:ext uri="{FF2B5EF4-FFF2-40B4-BE49-F238E27FC236}">
                  <a16:creationId xmlns:a16="http://schemas.microsoft.com/office/drawing/2014/main" id="{12AD13BA-8081-3937-56C0-46819F8522F3}"/>
                </a:ext>
              </a:extLst>
            </p:cNvPr>
            <p:cNvSpPr/>
            <p:nvPr/>
          </p:nvSpPr>
          <p:spPr>
            <a:xfrm>
              <a:off x="3279208" y="4119723"/>
              <a:ext cx="71901" cy="54751"/>
            </a:xfrm>
            <a:custGeom>
              <a:avLst/>
              <a:gdLst/>
              <a:ahLst/>
              <a:cxnLst/>
              <a:rect l="l" t="t" r="r" b="b"/>
              <a:pathLst>
                <a:path w="2201" h="1676" extrusionOk="0">
                  <a:moveTo>
                    <a:pt x="95" y="40"/>
                  </a:moveTo>
                  <a:lnTo>
                    <a:pt x="163" y="95"/>
                  </a:lnTo>
                  <a:lnTo>
                    <a:pt x="244" y="150"/>
                  </a:lnTo>
                  <a:lnTo>
                    <a:pt x="312" y="189"/>
                  </a:lnTo>
                  <a:lnTo>
                    <a:pt x="351" y="231"/>
                  </a:lnTo>
                  <a:lnTo>
                    <a:pt x="377" y="244"/>
                  </a:lnTo>
                  <a:lnTo>
                    <a:pt x="445" y="299"/>
                  </a:lnTo>
                  <a:lnTo>
                    <a:pt x="513" y="338"/>
                  </a:lnTo>
                  <a:lnTo>
                    <a:pt x="581" y="393"/>
                  </a:lnTo>
                  <a:lnTo>
                    <a:pt x="620" y="419"/>
                  </a:lnTo>
                  <a:lnTo>
                    <a:pt x="649" y="432"/>
                  </a:lnTo>
                  <a:lnTo>
                    <a:pt x="717" y="487"/>
                  </a:lnTo>
                  <a:lnTo>
                    <a:pt x="863" y="581"/>
                  </a:lnTo>
                  <a:lnTo>
                    <a:pt x="892" y="607"/>
                  </a:lnTo>
                  <a:lnTo>
                    <a:pt x="999" y="675"/>
                  </a:lnTo>
                  <a:lnTo>
                    <a:pt x="1135" y="785"/>
                  </a:lnTo>
                  <a:lnTo>
                    <a:pt x="1203" y="837"/>
                  </a:lnTo>
                  <a:lnTo>
                    <a:pt x="1404" y="973"/>
                  </a:lnTo>
                  <a:lnTo>
                    <a:pt x="1540" y="1080"/>
                  </a:lnTo>
                  <a:lnTo>
                    <a:pt x="1579" y="1109"/>
                  </a:lnTo>
                  <a:lnTo>
                    <a:pt x="1673" y="1174"/>
                  </a:lnTo>
                  <a:lnTo>
                    <a:pt x="1741" y="1229"/>
                  </a:lnTo>
                  <a:lnTo>
                    <a:pt x="1809" y="1284"/>
                  </a:lnTo>
                  <a:lnTo>
                    <a:pt x="1877" y="1336"/>
                  </a:lnTo>
                  <a:lnTo>
                    <a:pt x="1945" y="1391"/>
                  </a:lnTo>
                  <a:lnTo>
                    <a:pt x="2013" y="1433"/>
                  </a:lnTo>
                  <a:lnTo>
                    <a:pt x="2078" y="1485"/>
                  </a:lnTo>
                  <a:lnTo>
                    <a:pt x="2146" y="1540"/>
                  </a:lnTo>
                  <a:lnTo>
                    <a:pt x="2175" y="1553"/>
                  </a:lnTo>
                  <a:lnTo>
                    <a:pt x="2201" y="1621"/>
                  </a:lnTo>
                  <a:lnTo>
                    <a:pt x="2201" y="1676"/>
                  </a:lnTo>
                  <a:lnTo>
                    <a:pt x="2146" y="1676"/>
                  </a:lnTo>
                  <a:lnTo>
                    <a:pt x="2094" y="1660"/>
                  </a:lnTo>
                  <a:lnTo>
                    <a:pt x="2065" y="1647"/>
                  </a:lnTo>
                  <a:lnTo>
                    <a:pt x="1997" y="1595"/>
                  </a:lnTo>
                  <a:lnTo>
                    <a:pt x="1932" y="1540"/>
                  </a:lnTo>
                  <a:lnTo>
                    <a:pt x="1864" y="1498"/>
                  </a:lnTo>
                  <a:lnTo>
                    <a:pt x="1796" y="1446"/>
                  </a:lnTo>
                  <a:lnTo>
                    <a:pt x="1728" y="1391"/>
                  </a:lnTo>
                  <a:lnTo>
                    <a:pt x="1660" y="1336"/>
                  </a:lnTo>
                  <a:lnTo>
                    <a:pt x="1592" y="1297"/>
                  </a:lnTo>
                  <a:lnTo>
                    <a:pt x="1498" y="1216"/>
                  </a:lnTo>
                  <a:lnTo>
                    <a:pt x="1459" y="1190"/>
                  </a:lnTo>
                  <a:lnTo>
                    <a:pt x="1323" y="1093"/>
                  </a:lnTo>
                  <a:lnTo>
                    <a:pt x="1135" y="947"/>
                  </a:lnTo>
                  <a:lnTo>
                    <a:pt x="1054" y="892"/>
                  </a:lnTo>
                  <a:lnTo>
                    <a:pt x="918" y="785"/>
                  </a:lnTo>
                  <a:lnTo>
                    <a:pt x="811" y="704"/>
                  </a:lnTo>
                  <a:lnTo>
                    <a:pt x="782" y="688"/>
                  </a:lnTo>
                  <a:lnTo>
                    <a:pt x="649" y="581"/>
                  </a:lnTo>
                  <a:lnTo>
                    <a:pt x="581" y="526"/>
                  </a:lnTo>
                  <a:lnTo>
                    <a:pt x="568" y="513"/>
                  </a:lnTo>
                  <a:lnTo>
                    <a:pt x="526" y="474"/>
                  </a:lnTo>
                  <a:lnTo>
                    <a:pt x="458" y="419"/>
                  </a:lnTo>
                  <a:lnTo>
                    <a:pt x="393" y="364"/>
                  </a:lnTo>
                  <a:lnTo>
                    <a:pt x="325" y="312"/>
                  </a:lnTo>
                  <a:lnTo>
                    <a:pt x="296" y="283"/>
                  </a:lnTo>
                  <a:lnTo>
                    <a:pt x="257" y="257"/>
                  </a:lnTo>
                  <a:lnTo>
                    <a:pt x="189" y="202"/>
                  </a:lnTo>
                  <a:lnTo>
                    <a:pt x="134" y="150"/>
                  </a:lnTo>
                  <a:lnTo>
                    <a:pt x="69" y="95"/>
                  </a:lnTo>
                  <a:lnTo>
                    <a:pt x="1" y="27"/>
                  </a:lnTo>
                  <a:lnTo>
                    <a:pt x="1" y="1"/>
                  </a:lnTo>
                  <a:lnTo>
                    <a:pt x="27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5" name="Google Shape;5105;p52">
              <a:extLst>
                <a:ext uri="{FF2B5EF4-FFF2-40B4-BE49-F238E27FC236}">
                  <a16:creationId xmlns:a16="http://schemas.microsoft.com/office/drawing/2014/main" id="{46E16BE3-5566-89B5-7949-8B27E88A625B}"/>
                </a:ext>
              </a:extLst>
            </p:cNvPr>
            <p:cNvSpPr/>
            <p:nvPr/>
          </p:nvSpPr>
          <p:spPr>
            <a:xfrm>
              <a:off x="3348857" y="4133803"/>
              <a:ext cx="80264" cy="67981"/>
            </a:xfrm>
            <a:custGeom>
              <a:avLst/>
              <a:gdLst/>
              <a:ahLst/>
              <a:cxnLst/>
              <a:rect l="l" t="t" r="r" b="b"/>
              <a:pathLst>
                <a:path w="2457" h="2081" extrusionOk="0">
                  <a:moveTo>
                    <a:pt x="2444" y="56"/>
                  </a:moveTo>
                  <a:lnTo>
                    <a:pt x="2295" y="192"/>
                  </a:lnTo>
                  <a:lnTo>
                    <a:pt x="2201" y="273"/>
                  </a:lnTo>
                  <a:lnTo>
                    <a:pt x="2149" y="312"/>
                  </a:lnTo>
                  <a:lnTo>
                    <a:pt x="2013" y="448"/>
                  </a:lnTo>
                  <a:lnTo>
                    <a:pt x="2000" y="448"/>
                  </a:lnTo>
                  <a:lnTo>
                    <a:pt x="1864" y="568"/>
                  </a:lnTo>
                  <a:lnTo>
                    <a:pt x="1838" y="597"/>
                  </a:lnTo>
                  <a:lnTo>
                    <a:pt x="1783" y="636"/>
                  </a:lnTo>
                  <a:lnTo>
                    <a:pt x="1715" y="704"/>
                  </a:lnTo>
                  <a:lnTo>
                    <a:pt x="1634" y="772"/>
                  </a:lnTo>
                  <a:lnTo>
                    <a:pt x="1566" y="824"/>
                  </a:lnTo>
                  <a:lnTo>
                    <a:pt x="1485" y="892"/>
                  </a:lnTo>
                  <a:lnTo>
                    <a:pt x="1420" y="960"/>
                  </a:lnTo>
                  <a:lnTo>
                    <a:pt x="1391" y="986"/>
                  </a:lnTo>
                  <a:lnTo>
                    <a:pt x="1339" y="1028"/>
                  </a:lnTo>
                  <a:lnTo>
                    <a:pt x="1271" y="1096"/>
                  </a:lnTo>
                  <a:lnTo>
                    <a:pt x="1190" y="1148"/>
                  </a:lnTo>
                  <a:lnTo>
                    <a:pt x="1122" y="1216"/>
                  </a:lnTo>
                  <a:lnTo>
                    <a:pt x="1041" y="1284"/>
                  </a:lnTo>
                  <a:lnTo>
                    <a:pt x="973" y="1352"/>
                  </a:lnTo>
                  <a:lnTo>
                    <a:pt x="918" y="1391"/>
                  </a:lnTo>
                  <a:lnTo>
                    <a:pt x="892" y="1420"/>
                  </a:lnTo>
                  <a:lnTo>
                    <a:pt x="824" y="1472"/>
                  </a:lnTo>
                  <a:lnTo>
                    <a:pt x="743" y="1540"/>
                  </a:lnTo>
                  <a:lnTo>
                    <a:pt x="675" y="1608"/>
                  </a:lnTo>
                  <a:lnTo>
                    <a:pt x="594" y="1676"/>
                  </a:lnTo>
                  <a:lnTo>
                    <a:pt x="529" y="1731"/>
                  </a:lnTo>
                  <a:lnTo>
                    <a:pt x="487" y="1770"/>
                  </a:lnTo>
                  <a:lnTo>
                    <a:pt x="461" y="1796"/>
                  </a:lnTo>
                  <a:lnTo>
                    <a:pt x="380" y="1864"/>
                  </a:lnTo>
                  <a:lnTo>
                    <a:pt x="312" y="1932"/>
                  </a:lnTo>
                  <a:lnTo>
                    <a:pt x="286" y="1945"/>
                  </a:lnTo>
                  <a:lnTo>
                    <a:pt x="244" y="1987"/>
                  </a:lnTo>
                  <a:lnTo>
                    <a:pt x="163" y="2055"/>
                  </a:lnTo>
                  <a:lnTo>
                    <a:pt x="150" y="2081"/>
                  </a:lnTo>
                  <a:lnTo>
                    <a:pt x="56" y="2081"/>
                  </a:lnTo>
                  <a:lnTo>
                    <a:pt x="1" y="2081"/>
                  </a:lnTo>
                  <a:lnTo>
                    <a:pt x="1" y="2026"/>
                  </a:lnTo>
                  <a:lnTo>
                    <a:pt x="14" y="1945"/>
                  </a:lnTo>
                  <a:lnTo>
                    <a:pt x="43" y="1919"/>
                  </a:lnTo>
                  <a:lnTo>
                    <a:pt x="108" y="1851"/>
                  </a:lnTo>
                  <a:lnTo>
                    <a:pt x="150" y="1796"/>
                  </a:lnTo>
                  <a:lnTo>
                    <a:pt x="176" y="1783"/>
                  </a:lnTo>
                  <a:lnTo>
                    <a:pt x="244" y="1715"/>
                  </a:lnTo>
                  <a:lnTo>
                    <a:pt x="312" y="1650"/>
                  </a:lnTo>
                  <a:lnTo>
                    <a:pt x="338" y="1621"/>
                  </a:lnTo>
                  <a:lnTo>
                    <a:pt x="380" y="1582"/>
                  </a:lnTo>
                  <a:lnTo>
                    <a:pt x="461" y="1514"/>
                  </a:lnTo>
                  <a:lnTo>
                    <a:pt x="529" y="1446"/>
                  </a:lnTo>
                  <a:lnTo>
                    <a:pt x="610" y="1378"/>
                  </a:lnTo>
                  <a:lnTo>
                    <a:pt x="675" y="1310"/>
                  </a:lnTo>
                  <a:lnTo>
                    <a:pt x="756" y="1258"/>
                  </a:lnTo>
                  <a:lnTo>
                    <a:pt x="772" y="1229"/>
                  </a:lnTo>
                  <a:lnTo>
                    <a:pt x="824" y="1190"/>
                  </a:lnTo>
                  <a:lnTo>
                    <a:pt x="905" y="1122"/>
                  </a:lnTo>
                  <a:lnTo>
                    <a:pt x="986" y="1054"/>
                  </a:lnTo>
                  <a:lnTo>
                    <a:pt x="1054" y="1002"/>
                  </a:lnTo>
                  <a:lnTo>
                    <a:pt x="1135" y="934"/>
                  </a:lnTo>
                  <a:lnTo>
                    <a:pt x="1216" y="879"/>
                  </a:lnTo>
                  <a:lnTo>
                    <a:pt x="1271" y="840"/>
                  </a:lnTo>
                  <a:lnTo>
                    <a:pt x="1297" y="811"/>
                  </a:lnTo>
                  <a:lnTo>
                    <a:pt x="1378" y="743"/>
                  </a:lnTo>
                  <a:lnTo>
                    <a:pt x="1446" y="691"/>
                  </a:lnTo>
                  <a:lnTo>
                    <a:pt x="1527" y="636"/>
                  </a:lnTo>
                  <a:lnTo>
                    <a:pt x="1608" y="568"/>
                  </a:lnTo>
                  <a:lnTo>
                    <a:pt x="1689" y="516"/>
                  </a:lnTo>
                  <a:lnTo>
                    <a:pt x="1744" y="474"/>
                  </a:lnTo>
                  <a:lnTo>
                    <a:pt x="1770" y="448"/>
                  </a:lnTo>
                  <a:lnTo>
                    <a:pt x="1919" y="338"/>
                  </a:lnTo>
                  <a:lnTo>
                    <a:pt x="1932" y="338"/>
                  </a:lnTo>
                  <a:lnTo>
                    <a:pt x="2081" y="231"/>
                  </a:lnTo>
                  <a:lnTo>
                    <a:pt x="2133" y="192"/>
                  </a:lnTo>
                  <a:lnTo>
                    <a:pt x="2243" y="124"/>
                  </a:lnTo>
                  <a:lnTo>
                    <a:pt x="2405" y="1"/>
                  </a:lnTo>
                  <a:lnTo>
                    <a:pt x="2457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6" name="Google Shape;5106;p52">
              <a:extLst>
                <a:ext uri="{FF2B5EF4-FFF2-40B4-BE49-F238E27FC236}">
                  <a16:creationId xmlns:a16="http://schemas.microsoft.com/office/drawing/2014/main" id="{99279F19-337A-7CE6-B054-DF2E37FE1E47}"/>
                </a:ext>
              </a:extLst>
            </p:cNvPr>
            <p:cNvSpPr/>
            <p:nvPr/>
          </p:nvSpPr>
          <p:spPr>
            <a:xfrm>
              <a:off x="3292439" y="3976407"/>
              <a:ext cx="55600" cy="49361"/>
            </a:xfrm>
            <a:custGeom>
              <a:avLst/>
              <a:gdLst/>
              <a:ahLst/>
              <a:cxnLst/>
              <a:rect l="l" t="t" r="r" b="b"/>
              <a:pathLst>
                <a:path w="1702" h="1511" extrusionOk="0">
                  <a:moveTo>
                    <a:pt x="53" y="1"/>
                  </a:moveTo>
                  <a:lnTo>
                    <a:pt x="163" y="82"/>
                  </a:lnTo>
                  <a:lnTo>
                    <a:pt x="270" y="176"/>
                  </a:lnTo>
                  <a:lnTo>
                    <a:pt x="364" y="257"/>
                  </a:lnTo>
                  <a:lnTo>
                    <a:pt x="458" y="325"/>
                  </a:lnTo>
                  <a:lnTo>
                    <a:pt x="474" y="338"/>
                  </a:lnTo>
                  <a:lnTo>
                    <a:pt x="636" y="458"/>
                  </a:lnTo>
                  <a:lnTo>
                    <a:pt x="688" y="500"/>
                  </a:lnTo>
                  <a:lnTo>
                    <a:pt x="798" y="594"/>
                  </a:lnTo>
                  <a:lnTo>
                    <a:pt x="837" y="636"/>
                  </a:lnTo>
                  <a:lnTo>
                    <a:pt x="892" y="675"/>
                  </a:lnTo>
                  <a:lnTo>
                    <a:pt x="999" y="769"/>
                  </a:lnTo>
                  <a:lnTo>
                    <a:pt x="1067" y="837"/>
                  </a:lnTo>
                  <a:lnTo>
                    <a:pt x="1093" y="850"/>
                  </a:lnTo>
                  <a:lnTo>
                    <a:pt x="1203" y="944"/>
                  </a:lnTo>
                  <a:lnTo>
                    <a:pt x="1255" y="986"/>
                  </a:lnTo>
                  <a:lnTo>
                    <a:pt x="1297" y="1025"/>
                  </a:lnTo>
                  <a:lnTo>
                    <a:pt x="1349" y="1067"/>
                  </a:lnTo>
                  <a:lnTo>
                    <a:pt x="1404" y="1122"/>
                  </a:lnTo>
                  <a:lnTo>
                    <a:pt x="1459" y="1161"/>
                  </a:lnTo>
                  <a:lnTo>
                    <a:pt x="1472" y="1174"/>
                  </a:lnTo>
                  <a:lnTo>
                    <a:pt x="1511" y="1203"/>
                  </a:lnTo>
                  <a:lnTo>
                    <a:pt x="1566" y="1242"/>
                  </a:lnTo>
                  <a:lnTo>
                    <a:pt x="1592" y="1268"/>
                  </a:lnTo>
                  <a:lnTo>
                    <a:pt x="1608" y="1284"/>
                  </a:lnTo>
                  <a:lnTo>
                    <a:pt x="1660" y="1323"/>
                  </a:lnTo>
                  <a:lnTo>
                    <a:pt x="1702" y="1365"/>
                  </a:lnTo>
                  <a:lnTo>
                    <a:pt x="1689" y="1417"/>
                  </a:lnTo>
                  <a:lnTo>
                    <a:pt x="1634" y="1472"/>
                  </a:lnTo>
                  <a:lnTo>
                    <a:pt x="1592" y="1511"/>
                  </a:lnTo>
                  <a:lnTo>
                    <a:pt x="1553" y="1472"/>
                  </a:lnTo>
                  <a:lnTo>
                    <a:pt x="1498" y="1430"/>
                  </a:lnTo>
                  <a:lnTo>
                    <a:pt x="1472" y="1417"/>
                  </a:lnTo>
                  <a:lnTo>
                    <a:pt x="1446" y="1391"/>
                  </a:lnTo>
                  <a:lnTo>
                    <a:pt x="1391" y="1336"/>
                  </a:lnTo>
                  <a:lnTo>
                    <a:pt x="1349" y="1310"/>
                  </a:lnTo>
                  <a:lnTo>
                    <a:pt x="1336" y="1297"/>
                  </a:lnTo>
                  <a:lnTo>
                    <a:pt x="1284" y="1255"/>
                  </a:lnTo>
                  <a:lnTo>
                    <a:pt x="1242" y="1216"/>
                  </a:lnTo>
                  <a:lnTo>
                    <a:pt x="1187" y="1161"/>
                  </a:lnTo>
                  <a:lnTo>
                    <a:pt x="1135" y="1122"/>
                  </a:lnTo>
                  <a:lnTo>
                    <a:pt x="1080" y="1080"/>
                  </a:lnTo>
                  <a:lnTo>
                    <a:pt x="986" y="986"/>
                  </a:lnTo>
                  <a:lnTo>
                    <a:pt x="960" y="960"/>
                  </a:lnTo>
                  <a:lnTo>
                    <a:pt x="879" y="892"/>
                  </a:lnTo>
                  <a:lnTo>
                    <a:pt x="782" y="811"/>
                  </a:lnTo>
                  <a:lnTo>
                    <a:pt x="730" y="756"/>
                  </a:lnTo>
                  <a:lnTo>
                    <a:pt x="675" y="717"/>
                  </a:lnTo>
                  <a:lnTo>
                    <a:pt x="581" y="620"/>
                  </a:lnTo>
                  <a:lnTo>
                    <a:pt x="526" y="568"/>
                  </a:lnTo>
                  <a:lnTo>
                    <a:pt x="393" y="432"/>
                  </a:lnTo>
                  <a:lnTo>
                    <a:pt x="377" y="419"/>
                  </a:lnTo>
                  <a:lnTo>
                    <a:pt x="296" y="338"/>
                  </a:lnTo>
                  <a:lnTo>
                    <a:pt x="202" y="244"/>
                  </a:lnTo>
                  <a:lnTo>
                    <a:pt x="202" y="244"/>
                  </a:lnTo>
                  <a:lnTo>
                    <a:pt x="108" y="150"/>
                  </a:lnTo>
                  <a:lnTo>
                    <a:pt x="14" y="53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7" name="Google Shape;5107;p52">
              <a:extLst>
                <a:ext uri="{FF2B5EF4-FFF2-40B4-BE49-F238E27FC236}">
                  <a16:creationId xmlns:a16="http://schemas.microsoft.com/office/drawing/2014/main" id="{451AC6E2-E1C8-1460-F7A6-8F561B2E5BE5}"/>
                </a:ext>
              </a:extLst>
            </p:cNvPr>
            <p:cNvSpPr/>
            <p:nvPr/>
          </p:nvSpPr>
          <p:spPr>
            <a:xfrm>
              <a:off x="3347061" y="3962229"/>
              <a:ext cx="29139" cy="32733"/>
            </a:xfrm>
            <a:custGeom>
              <a:avLst/>
              <a:gdLst/>
              <a:ahLst/>
              <a:cxnLst/>
              <a:rect l="l" t="t" r="r" b="b"/>
              <a:pathLst>
                <a:path w="892" h="1002" extrusionOk="0">
                  <a:moveTo>
                    <a:pt x="892" y="30"/>
                  </a:moveTo>
                  <a:lnTo>
                    <a:pt x="866" y="56"/>
                  </a:lnTo>
                  <a:lnTo>
                    <a:pt x="840" y="82"/>
                  </a:lnTo>
                  <a:lnTo>
                    <a:pt x="811" y="124"/>
                  </a:lnTo>
                  <a:lnTo>
                    <a:pt x="785" y="150"/>
                  </a:lnTo>
                  <a:lnTo>
                    <a:pt x="746" y="218"/>
                  </a:lnTo>
                  <a:lnTo>
                    <a:pt x="730" y="218"/>
                  </a:lnTo>
                  <a:lnTo>
                    <a:pt x="691" y="273"/>
                  </a:lnTo>
                  <a:lnTo>
                    <a:pt x="636" y="341"/>
                  </a:lnTo>
                  <a:lnTo>
                    <a:pt x="597" y="393"/>
                  </a:lnTo>
                  <a:lnTo>
                    <a:pt x="584" y="393"/>
                  </a:lnTo>
                  <a:lnTo>
                    <a:pt x="529" y="461"/>
                  </a:lnTo>
                  <a:lnTo>
                    <a:pt x="487" y="516"/>
                  </a:lnTo>
                  <a:lnTo>
                    <a:pt x="474" y="529"/>
                  </a:lnTo>
                  <a:lnTo>
                    <a:pt x="435" y="584"/>
                  </a:lnTo>
                  <a:lnTo>
                    <a:pt x="380" y="636"/>
                  </a:lnTo>
                  <a:lnTo>
                    <a:pt x="367" y="649"/>
                  </a:lnTo>
                  <a:lnTo>
                    <a:pt x="354" y="665"/>
                  </a:lnTo>
                  <a:lnTo>
                    <a:pt x="325" y="691"/>
                  </a:lnTo>
                  <a:lnTo>
                    <a:pt x="299" y="717"/>
                  </a:lnTo>
                  <a:lnTo>
                    <a:pt x="273" y="759"/>
                  </a:lnTo>
                  <a:lnTo>
                    <a:pt x="244" y="785"/>
                  </a:lnTo>
                  <a:lnTo>
                    <a:pt x="244" y="785"/>
                  </a:lnTo>
                  <a:lnTo>
                    <a:pt x="218" y="811"/>
                  </a:lnTo>
                  <a:lnTo>
                    <a:pt x="192" y="840"/>
                  </a:lnTo>
                  <a:lnTo>
                    <a:pt x="163" y="866"/>
                  </a:lnTo>
                  <a:lnTo>
                    <a:pt x="137" y="908"/>
                  </a:lnTo>
                  <a:lnTo>
                    <a:pt x="111" y="934"/>
                  </a:lnTo>
                  <a:lnTo>
                    <a:pt x="98" y="960"/>
                  </a:lnTo>
                  <a:lnTo>
                    <a:pt x="69" y="989"/>
                  </a:lnTo>
                  <a:lnTo>
                    <a:pt x="69" y="989"/>
                  </a:lnTo>
                  <a:lnTo>
                    <a:pt x="17" y="1002"/>
                  </a:lnTo>
                  <a:lnTo>
                    <a:pt x="1" y="947"/>
                  </a:lnTo>
                  <a:lnTo>
                    <a:pt x="1" y="947"/>
                  </a:lnTo>
                  <a:lnTo>
                    <a:pt x="30" y="921"/>
                  </a:lnTo>
                  <a:lnTo>
                    <a:pt x="56" y="879"/>
                  </a:lnTo>
                  <a:lnTo>
                    <a:pt x="69" y="853"/>
                  </a:lnTo>
                  <a:lnTo>
                    <a:pt x="98" y="811"/>
                  </a:lnTo>
                  <a:lnTo>
                    <a:pt x="124" y="785"/>
                  </a:lnTo>
                  <a:lnTo>
                    <a:pt x="150" y="759"/>
                  </a:lnTo>
                  <a:lnTo>
                    <a:pt x="179" y="717"/>
                  </a:lnTo>
                  <a:lnTo>
                    <a:pt x="179" y="717"/>
                  </a:lnTo>
                  <a:lnTo>
                    <a:pt x="192" y="691"/>
                  </a:lnTo>
                  <a:lnTo>
                    <a:pt x="218" y="665"/>
                  </a:lnTo>
                  <a:lnTo>
                    <a:pt x="244" y="623"/>
                  </a:lnTo>
                  <a:lnTo>
                    <a:pt x="273" y="597"/>
                  </a:lnTo>
                  <a:lnTo>
                    <a:pt x="286" y="584"/>
                  </a:lnTo>
                  <a:lnTo>
                    <a:pt x="299" y="568"/>
                  </a:lnTo>
                  <a:lnTo>
                    <a:pt x="354" y="516"/>
                  </a:lnTo>
                  <a:lnTo>
                    <a:pt x="393" y="461"/>
                  </a:lnTo>
                  <a:lnTo>
                    <a:pt x="406" y="448"/>
                  </a:lnTo>
                  <a:lnTo>
                    <a:pt x="461" y="393"/>
                  </a:lnTo>
                  <a:lnTo>
                    <a:pt x="529" y="341"/>
                  </a:lnTo>
                  <a:lnTo>
                    <a:pt x="529" y="325"/>
                  </a:lnTo>
                  <a:lnTo>
                    <a:pt x="584" y="286"/>
                  </a:lnTo>
                  <a:lnTo>
                    <a:pt x="636" y="231"/>
                  </a:lnTo>
                  <a:lnTo>
                    <a:pt x="691" y="179"/>
                  </a:lnTo>
                  <a:lnTo>
                    <a:pt x="691" y="179"/>
                  </a:lnTo>
                  <a:lnTo>
                    <a:pt x="759" y="124"/>
                  </a:lnTo>
                  <a:lnTo>
                    <a:pt x="785" y="82"/>
                  </a:lnTo>
                  <a:lnTo>
                    <a:pt x="811" y="56"/>
                  </a:lnTo>
                  <a:lnTo>
                    <a:pt x="840" y="30"/>
                  </a:lnTo>
                  <a:lnTo>
                    <a:pt x="866" y="1"/>
                  </a:lnTo>
                  <a:lnTo>
                    <a:pt x="89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8" name="Google Shape;5108;p52">
              <a:extLst>
                <a:ext uri="{FF2B5EF4-FFF2-40B4-BE49-F238E27FC236}">
                  <a16:creationId xmlns:a16="http://schemas.microsoft.com/office/drawing/2014/main" id="{8F6B6B9E-5BC1-74C4-06CD-270562609D02}"/>
                </a:ext>
              </a:extLst>
            </p:cNvPr>
            <p:cNvSpPr/>
            <p:nvPr/>
          </p:nvSpPr>
          <p:spPr>
            <a:xfrm>
              <a:off x="3336999" y="3868340"/>
              <a:ext cx="20679" cy="473679"/>
            </a:xfrm>
            <a:custGeom>
              <a:avLst/>
              <a:gdLst/>
              <a:ahLst/>
              <a:cxnLst/>
              <a:rect l="l" t="t" r="r" b="b"/>
              <a:pathLst>
                <a:path w="633" h="14500" extrusionOk="0">
                  <a:moveTo>
                    <a:pt x="82" y="40"/>
                  </a:moveTo>
                  <a:lnTo>
                    <a:pt x="108" y="150"/>
                  </a:lnTo>
                  <a:lnTo>
                    <a:pt x="121" y="257"/>
                  </a:lnTo>
                  <a:lnTo>
                    <a:pt x="147" y="364"/>
                  </a:lnTo>
                  <a:lnTo>
                    <a:pt x="147" y="393"/>
                  </a:lnTo>
                  <a:lnTo>
                    <a:pt x="163" y="487"/>
                  </a:lnTo>
                  <a:lnTo>
                    <a:pt x="176" y="594"/>
                  </a:lnTo>
                  <a:lnTo>
                    <a:pt x="189" y="704"/>
                  </a:lnTo>
                  <a:lnTo>
                    <a:pt x="202" y="811"/>
                  </a:lnTo>
                  <a:lnTo>
                    <a:pt x="215" y="931"/>
                  </a:lnTo>
                  <a:lnTo>
                    <a:pt x="228" y="1041"/>
                  </a:lnTo>
                  <a:lnTo>
                    <a:pt x="244" y="1148"/>
                  </a:lnTo>
                  <a:lnTo>
                    <a:pt x="244" y="1271"/>
                  </a:lnTo>
                  <a:lnTo>
                    <a:pt x="257" y="1378"/>
                  </a:lnTo>
                  <a:lnTo>
                    <a:pt x="270" y="1472"/>
                  </a:lnTo>
                  <a:lnTo>
                    <a:pt x="270" y="1485"/>
                  </a:lnTo>
                  <a:lnTo>
                    <a:pt x="283" y="1608"/>
                  </a:lnTo>
                  <a:lnTo>
                    <a:pt x="283" y="1715"/>
                  </a:lnTo>
                  <a:lnTo>
                    <a:pt x="296" y="1822"/>
                  </a:lnTo>
                  <a:lnTo>
                    <a:pt x="309" y="1945"/>
                  </a:lnTo>
                  <a:lnTo>
                    <a:pt x="309" y="2052"/>
                  </a:lnTo>
                  <a:lnTo>
                    <a:pt x="325" y="2282"/>
                  </a:lnTo>
                  <a:lnTo>
                    <a:pt x="338" y="2499"/>
                  </a:lnTo>
                  <a:lnTo>
                    <a:pt x="351" y="2729"/>
                  </a:lnTo>
                  <a:lnTo>
                    <a:pt x="364" y="2956"/>
                  </a:lnTo>
                  <a:lnTo>
                    <a:pt x="377" y="3186"/>
                  </a:lnTo>
                  <a:lnTo>
                    <a:pt x="390" y="3403"/>
                  </a:lnTo>
                  <a:lnTo>
                    <a:pt x="406" y="3633"/>
                  </a:lnTo>
                  <a:lnTo>
                    <a:pt x="406" y="3863"/>
                  </a:lnTo>
                  <a:lnTo>
                    <a:pt x="419" y="4077"/>
                  </a:lnTo>
                  <a:lnTo>
                    <a:pt x="432" y="4307"/>
                  </a:lnTo>
                  <a:lnTo>
                    <a:pt x="432" y="4537"/>
                  </a:lnTo>
                  <a:lnTo>
                    <a:pt x="445" y="4767"/>
                  </a:lnTo>
                  <a:lnTo>
                    <a:pt x="458" y="4916"/>
                  </a:lnTo>
                  <a:lnTo>
                    <a:pt x="458" y="4981"/>
                  </a:lnTo>
                  <a:lnTo>
                    <a:pt x="458" y="5211"/>
                  </a:lnTo>
                  <a:lnTo>
                    <a:pt x="471" y="5441"/>
                  </a:lnTo>
                  <a:lnTo>
                    <a:pt x="471" y="5658"/>
                  </a:lnTo>
                  <a:lnTo>
                    <a:pt x="487" y="5888"/>
                  </a:lnTo>
                  <a:lnTo>
                    <a:pt x="487" y="6115"/>
                  </a:lnTo>
                  <a:lnTo>
                    <a:pt x="487" y="6345"/>
                  </a:lnTo>
                  <a:lnTo>
                    <a:pt x="500" y="6562"/>
                  </a:lnTo>
                  <a:lnTo>
                    <a:pt x="500" y="6792"/>
                  </a:lnTo>
                  <a:lnTo>
                    <a:pt x="500" y="7022"/>
                  </a:lnTo>
                  <a:lnTo>
                    <a:pt x="513" y="7249"/>
                  </a:lnTo>
                  <a:lnTo>
                    <a:pt x="513" y="7696"/>
                  </a:lnTo>
                  <a:lnTo>
                    <a:pt x="526" y="8140"/>
                  </a:lnTo>
                  <a:lnTo>
                    <a:pt x="526" y="8600"/>
                  </a:lnTo>
                  <a:lnTo>
                    <a:pt x="539" y="8804"/>
                  </a:lnTo>
                  <a:lnTo>
                    <a:pt x="539" y="9047"/>
                  </a:lnTo>
                  <a:lnTo>
                    <a:pt x="539" y="9504"/>
                  </a:lnTo>
                  <a:lnTo>
                    <a:pt x="552" y="9734"/>
                  </a:lnTo>
                  <a:lnTo>
                    <a:pt x="552" y="9951"/>
                  </a:lnTo>
                  <a:lnTo>
                    <a:pt x="552" y="10003"/>
                  </a:lnTo>
                  <a:lnTo>
                    <a:pt x="552" y="10181"/>
                  </a:lnTo>
                  <a:lnTo>
                    <a:pt x="552" y="10408"/>
                  </a:lnTo>
                  <a:lnTo>
                    <a:pt x="568" y="10625"/>
                  </a:lnTo>
                  <a:lnTo>
                    <a:pt x="568" y="10855"/>
                  </a:lnTo>
                  <a:lnTo>
                    <a:pt x="568" y="11085"/>
                  </a:lnTo>
                  <a:lnTo>
                    <a:pt x="581" y="11299"/>
                  </a:lnTo>
                  <a:lnTo>
                    <a:pt x="581" y="11299"/>
                  </a:lnTo>
                  <a:lnTo>
                    <a:pt x="581" y="11529"/>
                  </a:lnTo>
                  <a:lnTo>
                    <a:pt x="581" y="11759"/>
                  </a:lnTo>
                  <a:lnTo>
                    <a:pt x="594" y="11989"/>
                  </a:lnTo>
                  <a:lnTo>
                    <a:pt x="594" y="12206"/>
                  </a:lnTo>
                  <a:lnTo>
                    <a:pt x="607" y="12433"/>
                  </a:lnTo>
                  <a:lnTo>
                    <a:pt x="607" y="12475"/>
                  </a:lnTo>
                  <a:lnTo>
                    <a:pt x="607" y="12663"/>
                  </a:lnTo>
                  <a:lnTo>
                    <a:pt x="607" y="12880"/>
                  </a:lnTo>
                  <a:lnTo>
                    <a:pt x="620" y="13110"/>
                  </a:lnTo>
                  <a:lnTo>
                    <a:pt x="633" y="13340"/>
                  </a:lnTo>
                  <a:lnTo>
                    <a:pt x="633" y="13353"/>
                  </a:lnTo>
                  <a:lnTo>
                    <a:pt x="633" y="13554"/>
                  </a:lnTo>
                  <a:lnTo>
                    <a:pt x="633" y="13784"/>
                  </a:lnTo>
                  <a:lnTo>
                    <a:pt x="633" y="13891"/>
                  </a:lnTo>
                  <a:lnTo>
                    <a:pt x="633" y="13972"/>
                  </a:lnTo>
                  <a:lnTo>
                    <a:pt x="633" y="14014"/>
                  </a:lnTo>
                  <a:lnTo>
                    <a:pt x="633" y="14121"/>
                  </a:lnTo>
                  <a:lnTo>
                    <a:pt x="633" y="14231"/>
                  </a:lnTo>
                  <a:lnTo>
                    <a:pt x="633" y="14351"/>
                  </a:lnTo>
                  <a:lnTo>
                    <a:pt x="633" y="14458"/>
                  </a:lnTo>
                  <a:lnTo>
                    <a:pt x="607" y="14500"/>
                  </a:lnTo>
                  <a:lnTo>
                    <a:pt x="581" y="14458"/>
                  </a:lnTo>
                  <a:lnTo>
                    <a:pt x="568" y="14351"/>
                  </a:lnTo>
                  <a:lnTo>
                    <a:pt x="552" y="14244"/>
                  </a:lnTo>
                  <a:lnTo>
                    <a:pt x="539" y="14121"/>
                  </a:lnTo>
                  <a:lnTo>
                    <a:pt x="526" y="14014"/>
                  </a:lnTo>
                  <a:lnTo>
                    <a:pt x="526" y="13972"/>
                  </a:lnTo>
                  <a:lnTo>
                    <a:pt x="513" y="13907"/>
                  </a:lnTo>
                  <a:lnTo>
                    <a:pt x="500" y="13797"/>
                  </a:lnTo>
                  <a:lnTo>
                    <a:pt x="471" y="13567"/>
                  </a:lnTo>
                  <a:lnTo>
                    <a:pt x="445" y="13366"/>
                  </a:lnTo>
                  <a:lnTo>
                    <a:pt x="445" y="13340"/>
                  </a:lnTo>
                  <a:lnTo>
                    <a:pt x="432" y="13123"/>
                  </a:lnTo>
                  <a:lnTo>
                    <a:pt x="419" y="12893"/>
                  </a:lnTo>
                  <a:lnTo>
                    <a:pt x="406" y="12663"/>
                  </a:lnTo>
                  <a:lnTo>
                    <a:pt x="390" y="12488"/>
                  </a:lnTo>
                  <a:lnTo>
                    <a:pt x="390" y="12449"/>
                  </a:lnTo>
                  <a:lnTo>
                    <a:pt x="377" y="12219"/>
                  </a:lnTo>
                  <a:lnTo>
                    <a:pt x="364" y="11989"/>
                  </a:lnTo>
                  <a:lnTo>
                    <a:pt x="364" y="11759"/>
                  </a:lnTo>
                  <a:lnTo>
                    <a:pt x="351" y="11542"/>
                  </a:lnTo>
                  <a:lnTo>
                    <a:pt x="338" y="11315"/>
                  </a:lnTo>
                  <a:lnTo>
                    <a:pt x="338" y="11299"/>
                  </a:lnTo>
                  <a:lnTo>
                    <a:pt x="338" y="11085"/>
                  </a:lnTo>
                  <a:lnTo>
                    <a:pt x="325" y="10868"/>
                  </a:lnTo>
                  <a:lnTo>
                    <a:pt x="309" y="10638"/>
                  </a:lnTo>
                  <a:lnTo>
                    <a:pt x="309" y="10408"/>
                  </a:lnTo>
                  <a:lnTo>
                    <a:pt x="296" y="10181"/>
                  </a:lnTo>
                  <a:lnTo>
                    <a:pt x="296" y="10019"/>
                  </a:lnTo>
                  <a:lnTo>
                    <a:pt x="296" y="9964"/>
                  </a:lnTo>
                  <a:lnTo>
                    <a:pt x="283" y="9734"/>
                  </a:lnTo>
                  <a:lnTo>
                    <a:pt x="283" y="9504"/>
                  </a:lnTo>
                  <a:lnTo>
                    <a:pt x="270" y="9060"/>
                  </a:lnTo>
                  <a:lnTo>
                    <a:pt x="270" y="8804"/>
                  </a:lnTo>
                  <a:lnTo>
                    <a:pt x="270" y="8600"/>
                  </a:lnTo>
                  <a:lnTo>
                    <a:pt x="257" y="8156"/>
                  </a:lnTo>
                  <a:lnTo>
                    <a:pt x="257" y="7696"/>
                  </a:lnTo>
                  <a:lnTo>
                    <a:pt x="244" y="7249"/>
                  </a:lnTo>
                  <a:lnTo>
                    <a:pt x="244" y="7022"/>
                  </a:lnTo>
                  <a:lnTo>
                    <a:pt x="244" y="6792"/>
                  </a:lnTo>
                  <a:lnTo>
                    <a:pt x="228" y="6575"/>
                  </a:lnTo>
                  <a:lnTo>
                    <a:pt x="228" y="6345"/>
                  </a:lnTo>
                  <a:lnTo>
                    <a:pt x="228" y="6115"/>
                  </a:lnTo>
                  <a:lnTo>
                    <a:pt x="228" y="5901"/>
                  </a:lnTo>
                  <a:lnTo>
                    <a:pt x="215" y="5671"/>
                  </a:lnTo>
                  <a:lnTo>
                    <a:pt x="215" y="5441"/>
                  </a:lnTo>
                  <a:lnTo>
                    <a:pt x="215" y="5211"/>
                  </a:lnTo>
                  <a:lnTo>
                    <a:pt x="202" y="4997"/>
                  </a:lnTo>
                  <a:lnTo>
                    <a:pt x="202" y="4929"/>
                  </a:lnTo>
                  <a:lnTo>
                    <a:pt x="202" y="4767"/>
                  </a:lnTo>
                  <a:lnTo>
                    <a:pt x="202" y="4537"/>
                  </a:lnTo>
                  <a:lnTo>
                    <a:pt x="189" y="4320"/>
                  </a:lnTo>
                  <a:lnTo>
                    <a:pt x="189" y="4090"/>
                  </a:lnTo>
                  <a:lnTo>
                    <a:pt x="176" y="3863"/>
                  </a:lnTo>
                  <a:lnTo>
                    <a:pt x="176" y="3646"/>
                  </a:lnTo>
                  <a:lnTo>
                    <a:pt x="163" y="3416"/>
                  </a:lnTo>
                  <a:lnTo>
                    <a:pt x="147" y="3186"/>
                  </a:lnTo>
                  <a:lnTo>
                    <a:pt x="147" y="2972"/>
                  </a:lnTo>
                  <a:lnTo>
                    <a:pt x="134" y="2742"/>
                  </a:lnTo>
                  <a:lnTo>
                    <a:pt x="121" y="2512"/>
                  </a:lnTo>
                  <a:lnTo>
                    <a:pt x="108" y="2295"/>
                  </a:lnTo>
                  <a:lnTo>
                    <a:pt x="95" y="2065"/>
                  </a:lnTo>
                  <a:lnTo>
                    <a:pt x="95" y="1958"/>
                  </a:lnTo>
                  <a:lnTo>
                    <a:pt x="82" y="1838"/>
                  </a:lnTo>
                  <a:lnTo>
                    <a:pt x="82" y="1728"/>
                  </a:lnTo>
                  <a:lnTo>
                    <a:pt x="66" y="1621"/>
                  </a:lnTo>
                  <a:lnTo>
                    <a:pt x="66" y="1498"/>
                  </a:lnTo>
                  <a:lnTo>
                    <a:pt x="66" y="1485"/>
                  </a:lnTo>
                  <a:lnTo>
                    <a:pt x="53" y="1391"/>
                  </a:lnTo>
                  <a:lnTo>
                    <a:pt x="53" y="1284"/>
                  </a:lnTo>
                  <a:lnTo>
                    <a:pt x="53" y="1161"/>
                  </a:lnTo>
                  <a:lnTo>
                    <a:pt x="40" y="1054"/>
                  </a:lnTo>
                  <a:lnTo>
                    <a:pt x="40" y="947"/>
                  </a:lnTo>
                  <a:lnTo>
                    <a:pt x="27" y="837"/>
                  </a:lnTo>
                  <a:lnTo>
                    <a:pt x="27" y="717"/>
                  </a:lnTo>
                  <a:lnTo>
                    <a:pt x="14" y="607"/>
                  </a:lnTo>
                  <a:lnTo>
                    <a:pt x="14" y="500"/>
                  </a:lnTo>
                  <a:lnTo>
                    <a:pt x="1" y="406"/>
                  </a:lnTo>
                  <a:lnTo>
                    <a:pt x="1" y="380"/>
                  </a:lnTo>
                  <a:lnTo>
                    <a:pt x="1" y="270"/>
                  </a:lnTo>
                  <a:lnTo>
                    <a:pt x="14" y="150"/>
                  </a:lnTo>
                  <a:lnTo>
                    <a:pt x="1" y="40"/>
                  </a:lnTo>
                  <a:lnTo>
                    <a:pt x="4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9" name="Google Shape;5109;p52">
              <a:extLst>
                <a:ext uri="{FF2B5EF4-FFF2-40B4-BE49-F238E27FC236}">
                  <a16:creationId xmlns:a16="http://schemas.microsoft.com/office/drawing/2014/main" id="{7ADB244E-6E4C-95C6-76E9-A74EC57242E3}"/>
                </a:ext>
              </a:extLst>
            </p:cNvPr>
            <p:cNvSpPr/>
            <p:nvPr/>
          </p:nvSpPr>
          <p:spPr>
            <a:xfrm>
              <a:off x="3055985" y="3914174"/>
              <a:ext cx="250135" cy="366137"/>
            </a:xfrm>
            <a:custGeom>
              <a:avLst/>
              <a:gdLst/>
              <a:ahLst/>
              <a:cxnLst/>
              <a:rect l="l" t="t" r="r" b="b"/>
              <a:pathLst>
                <a:path w="7657" h="11208" extrusionOk="0">
                  <a:moveTo>
                    <a:pt x="4958" y="11208"/>
                  </a:moveTo>
                  <a:lnTo>
                    <a:pt x="2703" y="11208"/>
                  </a:lnTo>
                  <a:cubicBezTo>
                    <a:pt x="960" y="11059"/>
                    <a:pt x="1" y="8697"/>
                    <a:pt x="1906" y="7453"/>
                  </a:cubicBezTo>
                  <a:cubicBezTo>
                    <a:pt x="3808" y="6212"/>
                    <a:pt x="325" y="5700"/>
                    <a:pt x="1906" y="4226"/>
                  </a:cubicBezTo>
                  <a:cubicBezTo>
                    <a:pt x="3484" y="2755"/>
                    <a:pt x="2810" y="3228"/>
                    <a:pt x="2703" y="1689"/>
                  </a:cubicBezTo>
                  <a:cubicBezTo>
                    <a:pt x="2661" y="1164"/>
                    <a:pt x="2823" y="137"/>
                    <a:pt x="3662" y="82"/>
                  </a:cubicBezTo>
                  <a:cubicBezTo>
                    <a:pt x="4767" y="1"/>
                    <a:pt x="4997" y="1096"/>
                    <a:pt x="4958" y="1689"/>
                  </a:cubicBezTo>
                  <a:cubicBezTo>
                    <a:pt x="4835" y="3228"/>
                    <a:pt x="4174" y="2755"/>
                    <a:pt x="5752" y="4226"/>
                  </a:cubicBezTo>
                  <a:cubicBezTo>
                    <a:pt x="7333" y="5700"/>
                    <a:pt x="3850" y="6212"/>
                    <a:pt x="5752" y="7453"/>
                  </a:cubicBezTo>
                  <a:cubicBezTo>
                    <a:pt x="7657" y="8697"/>
                    <a:pt x="6698" y="11059"/>
                    <a:pt x="4958" y="11208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0" name="Google Shape;5110;p52">
              <a:extLst>
                <a:ext uri="{FF2B5EF4-FFF2-40B4-BE49-F238E27FC236}">
                  <a16:creationId xmlns:a16="http://schemas.microsoft.com/office/drawing/2014/main" id="{1C9B8228-3436-C0DE-A8DF-8DBCDAD31A76}"/>
                </a:ext>
              </a:extLst>
            </p:cNvPr>
            <p:cNvSpPr/>
            <p:nvPr/>
          </p:nvSpPr>
          <p:spPr>
            <a:xfrm>
              <a:off x="3132299" y="4163336"/>
              <a:ext cx="57821" cy="44166"/>
            </a:xfrm>
            <a:custGeom>
              <a:avLst/>
              <a:gdLst/>
              <a:ahLst/>
              <a:cxnLst/>
              <a:rect l="l" t="t" r="r" b="b"/>
              <a:pathLst>
                <a:path w="1770" h="1352" extrusionOk="0">
                  <a:moveTo>
                    <a:pt x="82" y="43"/>
                  </a:moveTo>
                  <a:lnTo>
                    <a:pt x="137" y="82"/>
                  </a:lnTo>
                  <a:lnTo>
                    <a:pt x="192" y="124"/>
                  </a:lnTo>
                  <a:lnTo>
                    <a:pt x="244" y="163"/>
                  </a:lnTo>
                  <a:lnTo>
                    <a:pt x="286" y="179"/>
                  </a:lnTo>
                  <a:lnTo>
                    <a:pt x="299" y="205"/>
                  </a:lnTo>
                  <a:lnTo>
                    <a:pt x="354" y="244"/>
                  </a:lnTo>
                  <a:lnTo>
                    <a:pt x="406" y="273"/>
                  </a:lnTo>
                  <a:lnTo>
                    <a:pt x="474" y="312"/>
                  </a:lnTo>
                  <a:lnTo>
                    <a:pt x="500" y="341"/>
                  </a:lnTo>
                  <a:lnTo>
                    <a:pt x="529" y="354"/>
                  </a:lnTo>
                  <a:lnTo>
                    <a:pt x="581" y="393"/>
                  </a:lnTo>
                  <a:lnTo>
                    <a:pt x="691" y="474"/>
                  </a:lnTo>
                  <a:lnTo>
                    <a:pt x="717" y="487"/>
                  </a:lnTo>
                  <a:lnTo>
                    <a:pt x="798" y="555"/>
                  </a:lnTo>
                  <a:lnTo>
                    <a:pt x="905" y="636"/>
                  </a:lnTo>
                  <a:lnTo>
                    <a:pt x="973" y="678"/>
                  </a:lnTo>
                  <a:lnTo>
                    <a:pt x="1135" y="785"/>
                  </a:lnTo>
                  <a:lnTo>
                    <a:pt x="1245" y="866"/>
                  </a:lnTo>
                  <a:lnTo>
                    <a:pt x="1271" y="892"/>
                  </a:lnTo>
                  <a:lnTo>
                    <a:pt x="1352" y="947"/>
                  </a:lnTo>
                  <a:lnTo>
                    <a:pt x="1407" y="989"/>
                  </a:lnTo>
                  <a:lnTo>
                    <a:pt x="1459" y="1028"/>
                  </a:lnTo>
                  <a:lnTo>
                    <a:pt x="1514" y="1070"/>
                  </a:lnTo>
                  <a:lnTo>
                    <a:pt x="1569" y="1122"/>
                  </a:lnTo>
                  <a:lnTo>
                    <a:pt x="1621" y="1164"/>
                  </a:lnTo>
                  <a:lnTo>
                    <a:pt x="1676" y="1203"/>
                  </a:lnTo>
                  <a:lnTo>
                    <a:pt x="1731" y="1245"/>
                  </a:lnTo>
                  <a:lnTo>
                    <a:pt x="1744" y="1258"/>
                  </a:lnTo>
                  <a:lnTo>
                    <a:pt x="1770" y="1297"/>
                  </a:lnTo>
                  <a:lnTo>
                    <a:pt x="1770" y="1339"/>
                  </a:lnTo>
                  <a:lnTo>
                    <a:pt x="1731" y="1352"/>
                  </a:lnTo>
                  <a:lnTo>
                    <a:pt x="1676" y="1339"/>
                  </a:lnTo>
                  <a:lnTo>
                    <a:pt x="1663" y="1326"/>
                  </a:lnTo>
                  <a:lnTo>
                    <a:pt x="1608" y="1284"/>
                  </a:lnTo>
                  <a:lnTo>
                    <a:pt x="1553" y="1245"/>
                  </a:lnTo>
                  <a:lnTo>
                    <a:pt x="1501" y="1203"/>
                  </a:lnTo>
                  <a:lnTo>
                    <a:pt x="1446" y="1164"/>
                  </a:lnTo>
                  <a:lnTo>
                    <a:pt x="1391" y="1122"/>
                  </a:lnTo>
                  <a:lnTo>
                    <a:pt x="1339" y="1083"/>
                  </a:lnTo>
                  <a:lnTo>
                    <a:pt x="1284" y="1041"/>
                  </a:lnTo>
                  <a:lnTo>
                    <a:pt x="1203" y="989"/>
                  </a:lnTo>
                  <a:lnTo>
                    <a:pt x="1177" y="960"/>
                  </a:lnTo>
                  <a:lnTo>
                    <a:pt x="1067" y="879"/>
                  </a:lnTo>
                  <a:lnTo>
                    <a:pt x="905" y="759"/>
                  </a:lnTo>
                  <a:lnTo>
                    <a:pt x="853" y="717"/>
                  </a:lnTo>
                  <a:lnTo>
                    <a:pt x="743" y="636"/>
                  </a:lnTo>
                  <a:lnTo>
                    <a:pt x="649" y="568"/>
                  </a:lnTo>
                  <a:lnTo>
                    <a:pt x="636" y="555"/>
                  </a:lnTo>
                  <a:lnTo>
                    <a:pt x="529" y="461"/>
                  </a:lnTo>
                  <a:lnTo>
                    <a:pt x="474" y="422"/>
                  </a:lnTo>
                  <a:lnTo>
                    <a:pt x="448" y="406"/>
                  </a:lnTo>
                  <a:lnTo>
                    <a:pt x="419" y="380"/>
                  </a:lnTo>
                  <a:lnTo>
                    <a:pt x="367" y="341"/>
                  </a:lnTo>
                  <a:lnTo>
                    <a:pt x="312" y="299"/>
                  </a:lnTo>
                  <a:lnTo>
                    <a:pt x="257" y="244"/>
                  </a:lnTo>
                  <a:lnTo>
                    <a:pt x="244" y="231"/>
                  </a:lnTo>
                  <a:lnTo>
                    <a:pt x="205" y="205"/>
                  </a:lnTo>
                  <a:lnTo>
                    <a:pt x="163" y="163"/>
                  </a:lnTo>
                  <a:lnTo>
                    <a:pt x="111" y="124"/>
                  </a:lnTo>
                  <a:lnTo>
                    <a:pt x="56" y="69"/>
                  </a:lnTo>
                  <a:lnTo>
                    <a:pt x="1" y="30"/>
                  </a:lnTo>
                  <a:lnTo>
                    <a:pt x="1" y="1"/>
                  </a:lnTo>
                  <a:lnTo>
                    <a:pt x="3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1" name="Google Shape;5111;p52">
              <a:extLst>
                <a:ext uri="{FF2B5EF4-FFF2-40B4-BE49-F238E27FC236}">
                  <a16:creationId xmlns:a16="http://schemas.microsoft.com/office/drawing/2014/main" id="{8AFDE29F-D43D-8D6B-A8A9-037B2FB46207}"/>
                </a:ext>
              </a:extLst>
            </p:cNvPr>
            <p:cNvSpPr/>
            <p:nvPr/>
          </p:nvSpPr>
          <p:spPr>
            <a:xfrm>
              <a:off x="3188292" y="4174868"/>
              <a:ext cx="64486" cy="54653"/>
            </a:xfrm>
            <a:custGeom>
              <a:avLst/>
              <a:gdLst/>
              <a:ahLst/>
              <a:cxnLst/>
              <a:rect l="l" t="t" r="r" b="b"/>
              <a:pathLst>
                <a:path w="1974" h="1673" extrusionOk="0">
                  <a:moveTo>
                    <a:pt x="1961" y="40"/>
                  </a:moveTo>
                  <a:lnTo>
                    <a:pt x="1851" y="150"/>
                  </a:lnTo>
                  <a:lnTo>
                    <a:pt x="1770" y="215"/>
                  </a:lnTo>
                  <a:lnTo>
                    <a:pt x="1731" y="244"/>
                  </a:lnTo>
                  <a:lnTo>
                    <a:pt x="1608" y="351"/>
                  </a:lnTo>
                  <a:lnTo>
                    <a:pt x="1608" y="351"/>
                  </a:lnTo>
                  <a:lnTo>
                    <a:pt x="1501" y="458"/>
                  </a:lnTo>
                  <a:lnTo>
                    <a:pt x="1475" y="474"/>
                  </a:lnTo>
                  <a:lnTo>
                    <a:pt x="1433" y="513"/>
                  </a:lnTo>
                  <a:lnTo>
                    <a:pt x="1378" y="555"/>
                  </a:lnTo>
                  <a:lnTo>
                    <a:pt x="1313" y="607"/>
                  </a:lnTo>
                  <a:lnTo>
                    <a:pt x="1258" y="662"/>
                  </a:lnTo>
                  <a:lnTo>
                    <a:pt x="1190" y="717"/>
                  </a:lnTo>
                  <a:lnTo>
                    <a:pt x="1135" y="769"/>
                  </a:lnTo>
                  <a:lnTo>
                    <a:pt x="1109" y="782"/>
                  </a:lnTo>
                  <a:lnTo>
                    <a:pt x="1083" y="824"/>
                  </a:lnTo>
                  <a:lnTo>
                    <a:pt x="1015" y="863"/>
                  </a:lnTo>
                  <a:lnTo>
                    <a:pt x="960" y="918"/>
                  </a:lnTo>
                  <a:lnTo>
                    <a:pt x="892" y="973"/>
                  </a:lnTo>
                  <a:lnTo>
                    <a:pt x="840" y="1025"/>
                  </a:lnTo>
                  <a:lnTo>
                    <a:pt x="772" y="1080"/>
                  </a:lnTo>
                  <a:lnTo>
                    <a:pt x="730" y="1122"/>
                  </a:lnTo>
                  <a:lnTo>
                    <a:pt x="717" y="1135"/>
                  </a:lnTo>
                  <a:lnTo>
                    <a:pt x="665" y="1187"/>
                  </a:lnTo>
                  <a:lnTo>
                    <a:pt x="597" y="1229"/>
                  </a:lnTo>
                  <a:lnTo>
                    <a:pt x="542" y="1284"/>
                  </a:lnTo>
                  <a:lnTo>
                    <a:pt x="487" y="1336"/>
                  </a:lnTo>
                  <a:lnTo>
                    <a:pt x="422" y="1391"/>
                  </a:lnTo>
                  <a:lnTo>
                    <a:pt x="393" y="1417"/>
                  </a:lnTo>
                  <a:lnTo>
                    <a:pt x="367" y="1446"/>
                  </a:lnTo>
                  <a:lnTo>
                    <a:pt x="312" y="1498"/>
                  </a:lnTo>
                  <a:lnTo>
                    <a:pt x="244" y="1540"/>
                  </a:lnTo>
                  <a:lnTo>
                    <a:pt x="231" y="1566"/>
                  </a:lnTo>
                  <a:lnTo>
                    <a:pt x="192" y="1592"/>
                  </a:lnTo>
                  <a:lnTo>
                    <a:pt x="137" y="1647"/>
                  </a:lnTo>
                  <a:lnTo>
                    <a:pt x="124" y="1660"/>
                  </a:lnTo>
                  <a:lnTo>
                    <a:pt x="43" y="1673"/>
                  </a:lnTo>
                  <a:lnTo>
                    <a:pt x="1" y="1660"/>
                  </a:lnTo>
                  <a:lnTo>
                    <a:pt x="1" y="1621"/>
                  </a:lnTo>
                  <a:lnTo>
                    <a:pt x="17" y="1553"/>
                  </a:lnTo>
                  <a:lnTo>
                    <a:pt x="30" y="1540"/>
                  </a:lnTo>
                  <a:lnTo>
                    <a:pt x="82" y="1485"/>
                  </a:lnTo>
                  <a:lnTo>
                    <a:pt x="124" y="1446"/>
                  </a:lnTo>
                  <a:lnTo>
                    <a:pt x="137" y="1430"/>
                  </a:lnTo>
                  <a:lnTo>
                    <a:pt x="192" y="1378"/>
                  </a:lnTo>
                  <a:lnTo>
                    <a:pt x="244" y="1323"/>
                  </a:lnTo>
                  <a:lnTo>
                    <a:pt x="273" y="1297"/>
                  </a:lnTo>
                  <a:lnTo>
                    <a:pt x="312" y="1268"/>
                  </a:lnTo>
                  <a:lnTo>
                    <a:pt x="367" y="1216"/>
                  </a:lnTo>
                  <a:lnTo>
                    <a:pt x="422" y="1161"/>
                  </a:lnTo>
                  <a:lnTo>
                    <a:pt x="487" y="1106"/>
                  </a:lnTo>
                  <a:lnTo>
                    <a:pt x="542" y="1054"/>
                  </a:lnTo>
                  <a:lnTo>
                    <a:pt x="610" y="999"/>
                  </a:lnTo>
                  <a:lnTo>
                    <a:pt x="623" y="986"/>
                  </a:lnTo>
                  <a:lnTo>
                    <a:pt x="665" y="944"/>
                  </a:lnTo>
                  <a:lnTo>
                    <a:pt x="730" y="905"/>
                  </a:lnTo>
                  <a:lnTo>
                    <a:pt x="785" y="850"/>
                  </a:lnTo>
                  <a:lnTo>
                    <a:pt x="853" y="798"/>
                  </a:lnTo>
                  <a:lnTo>
                    <a:pt x="921" y="743"/>
                  </a:lnTo>
                  <a:lnTo>
                    <a:pt x="973" y="701"/>
                  </a:lnTo>
                  <a:lnTo>
                    <a:pt x="1015" y="662"/>
                  </a:lnTo>
                  <a:lnTo>
                    <a:pt x="1041" y="649"/>
                  </a:lnTo>
                  <a:lnTo>
                    <a:pt x="1096" y="594"/>
                  </a:lnTo>
                  <a:lnTo>
                    <a:pt x="1164" y="555"/>
                  </a:lnTo>
                  <a:lnTo>
                    <a:pt x="1232" y="500"/>
                  </a:lnTo>
                  <a:lnTo>
                    <a:pt x="1284" y="458"/>
                  </a:lnTo>
                  <a:lnTo>
                    <a:pt x="1352" y="406"/>
                  </a:lnTo>
                  <a:lnTo>
                    <a:pt x="1407" y="377"/>
                  </a:lnTo>
                  <a:lnTo>
                    <a:pt x="1420" y="364"/>
                  </a:lnTo>
                  <a:lnTo>
                    <a:pt x="1540" y="270"/>
                  </a:lnTo>
                  <a:lnTo>
                    <a:pt x="1540" y="270"/>
                  </a:lnTo>
                  <a:lnTo>
                    <a:pt x="1676" y="176"/>
                  </a:lnTo>
                  <a:lnTo>
                    <a:pt x="1718" y="150"/>
                  </a:lnTo>
                  <a:lnTo>
                    <a:pt x="1799" y="95"/>
                  </a:lnTo>
                  <a:lnTo>
                    <a:pt x="1932" y="1"/>
                  </a:lnTo>
                  <a:lnTo>
                    <a:pt x="197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2" name="Google Shape;5112;p52">
              <a:extLst>
                <a:ext uri="{FF2B5EF4-FFF2-40B4-BE49-F238E27FC236}">
                  <a16:creationId xmlns:a16="http://schemas.microsoft.com/office/drawing/2014/main" id="{E216B69B-A65B-108F-3590-E065F63C8D0E}"/>
                </a:ext>
              </a:extLst>
            </p:cNvPr>
            <p:cNvSpPr/>
            <p:nvPr/>
          </p:nvSpPr>
          <p:spPr>
            <a:xfrm>
              <a:off x="3142883" y="4048277"/>
              <a:ext cx="45016" cy="39724"/>
            </a:xfrm>
            <a:custGeom>
              <a:avLst/>
              <a:gdLst/>
              <a:ahLst/>
              <a:cxnLst/>
              <a:rect l="l" t="t" r="r" b="b"/>
              <a:pathLst>
                <a:path w="1378" h="1216" extrusionOk="0">
                  <a:moveTo>
                    <a:pt x="43" y="1"/>
                  </a:moveTo>
                  <a:lnTo>
                    <a:pt x="124" y="69"/>
                  </a:lnTo>
                  <a:lnTo>
                    <a:pt x="218" y="137"/>
                  </a:lnTo>
                  <a:lnTo>
                    <a:pt x="299" y="202"/>
                  </a:lnTo>
                  <a:lnTo>
                    <a:pt x="367" y="257"/>
                  </a:lnTo>
                  <a:lnTo>
                    <a:pt x="380" y="270"/>
                  </a:lnTo>
                  <a:lnTo>
                    <a:pt x="516" y="364"/>
                  </a:lnTo>
                  <a:lnTo>
                    <a:pt x="555" y="406"/>
                  </a:lnTo>
                  <a:lnTo>
                    <a:pt x="636" y="474"/>
                  </a:lnTo>
                  <a:lnTo>
                    <a:pt x="678" y="513"/>
                  </a:lnTo>
                  <a:lnTo>
                    <a:pt x="717" y="542"/>
                  </a:lnTo>
                  <a:lnTo>
                    <a:pt x="798" y="623"/>
                  </a:lnTo>
                  <a:lnTo>
                    <a:pt x="866" y="675"/>
                  </a:lnTo>
                  <a:lnTo>
                    <a:pt x="879" y="688"/>
                  </a:lnTo>
                  <a:lnTo>
                    <a:pt x="960" y="756"/>
                  </a:lnTo>
                  <a:lnTo>
                    <a:pt x="1002" y="798"/>
                  </a:lnTo>
                  <a:lnTo>
                    <a:pt x="1041" y="824"/>
                  </a:lnTo>
                  <a:lnTo>
                    <a:pt x="1096" y="866"/>
                  </a:lnTo>
                  <a:lnTo>
                    <a:pt x="1135" y="892"/>
                  </a:lnTo>
                  <a:lnTo>
                    <a:pt x="1177" y="931"/>
                  </a:lnTo>
                  <a:lnTo>
                    <a:pt x="1177" y="947"/>
                  </a:lnTo>
                  <a:lnTo>
                    <a:pt x="1216" y="960"/>
                  </a:lnTo>
                  <a:lnTo>
                    <a:pt x="1258" y="999"/>
                  </a:lnTo>
                  <a:lnTo>
                    <a:pt x="1284" y="1028"/>
                  </a:lnTo>
                  <a:lnTo>
                    <a:pt x="1297" y="1028"/>
                  </a:lnTo>
                  <a:lnTo>
                    <a:pt x="1339" y="1067"/>
                  </a:lnTo>
                  <a:lnTo>
                    <a:pt x="1378" y="1093"/>
                  </a:lnTo>
                  <a:lnTo>
                    <a:pt x="1352" y="1135"/>
                  </a:lnTo>
                  <a:lnTo>
                    <a:pt x="1310" y="1190"/>
                  </a:lnTo>
                  <a:lnTo>
                    <a:pt x="1284" y="1216"/>
                  </a:lnTo>
                  <a:lnTo>
                    <a:pt x="1245" y="1174"/>
                  </a:lnTo>
                  <a:lnTo>
                    <a:pt x="1203" y="1148"/>
                  </a:lnTo>
                  <a:lnTo>
                    <a:pt x="1190" y="1135"/>
                  </a:lnTo>
                  <a:lnTo>
                    <a:pt x="1164" y="1109"/>
                  </a:lnTo>
                  <a:lnTo>
                    <a:pt x="1122" y="1080"/>
                  </a:lnTo>
                  <a:lnTo>
                    <a:pt x="1083" y="1054"/>
                  </a:lnTo>
                  <a:lnTo>
                    <a:pt x="1083" y="1041"/>
                  </a:lnTo>
                  <a:lnTo>
                    <a:pt x="1041" y="1012"/>
                  </a:lnTo>
                  <a:lnTo>
                    <a:pt x="1002" y="973"/>
                  </a:lnTo>
                  <a:lnTo>
                    <a:pt x="960" y="931"/>
                  </a:lnTo>
                  <a:lnTo>
                    <a:pt x="905" y="905"/>
                  </a:lnTo>
                  <a:lnTo>
                    <a:pt x="866" y="866"/>
                  </a:lnTo>
                  <a:lnTo>
                    <a:pt x="785" y="798"/>
                  </a:lnTo>
                  <a:lnTo>
                    <a:pt x="772" y="769"/>
                  </a:lnTo>
                  <a:lnTo>
                    <a:pt x="704" y="717"/>
                  </a:lnTo>
                  <a:lnTo>
                    <a:pt x="623" y="649"/>
                  </a:lnTo>
                  <a:lnTo>
                    <a:pt x="581" y="607"/>
                  </a:lnTo>
                  <a:lnTo>
                    <a:pt x="555" y="568"/>
                  </a:lnTo>
                  <a:lnTo>
                    <a:pt x="474" y="500"/>
                  </a:lnTo>
                  <a:lnTo>
                    <a:pt x="435" y="461"/>
                  </a:lnTo>
                  <a:lnTo>
                    <a:pt x="312" y="351"/>
                  </a:lnTo>
                  <a:lnTo>
                    <a:pt x="299" y="338"/>
                  </a:lnTo>
                  <a:lnTo>
                    <a:pt x="244" y="270"/>
                  </a:lnTo>
                  <a:lnTo>
                    <a:pt x="163" y="189"/>
                  </a:lnTo>
                  <a:lnTo>
                    <a:pt x="163" y="189"/>
                  </a:lnTo>
                  <a:lnTo>
                    <a:pt x="82" y="121"/>
                  </a:lnTo>
                  <a:lnTo>
                    <a:pt x="14" y="4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3" name="Google Shape;5113;p52">
              <a:extLst>
                <a:ext uri="{FF2B5EF4-FFF2-40B4-BE49-F238E27FC236}">
                  <a16:creationId xmlns:a16="http://schemas.microsoft.com/office/drawing/2014/main" id="{15C5489C-A29A-AEC0-2459-0571EF7971CD}"/>
                </a:ext>
              </a:extLst>
            </p:cNvPr>
            <p:cNvSpPr/>
            <p:nvPr/>
          </p:nvSpPr>
          <p:spPr>
            <a:xfrm>
              <a:off x="3187018" y="4036844"/>
              <a:ext cx="22998" cy="26493"/>
            </a:xfrm>
            <a:custGeom>
              <a:avLst/>
              <a:gdLst/>
              <a:ahLst/>
              <a:cxnLst/>
              <a:rect l="l" t="t" r="r" b="b"/>
              <a:pathLst>
                <a:path w="704" h="811" extrusionOk="0">
                  <a:moveTo>
                    <a:pt x="704" y="27"/>
                  </a:moveTo>
                  <a:lnTo>
                    <a:pt x="688" y="53"/>
                  </a:lnTo>
                  <a:lnTo>
                    <a:pt x="675" y="66"/>
                  </a:lnTo>
                  <a:lnTo>
                    <a:pt x="649" y="95"/>
                  </a:lnTo>
                  <a:lnTo>
                    <a:pt x="636" y="121"/>
                  </a:lnTo>
                  <a:lnTo>
                    <a:pt x="594" y="176"/>
                  </a:lnTo>
                  <a:lnTo>
                    <a:pt x="581" y="176"/>
                  </a:lnTo>
                  <a:lnTo>
                    <a:pt x="542" y="228"/>
                  </a:lnTo>
                  <a:lnTo>
                    <a:pt x="500" y="270"/>
                  </a:lnTo>
                  <a:lnTo>
                    <a:pt x="474" y="309"/>
                  </a:lnTo>
                  <a:lnTo>
                    <a:pt x="461" y="325"/>
                  </a:lnTo>
                  <a:lnTo>
                    <a:pt x="419" y="364"/>
                  </a:lnTo>
                  <a:lnTo>
                    <a:pt x="380" y="419"/>
                  </a:lnTo>
                  <a:lnTo>
                    <a:pt x="364" y="432"/>
                  </a:lnTo>
                  <a:lnTo>
                    <a:pt x="338" y="458"/>
                  </a:lnTo>
                  <a:lnTo>
                    <a:pt x="299" y="513"/>
                  </a:lnTo>
                  <a:lnTo>
                    <a:pt x="283" y="526"/>
                  </a:lnTo>
                  <a:lnTo>
                    <a:pt x="270" y="539"/>
                  </a:lnTo>
                  <a:lnTo>
                    <a:pt x="257" y="552"/>
                  </a:lnTo>
                  <a:lnTo>
                    <a:pt x="231" y="581"/>
                  </a:lnTo>
                  <a:lnTo>
                    <a:pt x="218" y="607"/>
                  </a:lnTo>
                  <a:lnTo>
                    <a:pt x="189" y="633"/>
                  </a:lnTo>
                  <a:lnTo>
                    <a:pt x="189" y="633"/>
                  </a:lnTo>
                  <a:lnTo>
                    <a:pt x="176" y="649"/>
                  </a:lnTo>
                  <a:lnTo>
                    <a:pt x="150" y="675"/>
                  </a:lnTo>
                  <a:lnTo>
                    <a:pt x="121" y="701"/>
                  </a:lnTo>
                  <a:lnTo>
                    <a:pt x="108" y="730"/>
                  </a:lnTo>
                  <a:lnTo>
                    <a:pt x="82" y="756"/>
                  </a:lnTo>
                  <a:lnTo>
                    <a:pt x="69" y="769"/>
                  </a:lnTo>
                  <a:lnTo>
                    <a:pt x="56" y="795"/>
                  </a:lnTo>
                  <a:lnTo>
                    <a:pt x="40" y="795"/>
                  </a:lnTo>
                  <a:lnTo>
                    <a:pt x="1" y="811"/>
                  </a:lnTo>
                  <a:lnTo>
                    <a:pt x="1" y="769"/>
                  </a:lnTo>
                  <a:lnTo>
                    <a:pt x="1" y="756"/>
                  </a:lnTo>
                  <a:lnTo>
                    <a:pt x="14" y="743"/>
                  </a:lnTo>
                  <a:lnTo>
                    <a:pt x="40" y="714"/>
                  </a:lnTo>
                  <a:lnTo>
                    <a:pt x="56" y="688"/>
                  </a:lnTo>
                  <a:lnTo>
                    <a:pt x="69" y="662"/>
                  </a:lnTo>
                  <a:lnTo>
                    <a:pt x="95" y="633"/>
                  </a:lnTo>
                  <a:lnTo>
                    <a:pt x="108" y="607"/>
                  </a:lnTo>
                  <a:lnTo>
                    <a:pt x="137" y="581"/>
                  </a:lnTo>
                  <a:lnTo>
                    <a:pt x="137" y="581"/>
                  </a:lnTo>
                  <a:lnTo>
                    <a:pt x="150" y="552"/>
                  </a:lnTo>
                  <a:lnTo>
                    <a:pt x="176" y="526"/>
                  </a:lnTo>
                  <a:lnTo>
                    <a:pt x="189" y="513"/>
                  </a:lnTo>
                  <a:lnTo>
                    <a:pt x="218" y="487"/>
                  </a:lnTo>
                  <a:lnTo>
                    <a:pt x="218" y="471"/>
                  </a:lnTo>
                  <a:lnTo>
                    <a:pt x="231" y="458"/>
                  </a:lnTo>
                  <a:lnTo>
                    <a:pt x="283" y="406"/>
                  </a:lnTo>
                  <a:lnTo>
                    <a:pt x="312" y="377"/>
                  </a:lnTo>
                  <a:lnTo>
                    <a:pt x="325" y="364"/>
                  </a:lnTo>
                  <a:lnTo>
                    <a:pt x="364" y="325"/>
                  </a:lnTo>
                  <a:lnTo>
                    <a:pt x="419" y="270"/>
                  </a:lnTo>
                  <a:lnTo>
                    <a:pt x="419" y="270"/>
                  </a:lnTo>
                  <a:lnTo>
                    <a:pt x="461" y="228"/>
                  </a:lnTo>
                  <a:lnTo>
                    <a:pt x="513" y="189"/>
                  </a:lnTo>
                  <a:lnTo>
                    <a:pt x="555" y="147"/>
                  </a:lnTo>
                  <a:lnTo>
                    <a:pt x="555" y="134"/>
                  </a:lnTo>
                  <a:lnTo>
                    <a:pt x="594" y="95"/>
                  </a:lnTo>
                  <a:lnTo>
                    <a:pt x="623" y="66"/>
                  </a:lnTo>
                  <a:lnTo>
                    <a:pt x="649" y="53"/>
                  </a:lnTo>
                  <a:lnTo>
                    <a:pt x="662" y="27"/>
                  </a:lnTo>
                  <a:lnTo>
                    <a:pt x="688" y="1"/>
                  </a:lnTo>
                  <a:lnTo>
                    <a:pt x="704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4" name="Google Shape;5114;p52">
              <a:extLst>
                <a:ext uri="{FF2B5EF4-FFF2-40B4-BE49-F238E27FC236}">
                  <a16:creationId xmlns:a16="http://schemas.microsoft.com/office/drawing/2014/main" id="{4A4074BE-19EA-4182-FCB1-4114B863A216}"/>
                </a:ext>
              </a:extLst>
            </p:cNvPr>
            <p:cNvSpPr/>
            <p:nvPr/>
          </p:nvSpPr>
          <p:spPr>
            <a:xfrm>
              <a:off x="3178655" y="3961380"/>
              <a:ext cx="16758" cy="380642"/>
            </a:xfrm>
            <a:custGeom>
              <a:avLst/>
              <a:gdLst/>
              <a:ahLst/>
              <a:cxnLst/>
              <a:rect l="l" t="t" r="r" b="b"/>
              <a:pathLst>
                <a:path w="513" h="11652" extrusionOk="0">
                  <a:moveTo>
                    <a:pt x="69" y="27"/>
                  </a:moveTo>
                  <a:lnTo>
                    <a:pt x="82" y="124"/>
                  </a:lnTo>
                  <a:lnTo>
                    <a:pt x="108" y="205"/>
                  </a:lnTo>
                  <a:lnTo>
                    <a:pt x="121" y="299"/>
                  </a:lnTo>
                  <a:lnTo>
                    <a:pt x="121" y="312"/>
                  </a:lnTo>
                  <a:lnTo>
                    <a:pt x="134" y="393"/>
                  </a:lnTo>
                  <a:lnTo>
                    <a:pt x="150" y="474"/>
                  </a:lnTo>
                  <a:lnTo>
                    <a:pt x="150" y="568"/>
                  </a:lnTo>
                  <a:lnTo>
                    <a:pt x="163" y="662"/>
                  </a:lnTo>
                  <a:lnTo>
                    <a:pt x="176" y="743"/>
                  </a:lnTo>
                  <a:lnTo>
                    <a:pt x="189" y="837"/>
                  </a:lnTo>
                  <a:lnTo>
                    <a:pt x="189" y="934"/>
                  </a:lnTo>
                  <a:lnTo>
                    <a:pt x="202" y="1015"/>
                  </a:lnTo>
                  <a:lnTo>
                    <a:pt x="215" y="1109"/>
                  </a:lnTo>
                  <a:lnTo>
                    <a:pt x="215" y="1190"/>
                  </a:lnTo>
                  <a:lnTo>
                    <a:pt x="215" y="1203"/>
                  </a:lnTo>
                  <a:lnTo>
                    <a:pt x="231" y="1284"/>
                  </a:lnTo>
                  <a:lnTo>
                    <a:pt x="231" y="1378"/>
                  </a:lnTo>
                  <a:lnTo>
                    <a:pt x="244" y="1472"/>
                  </a:lnTo>
                  <a:lnTo>
                    <a:pt x="244" y="1566"/>
                  </a:lnTo>
                  <a:lnTo>
                    <a:pt x="257" y="1647"/>
                  </a:lnTo>
                  <a:lnTo>
                    <a:pt x="270" y="1838"/>
                  </a:lnTo>
                  <a:lnTo>
                    <a:pt x="270" y="2013"/>
                  </a:lnTo>
                  <a:lnTo>
                    <a:pt x="283" y="2201"/>
                  </a:lnTo>
                  <a:lnTo>
                    <a:pt x="296" y="2376"/>
                  </a:lnTo>
                  <a:lnTo>
                    <a:pt x="312" y="2554"/>
                  </a:lnTo>
                  <a:lnTo>
                    <a:pt x="312" y="2742"/>
                  </a:lnTo>
                  <a:lnTo>
                    <a:pt x="325" y="2917"/>
                  </a:lnTo>
                  <a:lnTo>
                    <a:pt x="338" y="3105"/>
                  </a:lnTo>
                  <a:lnTo>
                    <a:pt x="338" y="3283"/>
                  </a:lnTo>
                  <a:lnTo>
                    <a:pt x="351" y="3458"/>
                  </a:lnTo>
                  <a:lnTo>
                    <a:pt x="351" y="3646"/>
                  </a:lnTo>
                  <a:lnTo>
                    <a:pt x="364" y="3821"/>
                  </a:lnTo>
                  <a:lnTo>
                    <a:pt x="364" y="3957"/>
                  </a:lnTo>
                  <a:lnTo>
                    <a:pt x="364" y="4012"/>
                  </a:lnTo>
                  <a:lnTo>
                    <a:pt x="377" y="4187"/>
                  </a:lnTo>
                  <a:lnTo>
                    <a:pt x="377" y="4375"/>
                  </a:lnTo>
                  <a:lnTo>
                    <a:pt x="377" y="4550"/>
                  </a:lnTo>
                  <a:lnTo>
                    <a:pt x="393" y="4741"/>
                  </a:lnTo>
                  <a:lnTo>
                    <a:pt x="393" y="4916"/>
                  </a:lnTo>
                  <a:lnTo>
                    <a:pt x="393" y="5091"/>
                  </a:lnTo>
                  <a:lnTo>
                    <a:pt x="406" y="5279"/>
                  </a:lnTo>
                  <a:lnTo>
                    <a:pt x="406" y="5454"/>
                  </a:lnTo>
                  <a:lnTo>
                    <a:pt x="406" y="5645"/>
                  </a:lnTo>
                  <a:lnTo>
                    <a:pt x="419" y="5820"/>
                  </a:lnTo>
                  <a:lnTo>
                    <a:pt x="419" y="6183"/>
                  </a:lnTo>
                  <a:lnTo>
                    <a:pt x="419" y="6549"/>
                  </a:lnTo>
                  <a:lnTo>
                    <a:pt x="432" y="6912"/>
                  </a:lnTo>
                  <a:lnTo>
                    <a:pt x="432" y="7074"/>
                  </a:lnTo>
                  <a:lnTo>
                    <a:pt x="432" y="7278"/>
                  </a:lnTo>
                  <a:lnTo>
                    <a:pt x="445" y="7641"/>
                  </a:lnTo>
                  <a:lnTo>
                    <a:pt x="445" y="7819"/>
                  </a:lnTo>
                  <a:lnTo>
                    <a:pt x="445" y="7994"/>
                  </a:lnTo>
                  <a:lnTo>
                    <a:pt x="445" y="8046"/>
                  </a:lnTo>
                  <a:lnTo>
                    <a:pt x="445" y="8182"/>
                  </a:lnTo>
                  <a:lnTo>
                    <a:pt x="445" y="8357"/>
                  </a:lnTo>
                  <a:lnTo>
                    <a:pt x="458" y="8548"/>
                  </a:lnTo>
                  <a:lnTo>
                    <a:pt x="458" y="8723"/>
                  </a:lnTo>
                  <a:lnTo>
                    <a:pt x="458" y="8911"/>
                  </a:lnTo>
                  <a:lnTo>
                    <a:pt x="458" y="9073"/>
                  </a:lnTo>
                  <a:lnTo>
                    <a:pt x="458" y="9086"/>
                  </a:lnTo>
                  <a:lnTo>
                    <a:pt x="474" y="9261"/>
                  </a:lnTo>
                  <a:lnTo>
                    <a:pt x="474" y="9452"/>
                  </a:lnTo>
                  <a:lnTo>
                    <a:pt x="474" y="9627"/>
                  </a:lnTo>
                  <a:lnTo>
                    <a:pt x="487" y="9815"/>
                  </a:lnTo>
                  <a:lnTo>
                    <a:pt x="487" y="9990"/>
                  </a:lnTo>
                  <a:lnTo>
                    <a:pt x="487" y="10032"/>
                  </a:lnTo>
                  <a:lnTo>
                    <a:pt x="487" y="10168"/>
                  </a:lnTo>
                  <a:lnTo>
                    <a:pt x="500" y="10356"/>
                  </a:lnTo>
                  <a:lnTo>
                    <a:pt x="500" y="10531"/>
                  </a:lnTo>
                  <a:lnTo>
                    <a:pt x="513" y="10719"/>
                  </a:lnTo>
                  <a:lnTo>
                    <a:pt x="513" y="10735"/>
                  </a:lnTo>
                  <a:lnTo>
                    <a:pt x="513" y="10897"/>
                  </a:lnTo>
                  <a:lnTo>
                    <a:pt x="513" y="11072"/>
                  </a:lnTo>
                  <a:lnTo>
                    <a:pt x="513" y="11166"/>
                  </a:lnTo>
                  <a:lnTo>
                    <a:pt x="513" y="11221"/>
                  </a:lnTo>
                  <a:lnTo>
                    <a:pt x="513" y="11260"/>
                  </a:lnTo>
                  <a:lnTo>
                    <a:pt x="513" y="11354"/>
                  </a:lnTo>
                  <a:lnTo>
                    <a:pt x="513" y="11435"/>
                  </a:lnTo>
                  <a:lnTo>
                    <a:pt x="513" y="11529"/>
                  </a:lnTo>
                  <a:lnTo>
                    <a:pt x="513" y="11626"/>
                  </a:lnTo>
                  <a:lnTo>
                    <a:pt x="500" y="11652"/>
                  </a:lnTo>
                  <a:lnTo>
                    <a:pt x="474" y="11626"/>
                  </a:lnTo>
                  <a:lnTo>
                    <a:pt x="458" y="11529"/>
                  </a:lnTo>
                  <a:lnTo>
                    <a:pt x="445" y="11448"/>
                  </a:lnTo>
                  <a:lnTo>
                    <a:pt x="432" y="11354"/>
                  </a:lnTo>
                  <a:lnTo>
                    <a:pt x="419" y="11260"/>
                  </a:lnTo>
                  <a:lnTo>
                    <a:pt x="419" y="11234"/>
                  </a:lnTo>
                  <a:lnTo>
                    <a:pt x="419" y="11179"/>
                  </a:lnTo>
                  <a:lnTo>
                    <a:pt x="406" y="11085"/>
                  </a:lnTo>
                  <a:lnTo>
                    <a:pt x="377" y="10897"/>
                  </a:lnTo>
                  <a:lnTo>
                    <a:pt x="364" y="10748"/>
                  </a:lnTo>
                  <a:lnTo>
                    <a:pt x="364" y="10719"/>
                  </a:lnTo>
                  <a:lnTo>
                    <a:pt x="351" y="10544"/>
                  </a:lnTo>
                  <a:lnTo>
                    <a:pt x="338" y="10356"/>
                  </a:lnTo>
                  <a:lnTo>
                    <a:pt x="325" y="10181"/>
                  </a:lnTo>
                  <a:lnTo>
                    <a:pt x="325" y="10032"/>
                  </a:lnTo>
                  <a:lnTo>
                    <a:pt x="325" y="9990"/>
                  </a:lnTo>
                  <a:lnTo>
                    <a:pt x="312" y="9815"/>
                  </a:lnTo>
                  <a:lnTo>
                    <a:pt x="296" y="9640"/>
                  </a:lnTo>
                  <a:lnTo>
                    <a:pt x="296" y="9452"/>
                  </a:lnTo>
                  <a:lnTo>
                    <a:pt x="283" y="9277"/>
                  </a:lnTo>
                  <a:lnTo>
                    <a:pt x="270" y="9086"/>
                  </a:lnTo>
                  <a:lnTo>
                    <a:pt x="270" y="9086"/>
                  </a:lnTo>
                  <a:lnTo>
                    <a:pt x="270" y="8911"/>
                  </a:lnTo>
                  <a:lnTo>
                    <a:pt x="257" y="8723"/>
                  </a:lnTo>
                  <a:lnTo>
                    <a:pt x="257" y="8548"/>
                  </a:lnTo>
                  <a:lnTo>
                    <a:pt x="244" y="8370"/>
                  </a:lnTo>
                  <a:lnTo>
                    <a:pt x="244" y="8182"/>
                  </a:lnTo>
                  <a:lnTo>
                    <a:pt x="244" y="8046"/>
                  </a:lnTo>
                  <a:lnTo>
                    <a:pt x="244" y="8007"/>
                  </a:lnTo>
                  <a:lnTo>
                    <a:pt x="231" y="7819"/>
                  </a:lnTo>
                  <a:lnTo>
                    <a:pt x="231" y="7641"/>
                  </a:lnTo>
                  <a:lnTo>
                    <a:pt x="215" y="7278"/>
                  </a:lnTo>
                  <a:lnTo>
                    <a:pt x="215" y="7074"/>
                  </a:lnTo>
                  <a:lnTo>
                    <a:pt x="215" y="6912"/>
                  </a:lnTo>
                  <a:lnTo>
                    <a:pt x="215" y="6549"/>
                  </a:lnTo>
                  <a:lnTo>
                    <a:pt x="202" y="6183"/>
                  </a:lnTo>
                  <a:lnTo>
                    <a:pt x="202" y="5820"/>
                  </a:lnTo>
                  <a:lnTo>
                    <a:pt x="202" y="5645"/>
                  </a:lnTo>
                  <a:lnTo>
                    <a:pt x="189" y="5470"/>
                  </a:lnTo>
                  <a:lnTo>
                    <a:pt x="189" y="5279"/>
                  </a:lnTo>
                  <a:lnTo>
                    <a:pt x="189" y="5104"/>
                  </a:lnTo>
                  <a:lnTo>
                    <a:pt x="189" y="4916"/>
                  </a:lnTo>
                  <a:lnTo>
                    <a:pt x="189" y="4741"/>
                  </a:lnTo>
                  <a:lnTo>
                    <a:pt x="176" y="4550"/>
                  </a:lnTo>
                  <a:lnTo>
                    <a:pt x="176" y="4375"/>
                  </a:lnTo>
                  <a:lnTo>
                    <a:pt x="176" y="4200"/>
                  </a:lnTo>
                  <a:lnTo>
                    <a:pt x="163" y="4012"/>
                  </a:lnTo>
                  <a:lnTo>
                    <a:pt x="163" y="3957"/>
                  </a:lnTo>
                  <a:lnTo>
                    <a:pt x="163" y="3834"/>
                  </a:lnTo>
                  <a:lnTo>
                    <a:pt x="163" y="3646"/>
                  </a:lnTo>
                  <a:lnTo>
                    <a:pt x="150" y="3471"/>
                  </a:lnTo>
                  <a:lnTo>
                    <a:pt x="150" y="3296"/>
                  </a:lnTo>
                  <a:lnTo>
                    <a:pt x="150" y="3105"/>
                  </a:lnTo>
                  <a:lnTo>
                    <a:pt x="134" y="2930"/>
                  </a:lnTo>
                  <a:lnTo>
                    <a:pt x="134" y="2742"/>
                  </a:lnTo>
                  <a:lnTo>
                    <a:pt x="121" y="2567"/>
                  </a:lnTo>
                  <a:lnTo>
                    <a:pt x="121" y="2392"/>
                  </a:lnTo>
                  <a:lnTo>
                    <a:pt x="108" y="2201"/>
                  </a:lnTo>
                  <a:lnTo>
                    <a:pt x="95" y="2026"/>
                  </a:lnTo>
                  <a:lnTo>
                    <a:pt x="95" y="1838"/>
                  </a:lnTo>
                  <a:lnTo>
                    <a:pt x="82" y="1663"/>
                  </a:lnTo>
                  <a:lnTo>
                    <a:pt x="82" y="1566"/>
                  </a:lnTo>
                  <a:lnTo>
                    <a:pt x="69" y="1485"/>
                  </a:lnTo>
                  <a:lnTo>
                    <a:pt x="69" y="1391"/>
                  </a:lnTo>
                  <a:lnTo>
                    <a:pt x="53" y="1297"/>
                  </a:lnTo>
                  <a:lnTo>
                    <a:pt x="53" y="1216"/>
                  </a:lnTo>
                  <a:lnTo>
                    <a:pt x="53" y="1203"/>
                  </a:lnTo>
                  <a:lnTo>
                    <a:pt x="53" y="1122"/>
                  </a:lnTo>
                  <a:lnTo>
                    <a:pt x="40" y="1028"/>
                  </a:lnTo>
                  <a:lnTo>
                    <a:pt x="40" y="947"/>
                  </a:lnTo>
                  <a:lnTo>
                    <a:pt x="40" y="853"/>
                  </a:lnTo>
                  <a:lnTo>
                    <a:pt x="27" y="756"/>
                  </a:lnTo>
                  <a:lnTo>
                    <a:pt x="27" y="675"/>
                  </a:lnTo>
                  <a:lnTo>
                    <a:pt x="27" y="581"/>
                  </a:lnTo>
                  <a:lnTo>
                    <a:pt x="14" y="487"/>
                  </a:lnTo>
                  <a:lnTo>
                    <a:pt x="14" y="393"/>
                  </a:lnTo>
                  <a:lnTo>
                    <a:pt x="1" y="325"/>
                  </a:lnTo>
                  <a:lnTo>
                    <a:pt x="1" y="312"/>
                  </a:lnTo>
                  <a:lnTo>
                    <a:pt x="14" y="218"/>
                  </a:lnTo>
                  <a:lnTo>
                    <a:pt x="14" y="124"/>
                  </a:lnTo>
                  <a:lnTo>
                    <a:pt x="14" y="43"/>
                  </a:lnTo>
                  <a:lnTo>
                    <a:pt x="40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5" name="Google Shape;5115;p52">
              <a:extLst>
                <a:ext uri="{FF2B5EF4-FFF2-40B4-BE49-F238E27FC236}">
                  <a16:creationId xmlns:a16="http://schemas.microsoft.com/office/drawing/2014/main" id="{8DE978FB-83AF-FFAB-2721-43C26EB66907}"/>
                </a:ext>
              </a:extLst>
            </p:cNvPr>
            <p:cNvSpPr/>
            <p:nvPr/>
          </p:nvSpPr>
          <p:spPr>
            <a:xfrm>
              <a:off x="2618413" y="3885508"/>
              <a:ext cx="33582" cy="490503"/>
            </a:xfrm>
            <a:custGeom>
              <a:avLst/>
              <a:gdLst/>
              <a:ahLst/>
              <a:cxnLst/>
              <a:rect l="l" t="t" r="r" b="b"/>
              <a:pathLst>
                <a:path w="1028" h="15015" extrusionOk="0">
                  <a:moveTo>
                    <a:pt x="137" y="1"/>
                  </a:moveTo>
                  <a:lnTo>
                    <a:pt x="1" y="15015"/>
                  </a:lnTo>
                  <a:lnTo>
                    <a:pt x="1028" y="15015"/>
                  </a:lnTo>
                  <a:lnTo>
                    <a:pt x="756" y="56"/>
                  </a:lnTo>
                  <a:lnTo>
                    <a:pt x="13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6" name="Google Shape;5116;p52">
              <a:extLst>
                <a:ext uri="{FF2B5EF4-FFF2-40B4-BE49-F238E27FC236}">
                  <a16:creationId xmlns:a16="http://schemas.microsoft.com/office/drawing/2014/main" id="{CDA15CFE-0464-907C-8112-CC51A6BEBB25}"/>
                </a:ext>
              </a:extLst>
            </p:cNvPr>
            <p:cNvSpPr/>
            <p:nvPr/>
          </p:nvSpPr>
          <p:spPr>
            <a:xfrm>
              <a:off x="2627626" y="3679109"/>
              <a:ext cx="40246" cy="191072"/>
            </a:xfrm>
            <a:custGeom>
              <a:avLst/>
              <a:gdLst/>
              <a:ahLst/>
              <a:cxnLst/>
              <a:rect l="l" t="t" r="r" b="b"/>
              <a:pathLst>
                <a:path w="1232" h="5849" extrusionOk="0">
                  <a:moveTo>
                    <a:pt x="597" y="1"/>
                  </a:moveTo>
                  <a:lnTo>
                    <a:pt x="1" y="5687"/>
                  </a:lnTo>
                  <a:lnTo>
                    <a:pt x="435" y="5849"/>
                  </a:lnTo>
                  <a:lnTo>
                    <a:pt x="1232" y="5010"/>
                  </a:lnTo>
                  <a:lnTo>
                    <a:pt x="892" y="244"/>
                  </a:lnTo>
                  <a:lnTo>
                    <a:pt x="59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7" name="Google Shape;5117;p52">
              <a:extLst>
                <a:ext uri="{FF2B5EF4-FFF2-40B4-BE49-F238E27FC236}">
                  <a16:creationId xmlns:a16="http://schemas.microsoft.com/office/drawing/2014/main" id="{D76F7AED-445F-0ECB-C360-68FD5ACDC385}"/>
                </a:ext>
              </a:extLst>
            </p:cNvPr>
            <p:cNvSpPr/>
            <p:nvPr/>
          </p:nvSpPr>
          <p:spPr>
            <a:xfrm>
              <a:off x="2633441" y="3878092"/>
              <a:ext cx="163566" cy="112442"/>
            </a:xfrm>
            <a:custGeom>
              <a:avLst/>
              <a:gdLst/>
              <a:ahLst/>
              <a:cxnLst/>
              <a:rect l="l" t="t" r="r" b="b"/>
              <a:pathLst>
                <a:path w="5007" h="3442" extrusionOk="0">
                  <a:moveTo>
                    <a:pt x="351" y="1"/>
                  </a:moveTo>
                  <a:lnTo>
                    <a:pt x="1" y="283"/>
                  </a:lnTo>
                  <a:lnTo>
                    <a:pt x="338" y="1404"/>
                  </a:lnTo>
                  <a:lnTo>
                    <a:pt x="4657" y="3442"/>
                  </a:lnTo>
                  <a:lnTo>
                    <a:pt x="5007" y="3306"/>
                  </a:lnTo>
                  <a:lnTo>
                    <a:pt x="35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8" name="Google Shape;5118;p52">
              <a:extLst>
                <a:ext uri="{FF2B5EF4-FFF2-40B4-BE49-F238E27FC236}">
                  <a16:creationId xmlns:a16="http://schemas.microsoft.com/office/drawing/2014/main" id="{4045FB1B-80F4-BCEB-CDCA-80004FCE1201}"/>
                </a:ext>
              </a:extLst>
            </p:cNvPr>
            <p:cNvSpPr/>
            <p:nvPr/>
          </p:nvSpPr>
          <p:spPr>
            <a:xfrm>
              <a:off x="2456574" y="3863490"/>
              <a:ext cx="166735" cy="105451"/>
            </a:xfrm>
            <a:custGeom>
              <a:avLst/>
              <a:gdLst/>
              <a:ahLst/>
              <a:cxnLst/>
              <a:rect l="l" t="t" r="r" b="b"/>
              <a:pathLst>
                <a:path w="5104" h="3228" extrusionOk="0">
                  <a:moveTo>
                    <a:pt x="3876" y="1"/>
                  </a:moveTo>
                  <a:lnTo>
                    <a:pt x="40" y="2849"/>
                  </a:lnTo>
                  <a:lnTo>
                    <a:pt x="1" y="3228"/>
                  </a:lnTo>
                  <a:lnTo>
                    <a:pt x="5104" y="662"/>
                  </a:lnTo>
                  <a:lnTo>
                    <a:pt x="5010" y="218"/>
                  </a:lnTo>
                  <a:lnTo>
                    <a:pt x="387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9" name="Google Shape;5119;p52">
              <a:extLst>
                <a:ext uri="{FF2B5EF4-FFF2-40B4-BE49-F238E27FC236}">
                  <a16:creationId xmlns:a16="http://schemas.microsoft.com/office/drawing/2014/main" id="{F6A245D5-F74E-04D5-30A2-AD330B5004B0}"/>
                </a:ext>
              </a:extLst>
            </p:cNvPr>
            <p:cNvSpPr/>
            <p:nvPr/>
          </p:nvSpPr>
          <p:spPr>
            <a:xfrm>
              <a:off x="2609103" y="3854996"/>
              <a:ext cx="45963" cy="43840"/>
            </a:xfrm>
            <a:custGeom>
              <a:avLst/>
              <a:gdLst/>
              <a:ahLst/>
              <a:cxnLst/>
              <a:rect l="l" t="t" r="r" b="b"/>
              <a:pathLst>
                <a:path w="1407" h="1342" extrusionOk="0">
                  <a:moveTo>
                    <a:pt x="711" y="1"/>
                  </a:moveTo>
                  <a:cubicBezTo>
                    <a:pt x="686" y="1"/>
                    <a:pt x="661" y="2"/>
                    <a:pt x="636" y="5"/>
                  </a:cubicBezTo>
                  <a:cubicBezTo>
                    <a:pt x="273" y="44"/>
                    <a:pt x="1" y="368"/>
                    <a:pt x="43" y="734"/>
                  </a:cubicBezTo>
                  <a:cubicBezTo>
                    <a:pt x="80" y="1093"/>
                    <a:pt x="373" y="1342"/>
                    <a:pt x="715" y="1342"/>
                  </a:cubicBezTo>
                  <a:cubicBezTo>
                    <a:pt x="734" y="1342"/>
                    <a:pt x="753" y="1341"/>
                    <a:pt x="772" y="1340"/>
                  </a:cubicBezTo>
                  <a:cubicBezTo>
                    <a:pt x="1151" y="1301"/>
                    <a:pt x="1407" y="964"/>
                    <a:pt x="1378" y="598"/>
                  </a:cubicBezTo>
                  <a:cubicBezTo>
                    <a:pt x="1342" y="260"/>
                    <a:pt x="1047" y="1"/>
                    <a:pt x="711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0" name="Google Shape;5120;p52">
              <a:extLst>
                <a:ext uri="{FF2B5EF4-FFF2-40B4-BE49-F238E27FC236}">
                  <a16:creationId xmlns:a16="http://schemas.microsoft.com/office/drawing/2014/main" id="{F91F096E-FAE4-DADC-C8CA-33335CB16BD3}"/>
                </a:ext>
              </a:extLst>
            </p:cNvPr>
            <p:cNvSpPr/>
            <p:nvPr/>
          </p:nvSpPr>
          <p:spPr>
            <a:xfrm>
              <a:off x="2846406" y="3885508"/>
              <a:ext cx="33158" cy="490503"/>
            </a:xfrm>
            <a:custGeom>
              <a:avLst/>
              <a:gdLst/>
              <a:ahLst/>
              <a:cxnLst/>
              <a:rect l="l" t="t" r="r" b="b"/>
              <a:pathLst>
                <a:path w="1015" h="15015" extrusionOk="0">
                  <a:moveTo>
                    <a:pt x="124" y="1"/>
                  </a:moveTo>
                  <a:lnTo>
                    <a:pt x="1" y="15015"/>
                  </a:lnTo>
                  <a:lnTo>
                    <a:pt x="1015" y="15015"/>
                  </a:lnTo>
                  <a:lnTo>
                    <a:pt x="743" y="56"/>
                  </a:lnTo>
                  <a:lnTo>
                    <a:pt x="12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1" name="Google Shape;5121;p52">
              <a:extLst>
                <a:ext uri="{FF2B5EF4-FFF2-40B4-BE49-F238E27FC236}">
                  <a16:creationId xmlns:a16="http://schemas.microsoft.com/office/drawing/2014/main" id="{7EA96204-39E1-5E40-64FB-6565DFD9CAB8}"/>
                </a:ext>
              </a:extLst>
            </p:cNvPr>
            <p:cNvSpPr/>
            <p:nvPr/>
          </p:nvSpPr>
          <p:spPr>
            <a:xfrm>
              <a:off x="2855716" y="3679109"/>
              <a:ext cx="40148" cy="191072"/>
            </a:xfrm>
            <a:custGeom>
              <a:avLst/>
              <a:gdLst/>
              <a:ahLst/>
              <a:cxnLst/>
              <a:rect l="l" t="t" r="r" b="b"/>
              <a:pathLst>
                <a:path w="1229" h="5849" extrusionOk="0">
                  <a:moveTo>
                    <a:pt x="594" y="1"/>
                  </a:moveTo>
                  <a:lnTo>
                    <a:pt x="1" y="5687"/>
                  </a:lnTo>
                  <a:lnTo>
                    <a:pt x="432" y="5849"/>
                  </a:lnTo>
                  <a:lnTo>
                    <a:pt x="1229" y="5010"/>
                  </a:lnTo>
                  <a:lnTo>
                    <a:pt x="876" y="244"/>
                  </a:lnTo>
                  <a:lnTo>
                    <a:pt x="59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2" name="Google Shape;5122;p52">
              <a:extLst>
                <a:ext uri="{FF2B5EF4-FFF2-40B4-BE49-F238E27FC236}">
                  <a16:creationId xmlns:a16="http://schemas.microsoft.com/office/drawing/2014/main" id="{72DA906B-4D8C-32F4-9E49-8188CFB56C72}"/>
                </a:ext>
              </a:extLst>
            </p:cNvPr>
            <p:cNvSpPr/>
            <p:nvPr/>
          </p:nvSpPr>
          <p:spPr>
            <a:xfrm>
              <a:off x="2861009" y="3878092"/>
              <a:ext cx="164089" cy="112442"/>
            </a:xfrm>
            <a:custGeom>
              <a:avLst/>
              <a:gdLst/>
              <a:ahLst/>
              <a:cxnLst/>
              <a:rect l="l" t="t" r="r" b="b"/>
              <a:pathLst>
                <a:path w="5023" h="3442" extrusionOk="0">
                  <a:moveTo>
                    <a:pt x="351" y="1"/>
                  </a:moveTo>
                  <a:lnTo>
                    <a:pt x="1" y="283"/>
                  </a:lnTo>
                  <a:lnTo>
                    <a:pt x="351" y="1404"/>
                  </a:lnTo>
                  <a:lnTo>
                    <a:pt x="4670" y="3442"/>
                  </a:lnTo>
                  <a:lnTo>
                    <a:pt x="5023" y="3306"/>
                  </a:lnTo>
                  <a:lnTo>
                    <a:pt x="35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3" name="Google Shape;5123;p52">
              <a:extLst>
                <a:ext uri="{FF2B5EF4-FFF2-40B4-BE49-F238E27FC236}">
                  <a16:creationId xmlns:a16="http://schemas.microsoft.com/office/drawing/2014/main" id="{865E33A5-7BA1-EE7B-B185-17ADCC0EF1FB}"/>
                </a:ext>
              </a:extLst>
            </p:cNvPr>
            <p:cNvSpPr/>
            <p:nvPr/>
          </p:nvSpPr>
          <p:spPr>
            <a:xfrm>
              <a:off x="2684142" y="3863490"/>
              <a:ext cx="167160" cy="105451"/>
            </a:xfrm>
            <a:custGeom>
              <a:avLst/>
              <a:gdLst/>
              <a:ahLst/>
              <a:cxnLst/>
              <a:rect l="l" t="t" r="r" b="b"/>
              <a:pathLst>
                <a:path w="5117" h="3228" extrusionOk="0">
                  <a:moveTo>
                    <a:pt x="3876" y="1"/>
                  </a:moveTo>
                  <a:lnTo>
                    <a:pt x="40" y="2849"/>
                  </a:lnTo>
                  <a:lnTo>
                    <a:pt x="1" y="3228"/>
                  </a:lnTo>
                  <a:lnTo>
                    <a:pt x="5117" y="662"/>
                  </a:lnTo>
                  <a:lnTo>
                    <a:pt x="5023" y="218"/>
                  </a:lnTo>
                  <a:lnTo>
                    <a:pt x="387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4" name="Google Shape;5124;p52">
              <a:extLst>
                <a:ext uri="{FF2B5EF4-FFF2-40B4-BE49-F238E27FC236}">
                  <a16:creationId xmlns:a16="http://schemas.microsoft.com/office/drawing/2014/main" id="{44F93E83-2BE0-B054-1394-29AE814ADCEE}"/>
                </a:ext>
              </a:extLst>
            </p:cNvPr>
            <p:cNvSpPr/>
            <p:nvPr/>
          </p:nvSpPr>
          <p:spPr>
            <a:xfrm>
              <a:off x="2836671" y="3854996"/>
              <a:ext cx="46388" cy="43840"/>
            </a:xfrm>
            <a:custGeom>
              <a:avLst/>
              <a:gdLst/>
              <a:ahLst/>
              <a:cxnLst/>
              <a:rect l="l" t="t" r="r" b="b"/>
              <a:pathLst>
                <a:path w="1420" h="1342" extrusionOk="0">
                  <a:moveTo>
                    <a:pt x="724" y="1"/>
                  </a:moveTo>
                  <a:cubicBezTo>
                    <a:pt x="699" y="1"/>
                    <a:pt x="674" y="2"/>
                    <a:pt x="649" y="5"/>
                  </a:cubicBezTo>
                  <a:cubicBezTo>
                    <a:pt x="273" y="44"/>
                    <a:pt x="1" y="368"/>
                    <a:pt x="43" y="734"/>
                  </a:cubicBezTo>
                  <a:cubicBezTo>
                    <a:pt x="80" y="1093"/>
                    <a:pt x="373" y="1342"/>
                    <a:pt x="726" y="1342"/>
                  </a:cubicBezTo>
                  <a:cubicBezTo>
                    <a:pt x="746" y="1342"/>
                    <a:pt x="765" y="1341"/>
                    <a:pt x="785" y="1340"/>
                  </a:cubicBezTo>
                  <a:cubicBezTo>
                    <a:pt x="1151" y="1301"/>
                    <a:pt x="1420" y="964"/>
                    <a:pt x="1378" y="598"/>
                  </a:cubicBezTo>
                  <a:cubicBezTo>
                    <a:pt x="1342" y="260"/>
                    <a:pt x="1058" y="1"/>
                    <a:pt x="724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5" name="Google Shape;5125;p52">
              <a:extLst>
                <a:ext uri="{FF2B5EF4-FFF2-40B4-BE49-F238E27FC236}">
                  <a16:creationId xmlns:a16="http://schemas.microsoft.com/office/drawing/2014/main" id="{004462B5-C8B3-B21C-F93A-357E6486296B}"/>
                </a:ext>
              </a:extLst>
            </p:cNvPr>
            <p:cNvSpPr/>
            <p:nvPr/>
          </p:nvSpPr>
          <p:spPr>
            <a:xfrm>
              <a:off x="3165700" y="3325025"/>
              <a:ext cx="617509" cy="685742"/>
            </a:xfrm>
            <a:custGeom>
              <a:avLst/>
              <a:gdLst/>
              <a:ahLst/>
              <a:cxnLst/>
              <a:rect l="l" t="t" r="r" b="b"/>
              <a:pathLst>
                <a:path w="14432" h="17755" extrusionOk="0">
                  <a:moveTo>
                    <a:pt x="7667" y="1"/>
                  </a:moveTo>
                  <a:cubicBezTo>
                    <a:pt x="5684" y="1"/>
                    <a:pt x="2739" y="4495"/>
                    <a:pt x="1" y="9653"/>
                  </a:cubicBezTo>
                  <a:cubicBezTo>
                    <a:pt x="40" y="9815"/>
                    <a:pt x="134" y="9964"/>
                    <a:pt x="309" y="9977"/>
                  </a:cubicBezTo>
                  <a:cubicBezTo>
                    <a:pt x="316" y="9978"/>
                    <a:pt x="324" y="9978"/>
                    <a:pt x="332" y="9978"/>
                  </a:cubicBezTo>
                  <a:cubicBezTo>
                    <a:pt x="774" y="9978"/>
                    <a:pt x="1286" y="8812"/>
                    <a:pt x="1605" y="8506"/>
                  </a:cubicBezTo>
                  <a:cubicBezTo>
                    <a:pt x="1676" y="8436"/>
                    <a:pt x="1900" y="8167"/>
                    <a:pt x="2057" y="8167"/>
                  </a:cubicBezTo>
                  <a:cubicBezTo>
                    <a:pt x="2112" y="8167"/>
                    <a:pt x="2159" y="8201"/>
                    <a:pt x="2188" y="8289"/>
                  </a:cubicBezTo>
                  <a:cubicBezTo>
                    <a:pt x="2376" y="8869"/>
                    <a:pt x="2188" y="9789"/>
                    <a:pt x="2107" y="10382"/>
                  </a:cubicBezTo>
                  <a:cubicBezTo>
                    <a:pt x="1848" y="12028"/>
                    <a:pt x="1903" y="13771"/>
                    <a:pt x="1809" y="15430"/>
                  </a:cubicBezTo>
                  <a:cubicBezTo>
                    <a:pt x="1796" y="15822"/>
                    <a:pt x="1715" y="17672"/>
                    <a:pt x="2269" y="17753"/>
                  </a:cubicBezTo>
                  <a:cubicBezTo>
                    <a:pt x="2276" y="17754"/>
                    <a:pt x="2284" y="17754"/>
                    <a:pt x="2291" y="17754"/>
                  </a:cubicBezTo>
                  <a:cubicBezTo>
                    <a:pt x="2480" y="17754"/>
                    <a:pt x="2608" y="17437"/>
                    <a:pt x="2674" y="17322"/>
                  </a:cubicBezTo>
                  <a:cubicBezTo>
                    <a:pt x="2956" y="16742"/>
                    <a:pt x="3079" y="16240"/>
                    <a:pt x="3241" y="15647"/>
                  </a:cubicBezTo>
                  <a:cubicBezTo>
                    <a:pt x="3766" y="13758"/>
                    <a:pt x="3565" y="11746"/>
                    <a:pt x="3996" y="9857"/>
                  </a:cubicBezTo>
                  <a:cubicBezTo>
                    <a:pt x="4077" y="9504"/>
                    <a:pt x="4550" y="8114"/>
                    <a:pt x="4968" y="8114"/>
                  </a:cubicBezTo>
                  <a:cubicBezTo>
                    <a:pt x="5953" y="8114"/>
                    <a:pt x="5723" y="9546"/>
                    <a:pt x="5804" y="10207"/>
                  </a:cubicBezTo>
                  <a:cubicBezTo>
                    <a:pt x="5833" y="10424"/>
                    <a:pt x="5778" y="11030"/>
                    <a:pt x="6141" y="11030"/>
                  </a:cubicBezTo>
                  <a:cubicBezTo>
                    <a:pt x="6900" y="11030"/>
                    <a:pt x="6621" y="8937"/>
                    <a:pt x="7175" y="8937"/>
                  </a:cubicBezTo>
                  <a:cubicBezTo>
                    <a:pt x="7302" y="8937"/>
                    <a:pt x="7472" y="9047"/>
                    <a:pt x="7709" y="9316"/>
                  </a:cubicBezTo>
                  <a:cubicBezTo>
                    <a:pt x="7910" y="9546"/>
                    <a:pt x="7871" y="9802"/>
                    <a:pt x="7871" y="10100"/>
                  </a:cubicBezTo>
                  <a:cubicBezTo>
                    <a:pt x="7871" y="10518"/>
                    <a:pt x="8046" y="10991"/>
                    <a:pt x="8085" y="11409"/>
                  </a:cubicBezTo>
                  <a:cubicBezTo>
                    <a:pt x="8114" y="11853"/>
                    <a:pt x="7965" y="12394"/>
                    <a:pt x="8114" y="12825"/>
                  </a:cubicBezTo>
                  <a:cubicBezTo>
                    <a:pt x="8182" y="13016"/>
                    <a:pt x="8221" y="13878"/>
                    <a:pt x="8545" y="13878"/>
                  </a:cubicBezTo>
                  <a:cubicBezTo>
                    <a:pt x="9112" y="13878"/>
                    <a:pt x="9018" y="12352"/>
                    <a:pt x="9018" y="12028"/>
                  </a:cubicBezTo>
                  <a:cubicBezTo>
                    <a:pt x="9031" y="11341"/>
                    <a:pt x="9138" y="10651"/>
                    <a:pt x="9180" y="9977"/>
                  </a:cubicBezTo>
                  <a:cubicBezTo>
                    <a:pt x="9261" y="8817"/>
                    <a:pt x="9099" y="7411"/>
                    <a:pt x="10003" y="6536"/>
                  </a:cubicBezTo>
                  <a:cubicBezTo>
                    <a:pt x="10048" y="6486"/>
                    <a:pt x="10118" y="6465"/>
                    <a:pt x="10198" y="6465"/>
                  </a:cubicBezTo>
                  <a:cubicBezTo>
                    <a:pt x="10403" y="6465"/>
                    <a:pt x="10670" y="6605"/>
                    <a:pt x="10719" y="6750"/>
                  </a:cubicBezTo>
                  <a:cubicBezTo>
                    <a:pt x="11017" y="7628"/>
                    <a:pt x="10800" y="8788"/>
                    <a:pt x="11354" y="9546"/>
                  </a:cubicBezTo>
                  <a:cubicBezTo>
                    <a:pt x="11360" y="9554"/>
                    <a:pt x="11367" y="9558"/>
                    <a:pt x="11375" y="9558"/>
                  </a:cubicBezTo>
                  <a:cubicBezTo>
                    <a:pt x="11460" y="9558"/>
                    <a:pt x="11651" y="9149"/>
                    <a:pt x="11678" y="9099"/>
                  </a:cubicBezTo>
                  <a:cubicBezTo>
                    <a:pt x="11798" y="8856"/>
                    <a:pt x="11798" y="7670"/>
                    <a:pt x="12070" y="7573"/>
                  </a:cubicBezTo>
                  <a:cubicBezTo>
                    <a:pt x="12074" y="7571"/>
                    <a:pt x="12079" y="7571"/>
                    <a:pt x="12084" y="7571"/>
                  </a:cubicBezTo>
                  <a:cubicBezTo>
                    <a:pt x="12213" y="7571"/>
                    <a:pt x="12502" y="8037"/>
                    <a:pt x="12527" y="8140"/>
                  </a:cubicBezTo>
                  <a:cubicBezTo>
                    <a:pt x="12744" y="8775"/>
                    <a:pt x="12650" y="9653"/>
                    <a:pt x="13055" y="10220"/>
                  </a:cubicBezTo>
                  <a:cubicBezTo>
                    <a:pt x="13246" y="10477"/>
                    <a:pt x="13490" y="10610"/>
                    <a:pt x="13713" y="10610"/>
                  </a:cubicBezTo>
                  <a:cubicBezTo>
                    <a:pt x="13992" y="10610"/>
                    <a:pt x="14236" y="10400"/>
                    <a:pt x="14296" y="9964"/>
                  </a:cubicBezTo>
                  <a:cubicBezTo>
                    <a:pt x="14351" y="9614"/>
                    <a:pt x="14390" y="9248"/>
                    <a:pt x="14432" y="8869"/>
                  </a:cubicBezTo>
                  <a:cubicBezTo>
                    <a:pt x="12083" y="4051"/>
                    <a:pt x="9559" y="1"/>
                    <a:pt x="766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6" name="Google Shape;5126;p52">
              <a:extLst>
                <a:ext uri="{FF2B5EF4-FFF2-40B4-BE49-F238E27FC236}">
                  <a16:creationId xmlns:a16="http://schemas.microsoft.com/office/drawing/2014/main" id="{D5DFD5D8-EF68-7DA7-254C-6BF9869C0031}"/>
                </a:ext>
              </a:extLst>
            </p:cNvPr>
            <p:cNvSpPr/>
            <p:nvPr/>
          </p:nvSpPr>
          <p:spPr>
            <a:xfrm>
              <a:off x="1913843" y="3268837"/>
              <a:ext cx="542734" cy="161493"/>
            </a:xfrm>
            <a:custGeom>
              <a:avLst/>
              <a:gdLst/>
              <a:ahLst/>
              <a:cxnLst/>
              <a:rect l="l" t="t" r="r" b="b"/>
              <a:pathLst>
                <a:path w="2944" h="876" extrusionOk="0">
                  <a:moveTo>
                    <a:pt x="1490" y="1"/>
                  </a:moveTo>
                  <a:cubicBezTo>
                    <a:pt x="1156" y="1"/>
                    <a:pt x="889" y="275"/>
                    <a:pt x="889" y="600"/>
                  </a:cubicBezTo>
                  <a:lnTo>
                    <a:pt x="889" y="623"/>
                  </a:lnTo>
                  <a:cubicBezTo>
                    <a:pt x="852" y="613"/>
                    <a:pt x="815" y="606"/>
                    <a:pt x="775" y="606"/>
                  </a:cubicBezTo>
                  <a:cubicBezTo>
                    <a:pt x="759" y="606"/>
                    <a:pt x="744" y="607"/>
                    <a:pt x="727" y="609"/>
                  </a:cubicBezTo>
                  <a:cubicBezTo>
                    <a:pt x="623" y="616"/>
                    <a:pt x="526" y="661"/>
                    <a:pt x="454" y="734"/>
                  </a:cubicBezTo>
                  <a:cubicBezTo>
                    <a:pt x="421" y="723"/>
                    <a:pt x="384" y="717"/>
                    <a:pt x="346" y="717"/>
                  </a:cubicBezTo>
                  <a:cubicBezTo>
                    <a:pt x="332" y="717"/>
                    <a:pt x="318" y="718"/>
                    <a:pt x="304" y="719"/>
                  </a:cubicBezTo>
                  <a:cubicBezTo>
                    <a:pt x="178" y="727"/>
                    <a:pt x="75" y="787"/>
                    <a:pt x="0" y="876"/>
                  </a:cubicBezTo>
                  <a:lnTo>
                    <a:pt x="2934" y="876"/>
                  </a:lnTo>
                  <a:cubicBezTo>
                    <a:pt x="2934" y="867"/>
                    <a:pt x="2943" y="860"/>
                    <a:pt x="2943" y="846"/>
                  </a:cubicBezTo>
                  <a:cubicBezTo>
                    <a:pt x="2921" y="625"/>
                    <a:pt x="2736" y="452"/>
                    <a:pt x="2509" y="452"/>
                  </a:cubicBezTo>
                  <a:cubicBezTo>
                    <a:pt x="2501" y="452"/>
                    <a:pt x="2492" y="452"/>
                    <a:pt x="2483" y="453"/>
                  </a:cubicBezTo>
                  <a:cubicBezTo>
                    <a:pt x="2365" y="460"/>
                    <a:pt x="2253" y="527"/>
                    <a:pt x="2179" y="616"/>
                  </a:cubicBezTo>
                  <a:cubicBezTo>
                    <a:pt x="2150" y="609"/>
                    <a:pt x="2120" y="609"/>
                    <a:pt x="2090" y="609"/>
                  </a:cubicBezTo>
                  <a:lnTo>
                    <a:pt x="2090" y="600"/>
                  </a:lnTo>
                  <a:cubicBezTo>
                    <a:pt x="2090" y="275"/>
                    <a:pt x="1823" y="1"/>
                    <a:pt x="1490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7" name="Google Shape;5127;p52">
              <a:extLst>
                <a:ext uri="{FF2B5EF4-FFF2-40B4-BE49-F238E27FC236}">
                  <a16:creationId xmlns:a16="http://schemas.microsoft.com/office/drawing/2014/main" id="{B28B298A-C278-8926-AC49-0FA2B1D08D9B}"/>
                </a:ext>
              </a:extLst>
            </p:cNvPr>
            <p:cNvSpPr/>
            <p:nvPr/>
          </p:nvSpPr>
          <p:spPr>
            <a:xfrm>
              <a:off x="1944970" y="2627298"/>
              <a:ext cx="480486" cy="480640"/>
            </a:xfrm>
            <a:custGeom>
              <a:avLst/>
              <a:gdLst/>
              <a:ahLst/>
              <a:cxnLst/>
              <a:rect l="l" t="t" r="r" b="b"/>
              <a:pathLst>
                <a:path w="3535" h="3536" extrusionOk="0">
                  <a:moveTo>
                    <a:pt x="1763" y="0"/>
                  </a:moveTo>
                  <a:cubicBezTo>
                    <a:pt x="785" y="0"/>
                    <a:pt x="1" y="794"/>
                    <a:pt x="1" y="1772"/>
                  </a:cubicBezTo>
                  <a:cubicBezTo>
                    <a:pt x="1" y="2750"/>
                    <a:pt x="785" y="3536"/>
                    <a:pt x="1763" y="3536"/>
                  </a:cubicBezTo>
                  <a:cubicBezTo>
                    <a:pt x="2741" y="3536"/>
                    <a:pt x="3534" y="2750"/>
                    <a:pt x="3534" y="1772"/>
                  </a:cubicBezTo>
                  <a:cubicBezTo>
                    <a:pt x="3534" y="794"/>
                    <a:pt x="2741" y="0"/>
                    <a:pt x="1763" y="0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8" name="Google Shape;5128;p52">
              <a:extLst>
                <a:ext uri="{FF2B5EF4-FFF2-40B4-BE49-F238E27FC236}">
                  <a16:creationId xmlns:a16="http://schemas.microsoft.com/office/drawing/2014/main" id="{2E42CFBD-FBF7-C42E-625B-33EC01B0FC2C}"/>
                </a:ext>
              </a:extLst>
            </p:cNvPr>
            <p:cNvSpPr/>
            <p:nvPr/>
          </p:nvSpPr>
          <p:spPr>
            <a:xfrm>
              <a:off x="2374282" y="2634914"/>
              <a:ext cx="546919" cy="267710"/>
            </a:xfrm>
            <a:custGeom>
              <a:avLst/>
              <a:gdLst/>
              <a:ahLst/>
              <a:cxnLst/>
              <a:rect l="l" t="t" r="r" b="b"/>
              <a:pathLst>
                <a:path w="16742" h="8195" extrusionOk="0">
                  <a:moveTo>
                    <a:pt x="9397" y="1"/>
                  </a:moveTo>
                  <a:cubicBezTo>
                    <a:pt x="6400" y="1"/>
                    <a:pt x="3957" y="2350"/>
                    <a:pt x="3808" y="5308"/>
                  </a:cubicBezTo>
                  <a:cubicBezTo>
                    <a:pt x="3510" y="5198"/>
                    <a:pt x="3186" y="5133"/>
                    <a:pt x="2862" y="5133"/>
                  </a:cubicBezTo>
                  <a:cubicBezTo>
                    <a:pt x="1284" y="5133"/>
                    <a:pt x="1" y="6413"/>
                    <a:pt x="1" y="7994"/>
                  </a:cubicBezTo>
                  <a:cubicBezTo>
                    <a:pt x="1" y="8062"/>
                    <a:pt x="1" y="8130"/>
                    <a:pt x="14" y="8195"/>
                  </a:cubicBezTo>
                  <a:lnTo>
                    <a:pt x="16593" y="8195"/>
                  </a:lnTo>
                  <a:cubicBezTo>
                    <a:pt x="16687" y="7952"/>
                    <a:pt x="16742" y="7683"/>
                    <a:pt x="16742" y="7414"/>
                  </a:cubicBezTo>
                  <a:cubicBezTo>
                    <a:pt x="16742" y="6332"/>
                    <a:pt x="15984" y="5441"/>
                    <a:pt x="14973" y="5214"/>
                  </a:cubicBezTo>
                  <a:cubicBezTo>
                    <a:pt x="14769" y="2311"/>
                    <a:pt x="12355" y="1"/>
                    <a:pt x="9397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11104267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44">
          <a:extLst>
            <a:ext uri="{FF2B5EF4-FFF2-40B4-BE49-F238E27FC236}">
              <a16:creationId xmlns:a16="http://schemas.microsoft.com/office/drawing/2014/main" id="{D19EE16A-AD7D-D139-EA07-E51F001C29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AABB8F4-7816-4A03-0BAD-8EA85E44D1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ABB8F4-7816-4A03-0BAD-8EA85E44D1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45" name="Google Shape;3345;p43">
            <a:extLst>
              <a:ext uri="{FF2B5EF4-FFF2-40B4-BE49-F238E27FC236}">
                <a16:creationId xmlns:a16="http://schemas.microsoft.com/office/drawing/2014/main" id="{529A7DD4-A2D8-AF21-BAEE-DC4B155829F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72540" y="106826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dirty="0">
                <a:solidFill>
                  <a:schemeClr val="accent1"/>
                </a:solidFill>
              </a:rPr>
              <a:t>M</a:t>
            </a:r>
            <a:r>
              <a:rPr lang="en" dirty="0">
                <a:solidFill>
                  <a:schemeClr val="accent1"/>
                </a:solidFill>
              </a:rPr>
              <a:t>itigation Cost Analysis</a:t>
            </a:r>
            <a:endParaRPr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E7D9E54E-AB14-78B2-CD63-310FEEA81327}"/>
              </a:ext>
            </a:extLst>
          </p:cNvPr>
          <p:cNvSpPr>
            <a:spLocks noGrp="1" noChangeArrowheads="1"/>
          </p:cNvSpPr>
          <p:nvPr>
            <p:ph type="subTitle" idx="2"/>
          </p:nvPr>
        </p:nvSpPr>
        <p:spPr bwMode="auto">
          <a:xfrm>
            <a:off x="719999" y="818025"/>
            <a:ext cx="770400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n-US" sz="1800" dirty="0"/>
              <a:t>Calculates expenses of cutting emissions, showing efficient pathways to targets but not assessing overall economic justification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EAE24221-0417-DB57-9012-E6AA0CCBE2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460" y="0"/>
            <a:ext cx="7821172" cy="6179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344654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44">
          <a:extLst>
            <a:ext uri="{FF2B5EF4-FFF2-40B4-BE49-F238E27FC236}">
              <a16:creationId xmlns:a16="http://schemas.microsoft.com/office/drawing/2014/main" id="{28F9FAFF-E2D4-CC24-B005-E89DD0D529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3F0CC31-2CB6-4BFE-A2E4-ACF7219E32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F0CC31-2CB6-4BFE-A2E4-ACF7219E32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45" name="Google Shape;3345;p43">
            <a:extLst>
              <a:ext uri="{FF2B5EF4-FFF2-40B4-BE49-F238E27FC236}">
                <a16:creationId xmlns:a16="http://schemas.microsoft.com/office/drawing/2014/main" id="{73F1DE63-3B73-95DD-C5AA-29C1E6941A9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72540" y="106826"/>
            <a:ext cx="7704000" cy="98537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-US" sz="3200" b="1" dirty="0"/>
              <a:t>No, they are complementary, not interchangeable. </a:t>
            </a:r>
          </a:p>
        </p:txBody>
      </p:sp>
      <p:pic>
        <p:nvPicPr>
          <p:cNvPr id="8198" name="Picture 6">
            <a:extLst>
              <a:ext uri="{FF2B5EF4-FFF2-40B4-BE49-F238E27FC236}">
                <a16:creationId xmlns:a16="http://schemas.microsoft.com/office/drawing/2014/main" id="{227ECA13-210A-5D3B-179E-CB472CDCF3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6224" y="-1303377"/>
            <a:ext cx="11341527" cy="6951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671518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44">
          <a:extLst>
            <a:ext uri="{FF2B5EF4-FFF2-40B4-BE49-F238E27FC236}">
              <a16:creationId xmlns:a16="http://schemas.microsoft.com/office/drawing/2014/main" id="{C454EC50-6983-58BE-F7DC-9EF3E3426E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4F218B9-1E01-1B88-1AFF-C7FC4CAD48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F218B9-1E01-1B88-1AFF-C7FC4CAD48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45" name="Google Shape;3345;p43">
            <a:extLst>
              <a:ext uri="{FF2B5EF4-FFF2-40B4-BE49-F238E27FC236}">
                <a16:creationId xmlns:a16="http://schemas.microsoft.com/office/drawing/2014/main" id="{C5D03635-7A3C-BC94-5367-3DBF4251317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72540" y="106826"/>
            <a:ext cx="7704000" cy="116011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IN" dirty="0">
                <a:solidFill>
                  <a:srgbClr val="A1E1FD"/>
                </a:solidFill>
              </a:rPr>
              <a:t>Should SCC Analysis Replace</a:t>
            </a:r>
            <a:r>
              <a:rPr lang="en" dirty="0"/>
              <a:t> </a:t>
            </a:r>
            <a:r>
              <a:rPr lang="en-IN" dirty="0">
                <a:solidFill>
                  <a:srgbClr val="FFD65D"/>
                </a:solidFill>
              </a:rPr>
              <a:t>Mitigation Cost Analysis?</a:t>
            </a:r>
            <a:endParaRPr dirty="0">
              <a:solidFill>
                <a:srgbClr val="FFD65D"/>
              </a:solidFill>
            </a:endParaRP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DDC8EF63-1398-794C-9832-6E7A36C624CB}"/>
              </a:ext>
            </a:extLst>
          </p:cNvPr>
          <p:cNvSpPr>
            <a:spLocks noGrp="1" noChangeArrowheads="1"/>
          </p:cNvSpPr>
          <p:nvPr>
            <p:ph type="subTitle" idx="2"/>
          </p:nvPr>
        </p:nvSpPr>
        <p:spPr bwMode="auto">
          <a:xfrm>
            <a:off x="264405" y="1436549"/>
            <a:ext cx="8615190" cy="3139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2200" b="1" dirty="0"/>
          </a:p>
          <a:p>
            <a:r>
              <a:rPr lang="en-US" sz="2200" b="1" dirty="0"/>
              <a:t>	</a:t>
            </a:r>
            <a:r>
              <a:rPr lang="en-US" sz="2200" dirty="0"/>
              <a:t>SCC and mitigation cost analysis are complementary, not interchangeable. SCC captures the </a:t>
            </a:r>
            <a:r>
              <a:rPr lang="en-US" sz="2200" i="1" dirty="0"/>
              <a:t>benefit side</a:t>
            </a:r>
            <a:r>
              <a:rPr lang="en-US" sz="2200" dirty="0"/>
              <a:t> by valuing avoided damages from emissions cuts, while mitigation cost analysis shows the </a:t>
            </a:r>
            <a:r>
              <a:rPr lang="en-US" sz="2200" i="1" dirty="0"/>
              <a:t>cost side</a:t>
            </a:r>
            <a:r>
              <a:rPr lang="en-US" sz="2200" dirty="0"/>
              <a:t>, identifying efficient reduction pathways. </a:t>
            </a:r>
          </a:p>
          <a:p>
            <a:endParaRPr lang="en-US" sz="2200" dirty="0"/>
          </a:p>
          <a:p>
            <a:r>
              <a:rPr lang="en-US" sz="2200" dirty="0"/>
              <a:t>	Together, they form a complete cost–benefit framework, ensuring climate policies are both effective and worthwhile.</a:t>
            </a:r>
          </a:p>
        </p:txBody>
      </p:sp>
    </p:spTree>
    <p:extLst>
      <p:ext uri="{BB962C8B-B14F-4D97-AF65-F5344CB8AC3E}">
        <p14:creationId xmlns:p14="http://schemas.microsoft.com/office/powerpoint/2010/main" val="253074254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44">
          <a:extLst>
            <a:ext uri="{FF2B5EF4-FFF2-40B4-BE49-F238E27FC236}">
              <a16:creationId xmlns:a16="http://schemas.microsoft.com/office/drawing/2014/main" id="{01163A01-99C9-94F1-2432-F5FC010199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44C8BE1-2056-AD44-4211-5BEA3E79A9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F218B9-1E01-1B88-1AFF-C7FC4CAD48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utoShape 4">
            <a:extLst>
              <a:ext uri="{FF2B5EF4-FFF2-40B4-BE49-F238E27FC236}">
                <a16:creationId xmlns:a16="http://schemas.microsoft.com/office/drawing/2014/main" id="{BD97657F-A86D-C14D-3276-79E7929817C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" name="AutoShape 6">
            <a:extLst>
              <a:ext uri="{FF2B5EF4-FFF2-40B4-BE49-F238E27FC236}">
                <a16:creationId xmlns:a16="http://schemas.microsoft.com/office/drawing/2014/main" id="{FA0EE749-ECC3-788D-3830-BC75F8B9357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572000" y="2571750"/>
            <a:ext cx="2222500" cy="222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10" name="Picture 9" descr="A graph of a graph with a red line and blue line&#10;&#10;AI-generated content may be incorrect.">
            <a:extLst>
              <a:ext uri="{FF2B5EF4-FFF2-40B4-BE49-F238E27FC236}">
                <a16:creationId xmlns:a16="http://schemas.microsoft.com/office/drawing/2014/main" id="{3068DC1B-CA27-1948-C184-E8618D7177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54819" y="239356"/>
            <a:ext cx="6118818" cy="4756425"/>
          </a:xfrm>
          <a:prstGeom prst="round2DiagRect">
            <a:avLst>
              <a:gd name="adj1" fmla="val 9013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466349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07">
          <a:extLst>
            <a:ext uri="{FF2B5EF4-FFF2-40B4-BE49-F238E27FC236}">
              <a16:creationId xmlns:a16="http://schemas.microsoft.com/office/drawing/2014/main" id="{D6DD458C-EDCA-FC21-51AA-3B61D31572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E493C3C-0615-0CDA-B2A3-378EDD4CA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493C3C-0615-0CDA-B2A3-378EDD4CA5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10" name="Google Shape;3310;p42">
            <a:extLst>
              <a:ext uri="{FF2B5EF4-FFF2-40B4-BE49-F238E27FC236}">
                <a16:creationId xmlns:a16="http://schemas.microsoft.com/office/drawing/2014/main" id="{117CF63E-4816-4841-CA49-CFA4A4A411D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42874" y="50742"/>
            <a:ext cx="5444700" cy="105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accent1"/>
                </a:solidFill>
              </a:rPr>
              <a:t>Social Cost of Carbon (SSC)</a:t>
            </a:r>
            <a:endParaRPr/>
          </a:p>
        </p:txBody>
      </p:sp>
      <p:sp>
        <p:nvSpPr>
          <p:cNvPr id="3312" name="Google Shape;3312;p42">
            <a:extLst>
              <a:ext uri="{FF2B5EF4-FFF2-40B4-BE49-F238E27FC236}">
                <a16:creationId xmlns:a16="http://schemas.microsoft.com/office/drawing/2014/main" id="{5783E22F-2B93-34C4-15A9-5DD38FE1A617}"/>
              </a:ext>
            </a:extLst>
          </p:cNvPr>
          <p:cNvSpPr txBox="1">
            <a:spLocks noGrp="1"/>
          </p:cNvSpPr>
          <p:nvPr>
            <p:ph type="subTitle" idx="2"/>
          </p:nvPr>
        </p:nvSpPr>
        <p:spPr>
          <a:xfrm>
            <a:off x="801196" y="871339"/>
            <a:ext cx="7839273" cy="402562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/>
            <a:r>
              <a:rPr lang="en-US" sz="1800"/>
              <a:t>For Example: </a:t>
            </a:r>
          </a:p>
          <a:p>
            <a:pPr algn="l"/>
            <a:r>
              <a:rPr lang="en-US" sz="1800"/>
              <a:t>Let the SCC is estimated at </a:t>
            </a:r>
            <a:r>
              <a:rPr lang="en-US" sz="1800" b="1">
                <a:solidFill>
                  <a:schemeClr val="bg2">
                    <a:lumMod val="40000"/>
                    <a:lumOff val="60000"/>
                  </a:schemeClr>
                </a:solidFill>
              </a:rPr>
              <a:t>$51 per ton of CO₂.</a:t>
            </a:r>
          </a:p>
          <a:p>
            <a:pPr algn="l"/>
            <a:endParaRPr lang="en-US" sz="1800"/>
          </a:p>
          <a:p>
            <a:pPr algn="l"/>
            <a:r>
              <a:rPr lang="en-US" sz="1800"/>
              <a:t>If a new power plant is expected to emit 1 million tons of CO₂ annually,</a:t>
            </a:r>
          </a:p>
          <a:p>
            <a:pPr algn="l"/>
            <a:r>
              <a:rPr lang="en-US" sz="1800"/>
              <a:t>the total annual climate damage is:</a:t>
            </a:r>
          </a:p>
          <a:p>
            <a:r>
              <a:rPr lang="en-US" sz="1800" b="1">
                <a:solidFill>
                  <a:srgbClr val="FFC000"/>
                </a:solidFill>
              </a:rPr>
              <a:t>1,000,000×51=$51,000,000</a:t>
            </a:r>
            <a:r>
              <a:rPr lang="en-US" sz="1800">
                <a:solidFill>
                  <a:srgbClr val="B41408"/>
                </a:solidFill>
              </a:rPr>
              <a:t>.</a:t>
            </a:r>
          </a:p>
          <a:p>
            <a:pPr algn="l"/>
            <a:r>
              <a:rPr lang="en-US" sz="1800"/>
              <a:t> </a:t>
            </a:r>
          </a:p>
          <a:p>
            <a:pPr algn="l"/>
            <a:r>
              <a:rPr lang="en-US" sz="1800"/>
              <a:t>This means the plant’s emissions would cause </a:t>
            </a:r>
            <a:r>
              <a:rPr lang="en-US" sz="1800" b="1"/>
              <a:t>$51 million worth of future damages (health costs, agricultural losses, flood risks, etc.).</a:t>
            </a:r>
          </a:p>
          <a:p>
            <a:pPr algn="l"/>
            <a:endParaRPr lang="en-US" sz="1800"/>
          </a:p>
          <a:p>
            <a:pPr algn="l"/>
            <a:r>
              <a:rPr lang="en-US" sz="1800"/>
              <a:t>We can use this estimate to decide whether stricter emission controls, renewable investments, or carbon pricing would be more cost-effective.</a:t>
            </a:r>
          </a:p>
          <a:p>
            <a:pPr marL="0" lvl="0" indent="0"/>
            <a:endParaRPr sz="180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6E52BB9-9263-E9A7-0F19-D6838C38B5F3}"/>
              </a:ext>
            </a:extLst>
          </p:cNvPr>
          <p:cNvGrpSpPr/>
          <p:nvPr/>
        </p:nvGrpSpPr>
        <p:grpSpPr>
          <a:xfrm>
            <a:off x="8362500" y="0"/>
            <a:ext cx="781500" cy="781500"/>
            <a:chOff x="5785183" y="1936801"/>
            <a:chExt cx="781500" cy="781500"/>
          </a:xfrm>
        </p:grpSpPr>
        <p:sp>
          <p:nvSpPr>
            <p:cNvPr id="3309" name="Google Shape;3309;p42">
              <a:extLst>
                <a:ext uri="{FF2B5EF4-FFF2-40B4-BE49-F238E27FC236}">
                  <a16:creationId xmlns:a16="http://schemas.microsoft.com/office/drawing/2014/main" id="{B060B625-947B-4B87-0878-9D808A26F10D}"/>
                </a:ext>
              </a:extLst>
            </p:cNvPr>
            <p:cNvSpPr/>
            <p:nvPr/>
          </p:nvSpPr>
          <p:spPr>
            <a:xfrm>
              <a:off x="5785183" y="1936801"/>
              <a:ext cx="781500" cy="781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3315" name="Google Shape;3315;p42">
              <a:extLst>
                <a:ext uri="{FF2B5EF4-FFF2-40B4-BE49-F238E27FC236}">
                  <a16:creationId xmlns:a16="http://schemas.microsoft.com/office/drawing/2014/main" id="{CA3E7D24-A7E4-1A0B-AAE5-F1E34ED510A1}"/>
                </a:ext>
              </a:extLst>
            </p:cNvPr>
            <p:cNvGrpSpPr/>
            <p:nvPr/>
          </p:nvGrpSpPr>
          <p:grpSpPr>
            <a:xfrm>
              <a:off x="5947348" y="2098962"/>
              <a:ext cx="457181" cy="457181"/>
              <a:chOff x="4780446" y="4063623"/>
              <a:chExt cx="382163" cy="382163"/>
            </a:xfrm>
          </p:grpSpPr>
          <p:sp>
            <p:nvSpPr>
              <p:cNvPr id="3316" name="Google Shape;3316;p42">
                <a:extLst>
                  <a:ext uri="{FF2B5EF4-FFF2-40B4-BE49-F238E27FC236}">
                    <a16:creationId xmlns:a16="http://schemas.microsoft.com/office/drawing/2014/main" id="{85876009-5FD1-87E5-C8D3-39B3CA1D9F82}"/>
                  </a:ext>
                </a:extLst>
              </p:cNvPr>
              <p:cNvSpPr/>
              <p:nvPr/>
            </p:nvSpPr>
            <p:spPr>
              <a:xfrm>
                <a:off x="4901133" y="4228295"/>
                <a:ext cx="193607" cy="62870"/>
              </a:xfrm>
              <a:custGeom>
                <a:avLst/>
                <a:gdLst/>
                <a:ahLst/>
                <a:cxnLst/>
                <a:rect l="l" t="t" r="r" b="b"/>
                <a:pathLst>
                  <a:path w="7166" h="2327" extrusionOk="0">
                    <a:moveTo>
                      <a:pt x="0" y="1"/>
                    </a:moveTo>
                    <a:lnTo>
                      <a:pt x="0" y="2327"/>
                    </a:lnTo>
                    <a:lnTo>
                      <a:pt x="7165" y="2327"/>
                    </a:lnTo>
                    <a:lnTo>
                      <a:pt x="5607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17" name="Google Shape;3317;p42">
                <a:extLst>
                  <a:ext uri="{FF2B5EF4-FFF2-40B4-BE49-F238E27FC236}">
                    <a16:creationId xmlns:a16="http://schemas.microsoft.com/office/drawing/2014/main" id="{EF81CF12-1B8A-834F-12E3-A15E30A50F51}"/>
                  </a:ext>
                </a:extLst>
              </p:cNvPr>
              <p:cNvSpPr/>
              <p:nvPr/>
            </p:nvSpPr>
            <p:spPr>
              <a:xfrm>
                <a:off x="4997910" y="4228295"/>
                <a:ext cx="99343" cy="62870"/>
              </a:xfrm>
              <a:custGeom>
                <a:avLst/>
                <a:gdLst/>
                <a:ahLst/>
                <a:cxnLst/>
                <a:rect l="l" t="t" r="r" b="b"/>
                <a:pathLst>
                  <a:path w="3677" h="2327" extrusionOk="0">
                    <a:moveTo>
                      <a:pt x="1" y="1"/>
                    </a:moveTo>
                    <a:lnTo>
                      <a:pt x="1" y="2327"/>
                    </a:lnTo>
                    <a:lnTo>
                      <a:pt x="3676" y="2327"/>
                    </a:lnTo>
                    <a:lnTo>
                      <a:pt x="2025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18" name="Google Shape;3318;p42">
                <a:extLst>
                  <a:ext uri="{FF2B5EF4-FFF2-40B4-BE49-F238E27FC236}">
                    <a16:creationId xmlns:a16="http://schemas.microsoft.com/office/drawing/2014/main" id="{4032B262-5D10-9E2C-0487-E0DAA45C5FCA}"/>
                  </a:ext>
                </a:extLst>
              </p:cNvPr>
              <p:cNvSpPr/>
              <p:nvPr/>
            </p:nvSpPr>
            <p:spPr>
              <a:xfrm>
                <a:off x="4780446" y="4095045"/>
                <a:ext cx="172858" cy="258990"/>
              </a:xfrm>
              <a:custGeom>
                <a:avLst/>
                <a:gdLst/>
                <a:ahLst/>
                <a:cxnLst/>
                <a:rect l="l" t="t" r="r" b="b"/>
                <a:pathLst>
                  <a:path w="6398" h="9586" extrusionOk="0">
                    <a:moveTo>
                      <a:pt x="1745" y="1"/>
                    </a:moveTo>
                    <a:cubicBezTo>
                      <a:pt x="768" y="1"/>
                      <a:pt x="0" y="768"/>
                      <a:pt x="0" y="1745"/>
                    </a:cubicBezTo>
                    <a:lnTo>
                      <a:pt x="0" y="7841"/>
                    </a:lnTo>
                    <a:cubicBezTo>
                      <a:pt x="0" y="8818"/>
                      <a:pt x="768" y="9585"/>
                      <a:pt x="1745" y="9585"/>
                    </a:cubicBezTo>
                    <a:cubicBezTo>
                      <a:pt x="1931" y="9585"/>
                      <a:pt x="2141" y="9399"/>
                      <a:pt x="2234" y="9190"/>
                    </a:cubicBezTo>
                    <a:cubicBezTo>
                      <a:pt x="2234" y="9004"/>
                      <a:pt x="2024" y="8725"/>
                      <a:pt x="1745" y="8725"/>
                    </a:cubicBezTo>
                    <a:cubicBezTo>
                      <a:pt x="1257" y="8725"/>
                      <a:pt x="861" y="8329"/>
                      <a:pt x="861" y="7841"/>
                    </a:cubicBezTo>
                    <a:lnTo>
                      <a:pt x="861" y="1745"/>
                    </a:lnTo>
                    <a:cubicBezTo>
                      <a:pt x="861" y="1257"/>
                      <a:pt x="1257" y="768"/>
                      <a:pt x="1745" y="768"/>
                    </a:cubicBezTo>
                    <a:lnTo>
                      <a:pt x="5909" y="768"/>
                    </a:lnTo>
                    <a:cubicBezTo>
                      <a:pt x="6212" y="768"/>
                      <a:pt x="6398" y="582"/>
                      <a:pt x="6398" y="373"/>
                    </a:cubicBezTo>
                    <a:cubicBezTo>
                      <a:pt x="6305" y="187"/>
                      <a:pt x="6096" y="1"/>
                      <a:pt x="5909" y="1"/>
                    </a:cubicBez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19" name="Google Shape;3319;p42">
                <a:extLst>
                  <a:ext uri="{FF2B5EF4-FFF2-40B4-BE49-F238E27FC236}">
                    <a16:creationId xmlns:a16="http://schemas.microsoft.com/office/drawing/2014/main" id="{B7FF7A17-29FF-DD68-16D2-A31BA18ACBDE}"/>
                  </a:ext>
                </a:extLst>
              </p:cNvPr>
              <p:cNvSpPr/>
              <p:nvPr/>
            </p:nvSpPr>
            <p:spPr>
              <a:xfrm>
                <a:off x="4830104" y="4207546"/>
                <a:ext cx="332504" cy="201794"/>
              </a:xfrm>
              <a:custGeom>
                <a:avLst/>
                <a:gdLst/>
                <a:ahLst/>
                <a:cxnLst/>
                <a:rect l="l" t="t" r="r" b="b"/>
                <a:pathLst>
                  <a:path w="12307" h="7469" extrusionOk="0">
                    <a:moveTo>
                      <a:pt x="5723" y="769"/>
                    </a:moveTo>
                    <a:lnTo>
                      <a:pt x="5723" y="3002"/>
                    </a:lnTo>
                    <a:lnTo>
                      <a:pt x="3978" y="3002"/>
                    </a:lnTo>
                    <a:cubicBezTo>
                      <a:pt x="3211" y="3002"/>
                      <a:pt x="2722" y="2420"/>
                      <a:pt x="2722" y="1746"/>
                    </a:cubicBezTo>
                    <a:lnTo>
                      <a:pt x="2722" y="1164"/>
                    </a:lnTo>
                    <a:cubicBezTo>
                      <a:pt x="2722" y="955"/>
                      <a:pt x="2908" y="769"/>
                      <a:pt x="3094" y="769"/>
                    </a:cubicBezTo>
                    <a:close/>
                    <a:moveTo>
                      <a:pt x="6979" y="769"/>
                    </a:moveTo>
                    <a:cubicBezTo>
                      <a:pt x="7375" y="769"/>
                      <a:pt x="7747" y="955"/>
                      <a:pt x="7957" y="1257"/>
                    </a:cubicBezTo>
                    <a:lnTo>
                      <a:pt x="9306" y="3002"/>
                    </a:lnTo>
                    <a:lnTo>
                      <a:pt x="6584" y="3002"/>
                    </a:lnTo>
                    <a:lnTo>
                      <a:pt x="6584" y="769"/>
                    </a:lnTo>
                    <a:close/>
                    <a:moveTo>
                      <a:pt x="3001" y="1"/>
                    </a:moveTo>
                    <a:cubicBezTo>
                      <a:pt x="2327" y="1"/>
                      <a:pt x="1652" y="373"/>
                      <a:pt x="1257" y="955"/>
                    </a:cubicBezTo>
                    <a:lnTo>
                      <a:pt x="303" y="2513"/>
                    </a:lnTo>
                    <a:cubicBezTo>
                      <a:pt x="93" y="2816"/>
                      <a:pt x="0" y="3188"/>
                      <a:pt x="0" y="3583"/>
                    </a:cubicBezTo>
                    <a:lnTo>
                      <a:pt x="0" y="5421"/>
                    </a:lnTo>
                    <a:cubicBezTo>
                      <a:pt x="0" y="6003"/>
                      <a:pt x="186" y="6491"/>
                      <a:pt x="582" y="6887"/>
                    </a:cubicBezTo>
                    <a:cubicBezTo>
                      <a:pt x="977" y="7259"/>
                      <a:pt x="1559" y="7468"/>
                      <a:pt x="2048" y="7468"/>
                    </a:cubicBezTo>
                    <a:lnTo>
                      <a:pt x="11051" y="7468"/>
                    </a:lnTo>
                    <a:cubicBezTo>
                      <a:pt x="11725" y="7468"/>
                      <a:pt x="12307" y="6980"/>
                      <a:pt x="12307" y="6305"/>
                    </a:cubicBezTo>
                    <a:lnTo>
                      <a:pt x="12307" y="5235"/>
                    </a:lnTo>
                    <a:cubicBezTo>
                      <a:pt x="12307" y="4072"/>
                      <a:pt x="11446" y="3095"/>
                      <a:pt x="10376" y="3002"/>
                    </a:cubicBezTo>
                    <a:lnTo>
                      <a:pt x="8631" y="769"/>
                    </a:lnTo>
                    <a:cubicBezTo>
                      <a:pt x="8236" y="280"/>
                      <a:pt x="7654" y="1"/>
                      <a:pt x="6979" y="1"/>
                    </a:cubicBezTo>
                    <a:close/>
                  </a:path>
                </a:pathLst>
              </a:custGeom>
              <a:solidFill>
                <a:srgbClr val="8AC93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20" name="Google Shape;3320;p42">
                <a:extLst>
                  <a:ext uri="{FF2B5EF4-FFF2-40B4-BE49-F238E27FC236}">
                    <a16:creationId xmlns:a16="http://schemas.microsoft.com/office/drawing/2014/main" id="{217F1031-8756-2DBD-DFEE-BE36CCE5472D}"/>
                  </a:ext>
                </a:extLst>
              </p:cNvPr>
              <p:cNvSpPr/>
              <p:nvPr/>
            </p:nvSpPr>
            <p:spPr>
              <a:xfrm>
                <a:off x="4997910" y="4207546"/>
                <a:ext cx="164699" cy="201794"/>
              </a:xfrm>
              <a:custGeom>
                <a:avLst/>
                <a:gdLst/>
                <a:ahLst/>
                <a:cxnLst/>
                <a:rect l="l" t="t" r="r" b="b"/>
                <a:pathLst>
                  <a:path w="6096" h="7469" extrusionOk="0">
                    <a:moveTo>
                      <a:pt x="768" y="769"/>
                    </a:moveTo>
                    <a:cubicBezTo>
                      <a:pt x="1164" y="769"/>
                      <a:pt x="1536" y="955"/>
                      <a:pt x="1746" y="1257"/>
                    </a:cubicBezTo>
                    <a:lnTo>
                      <a:pt x="3095" y="3002"/>
                    </a:lnTo>
                    <a:lnTo>
                      <a:pt x="373" y="3002"/>
                    </a:lnTo>
                    <a:lnTo>
                      <a:pt x="373" y="769"/>
                    </a:lnTo>
                    <a:close/>
                    <a:moveTo>
                      <a:pt x="1" y="1"/>
                    </a:moveTo>
                    <a:lnTo>
                      <a:pt x="1" y="7468"/>
                    </a:lnTo>
                    <a:lnTo>
                      <a:pt x="4840" y="7468"/>
                    </a:lnTo>
                    <a:cubicBezTo>
                      <a:pt x="5514" y="7468"/>
                      <a:pt x="6096" y="6980"/>
                      <a:pt x="6096" y="6305"/>
                    </a:cubicBezTo>
                    <a:lnTo>
                      <a:pt x="6096" y="5235"/>
                    </a:lnTo>
                    <a:cubicBezTo>
                      <a:pt x="6096" y="4072"/>
                      <a:pt x="5235" y="3095"/>
                      <a:pt x="4165" y="3002"/>
                    </a:cubicBezTo>
                    <a:lnTo>
                      <a:pt x="2420" y="769"/>
                    </a:lnTo>
                    <a:cubicBezTo>
                      <a:pt x="2025" y="280"/>
                      <a:pt x="1443" y="1"/>
                      <a:pt x="768" y="1"/>
                    </a:cubicBezTo>
                    <a:close/>
                  </a:path>
                </a:pathLst>
              </a:custGeom>
              <a:solidFill>
                <a:srgbClr val="00B44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21" name="Google Shape;3321;p42">
                <a:extLst>
                  <a:ext uri="{FF2B5EF4-FFF2-40B4-BE49-F238E27FC236}">
                    <a16:creationId xmlns:a16="http://schemas.microsoft.com/office/drawing/2014/main" id="{4F493D61-19E7-4499-94C6-E6F4C0633C90}"/>
                  </a:ext>
                </a:extLst>
              </p:cNvPr>
              <p:cNvSpPr/>
              <p:nvPr/>
            </p:nvSpPr>
            <p:spPr>
              <a:xfrm>
                <a:off x="4987238" y="4071161"/>
                <a:ext cx="47173" cy="23910"/>
              </a:xfrm>
              <a:custGeom>
                <a:avLst/>
                <a:gdLst/>
                <a:ahLst/>
                <a:cxnLst/>
                <a:rect l="l" t="t" r="r" b="b"/>
                <a:pathLst>
                  <a:path w="1746" h="885" extrusionOk="0">
                    <a:moveTo>
                      <a:pt x="396" y="1"/>
                    </a:moveTo>
                    <a:cubicBezTo>
                      <a:pt x="186" y="1"/>
                      <a:pt x="0" y="303"/>
                      <a:pt x="0" y="489"/>
                    </a:cubicBezTo>
                    <a:cubicBezTo>
                      <a:pt x="0" y="675"/>
                      <a:pt x="186" y="885"/>
                      <a:pt x="396" y="885"/>
                    </a:cubicBezTo>
                    <a:lnTo>
                      <a:pt x="1350" y="885"/>
                    </a:lnTo>
                    <a:cubicBezTo>
                      <a:pt x="1559" y="885"/>
                      <a:pt x="1745" y="675"/>
                      <a:pt x="1745" y="396"/>
                    </a:cubicBezTo>
                    <a:cubicBezTo>
                      <a:pt x="1745" y="187"/>
                      <a:pt x="1559" y="1"/>
                      <a:pt x="1257" y="1"/>
                    </a:cubicBez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22" name="Google Shape;3322;p42">
                <a:extLst>
                  <a:ext uri="{FF2B5EF4-FFF2-40B4-BE49-F238E27FC236}">
                    <a16:creationId xmlns:a16="http://schemas.microsoft.com/office/drawing/2014/main" id="{92A745B7-42A9-92B1-1191-533316DF321D}"/>
                  </a:ext>
                </a:extLst>
              </p:cNvPr>
              <p:cNvSpPr/>
              <p:nvPr/>
            </p:nvSpPr>
            <p:spPr>
              <a:xfrm>
                <a:off x="4987238" y="4115794"/>
                <a:ext cx="47173" cy="23289"/>
              </a:xfrm>
              <a:custGeom>
                <a:avLst/>
                <a:gdLst/>
                <a:ahLst/>
                <a:cxnLst/>
                <a:rect l="l" t="t" r="r" b="b"/>
                <a:pathLst>
                  <a:path w="1746" h="862" extrusionOk="0">
                    <a:moveTo>
                      <a:pt x="396" y="0"/>
                    </a:moveTo>
                    <a:cubicBezTo>
                      <a:pt x="186" y="0"/>
                      <a:pt x="0" y="280"/>
                      <a:pt x="0" y="489"/>
                    </a:cubicBezTo>
                    <a:cubicBezTo>
                      <a:pt x="0" y="675"/>
                      <a:pt x="186" y="861"/>
                      <a:pt x="396" y="861"/>
                    </a:cubicBezTo>
                    <a:lnTo>
                      <a:pt x="1350" y="861"/>
                    </a:lnTo>
                    <a:cubicBezTo>
                      <a:pt x="1559" y="861"/>
                      <a:pt x="1745" y="675"/>
                      <a:pt x="1745" y="396"/>
                    </a:cubicBezTo>
                    <a:cubicBezTo>
                      <a:pt x="1745" y="186"/>
                      <a:pt x="1559" y="0"/>
                      <a:pt x="1257" y="0"/>
                    </a:cubicBez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23" name="Google Shape;3323;p42">
                <a:extLst>
                  <a:ext uri="{FF2B5EF4-FFF2-40B4-BE49-F238E27FC236}">
                    <a16:creationId xmlns:a16="http://schemas.microsoft.com/office/drawing/2014/main" id="{1AA1517A-43A3-EAFC-7C4B-986B21FE19EC}"/>
                  </a:ext>
                </a:extLst>
              </p:cNvPr>
              <p:cNvSpPr/>
              <p:nvPr/>
            </p:nvSpPr>
            <p:spPr>
              <a:xfrm>
                <a:off x="4929393" y="4063623"/>
                <a:ext cx="68543" cy="83619"/>
              </a:xfrm>
              <a:custGeom>
                <a:avLst/>
                <a:gdLst/>
                <a:ahLst/>
                <a:cxnLst/>
                <a:rect l="l" t="t" r="r" b="b"/>
                <a:pathLst>
                  <a:path w="2537" h="3095" extrusionOk="0">
                    <a:moveTo>
                      <a:pt x="1653" y="0"/>
                    </a:moveTo>
                    <a:cubicBezTo>
                      <a:pt x="699" y="0"/>
                      <a:pt x="1" y="768"/>
                      <a:pt x="117" y="1745"/>
                    </a:cubicBezTo>
                    <a:cubicBezTo>
                      <a:pt x="117" y="2513"/>
                      <a:pt x="792" y="3095"/>
                      <a:pt x="1653" y="3095"/>
                    </a:cubicBezTo>
                    <a:lnTo>
                      <a:pt x="2048" y="3095"/>
                    </a:lnTo>
                    <a:cubicBezTo>
                      <a:pt x="2327" y="3095"/>
                      <a:pt x="2537" y="2908"/>
                      <a:pt x="2537" y="2699"/>
                    </a:cubicBezTo>
                    <a:lnTo>
                      <a:pt x="2537" y="466"/>
                    </a:lnTo>
                    <a:cubicBezTo>
                      <a:pt x="2537" y="187"/>
                      <a:pt x="2327" y="0"/>
                      <a:pt x="204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24" name="Google Shape;3324;p42">
                <a:extLst>
                  <a:ext uri="{FF2B5EF4-FFF2-40B4-BE49-F238E27FC236}">
                    <a16:creationId xmlns:a16="http://schemas.microsoft.com/office/drawing/2014/main" id="{F1A81C53-92A6-64C5-AA92-2B83F01CE1D3}"/>
                  </a:ext>
                </a:extLst>
              </p:cNvPr>
              <p:cNvSpPr/>
              <p:nvPr/>
            </p:nvSpPr>
            <p:spPr>
              <a:xfrm>
                <a:off x="4877249" y="4367192"/>
                <a:ext cx="71029" cy="70435"/>
              </a:xfrm>
              <a:custGeom>
                <a:avLst/>
                <a:gdLst/>
                <a:ahLst/>
                <a:cxnLst/>
                <a:rect l="l" t="t" r="r" b="b"/>
                <a:pathLst>
                  <a:path w="2629" h="2607" extrusionOk="0">
                    <a:moveTo>
                      <a:pt x="489" y="489"/>
                    </a:moveTo>
                    <a:cubicBezTo>
                      <a:pt x="884" y="1"/>
                      <a:pt x="1652" y="1"/>
                      <a:pt x="2140" y="489"/>
                    </a:cubicBezTo>
                    <a:cubicBezTo>
                      <a:pt x="2629" y="862"/>
                      <a:pt x="2629" y="1653"/>
                      <a:pt x="2140" y="2141"/>
                    </a:cubicBezTo>
                    <a:cubicBezTo>
                      <a:pt x="1652" y="2606"/>
                      <a:pt x="884" y="2606"/>
                      <a:pt x="489" y="2141"/>
                    </a:cubicBezTo>
                    <a:cubicBezTo>
                      <a:pt x="0" y="1653"/>
                      <a:pt x="0" y="862"/>
                      <a:pt x="489" y="489"/>
                    </a:cubicBezTo>
                    <a:close/>
                  </a:path>
                </a:pathLst>
              </a:custGeom>
              <a:solidFill>
                <a:srgbClr val="A1E1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25" name="Google Shape;3325;p42">
                <a:extLst>
                  <a:ext uri="{FF2B5EF4-FFF2-40B4-BE49-F238E27FC236}">
                    <a16:creationId xmlns:a16="http://schemas.microsoft.com/office/drawing/2014/main" id="{40DF8A57-FF98-C46C-6AFA-170009C8978A}"/>
                  </a:ext>
                </a:extLst>
              </p:cNvPr>
              <p:cNvSpPr/>
              <p:nvPr/>
            </p:nvSpPr>
            <p:spPr>
              <a:xfrm>
                <a:off x="4869685" y="4359033"/>
                <a:ext cx="86159" cy="86753"/>
              </a:xfrm>
              <a:custGeom>
                <a:avLst/>
                <a:gdLst/>
                <a:ahLst/>
                <a:cxnLst/>
                <a:rect l="l" t="t" r="r" b="b"/>
                <a:pathLst>
                  <a:path w="3189" h="3211" extrusionOk="0">
                    <a:moveTo>
                      <a:pt x="1536" y="791"/>
                    </a:moveTo>
                    <a:cubicBezTo>
                      <a:pt x="2025" y="791"/>
                      <a:pt x="2327" y="1164"/>
                      <a:pt x="2327" y="1559"/>
                    </a:cubicBezTo>
                    <a:cubicBezTo>
                      <a:pt x="2327" y="2048"/>
                      <a:pt x="2025" y="2327"/>
                      <a:pt x="1536" y="2327"/>
                    </a:cubicBezTo>
                    <a:cubicBezTo>
                      <a:pt x="1164" y="2327"/>
                      <a:pt x="769" y="2048"/>
                      <a:pt x="769" y="1559"/>
                    </a:cubicBezTo>
                    <a:cubicBezTo>
                      <a:pt x="769" y="1164"/>
                      <a:pt x="1164" y="791"/>
                      <a:pt x="1536" y="791"/>
                    </a:cubicBezTo>
                    <a:close/>
                    <a:moveTo>
                      <a:pt x="1536" y="0"/>
                    </a:moveTo>
                    <a:cubicBezTo>
                      <a:pt x="676" y="0"/>
                      <a:pt x="1" y="698"/>
                      <a:pt x="1" y="1559"/>
                    </a:cubicBezTo>
                    <a:cubicBezTo>
                      <a:pt x="1" y="2443"/>
                      <a:pt x="676" y="3211"/>
                      <a:pt x="1536" y="3211"/>
                    </a:cubicBezTo>
                    <a:cubicBezTo>
                      <a:pt x="2420" y="3211"/>
                      <a:pt x="3188" y="2443"/>
                      <a:pt x="3188" y="1559"/>
                    </a:cubicBezTo>
                    <a:cubicBezTo>
                      <a:pt x="3188" y="698"/>
                      <a:pt x="2420" y="0"/>
                      <a:pt x="153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26" name="Google Shape;3326;p42">
                <a:extLst>
                  <a:ext uri="{FF2B5EF4-FFF2-40B4-BE49-F238E27FC236}">
                    <a16:creationId xmlns:a16="http://schemas.microsoft.com/office/drawing/2014/main" id="{9C274E2E-292C-740C-D150-AE9FDFC1DC19}"/>
                  </a:ext>
                </a:extLst>
              </p:cNvPr>
              <p:cNvSpPr/>
              <p:nvPr/>
            </p:nvSpPr>
            <p:spPr>
              <a:xfrm>
                <a:off x="5045055" y="4367192"/>
                <a:ext cx="70435" cy="70435"/>
              </a:xfrm>
              <a:custGeom>
                <a:avLst/>
                <a:gdLst/>
                <a:ahLst/>
                <a:cxnLst/>
                <a:rect l="l" t="t" r="r" b="b"/>
                <a:pathLst>
                  <a:path w="2607" h="2607" extrusionOk="0">
                    <a:moveTo>
                      <a:pt x="489" y="489"/>
                    </a:moveTo>
                    <a:cubicBezTo>
                      <a:pt x="954" y="1"/>
                      <a:pt x="1745" y="1"/>
                      <a:pt x="2118" y="489"/>
                    </a:cubicBezTo>
                    <a:cubicBezTo>
                      <a:pt x="2606" y="862"/>
                      <a:pt x="2606" y="1653"/>
                      <a:pt x="2118" y="2141"/>
                    </a:cubicBezTo>
                    <a:cubicBezTo>
                      <a:pt x="1745" y="2606"/>
                      <a:pt x="954" y="2606"/>
                      <a:pt x="489" y="2141"/>
                    </a:cubicBezTo>
                    <a:cubicBezTo>
                      <a:pt x="1" y="1653"/>
                      <a:pt x="1" y="862"/>
                      <a:pt x="489" y="489"/>
                    </a:cubicBezTo>
                    <a:close/>
                  </a:path>
                </a:pathLst>
              </a:custGeom>
              <a:solidFill>
                <a:srgbClr val="A1E1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27" name="Google Shape;3327;p42">
                <a:extLst>
                  <a:ext uri="{FF2B5EF4-FFF2-40B4-BE49-F238E27FC236}">
                    <a16:creationId xmlns:a16="http://schemas.microsoft.com/office/drawing/2014/main" id="{6974C39F-DCDD-BF90-5BDB-9D15037C61FF}"/>
                  </a:ext>
                </a:extLst>
              </p:cNvPr>
              <p:cNvSpPr/>
              <p:nvPr/>
            </p:nvSpPr>
            <p:spPr>
              <a:xfrm>
                <a:off x="5036896" y="4359033"/>
                <a:ext cx="86753" cy="86753"/>
              </a:xfrm>
              <a:custGeom>
                <a:avLst/>
                <a:gdLst/>
                <a:ahLst/>
                <a:cxnLst/>
                <a:rect l="l" t="t" r="r" b="b"/>
                <a:pathLst>
                  <a:path w="3211" h="3211" extrusionOk="0">
                    <a:moveTo>
                      <a:pt x="1652" y="791"/>
                    </a:moveTo>
                    <a:cubicBezTo>
                      <a:pt x="2047" y="791"/>
                      <a:pt x="2420" y="1164"/>
                      <a:pt x="2420" y="1559"/>
                    </a:cubicBezTo>
                    <a:cubicBezTo>
                      <a:pt x="2420" y="2048"/>
                      <a:pt x="2047" y="2327"/>
                      <a:pt x="1652" y="2327"/>
                    </a:cubicBezTo>
                    <a:cubicBezTo>
                      <a:pt x="1163" y="2327"/>
                      <a:pt x="884" y="2048"/>
                      <a:pt x="884" y="1559"/>
                    </a:cubicBezTo>
                    <a:cubicBezTo>
                      <a:pt x="884" y="1164"/>
                      <a:pt x="1163" y="791"/>
                      <a:pt x="1652" y="791"/>
                    </a:cubicBezTo>
                    <a:close/>
                    <a:moveTo>
                      <a:pt x="1652" y="0"/>
                    </a:moveTo>
                    <a:cubicBezTo>
                      <a:pt x="791" y="0"/>
                      <a:pt x="0" y="698"/>
                      <a:pt x="0" y="1559"/>
                    </a:cubicBezTo>
                    <a:cubicBezTo>
                      <a:pt x="0" y="2443"/>
                      <a:pt x="791" y="3211"/>
                      <a:pt x="1652" y="3211"/>
                    </a:cubicBezTo>
                    <a:cubicBezTo>
                      <a:pt x="2536" y="3211"/>
                      <a:pt x="3211" y="2443"/>
                      <a:pt x="3211" y="1559"/>
                    </a:cubicBezTo>
                    <a:cubicBezTo>
                      <a:pt x="3211" y="698"/>
                      <a:pt x="2536" y="0"/>
                      <a:pt x="165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28" name="Google Shape;3328;p42">
                <a:extLst>
                  <a:ext uri="{FF2B5EF4-FFF2-40B4-BE49-F238E27FC236}">
                    <a16:creationId xmlns:a16="http://schemas.microsoft.com/office/drawing/2014/main" id="{BF7113E3-F60D-B5FE-0AA5-D5812FB5742D}"/>
                  </a:ext>
                </a:extLst>
              </p:cNvPr>
              <p:cNvSpPr/>
              <p:nvPr/>
            </p:nvSpPr>
            <p:spPr>
              <a:xfrm>
                <a:off x="5133673" y="4327611"/>
                <a:ext cx="28936" cy="21398"/>
              </a:xfrm>
              <a:custGeom>
                <a:avLst/>
                <a:gdLst/>
                <a:ahLst/>
                <a:cxnLst/>
                <a:rect l="l" t="t" r="r" b="b"/>
                <a:pathLst>
                  <a:path w="1071" h="792" extrusionOk="0">
                    <a:moveTo>
                      <a:pt x="396" y="0"/>
                    </a:moveTo>
                    <a:cubicBezTo>
                      <a:pt x="210" y="0"/>
                      <a:pt x="1" y="210"/>
                      <a:pt x="1" y="396"/>
                    </a:cubicBezTo>
                    <a:cubicBezTo>
                      <a:pt x="1" y="582"/>
                      <a:pt x="210" y="791"/>
                      <a:pt x="396" y="791"/>
                    </a:cubicBezTo>
                    <a:lnTo>
                      <a:pt x="1071" y="791"/>
                    </a:lnTo>
                    <a:lnTo>
                      <a:pt x="1071" y="698"/>
                    </a:lnTo>
                    <a:cubicBezTo>
                      <a:pt x="1071" y="489"/>
                      <a:pt x="1071" y="210"/>
                      <a:pt x="978" y="0"/>
                    </a:cubicBez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29" name="Google Shape;3329;p42">
                <a:extLst>
                  <a:ext uri="{FF2B5EF4-FFF2-40B4-BE49-F238E27FC236}">
                    <a16:creationId xmlns:a16="http://schemas.microsoft.com/office/drawing/2014/main" id="{DB81D5AA-3B8F-CCAC-25F3-423055CD011F}"/>
                  </a:ext>
                </a:extLst>
              </p:cNvPr>
              <p:cNvSpPr/>
              <p:nvPr/>
            </p:nvSpPr>
            <p:spPr>
              <a:xfrm>
                <a:off x="4830104" y="4327611"/>
                <a:ext cx="31448" cy="21398"/>
              </a:xfrm>
              <a:custGeom>
                <a:avLst/>
                <a:gdLst/>
                <a:ahLst/>
                <a:cxnLst/>
                <a:rect l="l" t="t" r="r" b="b"/>
                <a:pathLst>
                  <a:path w="1164" h="792" extrusionOk="0">
                    <a:moveTo>
                      <a:pt x="0" y="0"/>
                    </a:moveTo>
                    <a:lnTo>
                      <a:pt x="0" y="791"/>
                    </a:lnTo>
                    <a:lnTo>
                      <a:pt x="675" y="791"/>
                    </a:lnTo>
                    <a:cubicBezTo>
                      <a:pt x="884" y="791"/>
                      <a:pt x="1070" y="698"/>
                      <a:pt x="1163" y="489"/>
                    </a:cubicBezTo>
                    <a:cubicBezTo>
                      <a:pt x="1163" y="210"/>
                      <a:pt x="977" y="0"/>
                      <a:pt x="675" y="0"/>
                    </a:cubicBezTo>
                    <a:close/>
                  </a:path>
                </a:pathLst>
              </a:custGeom>
              <a:solidFill>
                <a:srgbClr val="B3766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560F037-BABA-7244-412B-28F297E435F7}"/>
              </a:ext>
            </a:extLst>
          </p:cNvPr>
          <p:cNvGrpSpPr/>
          <p:nvPr/>
        </p:nvGrpSpPr>
        <p:grpSpPr>
          <a:xfrm>
            <a:off x="0" y="4362000"/>
            <a:ext cx="781500" cy="781500"/>
            <a:chOff x="2577308" y="1936801"/>
            <a:chExt cx="781500" cy="781500"/>
          </a:xfrm>
        </p:grpSpPr>
        <p:sp>
          <p:nvSpPr>
            <p:cNvPr id="3308" name="Google Shape;3308;p42">
              <a:extLst>
                <a:ext uri="{FF2B5EF4-FFF2-40B4-BE49-F238E27FC236}">
                  <a16:creationId xmlns:a16="http://schemas.microsoft.com/office/drawing/2014/main" id="{1145316C-2D81-20D8-AF06-2BB5B29B5B37}"/>
                </a:ext>
              </a:extLst>
            </p:cNvPr>
            <p:cNvSpPr/>
            <p:nvPr/>
          </p:nvSpPr>
          <p:spPr>
            <a:xfrm>
              <a:off x="2577308" y="1936801"/>
              <a:ext cx="781500" cy="781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3330" name="Google Shape;3330;p42">
              <a:extLst>
                <a:ext uri="{FF2B5EF4-FFF2-40B4-BE49-F238E27FC236}">
                  <a16:creationId xmlns:a16="http://schemas.microsoft.com/office/drawing/2014/main" id="{04A25B15-A441-80F1-393B-83FF8C4455B9}"/>
                </a:ext>
              </a:extLst>
            </p:cNvPr>
            <p:cNvGrpSpPr/>
            <p:nvPr/>
          </p:nvGrpSpPr>
          <p:grpSpPr>
            <a:xfrm>
              <a:off x="2798193" y="2106939"/>
              <a:ext cx="457207" cy="464811"/>
              <a:chOff x="1527782" y="4063623"/>
              <a:chExt cx="379677" cy="383603"/>
            </a:xfrm>
          </p:grpSpPr>
          <p:sp>
            <p:nvSpPr>
              <p:cNvPr id="3331" name="Google Shape;3331;p42">
                <a:extLst>
                  <a:ext uri="{FF2B5EF4-FFF2-40B4-BE49-F238E27FC236}">
                    <a16:creationId xmlns:a16="http://schemas.microsoft.com/office/drawing/2014/main" id="{1532C94B-00B7-73DE-B372-F26EF32DDBF5}"/>
                  </a:ext>
                </a:extLst>
              </p:cNvPr>
              <p:cNvSpPr/>
              <p:nvPr/>
            </p:nvSpPr>
            <p:spPr>
              <a:xfrm>
                <a:off x="1527782" y="4063623"/>
                <a:ext cx="123227" cy="57223"/>
              </a:xfrm>
              <a:custGeom>
                <a:avLst/>
                <a:gdLst/>
                <a:ahLst/>
                <a:cxnLst/>
                <a:rect l="l" t="t" r="r" b="b"/>
                <a:pathLst>
                  <a:path w="4561" h="2118" extrusionOk="0">
                    <a:moveTo>
                      <a:pt x="396" y="0"/>
                    </a:moveTo>
                    <a:cubicBezTo>
                      <a:pt x="187" y="0"/>
                      <a:pt x="1" y="187"/>
                      <a:pt x="1" y="466"/>
                    </a:cubicBezTo>
                    <a:lnTo>
                      <a:pt x="1" y="1745"/>
                    </a:lnTo>
                    <a:cubicBezTo>
                      <a:pt x="1" y="2024"/>
                      <a:pt x="187" y="2117"/>
                      <a:pt x="396" y="2117"/>
                    </a:cubicBezTo>
                    <a:lnTo>
                      <a:pt x="3491" y="2117"/>
                    </a:lnTo>
                    <a:cubicBezTo>
                      <a:pt x="3677" y="2117"/>
                      <a:pt x="3770" y="2117"/>
                      <a:pt x="3770" y="2024"/>
                    </a:cubicBezTo>
                    <a:lnTo>
                      <a:pt x="4351" y="1443"/>
                    </a:lnTo>
                    <a:cubicBezTo>
                      <a:pt x="4561" y="1257"/>
                      <a:pt x="4561" y="1047"/>
                      <a:pt x="4468" y="861"/>
                    </a:cubicBezTo>
                    <a:lnTo>
                      <a:pt x="3886" y="187"/>
                    </a:lnTo>
                    <a:cubicBezTo>
                      <a:pt x="3770" y="94"/>
                      <a:pt x="3677" y="0"/>
                      <a:pt x="3491" y="0"/>
                    </a:cubicBezTo>
                    <a:close/>
                  </a:path>
                </a:pathLst>
              </a:custGeom>
              <a:solidFill>
                <a:srgbClr val="00B44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32" name="Google Shape;3332;p42">
                <a:extLst>
                  <a:ext uri="{FF2B5EF4-FFF2-40B4-BE49-F238E27FC236}">
                    <a16:creationId xmlns:a16="http://schemas.microsoft.com/office/drawing/2014/main" id="{3ECAAD55-AC83-6250-F2B9-830340C1D5B8}"/>
                  </a:ext>
                </a:extLst>
              </p:cNvPr>
              <p:cNvSpPr/>
              <p:nvPr/>
            </p:nvSpPr>
            <p:spPr>
              <a:xfrm>
                <a:off x="1527782" y="4144703"/>
                <a:ext cx="191122" cy="57223"/>
              </a:xfrm>
              <a:custGeom>
                <a:avLst/>
                <a:gdLst/>
                <a:ahLst/>
                <a:cxnLst/>
                <a:rect l="l" t="t" r="r" b="b"/>
                <a:pathLst>
                  <a:path w="7074" h="2118" extrusionOk="0">
                    <a:moveTo>
                      <a:pt x="396" y="1"/>
                    </a:moveTo>
                    <a:cubicBezTo>
                      <a:pt x="187" y="1"/>
                      <a:pt x="1" y="187"/>
                      <a:pt x="1" y="373"/>
                    </a:cubicBezTo>
                    <a:lnTo>
                      <a:pt x="1" y="1745"/>
                    </a:lnTo>
                    <a:cubicBezTo>
                      <a:pt x="1" y="1931"/>
                      <a:pt x="187" y="2117"/>
                      <a:pt x="396" y="2117"/>
                    </a:cubicBezTo>
                    <a:lnTo>
                      <a:pt x="6003" y="2117"/>
                    </a:lnTo>
                    <a:cubicBezTo>
                      <a:pt x="6212" y="2117"/>
                      <a:pt x="6305" y="2117"/>
                      <a:pt x="6399" y="2024"/>
                    </a:cubicBezTo>
                    <a:lnTo>
                      <a:pt x="6887" y="1350"/>
                    </a:lnTo>
                    <a:cubicBezTo>
                      <a:pt x="7073" y="1257"/>
                      <a:pt x="7073" y="954"/>
                      <a:pt x="6980" y="861"/>
                    </a:cubicBezTo>
                    <a:lnTo>
                      <a:pt x="6399" y="187"/>
                    </a:lnTo>
                    <a:cubicBezTo>
                      <a:pt x="6305" y="94"/>
                      <a:pt x="6212" y="1"/>
                      <a:pt x="6003" y="1"/>
                    </a:cubicBezTo>
                    <a:close/>
                  </a:path>
                </a:pathLst>
              </a:custGeom>
              <a:solidFill>
                <a:srgbClr val="8AC93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33" name="Google Shape;3333;p42">
                <a:extLst>
                  <a:ext uri="{FF2B5EF4-FFF2-40B4-BE49-F238E27FC236}">
                    <a16:creationId xmlns:a16="http://schemas.microsoft.com/office/drawing/2014/main" id="{0FCAECDC-D98F-3718-8BFF-75CAE3F77BF9}"/>
                  </a:ext>
                </a:extLst>
              </p:cNvPr>
              <p:cNvSpPr/>
              <p:nvPr/>
            </p:nvSpPr>
            <p:spPr>
              <a:xfrm>
                <a:off x="1527782" y="4225782"/>
                <a:ext cx="253964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9400" h="2141" extrusionOk="0">
                    <a:moveTo>
                      <a:pt x="396" y="1"/>
                    </a:moveTo>
                    <a:cubicBezTo>
                      <a:pt x="187" y="1"/>
                      <a:pt x="1" y="187"/>
                      <a:pt x="1" y="396"/>
                    </a:cubicBezTo>
                    <a:lnTo>
                      <a:pt x="1" y="1745"/>
                    </a:lnTo>
                    <a:cubicBezTo>
                      <a:pt x="1" y="1931"/>
                      <a:pt x="187" y="2141"/>
                      <a:pt x="396" y="2141"/>
                    </a:cubicBezTo>
                    <a:lnTo>
                      <a:pt x="8329" y="2141"/>
                    </a:lnTo>
                    <a:cubicBezTo>
                      <a:pt x="8539" y="2141"/>
                      <a:pt x="8632" y="2141"/>
                      <a:pt x="8725" y="2024"/>
                    </a:cubicBezTo>
                    <a:lnTo>
                      <a:pt x="9307" y="1350"/>
                    </a:lnTo>
                    <a:cubicBezTo>
                      <a:pt x="9400" y="1257"/>
                      <a:pt x="9400" y="978"/>
                      <a:pt x="9307" y="861"/>
                    </a:cubicBezTo>
                    <a:lnTo>
                      <a:pt x="8725" y="187"/>
                    </a:lnTo>
                    <a:cubicBezTo>
                      <a:pt x="8632" y="94"/>
                      <a:pt x="8539" y="1"/>
                      <a:pt x="8329" y="1"/>
                    </a:cubicBezTo>
                    <a:close/>
                  </a:path>
                </a:pathLst>
              </a:custGeom>
              <a:solidFill>
                <a:srgbClr val="FFD65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34" name="Google Shape;3334;p42">
                <a:extLst>
                  <a:ext uri="{FF2B5EF4-FFF2-40B4-BE49-F238E27FC236}">
                    <a16:creationId xmlns:a16="http://schemas.microsoft.com/office/drawing/2014/main" id="{F97B5FFE-C4BF-04D5-752C-E9D26D326316}"/>
                  </a:ext>
                </a:extLst>
              </p:cNvPr>
              <p:cNvSpPr/>
              <p:nvPr/>
            </p:nvSpPr>
            <p:spPr>
              <a:xfrm>
                <a:off x="1527782" y="4306862"/>
                <a:ext cx="314295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11633" h="2141" extrusionOk="0">
                    <a:moveTo>
                      <a:pt x="396" y="1"/>
                    </a:moveTo>
                    <a:cubicBezTo>
                      <a:pt x="187" y="1"/>
                      <a:pt x="1" y="187"/>
                      <a:pt x="1" y="396"/>
                    </a:cubicBezTo>
                    <a:lnTo>
                      <a:pt x="1" y="1745"/>
                    </a:lnTo>
                    <a:cubicBezTo>
                      <a:pt x="1" y="1931"/>
                      <a:pt x="187" y="2141"/>
                      <a:pt x="396" y="2141"/>
                    </a:cubicBezTo>
                    <a:lnTo>
                      <a:pt x="10563" y="2141"/>
                    </a:lnTo>
                    <a:cubicBezTo>
                      <a:pt x="10749" y="2141"/>
                      <a:pt x="10865" y="2048"/>
                      <a:pt x="10958" y="2048"/>
                    </a:cubicBezTo>
                    <a:lnTo>
                      <a:pt x="11447" y="1350"/>
                    </a:lnTo>
                    <a:cubicBezTo>
                      <a:pt x="11633" y="1164"/>
                      <a:pt x="11633" y="978"/>
                      <a:pt x="11540" y="768"/>
                    </a:cubicBezTo>
                    <a:lnTo>
                      <a:pt x="10958" y="94"/>
                    </a:lnTo>
                    <a:cubicBezTo>
                      <a:pt x="10865" y="1"/>
                      <a:pt x="10749" y="1"/>
                      <a:pt x="10563" y="1"/>
                    </a:cubicBezTo>
                    <a:close/>
                  </a:path>
                </a:pathLst>
              </a:custGeom>
              <a:solidFill>
                <a:srgbClr val="A1E1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35" name="Google Shape;3335;p42">
                <a:extLst>
                  <a:ext uri="{FF2B5EF4-FFF2-40B4-BE49-F238E27FC236}">
                    <a16:creationId xmlns:a16="http://schemas.microsoft.com/office/drawing/2014/main" id="{67E0992F-00AA-9E88-F8CE-3BC43B17B97E}"/>
                  </a:ext>
                </a:extLst>
              </p:cNvPr>
              <p:cNvSpPr/>
              <p:nvPr/>
            </p:nvSpPr>
            <p:spPr>
              <a:xfrm>
                <a:off x="1527782" y="4387941"/>
                <a:ext cx="379677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14053" h="2141" extrusionOk="0">
                    <a:moveTo>
                      <a:pt x="396" y="1"/>
                    </a:moveTo>
                    <a:cubicBezTo>
                      <a:pt x="187" y="1"/>
                      <a:pt x="1" y="94"/>
                      <a:pt x="1" y="396"/>
                    </a:cubicBezTo>
                    <a:lnTo>
                      <a:pt x="1" y="1652"/>
                    </a:lnTo>
                    <a:cubicBezTo>
                      <a:pt x="1" y="1955"/>
                      <a:pt x="187" y="2141"/>
                      <a:pt x="396" y="2141"/>
                    </a:cubicBezTo>
                    <a:lnTo>
                      <a:pt x="13075" y="2141"/>
                    </a:lnTo>
                    <a:cubicBezTo>
                      <a:pt x="13192" y="2141"/>
                      <a:pt x="13285" y="2048"/>
                      <a:pt x="13378" y="1955"/>
                    </a:cubicBezTo>
                    <a:lnTo>
                      <a:pt x="13959" y="1373"/>
                    </a:lnTo>
                    <a:cubicBezTo>
                      <a:pt x="14052" y="1164"/>
                      <a:pt x="14052" y="978"/>
                      <a:pt x="13959" y="791"/>
                    </a:cubicBezTo>
                    <a:lnTo>
                      <a:pt x="13378" y="94"/>
                    </a:lnTo>
                    <a:cubicBezTo>
                      <a:pt x="13285" y="1"/>
                      <a:pt x="13192" y="1"/>
                      <a:pt x="13075" y="1"/>
                    </a:cubicBez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36" name="Google Shape;3336;p42">
                <a:extLst>
                  <a:ext uri="{FF2B5EF4-FFF2-40B4-BE49-F238E27FC236}">
                    <a16:creationId xmlns:a16="http://schemas.microsoft.com/office/drawing/2014/main" id="{D5C229CF-129D-47FF-396B-2DE2817C9C6C}"/>
                  </a:ext>
                </a:extLst>
              </p:cNvPr>
              <p:cNvSpPr/>
              <p:nvPr/>
            </p:nvSpPr>
            <p:spPr>
              <a:xfrm>
                <a:off x="1752811" y="4225782"/>
                <a:ext cx="10699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396" h="2141" extrusionOk="0">
                    <a:moveTo>
                      <a:pt x="0" y="1"/>
                    </a:moveTo>
                    <a:cubicBezTo>
                      <a:pt x="210" y="1"/>
                      <a:pt x="303" y="94"/>
                      <a:pt x="396" y="187"/>
                    </a:cubicBezTo>
                    <a:cubicBezTo>
                      <a:pt x="303" y="94"/>
                      <a:pt x="210" y="1"/>
                      <a:pt x="93" y="1"/>
                    </a:cubicBezTo>
                    <a:close/>
                    <a:moveTo>
                      <a:pt x="395" y="2026"/>
                    </a:moveTo>
                    <a:cubicBezTo>
                      <a:pt x="302" y="2141"/>
                      <a:pt x="209" y="2141"/>
                      <a:pt x="0" y="2141"/>
                    </a:cubicBezTo>
                    <a:lnTo>
                      <a:pt x="93" y="2141"/>
                    </a:lnTo>
                    <a:cubicBezTo>
                      <a:pt x="209" y="2141"/>
                      <a:pt x="302" y="2141"/>
                      <a:pt x="395" y="20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37" name="Google Shape;3337;p42">
                <a:extLst>
                  <a:ext uri="{FF2B5EF4-FFF2-40B4-BE49-F238E27FC236}">
                    <a16:creationId xmlns:a16="http://schemas.microsoft.com/office/drawing/2014/main" id="{CC229A35-9863-2DCB-5074-57CFA77FAE3E}"/>
                  </a:ext>
                </a:extLst>
              </p:cNvPr>
              <p:cNvSpPr/>
              <p:nvPr/>
            </p:nvSpPr>
            <p:spPr>
              <a:xfrm>
                <a:off x="1718877" y="4225782"/>
                <a:ext cx="62870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2327" h="2141" extrusionOk="0">
                    <a:moveTo>
                      <a:pt x="0" y="1"/>
                    </a:moveTo>
                    <a:lnTo>
                      <a:pt x="0" y="2141"/>
                    </a:lnTo>
                    <a:lnTo>
                      <a:pt x="1256" y="2141"/>
                    </a:lnTo>
                    <a:cubicBezTo>
                      <a:pt x="1466" y="2141"/>
                      <a:pt x="1559" y="2141"/>
                      <a:pt x="1652" y="2024"/>
                    </a:cubicBezTo>
                    <a:lnTo>
                      <a:pt x="2234" y="1350"/>
                    </a:lnTo>
                    <a:cubicBezTo>
                      <a:pt x="2327" y="1257"/>
                      <a:pt x="2327" y="978"/>
                      <a:pt x="2234" y="861"/>
                    </a:cubicBezTo>
                    <a:lnTo>
                      <a:pt x="1652" y="187"/>
                    </a:lnTo>
                    <a:cubicBezTo>
                      <a:pt x="1559" y="94"/>
                      <a:pt x="1466" y="1"/>
                      <a:pt x="1256" y="1"/>
                    </a:cubicBezTo>
                    <a:close/>
                  </a:path>
                </a:pathLst>
              </a:custGeom>
              <a:solidFill>
                <a:srgbClr val="FFE69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38" name="Google Shape;3338;p42">
                <a:extLst>
                  <a:ext uri="{FF2B5EF4-FFF2-40B4-BE49-F238E27FC236}">
                    <a16:creationId xmlns:a16="http://schemas.microsoft.com/office/drawing/2014/main" id="{8B656157-6FFB-6E8D-19BC-819F3C4D3899}"/>
                  </a:ext>
                </a:extLst>
              </p:cNvPr>
              <p:cNvSpPr/>
              <p:nvPr/>
            </p:nvSpPr>
            <p:spPr>
              <a:xfrm>
                <a:off x="1813141" y="4306862"/>
                <a:ext cx="28936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1071" h="2141" extrusionOk="0">
                    <a:moveTo>
                      <a:pt x="1" y="1"/>
                    </a:moveTo>
                    <a:cubicBezTo>
                      <a:pt x="187" y="1"/>
                      <a:pt x="303" y="1"/>
                      <a:pt x="396" y="94"/>
                    </a:cubicBezTo>
                    <a:cubicBezTo>
                      <a:pt x="303" y="1"/>
                      <a:pt x="187" y="1"/>
                      <a:pt x="94" y="1"/>
                    </a:cubicBezTo>
                    <a:close/>
                    <a:moveTo>
                      <a:pt x="979" y="771"/>
                    </a:moveTo>
                    <a:cubicBezTo>
                      <a:pt x="1071" y="979"/>
                      <a:pt x="1070" y="1164"/>
                      <a:pt x="885" y="1350"/>
                    </a:cubicBezTo>
                    <a:lnTo>
                      <a:pt x="396" y="2048"/>
                    </a:lnTo>
                    <a:lnTo>
                      <a:pt x="978" y="1350"/>
                    </a:lnTo>
                    <a:cubicBezTo>
                      <a:pt x="1071" y="1164"/>
                      <a:pt x="1071" y="979"/>
                      <a:pt x="979" y="771"/>
                    </a:cubicBezTo>
                    <a:close/>
                    <a:moveTo>
                      <a:pt x="395" y="2048"/>
                    </a:moveTo>
                    <a:lnTo>
                      <a:pt x="395" y="2048"/>
                    </a:lnTo>
                    <a:cubicBezTo>
                      <a:pt x="302" y="2048"/>
                      <a:pt x="186" y="2141"/>
                      <a:pt x="1" y="2141"/>
                    </a:cubicBezTo>
                    <a:lnTo>
                      <a:pt x="94" y="2141"/>
                    </a:lnTo>
                    <a:cubicBezTo>
                      <a:pt x="187" y="2141"/>
                      <a:pt x="302" y="2048"/>
                      <a:pt x="395" y="2048"/>
                    </a:cubicBezTo>
                    <a:close/>
                  </a:path>
                </a:pathLst>
              </a:custGeom>
              <a:solidFill>
                <a:srgbClr val="DADBD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39" name="Google Shape;3339;p42">
                <a:extLst>
                  <a:ext uri="{FF2B5EF4-FFF2-40B4-BE49-F238E27FC236}">
                    <a16:creationId xmlns:a16="http://schemas.microsoft.com/office/drawing/2014/main" id="{89C6FC9F-6CFF-61C9-6094-74BAE1193D0C}"/>
                  </a:ext>
                </a:extLst>
              </p:cNvPr>
              <p:cNvSpPr/>
              <p:nvPr/>
            </p:nvSpPr>
            <p:spPr>
              <a:xfrm>
                <a:off x="1718877" y="4306862"/>
                <a:ext cx="123200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4560" h="2141" extrusionOk="0">
                    <a:moveTo>
                      <a:pt x="0" y="1"/>
                    </a:moveTo>
                    <a:lnTo>
                      <a:pt x="0" y="2141"/>
                    </a:lnTo>
                    <a:lnTo>
                      <a:pt x="3490" y="2141"/>
                    </a:lnTo>
                    <a:cubicBezTo>
                      <a:pt x="3676" y="2141"/>
                      <a:pt x="3792" y="2048"/>
                      <a:pt x="3885" y="2048"/>
                    </a:cubicBezTo>
                    <a:lnTo>
                      <a:pt x="4374" y="1350"/>
                    </a:lnTo>
                    <a:cubicBezTo>
                      <a:pt x="4560" y="1164"/>
                      <a:pt x="4560" y="978"/>
                      <a:pt x="4467" y="768"/>
                    </a:cubicBezTo>
                    <a:lnTo>
                      <a:pt x="3885" y="94"/>
                    </a:lnTo>
                    <a:cubicBezTo>
                      <a:pt x="3792" y="1"/>
                      <a:pt x="3676" y="1"/>
                      <a:pt x="3490" y="1"/>
                    </a:cubicBezTo>
                    <a:close/>
                  </a:path>
                </a:pathLst>
              </a:custGeom>
              <a:solidFill>
                <a:srgbClr val="A5CAD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40" name="Google Shape;3340;p42">
                <a:extLst>
                  <a:ext uri="{FF2B5EF4-FFF2-40B4-BE49-F238E27FC236}">
                    <a16:creationId xmlns:a16="http://schemas.microsoft.com/office/drawing/2014/main" id="{0311996D-7DEA-2161-B479-6FDD0743ED27}"/>
                  </a:ext>
                </a:extLst>
              </p:cNvPr>
              <p:cNvSpPr/>
              <p:nvPr/>
            </p:nvSpPr>
            <p:spPr>
              <a:xfrm>
                <a:off x="1718877" y="4389382"/>
                <a:ext cx="188582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6980" h="2141" extrusionOk="0">
                    <a:moveTo>
                      <a:pt x="0" y="1"/>
                    </a:moveTo>
                    <a:lnTo>
                      <a:pt x="0" y="2141"/>
                    </a:lnTo>
                    <a:lnTo>
                      <a:pt x="6002" y="2141"/>
                    </a:lnTo>
                    <a:cubicBezTo>
                      <a:pt x="6119" y="2141"/>
                      <a:pt x="6212" y="2048"/>
                      <a:pt x="6305" y="1955"/>
                    </a:cubicBezTo>
                    <a:lnTo>
                      <a:pt x="6886" y="1373"/>
                    </a:lnTo>
                    <a:cubicBezTo>
                      <a:pt x="6979" y="1164"/>
                      <a:pt x="6979" y="978"/>
                      <a:pt x="6886" y="791"/>
                    </a:cubicBezTo>
                    <a:lnTo>
                      <a:pt x="6305" y="94"/>
                    </a:lnTo>
                    <a:cubicBezTo>
                      <a:pt x="6212" y="1"/>
                      <a:pt x="6119" y="1"/>
                      <a:pt x="6002" y="1"/>
                    </a:cubicBezTo>
                    <a:close/>
                  </a:path>
                </a:pathLst>
              </a:custGeom>
              <a:solidFill>
                <a:srgbClr val="BA847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9608754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89" name="Google Shape;8689;p74"/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accent1"/>
                </a:solidFill>
              </a:rPr>
              <a:t>References</a:t>
            </a:r>
            <a:endParaRPr dirty="0">
              <a:solidFill>
                <a:schemeClr val="accent1"/>
              </a:solidFill>
            </a:endParaRPr>
          </a:p>
        </p:txBody>
      </p:sp>
      <p:sp>
        <p:nvSpPr>
          <p:cNvPr id="8691" name="Google Shape;8691;p74"/>
          <p:cNvSpPr txBox="1">
            <a:spLocks noGrp="1"/>
          </p:cNvSpPr>
          <p:nvPr>
            <p:ph type="subTitle" idx="2"/>
          </p:nvPr>
        </p:nvSpPr>
        <p:spPr>
          <a:xfrm>
            <a:off x="881390" y="1138290"/>
            <a:ext cx="7831686" cy="313941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342900" lvl="0" indent="-342900">
              <a:buSzPts val="1100"/>
              <a:buAutoNum type="arabicPeriod"/>
            </a:pPr>
            <a:r>
              <a:rPr lang="en-US" dirty="0">
                <a:latin typeface="Kumbh Sans"/>
                <a:ea typeface="Kumbh Sans"/>
                <a:cs typeface="Kumbh Sans"/>
                <a:sym typeface="Kumbh Sans"/>
                <a:hlinkClick r:id="rId3"/>
              </a:rPr>
              <a:t>https://19january2017snapshot.epa.gov/climatechange/social-cost-carbon_.html</a:t>
            </a:r>
            <a:endParaRPr lang="en-US" dirty="0">
              <a:latin typeface="Kumbh Sans"/>
              <a:ea typeface="Kumbh Sans"/>
              <a:cs typeface="Kumbh Sans"/>
              <a:sym typeface="Kumbh Sans"/>
            </a:endParaRPr>
          </a:p>
          <a:p>
            <a:pPr marL="342900" lvl="0" indent="-342900">
              <a:buSzPts val="1100"/>
              <a:buAutoNum type="arabicPeriod"/>
            </a:pPr>
            <a:r>
              <a:rPr lang="en-US" dirty="0">
                <a:latin typeface="Kumbh Sans"/>
                <a:ea typeface="Kumbh Sans"/>
                <a:cs typeface="Kumbh Sans"/>
                <a:sym typeface="Kumbh Sans"/>
                <a:hlinkClick r:id="rId4"/>
              </a:rPr>
              <a:t>https://aneconomicsense.org/2023/09/04/estimating-the-social-cost-of-carbon/</a:t>
            </a:r>
            <a:endParaRPr lang="en-US" dirty="0">
              <a:latin typeface="Kumbh Sans"/>
              <a:ea typeface="Kumbh Sans"/>
              <a:cs typeface="Kumbh Sans"/>
              <a:sym typeface="Kumbh Sans"/>
            </a:endParaRPr>
          </a:p>
          <a:p>
            <a:pPr marL="342900" lvl="0" indent="-342900">
              <a:buSzPts val="1100"/>
              <a:buAutoNum type="arabicPeriod"/>
            </a:pPr>
            <a:r>
              <a:rPr lang="en-US" dirty="0">
                <a:latin typeface="Kumbh Sans"/>
                <a:ea typeface="Kumbh Sans"/>
                <a:cs typeface="Kumbh Sans"/>
                <a:sym typeface="Kumbh Sans"/>
                <a:hlinkClick r:id="rId5"/>
              </a:rPr>
              <a:t>https://www.rff.org/publications/data-tools/scc-explorer/</a:t>
            </a:r>
            <a:endParaRPr lang="en-US" dirty="0">
              <a:latin typeface="Kumbh Sans"/>
              <a:ea typeface="Kumbh Sans"/>
              <a:cs typeface="Kumbh Sans"/>
              <a:sym typeface="Kumbh Sans"/>
            </a:endParaRPr>
          </a:p>
          <a:p>
            <a:pPr marL="342900" lvl="0" indent="-342900">
              <a:buSzPts val="1100"/>
              <a:buAutoNum type="arabicPeriod"/>
            </a:pPr>
            <a:r>
              <a:rPr lang="en-US" dirty="0">
                <a:latin typeface="Kumbh Sans"/>
                <a:ea typeface="Kumbh Sans"/>
                <a:cs typeface="Kumbh Sans"/>
                <a:sym typeface="Kumbh Sans"/>
                <a:hlinkClick r:id="rId6"/>
              </a:rPr>
              <a:t>https://www.orfonline.org/expert-speak/social-cost-of-carbon-as-a-policy-tool-challenges-in-the-indian-context#:~:text=A%20paper%20that%20analysed%20the,cost%20of%20US$%204.6%20billion</a:t>
            </a:r>
            <a:r>
              <a:rPr lang="en-US" dirty="0">
                <a:latin typeface="Kumbh Sans"/>
                <a:ea typeface="Kumbh Sans"/>
                <a:cs typeface="Kumbh Sans"/>
                <a:sym typeface="Kumbh Sans"/>
              </a:rPr>
              <a:t>.</a:t>
            </a:r>
          </a:p>
          <a:p>
            <a:pPr marL="342900" lvl="0" indent="-342900">
              <a:buSzPts val="1100"/>
              <a:buAutoNum type="arabicPeriod"/>
            </a:pPr>
            <a:r>
              <a:rPr lang="en-US" dirty="0">
                <a:latin typeface="Kumbh Sans"/>
                <a:ea typeface="Kumbh Sans"/>
                <a:cs typeface="Kumbh Sans"/>
                <a:sym typeface="Kumbh Sans"/>
                <a:hlinkClick r:id="rId7"/>
              </a:rPr>
              <a:t>https://climateactiontracker.org/countries/india/targets/</a:t>
            </a:r>
            <a:endParaRPr lang="en-US" dirty="0">
              <a:latin typeface="Kumbh Sans"/>
              <a:ea typeface="Kumbh Sans"/>
              <a:cs typeface="Kumbh Sans"/>
              <a:sym typeface="Kumbh Sans"/>
            </a:endParaRPr>
          </a:p>
          <a:p>
            <a:pPr marL="342900" lvl="0" indent="-342900">
              <a:buSzPts val="1100"/>
              <a:buAutoNum type="arabicPeriod"/>
            </a:pPr>
            <a:r>
              <a:rPr lang="en-US" dirty="0">
                <a:latin typeface="Kumbh Sans"/>
                <a:ea typeface="Kumbh Sans"/>
                <a:cs typeface="Kumbh Sans"/>
                <a:sym typeface="Kumbh Sans"/>
                <a:hlinkClick r:id="rId8"/>
              </a:rPr>
              <a:t>https://ourworldindata.org/co2-emissions</a:t>
            </a:r>
            <a:endParaRPr lang="en-US" dirty="0">
              <a:latin typeface="Kumbh Sans"/>
              <a:ea typeface="Kumbh Sans"/>
              <a:cs typeface="Kumbh Sans"/>
              <a:sym typeface="Kumbh Sans"/>
            </a:endParaRPr>
          </a:p>
          <a:p>
            <a:pPr marL="342900" lvl="0" indent="-342900">
              <a:buSzPts val="1100"/>
              <a:buAutoNum type="arabicPeriod"/>
            </a:pPr>
            <a:r>
              <a:rPr lang="en-US" dirty="0">
                <a:latin typeface="Kumbh Sans"/>
                <a:ea typeface="Kumbh Sans"/>
                <a:cs typeface="Kumbh Sans"/>
                <a:sym typeface="Kumbh Sans"/>
                <a:hlinkClick r:id="rId9"/>
              </a:rPr>
              <a:t>https://www.epa.gov/</a:t>
            </a:r>
            <a:endParaRPr lang="en-US" dirty="0">
              <a:latin typeface="Kumbh Sans"/>
              <a:ea typeface="Kumbh Sans"/>
              <a:cs typeface="Kumbh Sans"/>
              <a:sym typeface="Kumbh Sans"/>
            </a:endParaRPr>
          </a:p>
          <a:p>
            <a:pPr marL="342900" lvl="0" indent="-342900">
              <a:buSzPts val="1100"/>
              <a:buAutoNum type="arabicPeriod"/>
            </a:pPr>
            <a:r>
              <a:rPr lang="en-US" dirty="0">
                <a:latin typeface="Kumbh Sans"/>
                <a:ea typeface="Kumbh Sans"/>
                <a:cs typeface="Kumbh Sans"/>
                <a:sym typeface="Kumbh Sans"/>
                <a:hlinkClick r:id="rId10"/>
              </a:rPr>
              <a:t>https://ourworldindata.org/emissions-by-sector</a:t>
            </a:r>
            <a:endParaRPr lang="en-US" dirty="0">
              <a:latin typeface="Kumbh Sans"/>
              <a:ea typeface="Kumbh Sans"/>
              <a:cs typeface="Kumbh Sans"/>
              <a:sym typeface="Kumbh Sans"/>
            </a:endParaRPr>
          </a:p>
          <a:p>
            <a:pPr marL="342900" lvl="0" indent="-342900">
              <a:buSzPts val="1100"/>
              <a:buAutoNum type="arabicPeriod"/>
            </a:pPr>
            <a:r>
              <a:rPr lang="en-US" dirty="0">
                <a:latin typeface="Kumbh Sans"/>
                <a:ea typeface="Kumbh Sans"/>
                <a:cs typeface="Kumbh Sans"/>
                <a:sym typeface="Kumbh Sans"/>
                <a:hlinkClick r:id="rId11"/>
              </a:rPr>
              <a:t>https://www.indiabudget.gov.in/economicsurvey/</a:t>
            </a:r>
            <a:endParaRPr lang="en-US" dirty="0">
              <a:latin typeface="Kumbh Sans"/>
              <a:ea typeface="Kumbh Sans"/>
              <a:cs typeface="Kumbh Sans"/>
              <a:sym typeface="Kumbh Sans"/>
            </a:endParaRPr>
          </a:p>
          <a:p>
            <a:pPr marL="342900" lvl="0" indent="-342900">
              <a:buSzPts val="1100"/>
              <a:buAutoNum type="arabicPeriod"/>
            </a:pPr>
            <a:endParaRPr lang="en-US" dirty="0">
              <a:latin typeface="Kumbh Sans"/>
              <a:ea typeface="Kumbh Sans"/>
              <a:cs typeface="Kumbh Sans"/>
              <a:sym typeface="Kumbh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dirty="0">
              <a:latin typeface="Kumbh Sans"/>
              <a:ea typeface="Kumbh Sans"/>
              <a:cs typeface="Kumbh Sans"/>
              <a:sym typeface="Kumbh Sans"/>
            </a:endParaRP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39" name="Google Shape;4339;p48"/>
          <p:cNvSpPr txBox="1">
            <a:spLocks noGrp="1"/>
          </p:cNvSpPr>
          <p:nvPr>
            <p:ph type="title"/>
          </p:nvPr>
        </p:nvSpPr>
        <p:spPr>
          <a:xfrm>
            <a:off x="131418" y="364075"/>
            <a:ext cx="5815500" cy="1848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accent1"/>
                </a:solidFill>
              </a:rPr>
              <a:t>Thank You</a:t>
            </a:r>
            <a:endParaRPr dirty="0"/>
          </a:p>
        </p:txBody>
      </p:sp>
      <p:sp>
        <p:nvSpPr>
          <p:cNvPr id="4528" name="Google Shape;4528;p48"/>
          <p:cNvSpPr/>
          <p:nvPr/>
        </p:nvSpPr>
        <p:spPr>
          <a:xfrm>
            <a:off x="6388221" y="1445233"/>
            <a:ext cx="406808" cy="406914"/>
          </a:xfrm>
          <a:custGeom>
            <a:avLst/>
            <a:gdLst/>
            <a:ahLst/>
            <a:cxnLst/>
            <a:rect l="l" t="t" r="r" b="b"/>
            <a:pathLst>
              <a:path w="3535" h="3536" extrusionOk="0">
                <a:moveTo>
                  <a:pt x="1763" y="0"/>
                </a:moveTo>
                <a:cubicBezTo>
                  <a:pt x="785" y="0"/>
                  <a:pt x="1" y="794"/>
                  <a:pt x="1" y="1772"/>
                </a:cubicBezTo>
                <a:cubicBezTo>
                  <a:pt x="1" y="2750"/>
                  <a:pt x="785" y="3536"/>
                  <a:pt x="1763" y="3536"/>
                </a:cubicBezTo>
                <a:cubicBezTo>
                  <a:pt x="2741" y="3536"/>
                  <a:pt x="3534" y="2750"/>
                  <a:pt x="3534" y="1772"/>
                </a:cubicBezTo>
                <a:cubicBezTo>
                  <a:pt x="3534" y="794"/>
                  <a:pt x="2741" y="0"/>
                  <a:pt x="1763" y="0"/>
                </a:cubicBezTo>
                <a:close/>
              </a:path>
            </a:pathLst>
          </a:custGeom>
          <a:solidFill>
            <a:srgbClr val="FFD65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9" name="Google Shape;4529;p48"/>
          <p:cNvSpPr/>
          <p:nvPr/>
        </p:nvSpPr>
        <p:spPr>
          <a:xfrm>
            <a:off x="5709864" y="1559886"/>
            <a:ext cx="1085165" cy="292261"/>
          </a:xfrm>
          <a:custGeom>
            <a:avLst/>
            <a:gdLst/>
            <a:ahLst/>
            <a:cxnLst/>
            <a:rect l="l" t="t" r="r" b="b"/>
            <a:pathLst>
              <a:path w="7812" h="2104" extrusionOk="0">
                <a:moveTo>
                  <a:pt x="4136" y="0"/>
                </a:moveTo>
                <a:cubicBezTo>
                  <a:pt x="3424" y="0"/>
                  <a:pt x="2846" y="571"/>
                  <a:pt x="2846" y="1282"/>
                </a:cubicBezTo>
                <a:lnTo>
                  <a:pt x="2846" y="1304"/>
                </a:lnTo>
                <a:cubicBezTo>
                  <a:pt x="2765" y="1273"/>
                  <a:pt x="2676" y="1252"/>
                  <a:pt x="2580" y="1252"/>
                </a:cubicBezTo>
                <a:cubicBezTo>
                  <a:pt x="2380" y="1252"/>
                  <a:pt x="2194" y="1327"/>
                  <a:pt x="2046" y="1444"/>
                </a:cubicBezTo>
                <a:cubicBezTo>
                  <a:pt x="1906" y="1259"/>
                  <a:pt x="1683" y="1140"/>
                  <a:pt x="1438" y="1140"/>
                </a:cubicBezTo>
                <a:cubicBezTo>
                  <a:pt x="1082" y="1140"/>
                  <a:pt x="794" y="1371"/>
                  <a:pt x="691" y="1690"/>
                </a:cubicBezTo>
                <a:cubicBezTo>
                  <a:pt x="675" y="1690"/>
                  <a:pt x="654" y="1682"/>
                  <a:pt x="638" y="1682"/>
                </a:cubicBezTo>
                <a:cubicBezTo>
                  <a:pt x="350" y="1682"/>
                  <a:pt x="104" y="1860"/>
                  <a:pt x="1" y="2104"/>
                </a:cubicBezTo>
                <a:lnTo>
                  <a:pt x="7796" y="2104"/>
                </a:lnTo>
                <a:cubicBezTo>
                  <a:pt x="7812" y="2052"/>
                  <a:pt x="7812" y="1994"/>
                  <a:pt x="7812" y="1933"/>
                </a:cubicBezTo>
                <a:cubicBezTo>
                  <a:pt x="7812" y="1467"/>
                  <a:pt x="7433" y="1081"/>
                  <a:pt x="6967" y="1081"/>
                </a:cubicBezTo>
                <a:cubicBezTo>
                  <a:pt x="6714" y="1081"/>
                  <a:pt x="6499" y="1193"/>
                  <a:pt x="6344" y="1355"/>
                </a:cubicBezTo>
                <a:cubicBezTo>
                  <a:pt x="6181" y="1185"/>
                  <a:pt x="5958" y="1074"/>
                  <a:pt x="5706" y="1074"/>
                </a:cubicBezTo>
                <a:cubicBezTo>
                  <a:pt x="5603" y="1074"/>
                  <a:pt x="5500" y="1096"/>
                  <a:pt x="5411" y="1126"/>
                </a:cubicBezTo>
                <a:cubicBezTo>
                  <a:pt x="5329" y="489"/>
                  <a:pt x="4795" y="0"/>
                  <a:pt x="4136" y="0"/>
                </a:cubicBezTo>
                <a:close/>
              </a:path>
            </a:pathLst>
          </a:custGeom>
          <a:solidFill>
            <a:srgbClr val="A1E1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30" name="Google Shape;4530;p48"/>
          <p:cNvSpPr/>
          <p:nvPr/>
        </p:nvSpPr>
        <p:spPr>
          <a:xfrm>
            <a:off x="6542274" y="1559581"/>
            <a:ext cx="598008" cy="178218"/>
          </a:xfrm>
          <a:custGeom>
            <a:avLst/>
            <a:gdLst/>
            <a:ahLst/>
            <a:cxnLst/>
            <a:rect l="l" t="t" r="r" b="b"/>
            <a:pathLst>
              <a:path w="4305" h="1283" extrusionOk="0">
                <a:moveTo>
                  <a:pt x="2179" y="0"/>
                </a:moveTo>
                <a:cubicBezTo>
                  <a:pt x="1690" y="0"/>
                  <a:pt x="1297" y="400"/>
                  <a:pt x="1297" y="882"/>
                </a:cubicBezTo>
                <a:lnTo>
                  <a:pt x="1297" y="912"/>
                </a:lnTo>
                <a:cubicBezTo>
                  <a:pt x="1223" y="889"/>
                  <a:pt x="1148" y="882"/>
                  <a:pt x="1068" y="882"/>
                </a:cubicBezTo>
                <a:cubicBezTo>
                  <a:pt x="904" y="896"/>
                  <a:pt x="764" y="971"/>
                  <a:pt x="659" y="1074"/>
                </a:cubicBezTo>
                <a:cubicBezTo>
                  <a:pt x="593" y="1053"/>
                  <a:pt x="518" y="1046"/>
                  <a:pt x="445" y="1046"/>
                </a:cubicBezTo>
                <a:cubicBezTo>
                  <a:pt x="259" y="1060"/>
                  <a:pt x="104" y="1149"/>
                  <a:pt x="1" y="1282"/>
                </a:cubicBezTo>
                <a:lnTo>
                  <a:pt x="4297" y="1282"/>
                </a:lnTo>
                <a:cubicBezTo>
                  <a:pt x="4297" y="1268"/>
                  <a:pt x="4304" y="1261"/>
                  <a:pt x="4304" y="1245"/>
                </a:cubicBezTo>
                <a:cubicBezTo>
                  <a:pt x="4277" y="910"/>
                  <a:pt x="4002" y="659"/>
                  <a:pt x="3677" y="659"/>
                </a:cubicBezTo>
                <a:cubicBezTo>
                  <a:pt x="3664" y="659"/>
                  <a:pt x="3651" y="659"/>
                  <a:pt x="3638" y="660"/>
                </a:cubicBezTo>
                <a:cubicBezTo>
                  <a:pt x="3453" y="674"/>
                  <a:pt x="3298" y="772"/>
                  <a:pt x="3193" y="905"/>
                </a:cubicBezTo>
                <a:cubicBezTo>
                  <a:pt x="3149" y="889"/>
                  <a:pt x="3104" y="889"/>
                  <a:pt x="3060" y="889"/>
                </a:cubicBezTo>
                <a:lnTo>
                  <a:pt x="3060" y="882"/>
                </a:lnTo>
                <a:cubicBezTo>
                  <a:pt x="3060" y="400"/>
                  <a:pt x="2660" y="0"/>
                  <a:pt x="2179" y="0"/>
                </a:cubicBezTo>
                <a:close/>
              </a:path>
            </a:pathLst>
          </a:custGeom>
          <a:solidFill>
            <a:srgbClr val="A1E1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" name="Google Shape;8443;p73">
            <a:extLst>
              <a:ext uri="{FF2B5EF4-FFF2-40B4-BE49-F238E27FC236}">
                <a16:creationId xmlns:a16="http://schemas.microsoft.com/office/drawing/2014/main" id="{5C5D5A9C-3892-5565-472F-5BB08D0236D4}"/>
              </a:ext>
            </a:extLst>
          </p:cNvPr>
          <p:cNvGrpSpPr/>
          <p:nvPr/>
        </p:nvGrpSpPr>
        <p:grpSpPr>
          <a:xfrm>
            <a:off x="4572000" y="1809486"/>
            <a:ext cx="4529500" cy="2732411"/>
            <a:chOff x="236650" y="864775"/>
            <a:chExt cx="7130925" cy="3979625"/>
          </a:xfrm>
        </p:grpSpPr>
        <p:sp>
          <p:nvSpPr>
            <p:cNvPr id="3" name="Google Shape;8444;p73">
              <a:extLst>
                <a:ext uri="{FF2B5EF4-FFF2-40B4-BE49-F238E27FC236}">
                  <a16:creationId xmlns:a16="http://schemas.microsoft.com/office/drawing/2014/main" id="{6173B62D-4826-F71A-E2F9-08A19600319F}"/>
                </a:ext>
              </a:extLst>
            </p:cNvPr>
            <p:cNvSpPr/>
            <p:nvPr/>
          </p:nvSpPr>
          <p:spPr>
            <a:xfrm>
              <a:off x="1759800" y="1106975"/>
              <a:ext cx="3733025" cy="3737425"/>
            </a:xfrm>
            <a:custGeom>
              <a:avLst/>
              <a:gdLst/>
              <a:ahLst/>
              <a:cxnLst/>
              <a:rect l="l" t="t" r="r" b="b"/>
              <a:pathLst>
                <a:path w="149321" h="149497" extrusionOk="0">
                  <a:moveTo>
                    <a:pt x="74682" y="0"/>
                  </a:moveTo>
                  <a:cubicBezTo>
                    <a:pt x="56639" y="0"/>
                    <a:pt x="40065" y="6416"/>
                    <a:pt x="27160" y="17060"/>
                  </a:cubicBezTo>
                  <a:cubicBezTo>
                    <a:pt x="10585" y="30757"/>
                    <a:pt x="0" y="51560"/>
                    <a:pt x="0" y="74741"/>
                  </a:cubicBezTo>
                  <a:cubicBezTo>
                    <a:pt x="0" y="116038"/>
                    <a:pt x="33458" y="149496"/>
                    <a:pt x="74682" y="149496"/>
                  </a:cubicBezTo>
                  <a:cubicBezTo>
                    <a:pt x="114761" y="149496"/>
                    <a:pt x="147426" y="117991"/>
                    <a:pt x="149320" y="78411"/>
                  </a:cubicBezTo>
                  <a:lnTo>
                    <a:pt x="74682" y="78411"/>
                  </a:lnTo>
                  <a:lnTo>
                    <a:pt x="74682" y="0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" name="Google Shape;8445;p73">
              <a:extLst>
                <a:ext uri="{FF2B5EF4-FFF2-40B4-BE49-F238E27FC236}">
                  <a16:creationId xmlns:a16="http://schemas.microsoft.com/office/drawing/2014/main" id="{6AA049B9-8347-6A4D-38BD-30480F72BA9D}"/>
                </a:ext>
              </a:extLst>
            </p:cNvPr>
            <p:cNvSpPr/>
            <p:nvPr/>
          </p:nvSpPr>
          <p:spPr>
            <a:xfrm>
              <a:off x="1876150" y="1403525"/>
              <a:ext cx="1293775" cy="2500175"/>
            </a:xfrm>
            <a:custGeom>
              <a:avLst/>
              <a:gdLst/>
              <a:ahLst/>
              <a:cxnLst/>
              <a:rect l="l" t="t" r="r" b="b"/>
              <a:pathLst>
                <a:path w="51751" h="100007" extrusionOk="0">
                  <a:moveTo>
                    <a:pt x="37128" y="1"/>
                  </a:moveTo>
                  <a:cubicBezTo>
                    <a:pt x="35469" y="368"/>
                    <a:pt x="34427" y="1718"/>
                    <a:pt x="33091" y="2511"/>
                  </a:cubicBezTo>
                  <a:cubicBezTo>
                    <a:pt x="32900" y="2452"/>
                    <a:pt x="32724" y="2379"/>
                    <a:pt x="32592" y="2320"/>
                  </a:cubicBezTo>
                  <a:cubicBezTo>
                    <a:pt x="32783" y="2012"/>
                    <a:pt x="33032" y="1645"/>
                    <a:pt x="33150" y="1351"/>
                  </a:cubicBezTo>
                  <a:lnTo>
                    <a:pt x="33150" y="1351"/>
                  </a:lnTo>
                  <a:cubicBezTo>
                    <a:pt x="32533" y="1586"/>
                    <a:pt x="32533" y="1586"/>
                    <a:pt x="30463" y="3304"/>
                  </a:cubicBezTo>
                  <a:cubicBezTo>
                    <a:pt x="30337" y="3251"/>
                    <a:pt x="30193" y="3226"/>
                    <a:pt x="30035" y="3226"/>
                  </a:cubicBezTo>
                  <a:cubicBezTo>
                    <a:pt x="27647" y="3226"/>
                    <a:pt x="21886" y="8872"/>
                    <a:pt x="21831" y="8927"/>
                  </a:cubicBezTo>
                  <a:cubicBezTo>
                    <a:pt x="21948" y="9059"/>
                    <a:pt x="22080" y="9176"/>
                    <a:pt x="22139" y="9294"/>
                  </a:cubicBezTo>
                  <a:cubicBezTo>
                    <a:pt x="24837" y="8516"/>
                    <a:pt x="25370" y="8362"/>
                    <a:pt x="25665" y="8362"/>
                  </a:cubicBezTo>
                  <a:cubicBezTo>
                    <a:pt x="25737" y="8362"/>
                    <a:pt x="25795" y="8372"/>
                    <a:pt x="25868" y="8383"/>
                  </a:cubicBezTo>
                  <a:cubicBezTo>
                    <a:pt x="23857" y="9352"/>
                    <a:pt x="23857" y="9352"/>
                    <a:pt x="23548" y="9851"/>
                  </a:cubicBezTo>
                  <a:cubicBezTo>
                    <a:pt x="23783" y="9969"/>
                    <a:pt x="24092" y="10219"/>
                    <a:pt x="24341" y="10395"/>
                  </a:cubicBezTo>
                  <a:cubicBezTo>
                    <a:pt x="23181" y="11922"/>
                    <a:pt x="22990" y="12421"/>
                    <a:pt x="22756" y="13155"/>
                  </a:cubicBezTo>
                  <a:cubicBezTo>
                    <a:pt x="22682" y="13522"/>
                    <a:pt x="22565" y="13889"/>
                    <a:pt x="22447" y="14740"/>
                  </a:cubicBezTo>
                  <a:cubicBezTo>
                    <a:pt x="21038" y="17309"/>
                    <a:pt x="18953" y="19394"/>
                    <a:pt x="17617" y="21963"/>
                  </a:cubicBezTo>
                  <a:cubicBezTo>
                    <a:pt x="17852" y="21714"/>
                    <a:pt x="18160" y="21537"/>
                    <a:pt x="18410" y="21347"/>
                  </a:cubicBezTo>
                  <a:lnTo>
                    <a:pt x="18410" y="21347"/>
                  </a:lnTo>
                  <a:cubicBezTo>
                    <a:pt x="6607" y="34750"/>
                    <a:pt x="0" y="56331"/>
                    <a:pt x="3964" y="68516"/>
                  </a:cubicBezTo>
                  <a:cubicBezTo>
                    <a:pt x="4404" y="52852"/>
                    <a:pt x="4404" y="52852"/>
                    <a:pt x="5256" y="52177"/>
                  </a:cubicBezTo>
                  <a:lnTo>
                    <a:pt x="5256" y="52177"/>
                  </a:lnTo>
                  <a:cubicBezTo>
                    <a:pt x="5505" y="53645"/>
                    <a:pt x="4948" y="62145"/>
                    <a:pt x="4948" y="62453"/>
                  </a:cubicBezTo>
                  <a:cubicBezTo>
                    <a:pt x="3597" y="74022"/>
                    <a:pt x="8251" y="81788"/>
                    <a:pt x="9778" y="82581"/>
                  </a:cubicBezTo>
                  <a:cubicBezTo>
                    <a:pt x="10086" y="82463"/>
                    <a:pt x="10453" y="82096"/>
                    <a:pt x="10644" y="81847"/>
                  </a:cubicBezTo>
                  <a:lnTo>
                    <a:pt x="10761" y="82155"/>
                  </a:lnTo>
                  <a:cubicBezTo>
                    <a:pt x="10873" y="82378"/>
                    <a:pt x="17802" y="99174"/>
                    <a:pt x="21800" y="99174"/>
                  </a:cubicBezTo>
                  <a:cubicBezTo>
                    <a:pt x="22005" y="99174"/>
                    <a:pt x="22201" y="99130"/>
                    <a:pt x="22389" y="99038"/>
                  </a:cubicBezTo>
                  <a:cubicBezTo>
                    <a:pt x="22506" y="99155"/>
                    <a:pt x="22623" y="99346"/>
                    <a:pt x="22682" y="99522"/>
                  </a:cubicBezTo>
                  <a:cubicBezTo>
                    <a:pt x="23049" y="99640"/>
                    <a:pt x="23490" y="99831"/>
                    <a:pt x="23783" y="100007"/>
                  </a:cubicBezTo>
                  <a:cubicBezTo>
                    <a:pt x="23548" y="97203"/>
                    <a:pt x="20421" y="97438"/>
                    <a:pt x="19203" y="95676"/>
                  </a:cubicBezTo>
                  <a:cubicBezTo>
                    <a:pt x="17544" y="93401"/>
                    <a:pt x="19144" y="90464"/>
                    <a:pt x="17617" y="88145"/>
                  </a:cubicBezTo>
                  <a:cubicBezTo>
                    <a:pt x="16575" y="86559"/>
                    <a:pt x="14798" y="85693"/>
                    <a:pt x="13580" y="84298"/>
                  </a:cubicBezTo>
                  <a:cubicBezTo>
                    <a:pt x="14314" y="82757"/>
                    <a:pt x="15709" y="81480"/>
                    <a:pt x="15900" y="79645"/>
                  </a:cubicBezTo>
                  <a:cubicBezTo>
                    <a:pt x="15782" y="79087"/>
                    <a:pt x="15709" y="78602"/>
                    <a:pt x="13756" y="78118"/>
                  </a:cubicBezTo>
                  <a:cubicBezTo>
                    <a:pt x="12136" y="79738"/>
                    <a:pt x="11821" y="80053"/>
                    <a:pt x="11599" y="80053"/>
                  </a:cubicBezTo>
                  <a:cubicBezTo>
                    <a:pt x="11545" y="80053"/>
                    <a:pt x="11497" y="80034"/>
                    <a:pt x="11437" y="80012"/>
                  </a:cubicBezTo>
                  <a:cubicBezTo>
                    <a:pt x="9968" y="79395"/>
                    <a:pt x="5990" y="69118"/>
                    <a:pt x="12714" y="66490"/>
                  </a:cubicBezTo>
                  <a:cubicBezTo>
                    <a:pt x="15009" y="67942"/>
                    <a:pt x="15545" y="68281"/>
                    <a:pt x="15730" y="68281"/>
                  </a:cubicBezTo>
                  <a:cubicBezTo>
                    <a:pt x="15786" y="68281"/>
                    <a:pt x="15810" y="68249"/>
                    <a:pt x="15841" y="68208"/>
                  </a:cubicBezTo>
                  <a:lnTo>
                    <a:pt x="16443" y="68208"/>
                  </a:lnTo>
                  <a:cubicBezTo>
                    <a:pt x="17544" y="69485"/>
                    <a:pt x="19511" y="69735"/>
                    <a:pt x="20304" y="71320"/>
                  </a:cubicBezTo>
                  <a:cubicBezTo>
                    <a:pt x="21464" y="73464"/>
                    <a:pt x="20730" y="75974"/>
                    <a:pt x="21654" y="78176"/>
                  </a:cubicBezTo>
                  <a:cubicBezTo>
                    <a:pt x="21772" y="78235"/>
                    <a:pt x="21948" y="78294"/>
                    <a:pt x="22139" y="78353"/>
                  </a:cubicBezTo>
                  <a:cubicBezTo>
                    <a:pt x="24649" y="76650"/>
                    <a:pt x="23181" y="73890"/>
                    <a:pt x="23857" y="71746"/>
                  </a:cubicBezTo>
                  <a:cubicBezTo>
                    <a:pt x="24517" y="69676"/>
                    <a:pt x="26969" y="69177"/>
                    <a:pt x="27894" y="67283"/>
                  </a:cubicBezTo>
                  <a:cubicBezTo>
                    <a:pt x="28129" y="66799"/>
                    <a:pt x="28129" y="66314"/>
                    <a:pt x="28261" y="65756"/>
                  </a:cubicBezTo>
                  <a:cubicBezTo>
                    <a:pt x="28378" y="65331"/>
                    <a:pt x="28496" y="64905"/>
                    <a:pt x="28687" y="64171"/>
                  </a:cubicBezTo>
                  <a:cubicBezTo>
                    <a:pt x="28804" y="64039"/>
                    <a:pt x="28922" y="63921"/>
                    <a:pt x="28995" y="63804"/>
                  </a:cubicBezTo>
                  <a:cubicBezTo>
                    <a:pt x="29597" y="64288"/>
                    <a:pt x="29846" y="64479"/>
                    <a:pt x="30830" y="64714"/>
                  </a:cubicBezTo>
                  <a:cubicBezTo>
                    <a:pt x="31623" y="63980"/>
                    <a:pt x="31623" y="62761"/>
                    <a:pt x="32592" y="62145"/>
                  </a:cubicBezTo>
                  <a:cubicBezTo>
                    <a:pt x="33755" y="62604"/>
                    <a:pt x="34429" y="62872"/>
                    <a:pt x="34860" y="62872"/>
                  </a:cubicBezTo>
                  <a:cubicBezTo>
                    <a:pt x="35409" y="62872"/>
                    <a:pt x="35565" y="62438"/>
                    <a:pt x="35836" y="61411"/>
                  </a:cubicBezTo>
                  <a:cubicBezTo>
                    <a:pt x="36449" y="59066"/>
                    <a:pt x="37326" y="58437"/>
                    <a:pt x="38096" y="58437"/>
                  </a:cubicBezTo>
                  <a:cubicBezTo>
                    <a:pt x="38488" y="58437"/>
                    <a:pt x="38852" y="58600"/>
                    <a:pt x="39139" y="58783"/>
                  </a:cubicBezTo>
                  <a:cubicBezTo>
                    <a:pt x="38464" y="60075"/>
                    <a:pt x="38288" y="60501"/>
                    <a:pt x="38655" y="60926"/>
                  </a:cubicBezTo>
                  <a:cubicBezTo>
                    <a:pt x="38746" y="61035"/>
                    <a:pt x="39246" y="61116"/>
                    <a:pt x="39914" y="61116"/>
                  </a:cubicBezTo>
                  <a:cubicBezTo>
                    <a:pt x="41513" y="61116"/>
                    <a:pt x="44078" y="60651"/>
                    <a:pt x="44337" y="58974"/>
                  </a:cubicBezTo>
                  <a:cubicBezTo>
                    <a:pt x="43735" y="58475"/>
                    <a:pt x="42751" y="58974"/>
                    <a:pt x="42384" y="58049"/>
                  </a:cubicBezTo>
                  <a:cubicBezTo>
                    <a:pt x="41900" y="56889"/>
                    <a:pt x="43485" y="55788"/>
                    <a:pt x="42501" y="54570"/>
                  </a:cubicBezTo>
                  <a:cubicBezTo>
                    <a:pt x="42153" y="54137"/>
                    <a:pt x="41751" y="53903"/>
                    <a:pt x="41298" y="53903"/>
                  </a:cubicBezTo>
                  <a:cubicBezTo>
                    <a:pt x="41044" y="53903"/>
                    <a:pt x="40775" y="53976"/>
                    <a:pt x="40490" y="54129"/>
                  </a:cubicBezTo>
                  <a:cubicBezTo>
                    <a:pt x="40182" y="54320"/>
                    <a:pt x="39756" y="54437"/>
                    <a:pt x="39389" y="54570"/>
                  </a:cubicBezTo>
                  <a:cubicBezTo>
                    <a:pt x="39272" y="54437"/>
                    <a:pt x="39081" y="54320"/>
                    <a:pt x="38963" y="54203"/>
                  </a:cubicBezTo>
                  <a:cubicBezTo>
                    <a:pt x="40235" y="53300"/>
                    <a:pt x="41576" y="53074"/>
                    <a:pt x="42940" y="53074"/>
                  </a:cubicBezTo>
                  <a:cubicBezTo>
                    <a:pt x="44300" y="53074"/>
                    <a:pt x="45684" y="53298"/>
                    <a:pt x="47046" y="53298"/>
                  </a:cubicBezTo>
                  <a:cubicBezTo>
                    <a:pt x="47471" y="53298"/>
                    <a:pt x="47895" y="53276"/>
                    <a:pt x="48315" y="53219"/>
                  </a:cubicBezTo>
                  <a:lnTo>
                    <a:pt x="48315" y="53219"/>
                  </a:lnTo>
                  <a:cubicBezTo>
                    <a:pt x="47522" y="54937"/>
                    <a:pt x="45379" y="55788"/>
                    <a:pt x="45511" y="58049"/>
                  </a:cubicBezTo>
                  <a:cubicBezTo>
                    <a:pt x="49034" y="58914"/>
                    <a:pt x="50395" y="59248"/>
                    <a:pt x="50992" y="59248"/>
                  </a:cubicBezTo>
                  <a:cubicBezTo>
                    <a:pt x="51367" y="59248"/>
                    <a:pt x="51441" y="59116"/>
                    <a:pt x="51560" y="58900"/>
                  </a:cubicBezTo>
                  <a:cubicBezTo>
                    <a:pt x="51677" y="58607"/>
                    <a:pt x="51750" y="58240"/>
                    <a:pt x="51677" y="57931"/>
                  </a:cubicBezTo>
                  <a:cubicBezTo>
                    <a:pt x="51310" y="56581"/>
                    <a:pt x="49915" y="56096"/>
                    <a:pt x="49357" y="54937"/>
                  </a:cubicBezTo>
                  <a:cubicBezTo>
                    <a:pt x="48623" y="53278"/>
                    <a:pt x="51310" y="51927"/>
                    <a:pt x="49915" y="50283"/>
                  </a:cubicBezTo>
                  <a:cubicBezTo>
                    <a:pt x="47640" y="47714"/>
                    <a:pt x="48873" y="44043"/>
                    <a:pt x="47097" y="41283"/>
                  </a:cubicBezTo>
                  <a:cubicBezTo>
                    <a:pt x="46304" y="41959"/>
                    <a:pt x="46113" y="43309"/>
                    <a:pt x="44777" y="43368"/>
                  </a:cubicBezTo>
                  <a:cubicBezTo>
                    <a:pt x="43177" y="41592"/>
                    <a:pt x="44586" y="38905"/>
                    <a:pt x="42751" y="37246"/>
                  </a:cubicBezTo>
                  <a:lnTo>
                    <a:pt x="42575" y="37011"/>
                  </a:lnTo>
                  <a:cubicBezTo>
                    <a:pt x="41591" y="36028"/>
                    <a:pt x="41400" y="35910"/>
                    <a:pt x="40916" y="35543"/>
                  </a:cubicBezTo>
                  <a:cubicBezTo>
                    <a:pt x="40798" y="35543"/>
                    <a:pt x="40549" y="35661"/>
                    <a:pt x="40431" y="35719"/>
                  </a:cubicBezTo>
                  <a:cubicBezTo>
                    <a:pt x="39448" y="38347"/>
                    <a:pt x="39448" y="38347"/>
                    <a:pt x="38963" y="38714"/>
                  </a:cubicBezTo>
                  <a:cubicBezTo>
                    <a:pt x="38789" y="38679"/>
                    <a:pt x="38630" y="38663"/>
                    <a:pt x="38487" y="38663"/>
                  </a:cubicBezTo>
                  <a:cubicBezTo>
                    <a:pt x="37426" y="38663"/>
                    <a:pt x="37187" y="39551"/>
                    <a:pt x="37187" y="40314"/>
                  </a:cubicBezTo>
                  <a:cubicBezTo>
                    <a:pt x="37187" y="41592"/>
                    <a:pt x="37128" y="43309"/>
                    <a:pt x="32474" y="47097"/>
                  </a:cubicBezTo>
                  <a:cubicBezTo>
                    <a:pt x="30948" y="45820"/>
                    <a:pt x="31740" y="44219"/>
                    <a:pt x="32357" y="43001"/>
                  </a:cubicBezTo>
                  <a:cubicBezTo>
                    <a:pt x="32665" y="42458"/>
                    <a:pt x="32665" y="42458"/>
                    <a:pt x="30522" y="39756"/>
                  </a:cubicBezTo>
                  <a:cubicBezTo>
                    <a:pt x="28913" y="37749"/>
                    <a:pt x="27083" y="29514"/>
                    <a:pt x="36187" y="29514"/>
                  </a:cubicBezTo>
                  <a:cubicBezTo>
                    <a:pt x="36470" y="29514"/>
                    <a:pt x="36764" y="29522"/>
                    <a:pt x="37069" y="29539"/>
                  </a:cubicBezTo>
                  <a:cubicBezTo>
                    <a:pt x="36453" y="31007"/>
                    <a:pt x="35968" y="32416"/>
                    <a:pt x="37980" y="32416"/>
                  </a:cubicBezTo>
                  <a:cubicBezTo>
                    <a:pt x="38464" y="33517"/>
                    <a:pt x="38464" y="33517"/>
                    <a:pt x="38772" y="33767"/>
                  </a:cubicBezTo>
                  <a:cubicBezTo>
                    <a:pt x="39198" y="33517"/>
                    <a:pt x="39198" y="33517"/>
                    <a:pt x="39272" y="30346"/>
                  </a:cubicBezTo>
                  <a:cubicBezTo>
                    <a:pt x="42476" y="27336"/>
                    <a:pt x="43852" y="26543"/>
                    <a:pt x="44737" y="26543"/>
                  </a:cubicBezTo>
                  <a:cubicBezTo>
                    <a:pt x="45185" y="26543"/>
                    <a:pt x="45508" y="26747"/>
                    <a:pt x="45878" y="26969"/>
                  </a:cubicBezTo>
                  <a:cubicBezTo>
                    <a:pt x="47772" y="28261"/>
                    <a:pt x="46172" y="31080"/>
                    <a:pt x="45071" y="32666"/>
                  </a:cubicBezTo>
                  <a:cubicBezTo>
                    <a:pt x="44662" y="33260"/>
                    <a:pt x="44165" y="33408"/>
                    <a:pt x="43635" y="33408"/>
                  </a:cubicBezTo>
                  <a:cubicBezTo>
                    <a:pt x="43107" y="33408"/>
                    <a:pt x="42546" y="33261"/>
                    <a:pt x="42005" y="33261"/>
                  </a:cubicBezTo>
                  <a:cubicBezTo>
                    <a:pt x="41800" y="33261"/>
                    <a:pt x="41597" y="33282"/>
                    <a:pt x="41400" y="33341"/>
                  </a:cubicBezTo>
                  <a:cubicBezTo>
                    <a:pt x="41342" y="34868"/>
                    <a:pt x="46245" y="40124"/>
                    <a:pt x="46304" y="40182"/>
                  </a:cubicBezTo>
                  <a:cubicBezTo>
                    <a:pt x="47713" y="39756"/>
                    <a:pt x="47713" y="39756"/>
                    <a:pt x="46245" y="36644"/>
                  </a:cubicBezTo>
                  <a:cubicBezTo>
                    <a:pt x="46304" y="36512"/>
                    <a:pt x="46421" y="36336"/>
                    <a:pt x="46480" y="36218"/>
                  </a:cubicBezTo>
                  <a:cubicBezTo>
                    <a:pt x="46906" y="36879"/>
                    <a:pt x="47464" y="37437"/>
                    <a:pt x="47889" y="38112"/>
                  </a:cubicBezTo>
                  <a:lnTo>
                    <a:pt x="48447" y="38112"/>
                  </a:lnTo>
                  <a:cubicBezTo>
                    <a:pt x="48315" y="36952"/>
                    <a:pt x="48080" y="34134"/>
                    <a:pt x="48932" y="33400"/>
                  </a:cubicBezTo>
                  <a:cubicBezTo>
                    <a:pt x="49666" y="33884"/>
                    <a:pt x="49783" y="34926"/>
                    <a:pt x="50708" y="35235"/>
                  </a:cubicBezTo>
                  <a:cubicBezTo>
                    <a:pt x="50767" y="35117"/>
                    <a:pt x="51677" y="34134"/>
                    <a:pt x="51560" y="32724"/>
                  </a:cubicBezTo>
                  <a:cubicBezTo>
                    <a:pt x="48814" y="30713"/>
                    <a:pt x="49974" y="27410"/>
                    <a:pt x="48932" y="24841"/>
                  </a:cubicBezTo>
                  <a:cubicBezTo>
                    <a:pt x="48565" y="24767"/>
                    <a:pt x="48198" y="24591"/>
                    <a:pt x="47948" y="24342"/>
                  </a:cubicBezTo>
                  <a:cubicBezTo>
                    <a:pt x="48139" y="22756"/>
                    <a:pt x="48139" y="22756"/>
                    <a:pt x="47831" y="22330"/>
                  </a:cubicBezTo>
                  <a:cubicBezTo>
                    <a:pt x="46421" y="22506"/>
                    <a:pt x="45687" y="23916"/>
                    <a:pt x="44410" y="24342"/>
                  </a:cubicBezTo>
                  <a:cubicBezTo>
                    <a:pt x="44527" y="23608"/>
                    <a:pt x="45203" y="23064"/>
                    <a:pt x="45144" y="22272"/>
                  </a:cubicBezTo>
                  <a:lnTo>
                    <a:pt x="45144" y="22272"/>
                  </a:lnTo>
                  <a:cubicBezTo>
                    <a:pt x="43368" y="23431"/>
                    <a:pt x="43368" y="23431"/>
                    <a:pt x="43309" y="23431"/>
                  </a:cubicBezTo>
                  <a:cubicBezTo>
                    <a:pt x="44043" y="22565"/>
                    <a:pt x="45012" y="21963"/>
                    <a:pt x="45570" y="20921"/>
                  </a:cubicBezTo>
                  <a:lnTo>
                    <a:pt x="45144" y="20862"/>
                  </a:lnTo>
                  <a:cubicBezTo>
                    <a:pt x="41958" y="21714"/>
                    <a:pt x="42443" y="25810"/>
                    <a:pt x="39639" y="26911"/>
                  </a:cubicBezTo>
                  <a:cubicBezTo>
                    <a:pt x="39697" y="26426"/>
                    <a:pt x="39697" y="26426"/>
                    <a:pt x="40182" y="24841"/>
                  </a:cubicBezTo>
                  <a:cubicBezTo>
                    <a:pt x="39874" y="24709"/>
                    <a:pt x="39507" y="24532"/>
                    <a:pt x="39198" y="24400"/>
                  </a:cubicBezTo>
                  <a:cubicBezTo>
                    <a:pt x="42267" y="20069"/>
                    <a:pt x="42267" y="20069"/>
                    <a:pt x="43676" y="20069"/>
                  </a:cubicBezTo>
                  <a:cubicBezTo>
                    <a:pt x="43793" y="19937"/>
                    <a:pt x="43911" y="19702"/>
                    <a:pt x="43970" y="19570"/>
                  </a:cubicBezTo>
                  <a:cubicBezTo>
                    <a:pt x="43911" y="19394"/>
                    <a:pt x="43793" y="19203"/>
                    <a:pt x="43735" y="19086"/>
                  </a:cubicBezTo>
                  <a:cubicBezTo>
                    <a:pt x="43496" y="19026"/>
                    <a:pt x="43303" y="18978"/>
                    <a:pt x="43107" y="18978"/>
                  </a:cubicBezTo>
                  <a:cubicBezTo>
                    <a:pt x="42292" y="18978"/>
                    <a:pt x="41423" y="19811"/>
                    <a:pt x="36937" y="24107"/>
                  </a:cubicBezTo>
                  <a:cubicBezTo>
                    <a:pt x="35778" y="23666"/>
                    <a:pt x="35234" y="22448"/>
                    <a:pt x="34133" y="21963"/>
                  </a:cubicBezTo>
                  <a:cubicBezTo>
                    <a:pt x="34060" y="21772"/>
                    <a:pt x="34001" y="21596"/>
                    <a:pt x="34001" y="21405"/>
                  </a:cubicBezTo>
                  <a:cubicBezTo>
                    <a:pt x="34453" y="20825"/>
                    <a:pt x="34637" y="20575"/>
                    <a:pt x="35135" y="20575"/>
                  </a:cubicBezTo>
                  <a:cubicBezTo>
                    <a:pt x="35317" y="20575"/>
                    <a:pt x="35541" y="20608"/>
                    <a:pt x="35836" y="20671"/>
                  </a:cubicBezTo>
                  <a:cubicBezTo>
                    <a:pt x="36061" y="20729"/>
                    <a:pt x="36266" y="20756"/>
                    <a:pt x="36455" y="20756"/>
                  </a:cubicBezTo>
                  <a:cubicBezTo>
                    <a:pt x="38475" y="20756"/>
                    <a:pt x="38590" y="17685"/>
                    <a:pt x="39932" y="16517"/>
                  </a:cubicBezTo>
                  <a:cubicBezTo>
                    <a:pt x="39874" y="16326"/>
                    <a:pt x="39815" y="16150"/>
                    <a:pt x="39815" y="15959"/>
                  </a:cubicBezTo>
                  <a:cubicBezTo>
                    <a:pt x="39448" y="16150"/>
                    <a:pt x="38963" y="16326"/>
                    <a:pt x="38596" y="16517"/>
                  </a:cubicBezTo>
                  <a:cubicBezTo>
                    <a:pt x="38464" y="16458"/>
                    <a:pt x="38288" y="16326"/>
                    <a:pt x="38097" y="16267"/>
                  </a:cubicBezTo>
                  <a:cubicBezTo>
                    <a:pt x="38288" y="15959"/>
                    <a:pt x="38347" y="15533"/>
                    <a:pt x="38405" y="15225"/>
                  </a:cubicBezTo>
                  <a:cubicBezTo>
                    <a:pt x="38288" y="15107"/>
                    <a:pt x="38097" y="14990"/>
                    <a:pt x="37980" y="14858"/>
                  </a:cubicBezTo>
                  <a:cubicBezTo>
                    <a:pt x="38038" y="14740"/>
                    <a:pt x="38097" y="14491"/>
                    <a:pt x="38097" y="14373"/>
                  </a:cubicBezTo>
                  <a:cubicBezTo>
                    <a:pt x="38135" y="13649"/>
                    <a:pt x="37746" y="13235"/>
                    <a:pt x="37169" y="13235"/>
                  </a:cubicBezTo>
                  <a:cubicBezTo>
                    <a:pt x="36624" y="13235"/>
                    <a:pt x="35912" y="13604"/>
                    <a:pt x="35234" y="14432"/>
                  </a:cubicBezTo>
                  <a:cubicBezTo>
                    <a:pt x="36203" y="15357"/>
                    <a:pt x="36203" y="15357"/>
                    <a:pt x="35968" y="16091"/>
                  </a:cubicBezTo>
                  <a:cubicBezTo>
                    <a:pt x="34001" y="16825"/>
                    <a:pt x="34001" y="16825"/>
                    <a:pt x="33208" y="20304"/>
                  </a:cubicBezTo>
                  <a:cubicBezTo>
                    <a:pt x="30155" y="19879"/>
                    <a:pt x="33825" y="15959"/>
                    <a:pt x="33825" y="13757"/>
                  </a:cubicBezTo>
                  <a:cubicBezTo>
                    <a:pt x="32783" y="13639"/>
                    <a:pt x="32783" y="13639"/>
                    <a:pt x="32416" y="13155"/>
                  </a:cubicBezTo>
                  <a:cubicBezTo>
                    <a:pt x="33458" y="11863"/>
                    <a:pt x="33458" y="11863"/>
                    <a:pt x="33575" y="11320"/>
                  </a:cubicBezTo>
                  <a:cubicBezTo>
                    <a:pt x="32533" y="11261"/>
                    <a:pt x="32533" y="11261"/>
                    <a:pt x="32166" y="10820"/>
                  </a:cubicBezTo>
                  <a:cubicBezTo>
                    <a:pt x="32298" y="10586"/>
                    <a:pt x="32474" y="10219"/>
                    <a:pt x="32665" y="9969"/>
                  </a:cubicBezTo>
                  <a:lnTo>
                    <a:pt x="32474" y="9484"/>
                  </a:lnTo>
                  <a:cubicBezTo>
                    <a:pt x="32416" y="9352"/>
                    <a:pt x="32225" y="9235"/>
                    <a:pt x="32166" y="9117"/>
                  </a:cubicBezTo>
                  <a:cubicBezTo>
                    <a:pt x="32357" y="7826"/>
                    <a:pt x="32357" y="7826"/>
                    <a:pt x="37246" y="544"/>
                  </a:cubicBezTo>
                  <a:cubicBezTo>
                    <a:pt x="37187" y="368"/>
                    <a:pt x="37128" y="177"/>
                    <a:pt x="37128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" name="Google Shape;8446;p73">
              <a:extLst>
                <a:ext uri="{FF2B5EF4-FFF2-40B4-BE49-F238E27FC236}">
                  <a16:creationId xmlns:a16="http://schemas.microsoft.com/office/drawing/2014/main" id="{ACFE50A0-6591-9215-0F50-BD9AC422973C}"/>
                </a:ext>
              </a:extLst>
            </p:cNvPr>
            <p:cNvSpPr/>
            <p:nvPr/>
          </p:nvSpPr>
          <p:spPr>
            <a:xfrm>
              <a:off x="2475500" y="3958750"/>
              <a:ext cx="4425" cy="4775"/>
            </a:xfrm>
            <a:custGeom>
              <a:avLst/>
              <a:gdLst/>
              <a:ahLst/>
              <a:cxnLst/>
              <a:rect l="l" t="t" r="r" b="b"/>
              <a:pathLst>
                <a:path w="177" h="191" extrusionOk="0">
                  <a:moveTo>
                    <a:pt x="0" y="0"/>
                  </a:moveTo>
                  <a:lnTo>
                    <a:pt x="163" y="176"/>
                  </a:lnTo>
                  <a:lnTo>
                    <a:pt x="163" y="176"/>
                  </a:lnTo>
                  <a:cubicBezTo>
                    <a:pt x="117" y="122"/>
                    <a:pt x="108" y="67"/>
                    <a:pt x="0" y="0"/>
                  </a:cubicBezTo>
                  <a:close/>
                  <a:moveTo>
                    <a:pt x="163" y="176"/>
                  </a:moveTo>
                  <a:lnTo>
                    <a:pt x="163" y="176"/>
                  </a:lnTo>
                  <a:cubicBezTo>
                    <a:pt x="167" y="181"/>
                    <a:pt x="171" y="186"/>
                    <a:pt x="176" y="191"/>
                  </a:cubicBezTo>
                  <a:lnTo>
                    <a:pt x="163" y="176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" name="Google Shape;8447;p73">
              <a:extLst>
                <a:ext uri="{FF2B5EF4-FFF2-40B4-BE49-F238E27FC236}">
                  <a16:creationId xmlns:a16="http://schemas.microsoft.com/office/drawing/2014/main" id="{F55E8849-E3B5-C66B-0162-E5667CD25E1F}"/>
                </a:ext>
              </a:extLst>
            </p:cNvPr>
            <p:cNvSpPr/>
            <p:nvPr/>
          </p:nvSpPr>
          <p:spPr>
            <a:xfrm>
              <a:off x="3212475" y="1822425"/>
              <a:ext cx="414400" cy="733050"/>
            </a:xfrm>
            <a:custGeom>
              <a:avLst/>
              <a:gdLst/>
              <a:ahLst/>
              <a:cxnLst/>
              <a:rect l="l" t="t" r="r" b="b"/>
              <a:pathLst>
                <a:path w="16576" h="29322" extrusionOk="0">
                  <a:moveTo>
                    <a:pt x="7649" y="28565"/>
                  </a:moveTo>
                  <a:lnTo>
                    <a:pt x="7649" y="28565"/>
                  </a:lnTo>
                  <a:cubicBezTo>
                    <a:pt x="7473" y="28697"/>
                    <a:pt x="7341" y="28755"/>
                    <a:pt x="7282" y="28755"/>
                  </a:cubicBezTo>
                  <a:cubicBezTo>
                    <a:pt x="7400" y="28697"/>
                    <a:pt x="7532" y="28638"/>
                    <a:pt x="7649" y="28565"/>
                  </a:cubicBezTo>
                  <a:close/>
                  <a:moveTo>
                    <a:pt x="11598" y="0"/>
                  </a:moveTo>
                  <a:cubicBezTo>
                    <a:pt x="11484" y="0"/>
                    <a:pt x="11369" y="28"/>
                    <a:pt x="11202" y="69"/>
                  </a:cubicBezTo>
                  <a:cubicBezTo>
                    <a:pt x="10336" y="304"/>
                    <a:pt x="8134" y="436"/>
                    <a:pt x="7899" y="495"/>
                  </a:cubicBezTo>
                  <a:lnTo>
                    <a:pt x="7840" y="436"/>
                  </a:lnTo>
                  <a:cubicBezTo>
                    <a:pt x="7473" y="304"/>
                    <a:pt x="7165" y="245"/>
                    <a:pt x="6974" y="245"/>
                  </a:cubicBezTo>
                  <a:cubicBezTo>
                    <a:pt x="6548" y="245"/>
                    <a:pt x="6181" y="495"/>
                    <a:pt x="5080" y="1287"/>
                  </a:cubicBezTo>
                  <a:cubicBezTo>
                    <a:pt x="4963" y="1170"/>
                    <a:pt x="4772" y="1170"/>
                    <a:pt x="4654" y="1170"/>
                  </a:cubicBezTo>
                  <a:cubicBezTo>
                    <a:pt x="4405" y="1170"/>
                    <a:pt x="4287" y="1229"/>
                    <a:pt x="4287" y="1229"/>
                  </a:cubicBezTo>
                  <a:cubicBezTo>
                    <a:pt x="3671" y="1537"/>
                    <a:pt x="4229" y="2579"/>
                    <a:pt x="3436" y="2697"/>
                  </a:cubicBezTo>
                  <a:cubicBezTo>
                    <a:pt x="1894" y="2873"/>
                    <a:pt x="1894" y="2873"/>
                    <a:pt x="1659" y="3064"/>
                  </a:cubicBezTo>
                  <a:cubicBezTo>
                    <a:pt x="1527" y="3123"/>
                    <a:pt x="1351" y="3240"/>
                    <a:pt x="1292" y="3372"/>
                  </a:cubicBezTo>
                  <a:cubicBezTo>
                    <a:pt x="0" y="4649"/>
                    <a:pt x="426" y="5941"/>
                    <a:pt x="426" y="5941"/>
                  </a:cubicBezTo>
                  <a:cubicBezTo>
                    <a:pt x="558" y="6308"/>
                    <a:pt x="1043" y="6308"/>
                    <a:pt x="1469" y="6308"/>
                  </a:cubicBezTo>
                  <a:cubicBezTo>
                    <a:pt x="2144" y="6308"/>
                    <a:pt x="3069" y="6675"/>
                    <a:pt x="3186" y="6852"/>
                  </a:cubicBezTo>
                  <a:cubicBezTo>
                    <a:pt x="4537" y="8143"/>
                    <a:pt x="4537" y="8143"/>
                    <a:pt x="5330" y="8687"/>
                  </a:cubicBezTo>
                  <a:cubicBezTo>
                    <a:pt x="5873" y="9054"/>
                    <a:pt x="6064" y="9979"/>
                    <a:pt x="5447" y="10287"/>
                  </a:cubicBezTo>
                  <a:cubicBezTo>
                    <a:pt x="4713" y="10654"/>
                    <a:pt x="3671" y="11814"/>
                    <a:pt x="3494" y="12606"/>
                  </a:cubicBezTo>
                  <a:cubicBezTo>
                    <a:pt x="3247" y="13396"/>
                    <a:pt x="3832" y="13627"/>
                    <a:pt x="4451" y="13627"/>
                  </a:cubicBezTo>
                  <a:cubicBezTo>
                    <a:pt x="4604" y="13627"/>
                    <a:pt x="4759" y="13613"/>
                    <a:pt x="4904" y="13590"/>
                  </a:cubicBezTo>
                  <a:cubicBezTo>
                    <a:pt x="4940" y="13585"/>
                    <a:pt x="4974" y="13582"/>
                    <a:pt x="5006" y="13582"/>
                  </a:cubicBezTo>
                  <a:cubicBezTo>
                    <a:pt x="5781" y="13582"/>
                    <a:pt x="5381" y="15067"/>
                    <a:pt x="5197" y="15293"/>
                  </a:cubicBezTo>
                  <a:cubicBezTo>
                    <a:pt x="4654" y="16335"/>
                    <a:pt x="3127" y="16644"/>
                    <a:pt x="2995" y="18053"/>
                  </a:cubicBezTo>
                  <a:cubicBezTo>
                    <a:pt x="2995" y="18229"/>
                    <a:pt x="2995" y="18420"/>
                    <a:pt x="3127" y="18537"/>
                  </a:cubicBezTo>
                  <a:cubicBezTo>
                    <a:pt x="3245" y="18905"/>
                    <a:pt x="3729" y="18963"/>
                    <a:pt x="3862" y="19389"/>
                  </a:cubicBezTo>
                  <a:cubicBezTo>
                    <a:pt x="3979" y="19697"/>
                    <a:pt x="3979" y="19888"/>
                    <a:pt x="3612" y="20431"/>
                  </a:cubicBezTo>
                  <a:cubicBezTo>
                    <a:pt x="2995" y="21415"/>
                    <a:pt x="2937" y="21532"/>
                    <a:pt x="2937" y="22325"/>
                  </a:cubicBezTo>
                  <a:cubicBezTo>
                    <a:pt x="2937" y="22399"/>
                    <a:pt x="4096" y="25393"/>
                    <a:pt x="5271" y="25570"/>
                  </a:cubicBezTo>
                  <a:cubicBezTo>
                    <a:pt x="6299" y="25761"/>
                    <a:pt x="6240" y="27229"/>
                    <a:pt x="6181" y="28271"/>
                  </a:cubicBezTo>
                  <a:cubicBezTo>
                    <a:pt x="6153" y="29050"/>
                    <a:pt x="6303" y="29321"/>
                    <a:pt x="6547" y="29321"/>
                  </a:cubicBezTo>
                  <a:cubicBezTo>
                    <a:pt x="6818" y="29321"/>
                    <a:pt x="7204" y="28986"/>
                    <a:pt x="7590" y="28638"/>
                  </a:cubicBezTo>
                  <a:cubicBezTo>
                    <a:pt x="7649" y="28638"/>
                    <a:pt x="7649" y="28565"/>
                    <a:pt x="7708" y="28565"/>
                  </a:cubicBezTo>
                  <a:lnTo>
                    <a:pt x="7767" y="28506"/>
                  </a:lnTo>
                  <a:lnTo>
                    <a:pt x="7899" y="28447"/>
                  </a:lnTo>
                  <a:cubicBezTo>
                    <a:pt x="8134" y="28198"/>
                    <a:pt x="8383" y="28021"/>
                    <a:pt x="8633" y="27537"/>
                  </a:cubicBezTo>
                  <a:cubicBezTo>
                    <a:pt x="8692" y="27463"/>
                    <a:pt x="8750" y="27346"/>
                    <a:pt x="8809" y="27287"/>
                  </a:cubicBezTo>
                  <a:cubicBezTo>
                    <a:pt x="9235" y="26495"/>
                    <a:pt x="9235" y="26495"/>
                    <a:pt x="9793" y="23191"/>
                  </a:cubicBezTo>
                  <a:cubicBezTo>
                    <a:pt x="10042" y="21474"/>
                    <a:pt x="12171" y="21841"/>
                    <a:pt x="12788" y="20563"/>
                  </a:cubicBezTo>
                  <a:lnTo>
                    <a:pt x="13272" y="19389"/>
                  </a:lnTo>
                  <a:cubicBezTo>
                    <a:pt x="13318" y="19374"/>
                    <a:pt x="13362" y="19368"/>
                    <a:pt x="13404" y="19368"/>
                  </a:cubicBezTo>
                  <a:cubicBezTo>
                    <a:pt x="13793" y="19368"/>
                    <a:pt x="13989" y="19948"/>
                    <a:pt x="14354" y="19948"/>
                  </a:cubicBezTo>
                  <a:cubicBezTo>
                    <a:pt x="14418" y="19948"/>
                    <a:pt x="14487" y="19930"/>
                    <a:pt x="14564" y="19888"/>
                  </a:cubicBezTo>
                  <a:cubicBezTo>
                    <a:pt x="15181" y="19462"/>
                    <a:pt x="15181" y="18537"/>
                    <a:pt x="15782" y="18112"/>
                  </a:cubicBezTo>
                  <a:cubicBezTo>
                    <a:pt x="15802" y="18092"/>
                    <a:pt x="15830" y="18086"/>
                    <a:pt x="15862" y="18086"/>
                  </a:cubicBezTo>
                  <a:cubicBezTo>
                    <a:pt x="15928" y="18086"/>
                    <a:pt x="16012" y="18112"/>
                    <a:pt x="16091" y="18112"/>
                  </a:cubicBezTo>
                  <a:cubicBezTo>
                    <a:pt x="16282" y="18112"/>
                    <a:pt x="16399" y="18170"/>
                    <a:pt x="16575" y="18170"/>
                  </a:cubicBezTo>
                  <a:lnTo>
                    <a:pt x="16575" y="436"/>
                  </a:lnTo>
                  <a:cubicBezTo>
                    <a:pt x="16399" y="612"/>
                    <a:pt x="16208" y="979"/>
                    <a:pt x="15915" y="979"/>
                  </a:cubicBezTo>
                  <a:cubicBezTo>
                    <a:pt x="15474" y="979"/>
                    <a:pt x="15239" y="671"/>
                    <a:pt x="14814" y="612"/>
                  </a:cubicBezTo>
                  <a:cubicBezTo>
                    <a:pt x="14751" y="600"/>
                    <a:pt x="14688" y="595"/>
                    <a:pt x="14624" y="595"/>
                  </a:cubicBezTo>
                  <a:cubicBezTo>
                    <a:pt x="14243" y="595"/>
                    <a:pt x="13844" y="778"/>
                    <a:pt x="13455" y="778"/>
                  </a:cubicBezTo>
                  <a:cubicBezTo>
                    <a:pt x="13269" y="778"/>
                    <a:pt x="13084" y="736"/>
                    <a:pt x="12905" y="612"/>
                  </a:cubicBezTo>
                  <a:cubicBezTo>
                    <a:pt x="12101" y="144"/>
                    <a:pt x="11854" y="0"/>
                    <a:pt x="11598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" name="Google Shape;8448;p73">
              <a:extLst>
                <a:ext uri="{FF2B5EF4-FFF2-40B4-BE49-F238E27FC236}">
                  <a16:creationId xmlns:a16="http://schemas.microsoft.com/office/drawing/2014/main" id="{5FD42984-1ACD-AE24-5638-9298E03AC4D0}"/>
                </a:ext>
              </a:extLst>
            </p:cNvPr>
            <p:cNvSpPr/>
            <p:nvPr/>
          </p:nvSpPr>
          <p:spPr>
            <a:xfrm>
              <a:off x="3405150" y="2530650"/>
              <a:ext cx="9200" cy="5900"/>
            </a:xfrm>
            <a:custGeom>
              <a:avLst/>
              <a:gdLst/>
              <a:ahLst/>
              <a:cxnLst/>
              <a:rect l="l" t="t" r="r" b="b"/>
              <a:pathLst>
                <a:path w="368" h="236" extrusionOk="0">
                  <a:moveTo>
                    <a:pt x="368" y="1"/>
                  </a:moveTo>
                  <a:lnTo>
                    <a:pt x="192" y="59"/>
                  </a:lnTo>
                  <a:lnTo>
                    <a:pt x="60" y="177"/>
                  </a:lnTo>
                  <a:cubicBezTo>
                    <a:pt x="60" y="193"/>
                    <a:pt x="55" y="204"/>
                    <a:pt x="49" y="213"/>
                  </a:cubicBezTo>
                  <a:lnTo>
                    <a:pt x="49" y="213"/>
                  </a:lnTo>
                  <a:cubicBezTo>
                    <a:pt x="149" y="163"/>
                    <a:pt x="207" y="118"/>
                    <a:pt x="309" y="118"/>
                  </a:cubicBezTo>
                  <a:lnTo>
                    <a:pt x="368" y="1"/>
                  </a:lnTo>
                  <a:close/>
                  <a:moveTo>
                    <a:pt x="49" y="213"/>
                  </a:moveTo>
                  <a:cubicBezTo>
                    <a:pt x="34" y="220"/>
                    <a:pt x="18" y="228"/>
                    <a:pt x="1" y="236"/>
                  </a:cubicBezTo>
                  <a:cubicBezTo>
                    <a:pt x="1" y="236"/>
                    <a:pt x="32" y="236"/>
                    <a:pt x="49" y="213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" name="Google Shape;8449;p73">
              <a:extLst>
                <a:ext uri="{FF2B5EF4-FFF2-40B4-BE49-F238E27FC236}">
                  <a16:creationId xmlns:a16="http://schemas.microsoft.com/office/drawing/2014/main" id="{7B715230-1FA1-79CB-4A5A-9EFCD3FDF5E9}"/>
                </a:ext>
              </a:extLst>
            </p:cNvPr>
            <p:cNvSpPr/>
            <p:nvPr/>
          </p:nvSpPr>
          <p:spPr>
            <a:xfrm>
              <a:off x="3393050" y="2536525"/>
              <a:ext cx="12125" cy="4800"/>
            </a:xfrm>
            <a:custGeom>
              <a:avLst/>
              <a:gdLst/>
              <a:ahLst/>
              <a:cxnLst/>
              <a:rect l="l" t="t" r="r" b="b"/>
              <a:pathLst>
                <a:path w="485" h="192" extrusionOk="0">
                  <a:moveTo>
                    <a:pt x="426" y="1"/>
                  </a:moveTo>
                  <a:cubicBezTo>
                    <a:pt x="400" y="20"/>
                    <a:pt x="373" y="38"/>
                    <a:pt x="347" y="55"/>
                  </a:cubicBezTo>
                  <a:lnTo>
                    <a:pt x="347" y="55"/>
                  </a:lnTo>
                  <a:cubicBezTo>
                    <a:pt x="393" y="37"/>
                    <a:pt x="439" y="20"/>
                    <a:pt x="485" y="1"/>
                  </a:cubicBezTo>
                  <a:close/>
                  <a:moveTo>
                    <a:pt x="347" y="55"/>
                  </a:moveTo>
                  <a:cubicBezTo>
                    <a:pt x="215" y="104"/>
                    <a:pt x="88" y="148"/>
                    <a:pt x="0" y="191"/>
                  </a:cubicBezTo>
                  <a:cubicBezTo>
                    <a:pt x="50" y="191"/>
                    <a:pt x="196" y="149"/>
                    <a:pt x="347" y="55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" name="Google Shape;8450;p73">
              <a:extLst>
                <a:ext uri="{FF2B5EF4-FFF2-40B4-BE49-F238E27FC236}">
                  <a16:creationId xmlns:a16="http://schemas.microsoft.com/office/drawing/2014/main" id="{8E9FF26F-B80F-86FA-ED10-278199E3EE22}"/>
                </a:ext>
              </a:extLst>
            </p:cNvPr>
            <p:cNvSpPr/>
            <p:nvPr/>
          </p:nvSpPr>
          <p:spPr>
            <a:xfrm>
              <a:off x="3015375" y="1926525"/>
              <a:ext cx="79300" cy="22800"/>
            </a:xfrm>
            <a:custGeom>
              <a:avLst/>
              <a:gdLst/>
              <a:ahLst/>
              <a:cxnLst/>
              <a:rect l="l" t="t" r="r" b="b"/>
              <a:pathLst>
                <a:path w="3172" h="912" extrusionOk="0">
                  <a:moveTo>
                    <a:pt x="1" y="1"/>
                  </a:moveTo>
                  <a:cubicBezTo>
                    <a:pt x="59" y="60"/>
                    <a:pt x="59" y="60"/>
                    <a:pt x="118" y="60"/>
                  </a:cubicBezTo>
                  <a:cubicBezTo>
                    <a:pt x="177" y="118"/>
                    <a:pt x="269" y="118"/>
                    <a:pt x="360" y="118"/>
                  </a:cubicBezTo>
                  <a:cubicBezTo>
                    <a:pt x="452" y="118"/>
                    <a:pt x="544" y="118"/>
                    <a:pt x="603" y="177"/>
                  </a:cubicBezTo>
                  <a:cubicBezTo>
                    <a:pt x="735" y="309"/>
                    <a:pt x="735" y="485"/>
                    <a:pt x="852" y="544"/>
                  </a:cubicBezTo>
                  <a:cubicBezTo>
                    <a:pt x="852" y="544"/>
                    <a:pt x="1161" y="794"/>
                    <a:pt x="1469" y="852"/>
                  </a:cubicBezTo>
                  <a:cubicBezTo>
                    <a:pt x="1586" y="911"/>
                    <a:pt x="1704" y="911"/>
                    <a:pt x="1777" y="911"/>
                  </a:cubicBezTo>
                  <a:cubicBezTo>
                    <a:pt x="2012" y="911"/>
                    <a:pt x="2203" y="794"/>
                    <a:pt x="2379" y="794"/>
                  </a:cubicBezTo>
                  <a:cubicBezTo>
                    <a:pt x="2570" y="794"/>
                    <a:pt x="2687" y="852"/>
                    <a:pt x="2878" y="852"/>
                  </a:cubicBezTo>
                  <a:cubicBezTo>
                    <a:pt x="2937" y="852"/>
                    <a:pt x="2996" y="794"/>
                    <a:pt x="3054" y="794"/>
                  </a:cubicBezTo>
                  <a:cubicBezTo>
                    <a:pt x="3054" y="735"/>
                    <a:pt x="3113" y="735"/>
                    <a:pt x="3172" y="676"/>
                  </a:cubicBezTo>
                  <a:cubicBezTo>
                    <a:pt x="3054" y="676"/>
                    <a:pt x="2963" y="650"/>
                    <a:pt x="2859" y="650"/>
                  </a:cubicBezTo>
                  <a:cubicBezTo>
                    <a:pt x="2806" y="650"/>
                    <a:pt x="2751" y="657"/>
                    <a:pt x="2687" y="676"/>
                  </a:cubicBezTo>
                  <a:lnTo>
                    <a:pt x="485" y="118"/>
                  </a:lnTo>
                  <a:cubicBezTo>
                    <a:pt x="368" y="60"/>
                    <a:pt x="177" y="60"/>
                    <a:pt x="1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" name="Google Shape;8451;p73">
              <a:extLst>
                <a:ext uri="{FF2B5EF4-FFF2-40B4-BE49-F238E27FC236}">
                  <a16:creationId xmlns:a16="http://schemas.microsoft.com/office/drawing/2014/main" id="{BF41BFAA-07B3-8BEC-F0BA-C26A5E43D9F3}"/>
                </a:ext>
              </a:extLst>
            </p:cNvPr>
            <p:cNvSpPr/>
            <p:nvPr/>
          </p:nvSpPr>
          <p:spPr>
            <a:xfrm>
              <a:off x="2992250" y="1803900"/>
              <a:ext cx="116375" cy="139550"/>
            </a:xfrm>
            <a:custGeom>
              <a:avLst/>
              <a:gdLst/>
              <a:ahLst/>
              <a:cxnLst/>
              <a:rect l="l" t="t" r="r" b="b"/>
              <a:pathLst>
                <a:path w="4655" h="5582" extrusionOk="0">
                  <a:moveTo>
                    <a:pt x="1601" y="0"/>
                  </a:moveTo>
                  <a:cubicBezTo>
                    <a:pt x="1554" y="0"/>
                    <a:pt x="1509" y="5"/>
                    <a:pt x="1469" y="17"/>
                  </a:cubicBezTo>
                  <a:cubicBezTo>
                    <a:pt x="1293" y="76"/>
                    <a:pt x="1161" y="135"/>
                    <a:pt x="984" y="135"/>
                  </a:cubicBezTo>
                  <a:cubicBezTo>
                    <a:pt x="867" y="135"/>
                    <a:pt x="867" y="76"/>
                    <a:pt x="794" y="17"/>
                  </a:cubicBezTo>
                  <a:cubicBezTo>
                    <a:pt x="427" y="384"/>
                    <a:pt x="250" y="619"/>
                    <a:pt x="192" y="927"/>
                  </a:cubicBezTo>
                  <a:cubicBezTo>
                    <a:pt x="192" y="986"/>
                    <a:pt x="192" y="1118"/>
                    <a:pt x="500" y="1661"/>
                  </a:cubicBezTo>
                  <a:cubicBezTo>
                    <a:pt x="559" y="1720"/>
                    <a:pt x="676" y="1779"/>
                    <a:pt x="794" y="1911"/>
                  </a:cubicBezTo>
                  <a:cubicBezTo>
                    <a:pt x="926" y="2087"/>
                    <a:pt x="676" y="2395"/>
                    <a:pt x="427" y="2762"/>
                  </a:cubicBezTo>
                  <a:cubicBezTo>
                    <a:pt x="133" y="3247"/>
                    <a:pt x="1" y="3379"/>
                    <a:pt x="60" y="3981"/>
                  </a:cubicBezTo>
                  <a:cubicBezTo>
                    <a:pt x="60" y="4231"/>
                    <a:pt x="60" y="4289"/>
                    <a:pt x="192" y="4348"/>
                  </a:cubicBezTo>
                  <a:cubicBezTo>
                    <a:pt x="309" y="4480"/>
                    <a:pt x="500" y="4421"/>
                    <a:pt x="617" y="4480"/>
                  </a:cubicBezTo>
                  <a:cubicBezTo>
                    <a:pt x="794" y="4539"/>
                    <a:pt x="794" y="4715"/>
                    <a:pt x="926" y="4906"/>
                  </a:cubicBezTo>
                  <a:lnTo>
                    <a:pt x="1410" y="5023"/>
                  </a:lnTo>
                  <a:cubicBezTo>
                    <a:pt x="3612" y="5581"/>
                    <a:pt x="3612" y="5581"/>
                    <a:pt x="4097" y="5581"/>
                  </a:cubicBezTo>
                  <a:cubicBezTo>
                    <a:pt x="4170" y="5581"/>
                    <a:pt x="4229" y="5581"/>
                    <a:pt x="4288" y="5522"/>
                  </a:cubicBezTo>
                  <a:cubicBezTo>
                    <a:pt x="4464" y="5390"/>
                    <a:pt x="4655" y="4965"/>
                    <a:pt x="4537" y="4847"/>
                  </a:cubicBezTo>
                  <a:cubicBezTo>
                    <a:pt x="4457" y="4767"/>
                    <a:pt x="4380" y="4744"/>
                    <a:pt x="4303" y="4744"/>
                  </a:cubicBezTo>
                  <a:cubicBezTo>
                    <a:pt x="4196" y="4744"/>
                    <a:pt x="4090" y="4788"/>
                    <a:pt x="3979" y="4788"/>
                  </a:cubicBezTo>
                  <a:cubicBezTo>
                    <a:pt x="3862" y="4715"/>
                    <a:pt x="3803" y="4656"/>
                    <a:pt x="3671" y="4598"/>
                  </a:cubicBezTo>
                  <a:cubicBezTo>
                    <a:pt x="3671" y="4568"/>
                    <a:pt x="3671" y="4554"/>
                    <a:pt x="3596" y="4554"/>
                  </a:cubicBezTo>
                  <a:cubicBezTo>
                    <a:pt x="3521" y="4554"/>
                    <a:pt x="3370" y="4568"/>
                    <a:pt x="3069" y="4598"/>
                  </a:cubicBezTo>
                  <a:cubicBezTo>
                    <a:pt x="2878" y="4598"/>
                    <a:pt x="2878" y="4598"/>
                    <a:pt x="2629" y="4172"/>
                  </a:cubicBezTo>
                  <a:cubicBezTo>
                    <a:pt x="2570" y="4054"/>
                    <a:pt x="2453" y="4054"/>
                    <a:pt x="2335" y="3922"/>
                  </a:cubicBezTo>
                  <a:cubicBezTo>
                    <a:pt x="2203" y="3805"/>
                    <a:pt x="2262" y="3614"/>
                    <a:pt x="2144" y="3497"/>
                  </a:cubicBezTo>
                  <a:cubicBezTo>
                    <a:pt x="2144" y="3438"/>
                    <a:pt x="2027" y="3379"/>
                    <a:pt x="2027" y="3379"/>
                  </a:cubicBezTo>
                  <a:cubicBezTo>
                    <a:pt x="1719" y="3320"/>
                    <a:pt x="1528" y="3320"/>
                    <a:pt x="1528" y="3012"/>
                  </a:cubicBezTo>
                  <a:cubicBezTo>
                    <a:pt x="1469" y="2821"/>
                    <a:pt x="1660" y="2645"/>
                    <a:pt x="1719" y="2395"/>
                  </a:cubicBezTo>
                  <a:cubicBezTo>
                    <a:pt x="1777" y="2219"/>
                    <a:pt x="1777" y="1970"/>
                    <a:pt x="1777" y="1720"/>
                  </a:cubicBezTo>
                  <a:cubicBezTo>
                    <a:pt x="1836" y="1485"/>
                    <a:pt x="1895" y="1294"/>
                    <a:pt x="1895" y="986"/>
                  </a:cubicBezTo>
                  <a:cubicBezTo>
                    <a:pt x="1895" y="927"/>
                    <a:pt x="1836" y="927"/>
                    <a:pt x="1836" y="869"/>
                  </a:cubicBezTo>
                  <a:cubicBezTo>
                    <a:pt x="1836" y="751"/>
                    <a:pt x="1895" y="678"/>
                    <a:pt x="1968" y="560"/>
                  </a:cubicBezTo>
                  <a:cubicBezTo>
                    <a:pt x="2027" y="502"/>
                    <a:pt x="2144" y="252"/>
                    <a:pt x="2144" y="135"/>
                  </a:cubicBezTo>
                  <a:cubicBezTo>
                    <a:pt x="2144" y="135"/>
                    <a:pt x="1845" y="0"/>
                    <a:pt x="1601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" name="Google Shape;8452;p73">
              <a:extLst>
                <a:ext uri="{FF2B5EF4-FFF2-40B4-BE49-F238E27FC236}">
                  <a16:creationId xmlns:a16="http://schemas.microsoft.com/office/drawing/2014/main" id="{D31CCF9C-6F95-4D0B-351D-A8718CE79B59}"/>
                </a:ext>
              </a:extLst>
            </p:cNvPr>
            <p:cNvSpPr/>
            <p:nvPr/>
          </p:nvSpPr>
          <p:spPr>
            <a:xfrm>
              <a:off x="3061250" y="1727100"/>
              <a:ext cx="324125" cy="184875"/>
            </a:xfrm>
            <a:custGeom>
              <a:avLst/>
              <a:gdLst/>
              <a:ahLst/>
              <a:cxnLst/>
              <a:rect l="l" t="t" r="r" b="b"/>
              <a:pathLst>
                <a:path w="12965" h="7395" extrusionOk="0">
                  <a:moveTo>
                    <a:pt x="12715" y="2781"/>
                  </a:moveTo>
                  <a:cubicBezTo>
                    <a:pt x="12788" y="2840"/>
                    <a:pt x="12788" y="2898"/>
                    <a:pt x="12788" y="2957"/>
                  </a:cubicBezTo>
                  <a:lnTo>
                    <a:pt x="12847" y="2957"/>
                  </a:lnTo>
                  <a:cubicBezTo>
                    <a:pt x="12905" y="2840"/>
                    <a:pt x="12964" y="2781"/>
                    <a:pt x="12905" y="2781"/>
                  </a:cubicBezTo>
                  <a:close/>
                  <a:moveTo>
                    <a:pt x="5826" y="0"/>
                  </a:moveTo>
                  <a:cubicBezTo>
                    <a:pt x="5781" y="0"/>
                    <a:pt x="5734" y="7"/>
                    <a:pt x="5682" y="21"/>
                  </a:cubicBezTo>
                  <a:cubicBezTo>
                    <a:pt x="5139" y="153"/>
                    <a:pt x="4772" y="946"/>
                    <a:pt x="4948" y="1371"/>
                  </a:cubicBezTo>
                  <a:cubicBezTo>
                    <a:pt x="4948" y="1430"/>
                    <a:pt x="5007" y="1489"/>
                    <a:pt x="5007" y="1548"/>
                  </a:cubicBezTo>
                  <a:lnTo>
                    <a:pt x="5080" y="1548"/>
                  </a:lnTo>
                  <a:cubicBezTo>
                    <a:pt x="5198" y="1680"/>
                    <a:pt x="5257" y="1739"/>
                    <a:pt x="5257" y="2047"/>
                  </a:cubicBezTo>
                  <a:cubicBezTo>
                    <a:pt x="5139" y="2590"/>
                    <a:pt x="4214" y="3089"/>
                    <a:pt x="4831" y="3632"/>
                  </a:cubicBezTo>
                  <a:cubicBezTo>
                    <a:pt x="5374" y="4117"/>
                    <a:pt x="4640" y="4366"/>
                    <a:pt x="4640" y="4366"/>
                  </a:cubicBezTo>
                  <a:cubicBezTo>
                    <a:pt x="4617" y="4374"/>
                    <a:pt x="4590" y="4378"/>
                    <a:pt x="4561" y="4378"/>
                  </a:cubicBezTo>
                  <a:cubicBezTo>
                    <a:pt x="4371" y="4378"/>
                    <a:pt x="4089" y="4224"/>
                    <a:pt x="4038" y="4058"/>
                  </a:cubicBezTo>
                  <a:cubicBezTo>
                    <a:pt x="3955" y="3911"/>
                    <a:pt x="3901" y="3780"/>
                    <a:pt x="3752" y="3780"/>
                  </a:cubicBezTo>
                  <a:cubicBezTo>
                    <a:pt x="3664" y="3780"/>
                    <a:pt x="3543" y="3826"/>
                    <a:pt x="3363" y="3941"/>
                  </a:cubicBezTo>
                  <a:cubicBezTo>
                    <a:pt x="2746" y="4366"/>
                    <a:pt x="2570" y="5291"/>
                    <a:pt x="1836" y="5585"/>
                  </a:cubicBezTo>
                  <a:lnTo>
                    <a:pt x="1777" y="5526"/>
                  </a:lnTo>
                  <a:cubicBezTo>
                    <a:pt x="1704" y="5409"/>
                    <a:pt x="1704" y="5291"/>
                    <a:pt x="1645" y="5100"/>
                  </a:cubicBezTo>
                  <a:cubicBezTo>
                    <a:pt x="1586" y="4983"/>
                    <a:pt x="1337" y="4983"/>
                    <a:pt x="1410" y="4792"/>
                  </a:cubicBezTo>
                  <a:cubicBezTo>
                    <a:pt x="1469" y="4733"/>
                    <a:pt x="1469" y="4733"/>
                    <a:pt x="2687" y="3882"/>
                  </a:cubicBezTo>
                  <a:cubicBezTo>
                    <a:pt x="2878" y="3691"/>
                    <a:pt x="3245" y="3456"/>
                    <a:pt x="3304" y="3207"/>
                  </a:cubicBezTo>
                  <a:lnTo>
                    <a:pt x="3304" y="3148"/>
                  </a:lnTo>
                  <a:cubicBezTo>
                    <a:pt x="3363" y="2781"/>
                    <a:pt x="2937" y="2590"/>
                    <a:pt x="2996" y="2282"/>
                  </a:cubicBezTo>
                  <a:cubicBezTo>
                    <a:pt x="3172" y="1489"/>
                    <a:pt x="3789" y="946"/>
                    <a:pt x="3789" y="153"/>
                  </a:cubicBezTo>
                  <a:cubicBezTo>
                    <a:pt x="3718" y="102"/>
                    <a:pt x="3626" y="79"/>
                    <a:pt x="3522" y="79"/>
                  </a:cubicBezTo>
                  <a:cubicBezTo>
                    <a:pt x="3000" y="79"/>
                    <a:pt x="2152" y="640"/>
                    <a:pt x="1895" y="946"/>
                  </a:cubicBezTo>
                  <a:cubicBezTo>
                    <a:pt x="1469" y="1371"/>
                    <a:pt x="1586" y="2047"/>
                    <a:pt x="1219" y="2473"/>
                  </a:cubicBezTo>
                  <a:cubicBezTo>
                    <a:pt x="911" y="2840"/>
                    <a:pt x="368" y="3574"/>
                    <a:pt x="236" y="3691"/>
                  </a:cubicBezTo>
                  <a:lnTo>
                    <a:pt x="236" y="3750"/>
                  </a:lnTo>
                  <a:cubicBezTo>
                    <a:pt x="177" y="3882"/>
                    <a:pt x="177" y="3941"/>
                    <a:pt x="177" y="4058"/>
                  </a:cubicBezTo>
                  <a:lnTo>
                    <a:pt x="177" y="4117"/>
                  </a:lnTo>
                  <a:cubicBezTo>
                    <a:pt x="236" y="4425"/>
                    <a:pt x="236" y="4792"/>
                    <a:pt x="368" y="5100"/>
                  </a:cubicBezTo>
                  <a:cubicBezTo>
                    <a:pt x="485" y="5409"/>
                    <a:pt x="1" y="5776"/>
                    <a:pt x="309" y="6084"/>
                  </a:cubicBezTo>
                  <a:cubicBezTo>
                    <a:pt x="379" y="6079"/>
                    <a:pt x="445" y="6076"/>
                    <a:pt x="507" y="6076"/>
                  </a:cubicBezTo>
                  <a:cubicBezTo>
                    <a:pt x="1143" y="6076"/>
                    <a:pt x="1349" y="6336"/>
                    <a:pt x="1469" y="6510"/>
                  </a:cubicBezTo>
                  <a:cubicBezTo>
                    <a:pt x="1469" y="6510"/>
                    <a:pt x="1926" y="7086"/>
                    <a:pt x="2325" y="7086"/>
                  </a:cubicBezTo>
                  <a:cubicBezTo>
                    <a:pt x="2411" y="7086"/>
                    <a:pt x="2495" y="7059"/>
                    <a:pt x="2570" y="6994"/>
                  </a:cubicBezTo>
                  <a:cubicBezTo>
                    <a:pt x="2841" y="7179"/>
                    <a:pt x="3176" y="7395"/>
                    <a:pt x="3581" y="7395"/>
                  </a:cubicBezTo>
                  <a:cubicBezTo>
                    <a:pt x="3725" y="7395"/>
                    <a:pt x="3877" y="7368"/>
                    <a:pt x="4038" y="7303"/>
                  </a:cubicBezTo>
                  <a:cubicBezTo>
                    <a:pt x="5139" y="6936"/>
                    <a:pt x="5447" y="5585"/>
                    <a:pt x="6549" y="5350"/>
                  </a:cubicBezTo>
                  <a:cubicBezTo>
                    <a:pt x="7283" y="5159"/>
                    <a:pt x="8075" y="5350"/>
                    <a:pt x="8751" y="4983"/>
                  </a:cubicBezTo>
                  <a:cubicBezTo>
                    <a:pt x="8809" y="4983"/>
                    <a:pt x="8986" y="4851"/>
                    <a:pt x="9294" y="4557"/>
                  </a:cubicBezTo>
                  <a:cubicBezTo>
                    <a:pt x="9911" y="3941"/>
                    <a:pt x="9911" y="3941"/>
                    <a:pt x="12597" y="2840"/>
                  </a:cubicBezTo>
                  <a:cubicBezTo>
                    <a:pt x="12656" y="2840"/>
                    <a:pt x="12715" y="2840"/>
                    <a:pt x="12715" y="2781"/>
                  </a:cubicBezTo>
                  <a:cubicBezTo>
                    <a:pt x="12469" y="2614"/>
                    <a:pt x="12196" y="2506"/>
                    <a:pt x="11898" y="2506"/>
                  </a:cubicBezTo>
                  <a:cubicBezTo>
                    <a:pt x="11751" y="2506"/>
                    <a:pt x="11597" y="2532"/>
                    <a:pt x="11437" y="2590"/>
                  </a:cubicBezTo>
                  <a:cubicBezTo>
                    <a:pt x="10914" y="2756"/>
                    <a:pt x="10627" y="2846"/>
                    <a:pt x="10441" y="2846"/>
                  </a:cubicBezTo>
                  <a:cubicBezTo>
                    <a:pt x="10215" y="2846"/>
                    <a:pt x="10138" y="2712"/>
                    <a:pt x="9969" y="2414"/>
                  </a:cubicBezTo>
                  <a:cubicBezTo>
                    <a:pt x="9911" y="2414"/>
                    <a:pt x="9911" y="2355"/>
                    <a:pt x="9911" y="2355"/>
                  </a:cubicBezTo>
                  <a:cubicBezTo>
                    <a:pt x="9602" y="1988"/>
                    <a:pt x="9602" y="1988"/>
                    <a:pt x="8868" y="1680"/>
                  </a:cubicBezTo>
                  <a:cubicBezTo>
                    <a:pt x="8384" y="1430"/>
                    <a:pt x="8809" y="814"/>
                    <a:pt x="8384" y="579"/>
                  </a:cubicBezTo>
                  <a:lnTo>
                    <a:pt x="8252" y="579"/>
                  </a:lnTo>
                  <a:lnTo>
                    <a:pt x="6666" y="388"/>
                  </a:lnTo>
                  <a:cubicBezTo>
                    <a:pt x="6343" y="336"/>
                    <a:pt x="6157" y="0"/>
                    <a:pt x="5826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" name="Google Shape;8453;p73">
              <a:extLst>
                <a:ext uri="{FF2B5EF4-FFF2-40B4-BE49-F238E27FC236}">
                  <a16:creationId xmlns:a16="http://schemas.microsoft.com/office/drawing/2014/main" id="{0E83E588-977E-8555-0FB7-DAF27269282B}"/>
                </a:ext>
              </a:extLst>
            </p:cNvPr>
            <p:cNvSpPr/>
            <p:nvPr/>
          </p:nvSpPr>
          <p:spPr>
            <a:xfrm>
              <a:off x="2937200" y="1715525"/>
              <a:ext cx="117850" cy="106175"/>
            </a:xfrm>
            <a:custGeom>
              <a:avLst/>
              <a:gdLst/>
              <a:ahLst/>
              <a:cxnLst/>
              <a:rect l="l" t="t" r="r" b="b"/>
              <a:pathLst>
                <a:path w="4714" h="4247" extrusionOk="0">
                  <a:moveTo>
                    <a:pt x="735" y="4095"/>
                  </a:moveTo>
                  <a:cubicBezTo>
                    <a:pt x="676" y="4154"/>
                    <a:pt x="617" y="4154"/>
                    <a:pt x="617" y="4154"/>
                  </a:cubicBezTo>
                  <a:lnTo>
                    <a:pt x="867" y="4154"/>
                  </a:lnTo>
                  <a:cubicBezTo>
                    <a:pt x="793" y="4154"/>
                    <a:pt x="793" y="4095"/>
                    <a:pt x="735" y="4095"/>
                  </a:cubicBezTo>
                  <a:close/>
                  <a:moveTo>
                    <a:pt x="4113" y="1"/>
                  </a:moveTo>
                  <a:cubicBezTo>
                    <a:pt x="3998" y="1"/>
                    <a:pt x="3795" y="150"/>
                    <a:pt x="3186" y="675"/>
                  </a:cubicBezTo>
                  <a:cubicBezTo>
                    <a:pt x="2394" y="1409"/>
                    <a:pt x="2262" y="1409"/>
                    <a:pt x="2262" y="1409"/>
                  </a:cubicBezTo>
                  <a:cubicBezTo>
                    <a:pt x="2203" y="1409"/>
                    <a:pt x="2085" y="1409"/>
                    <a:pt x="2085" y="1159"/>
                  </a:cubicBezTo>
                  <a:cubicBezTo>
                    <a:pt x="2085" y="947"/>
                    <a:pt x="2085" y="853"/>
                    <a:pt x="1966" y="853"/>
                  </a:cubicBezTo>
                  <a:cubicBezTo>
                    <a:pt x="1912" y="853"/>
                    <a:pt x="1833" y="873"/>
                    <a:pt x="1718" y="910"/>
                  </a:cubicBezTo>
                  <a:cubicBezTo>
                    <a:pt x="1660" y="910"/>
                    <a:pt x="1601" y="983"/>
                    <a:pt x="1528" y="1042"/>
                  </a:cubicBezTo>
                  <a:cubicBezTo>
                    <a:pt x="1410" y="1100"/>
                    <a:pt x="1351" y="1159"/>
                    <a:pt x="1293" y="1277"/>
                  </a:cubicBezTo>
                  <a:cubicBezTo>
                    <a:pt x="1102" y="1526"/>
                    <a:pt x="1161" y="1834"/>
                    <a:pt x="984" y="2084"/>
                  </a:cubicBezTo>
                  <a:cubicBezTo>
                    <a:pt x="867" y="2260"/>
                    <a:pt x="735" y="2378"/>
                    <a:pt x="559" y="2510"/>
                  </a:cubicBezTo>
                  <a:cubicBezTo>
                    <a:pt x="426" y="2627"/>
                    <a:pt x="1" y="2877"/>
                    <a:pt x="59" y="3053"/>
                  </a:cubicBezTo>
                  <a:lnTo>
                    <a:pt x="133" y="3112"/>
                  </a:lnTo>
                  <a:cubicBezTo>
                    <a:pt x="250" y="3244"/>
                    <a:pt x="192" y="3479"/>
                    <a:pt x="368" y="3670"/>
                  </a:cubicBezTo>
                  <a:cubicBezTo>
                    <a:pt x="559" y="3846"/>
                    <a:pt x="867" y="3919"/>
                    <a:pt x="1043" y="4154"/>
                  </a:cubicBezTo>
                  <a:lnTo>
                    <a:pt x="867" y="4154"/>
                  </a:lnTo>
                  <a:cubicBezTo>
                    <a:pt x="1060" y="4214"/>
                    <a:pt x="1190" y="4247"/>
                    <a:pt x="1303" y="4247"/>
                  </a:cubicBezTo>
                  <a:cubicBezTo>
                    <a:pt x="1439" y="4247"/>
                    <a:pt x="1550" y="4200"/>
                    <a:pt x="1718" y="4095"/>
                  </a:cubicBezTo>
                  <a:cubicBezTo>
                    <a:pt x="1968" y="3978"/>
                    <a:pt x="2335" y="3420"/>
                    <a:pt x="2027" y="3361"/>
                  </a:cubicBezTo>
                  <a:cubicBezTo>
                    <a:pt x="1718" y="3303"/>
                    <a:pt x="1718" y="3303"/>
                    <a:pt x="1718" y="3244"/>
                  </a:cubicBezTo>
                  <a:cubicBezTo>
                    <a:pt x="1718" y="3244"/>
                    <a:pt x="1528" y="2378"/>
                    <a:pt x="1777" y="2143"/>
                  </a:cubicBezTo>
                  <a:cubicBezTo>
                    <a:pt x="1932" y="1940"/>
                    <a:pt x="2972" y="1581"/>
                    <a:pt x="3584" y="1581"/>
                  </a:cubicBezTo>
                  <a:cubicBezTo>
                    <a:pt x="3724" y="1581"/>
                    <a:pt x="3841" y="1600"/>
                    <a:pt x="3921" y="1644"/>
                  </a:cubicBezTo>
                  <a:cubicBezTo>
                    <a:pt x="3971" y="1675"/>
                    <a:pt x="4010" y="1693"/>
                    <a:pt x="4054" y="1693"/>
                  </a:cubicBezTo>
                  <a:cubicBezTo>
                    <a:pt x="4112" y="1693"/>
                    <a:pt x="4178" y="1661"/>
                    <a:pt x="4288" y="1585"/>
                  </a:cubicBezTo>
                  <a:lnTo>
                    <a:pt x="4288" y="1350"/>
                  </a:lnTo>
                  <a:cubicBezTo>
                    <a:pt x="4346" y="1159"/>
                    <a:pt x="4537" y="983"/>
                    <a:pt x="4655" y="792"/>
                  </a:cubicBezTo>
                  <a:cubicBezTo>
                    <a:pt x="4655" y="733"/>
                    <a:pt x="4713" y="616"/>
                    <a:pt x="4596" y="543"/>
                  </a:cubicBezTo>
                  <a:cubicBezTo>
                    <a:pt x="4537" y="484"/>
                    <a:pt x="4464" y="366"/>
                    <a:pt x="4346" y="249"/>
                  </a:cubicBezTo>
                  <a:cubicBezTo>
                    <a:pt x="4288" y="176"/>
                    <a:pt x="4288" y="117"/>
                    <a:pt x="4229" y="58"/>
                  </a:cubicBezTo>
                  <a:cubicBezTo>
                    <a:pt x="4191" y="25"/>
                    <a:pt x="4159" y="1"/>
                    <a:pt x="4113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8454;p73">
              <a:extLst>
                <a:ext uri="{FF2B5EF4-FFF2-40B4-BE49-F238E27FC236}">
                  <a16:creationId xmlns:a16="http://schemas.microsoft.com/office/drawing/2014/main" id="{E890E68A-5B55-DCC6-3216-1E7FEA0DDD3F}"/>
                </a:ext>
              </a:extLst>
            </p:cNvPr>
            <p:cNvSpPr/>
            <p:nvPr/>
          </p:nvSpPr>
          <p:spPr>
            <a:xfrm>
              <a:off x="2851700" y="1833250"/>
              <a:ext cx="79650" cy="75000"/>
            </a:xfrm>
            <a:custGeom>
              <a:avLst/>
              <a:gdLst/>
              <a:ahLst/>
              <a:cxnLst/>
              <a:rect l="l" t="t" r="r" b="b"/>
              <a:pathLst>
                <a:path w="3186" h="3000" extrusionOk="0">
                  <a:moveTo>
                    <a:pt x="1932" y="0"/>
                  </a:moveTo>
                  <a:cubicBezTo>
                    <a:pt x="1705" y="0"/>
                    <a:pt x="661" y="816"/>
                    <a:pt x="250" y="1412"/>
                  </a:cubicBezTo>
                  <a:cubicBezTo>
                    <a:pt x="59" y="1706"/>
                    <a:pt x="0" y="2572"/>
                    <a:pt x="117" y="2748"/>
                  </a:cubicBezTo>
                  <a:cubicBezTo>
                    <a:pt x="210" y="2933"/>
                    <a:pt x="361" y="2999"/>
                    <a:pt x="527" y="2999"/>
                  </a:cubicBezTo>
                  <a:cubicBezTo>
                    <a:pt x="807" y="2999"/>
                    <a:pt x="1130" y="2810"/>
                    <a:pt x="1277" y="2690"/>
                  </a:cubicBezTo>
                  <a:cubicBezTo>
                    <a:pt x="1219" y="2381"/>
                    <a:pt x="1409" y="2146"/>
                    <a:pt x="1351" y="1897"/>
                  </a:cubicBezTo>
                  <a:cubicBezTo>
                    <a:pt x="1478" y="1812"/>
                    <a:pt x="1544" y="1750"/>
                    <a:pt x="1643" y="1750"/>
                  </a:cubicBezTo>
                  <a:cubicBezTo>
                    <a:pt x="1681" y="1750"/>
                    <a:pt x="1724" y="1759"/>
                    <a:pt x="1776" y="1779"/>
                  </a:cubicBezTo>
                  <a:cubicBezTo>
                    <a:pt x="2202" y="1779"/>
                    <a:pt x="2819" y="1471"/>
                    <a:pt x="2819" y="1471"/>
                  </a:cubicBezTo>
                  <a:cubicBezTo>
                    <a:pt x="3112" y="1280"/>
                    <a:pt x="3186" y="913"/>
                    <a:pt x="3112" y="854"/>
                  </a:cubicBezTo>
                  <a:lnTo>
                    <a:pt x="2878" y="854"/>
                  </a:lnTo>
                  <a:cubicBezTo>
                    <a:pt x="2878" y="867"/>
                    <a:pt x="2880" y="879"/>
                    <a:pt x="2885" y="891"/>
                  </a:cubicBezTo>
                  <a:lnTo>
                    <a:pt x="2885" y="891"/>
                  </a:lnTo>
                  <a:cubicBezTo>
                    <a:pt x="2867" y="879"/>
                    <a:pt x="2850" y="867"/>
                    <a:pt x="2832" y="854"/>
                  </a:cubicBezTo>
                  <a:lnTo>
                    <a:pt x="2878" y="854"/>
                  </a:lnTo>
                  <a:cubicBezTo>
                    <a:pt x="2819" y="796"/>
                    <a:pt x="2745" y="737"/>
                    <a:pt x="2687" y="678"/>
                  </a:cubicBezTo>
                  <a:lnTo>
                    <a:pt x="2687" y="678"/>
                  </a:lnTo>
                  <a:cubicBezTo>
                    <a:pt x="2687" y="736"/>
                    <a:pt x="2743" y="793"/>
                    <a:pt x="2745" y="796"/>
                  </a:cubicBezTo>
                  <a:lnTo>
                    <a:pt x="2745" y="796"/>
                  </a:lnTo>
                  <a:cubicBezTo>
                    <a:pt x="2504" y="635"/>
                    <a:pt x="2258" y="485"/>
                    <a:pt x="2085" y="311"/>
                  </a:cubicBezTo>
                  <a:cubicBezTo>
                    <a:pt x="1953" y="179"/>
                    <a:pt x="1953" y="120"/>
                    <a:pt x="1953" y="120"/>
                  </a:cubicBezTo>
                  <a:lnTo>
                    <a:pt x="1953" y="3"/>
                  </a:lnTo>
                  <a:cubicBezTo>
                    <a:pt x="1947" y="1"/>
                    <a:pt x="1940" y="0"/>
                    <a:pt x="1932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8455;p73">
              <a:extLst>
                <a:ext uri="{FF2B5EF4-FFF2-40B4-BE49-F238E27FC236}">
                  <a16:creationId xmlns:a16="http://schemas.microsoft.com/office/drawing/2014/main" id="{8051064A-0552-2AED-3EDB-D393F9B810F7}"/>
                </a:ext>
              </a:extLst>
            </p:cNvPr>
            <p:cNvSpPr/>
            <p:nvPr/>
          </p:nvSpPr>
          <p:spPr>
            <a:xfrm>
              <a:off x="2762875" y="1674025"/>
              <a:ext cx="99475" cy="58375"/>
            </a:xfrm>
            <a:custGeom>
              <a:avLst/>
              <a:gdLst/>
              <a:ahLst/>
              <a:cxnLst/>
              <a:rect l="l" t="t" r="r" b="b"/>
              <a:pathLst>
                <a:path w="3979" h="2335" extrusionOk="0">
                  <a:moveTo>
                    <a:pt x="2202" y="0"/>
                  </a:moveTo>
                  <a:cubicBezTo>
                    <a:pt x="2144" y="0"/>
                    <a:pt x="1718" y="0"/>
                    <a:pt x="1410" y="133"/>
                  </a:cubicBezTo>
                  <a:cubicBezTo>
                    <a:pt x="367" y="617"/>
                    <a:pt x="367" y="617"/>
                    <a:pt x="309" y="734"/>
                  </a:cubicBezTo>
                  <a:cubicBezTo>
                    <a:pt x="0" y="1102"/>
                    <a:pt x="250" y="1292"/>
                    <a:pt x="426" y="1351"/>
                  </a:cubicBezTo>
                  <a:cubicBezTo>
                    <a:pt x="617" y="1469"/>
                    <a:pt x="558" y="1601"/>
                    <a:pt x="426" y="1836"/>
                  </a:cubicBezTo>
                  <a:cubicBezTo>
                    <a:pt x="1468" y="1601"/>
                    <a:pt x="1659" y="1542"/>
                    <a:pt x="1777" y="1542"/>
                  </a:cubicBezTo>
                  <a:cubicBezTo>
                    <a:pt x="1894" y="1542"/>
                    <a:pt x="1968" y="1601"/>
                    <a:pt x="2026" y="1777"/>
                  </a:cubicBezTo>
                  <a:cubicBezTo>
                    <a:pt x="2026" y="1836"/>
                    <a:pt x="2085" y="1968"/>
                    <a:pt x="2393" y="1968"/>
                  </a:cubicBezTo>
                  <a:lnTo>
                    <a:pt x="3436" y="2335"/>
                  </a:lnTo>
                  <a:lnTo>
                    <a:pt x="3494" y="2335"/>
                  </a:lnTo>
                  <a:cubicBezTo>
                    <a:pt x="3729" y="2085"/>
                    <a:pt x="3729" y="2085"/>
                    <a:pt x="3861" y="2026"/>
                  </a:cubicBezTo>
                  <a:cubicBezTo>
                    <a:pt x="3920" y="2085"/>
                    <a:pt x="3920" y="2144"/>
                    <a:pt x="3979" y="2203"/>
                  </a:cubicBezTo>
                  <a:cubicBezTo>
                    <a:pt x="3803" y="1909"/>
                    <a:pt x="3803" y="1836"/>
                    <a:pt x="3553" y="1718"/>
                  </a:cubicBezTo>
                  <a:lnTo>
                    <a:pt x="3069" y="1410"/>
                  </a:lnTo>
                  <a:lnTo>
                    <a:pt x="2995" y="1351"/>
                  </a:lnTo>
                  <a:cubicBezTo>
                    <a:pt x="2995" y="1234"/>
                    <a:pt x="3127" y="1043"/>
                    <a:pt x="3186" y="867"/>
                  </a:cubicBezTo>
                  <a:cubicBezTo>
                    <a:pt x="3303" y="676"/>
                    <a:pt x="3362" y="558"/>
                    <a:pt x="3362" y="500"/>
                  </a:cubicBezTo>
                  <a:cubicBezTo>
                    <a:pt x="3303" y="441"/>
                    <a:pt x="3245" y="441"/>
                    <a:pt x="3127" y="441"/>
                  </a:cubicBezTo>
                  <a:cubicBezTo>
                    <a:pt x="2936" y="441"/>
                    <a:pt x="2878" y="367"/>
                    <a:pt x="2760" y="309"/>
                  </a:cubicBezTo>
                  <a:cubicBezTo>
                    <a:pt x="2569" y="191"/>
                    <a:pt x="2202" y="74"/>
                    <a:pt x="2202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8456;p73">
              <a:extLst>
                <a:ext uri="{FF2B5EF4-FFF2-40B4-BE49-F238E27FC236}">
                  <a16:creationId xmlns:a16="http://schemas.microsoft.com/office/drawing/2014/main" id="{68EEB82B-8FA0-5271-89DE-DADB5A470131}"/>
                </a:ext>
              </a:extLst>
            </p:cNvPr>
            <p:cNvSpPr/>
            <p:nvPr/>
          </p:nvSpPr>
          <p:spPr>
            <a:xfrm>
              <a:off x="2865275" y="1669000"/>
              <a:ext cx="108650" cy="108100"/>
            </a:xfrm>
            <a:custGeom>
              <a:avLst/>
              <a:gdLst/>
              <a:ahLst/>
              <a:cxnLst/>
              <a:rect l="l" t="t" r="r" b="b"/>
              <a:pathLst>
                <a:path w="4346" h="4324" extrusionOk="0">
                  <a:moveTo>
                    <a:pt x="3744" y="2345"/>
                  </a:moveTo>
                  <a:lnTo>
                    <a:pt x="3127" y="3020"/>
                  </a:lnTo>
                  <a:cubicBezTo>
                    <a:pt x="3186" y="3020"/>
                    <a:pt x="3245" y="2961"/>
                    <a:pt x="3303" y="2903"/>
                  </a:cubicBezTo>
                  <a:cubicBezTo>
                    <a:pt x="3494" y="2771"/>
                    <a:pt x="3553" y="2712"/>
                    <a:pt x="3553" y="2712"/>
                  </a:cubicBezTo>
                  <a:lnTo>
                    <a:pt x="3744" y="2345"/>
                  </a:lnTo>
                  <a:close/>
                  <a:moveTo>
                    <a:pt x="1610" y="1"/>
                  </a:moveTo>
                  <a:cubicBezTo>
                    <a:pt x="1519" y="1"/>
                    <a:pt x="1417" y="42"/>
                    <a:pt x="1292" y="84"/>
                  </a:cubicBezTo>
                  <a:cubicBezTo>
                    <a:pt x="1233" y="510"/>
                    <a:pt x="866" y="759"/>
                    <a:pt x="617" y="1068"/>
                  </a:cubicBezTo>
                  <a:cubicBezTo>
                    <a:pt x="676" y="1097"/>
                    <a:pt x="723" y="1097"/>
                    <a:pt x="771" y="1097"/>
                  </a:cubicBezTo>
                  <a:cubicBezTo>
                    <a:pt x="819" y="1097"/>
                    <a:pt x="866" y="1097"/>
                    <a:pt x="925" y="1126"/>
                  </a:cubicBezTo>
                  <a:cubicBezTo>
                    <a:pt x="925" y="1244"/>
                    <a:pt x="734" y="1376"/>
                    <a:pt x="808" y="1493"/>
                  </a:cubicBezTo>
                  <a:cubicBezTo>
                    <a:pt x="866" y="1611"/>
                    <a:pt x="1043" y="1743"/>
                    <a:pt x="984" y="1919"/>
                  </a:cubicBezTo>
                  <a:cubicBezTo>
                    <a:pt x="925" y="2037"/>
                    <a:pt x="866" y="2110"/>
                    <a:pt x="499" y="2536"/>
                  </a:cubicBezTo>
                  <a:cubicBezTo>
                    <a:pt x="132" y="2961"/>
                    <a:pt x="0" y="3138"/>
                    <a:pt x="191" y="3505"/>
                  </a:cubicBezTo>
                  <a:lnTo>
                    <a:pt x="866" y="3387"/>
                  </a:lnTo>
                  <a:cubicBezTo>
                    <a:pt x="1101" y="3328"/>
                    <a:pt x="1175" y="3328"/>
                    <a:pt x="1175" y="3328"/>
                  </a:cubicBezTo>
                  <a:lnTo>
                    <a:pt x="1175" y="3328"/>
                  </a:lnTo>
                  <a:cubicBezTo>
                    <a:pt x="1292" y="3387"/>
                    <a:pt x="1101" y="3505"/>
                    <a:pt x="1101" y="3578"/>
                  </a:cubicBezTo>
                  <a:cubicBezTo>
                    <a:pt x="1101" y="3637"/>
                    <a:pt x="1175" y="3637"/>
                    <a:pt x="1233" y="3637"/>
                  </a:cubicBezTo>
                  <a:cubicBezTo>
                    <a:pt x="1351" y="3637"/>
                    <a:pt x="1410" y="3695"/>
                    <a:pt x="1468" y="3754"/>
                  </a:cubicBezTo>
                  <a:cubicBezTo>
                    <a:pt x="1659" y="4121"/>
                    <a:pt x="1659" y="4121"/>
                    <a:pt x="1718" y="4180"/>
                  </a:cubicBezTo>
                  <a:cubicBezTo>
                    <a:pt x="1777" y="4180"/>
                    <a:pt x="1777" y="4239"/>
                    <a:pt x="1777" y="4239"/>
                  </a:cubicBezTo>
                  <a:cubicBezTo>
                    <a:pt x="1835" y="4239"/>
                    <a:pt x="1835" y="4239"/>
                    <a:pt x="1909" y="4312"/>
                  </a:cubicBezTo>
                  <a:cubicBezTo>
                    <a:pt x="1948" y="4320"/>
                    <a:pt x="1988" y="4323"/>
                    <a:pt x="2029" y="4323"/>
                  </a:cubicBezTo>
                  <a:cubicBezTo>
                    <a:pt x="2294" y="4323"/>
                    <a:pt x="2569" y="4180"/>
                    <a:pt x="2569" y="4180"/>
                  </a:cubicBezTo>
                  <a:cubicBezTo>
                    <a:pt x="2936" y="3945"/>
                    <a:pt x="3303" y="3387"/>
                    <a:pt x="3069" y="3211"/>
                  </a:cubicBezTo>
                  <a:cubicBezTo>
                    <a:pt x="2878" y="3079"/>
                    <a:pt x="2819" y="3020"/>
                    <a:pt x="3010" y="2844"/>
                  </a:cubicBezTo>
                  <a:cubicBezTo>
                    <a:pt x="3010" y="2844"/>
                    <a:pt x="3127" y="2712"/>
                    <a:pt x="3612" y="2404"/>
                  </a:cubicBezTo>
                  <a:cubicBezTo>
                    <a:pt x="3612" y="2404"/>
                    <a:pt x="3744" y="2345"/>
                    <a:pt x="3744" y="2286"/>
                  </a:cubicBezTo>
                  <a:cubicBezTo>
                    <a:pt x="3803" y="2227"/>
                    <a:pt x="3803" y="2037"/>
                    <a:pt x="3861" y="1919"/>
                  </a:cubicBezTo>
                  <a:cubicBezTo>
                    <a:pt x="3979" y="1802"/>
                    <a:pt x="4170" y="1670"/>
                    <a:pt x="4287" y="1493"/>
                  </a:cubicBezTo>
                  <a:cubicBezTo>
                    <a:pt x="4346" y="1435"/>
                    <a:pt x="4346" y="1376"/>
                    <a:pt x="4287" y="1376"/>
                  </a:cubicBezTo>
                  <a:cubicBezTo>
                    <a:pt x="4228" y="1339"/>
                    <a:pt x="4166" y="1339"/>
                    <a:pt x="4111" y="1339"/>
                  </a:cubicBezTo>
                  <a:cubicBezTo>
                    <a:pt x="4056" y="1339"/>
                    <a:pt x="4008" y="1339"/>
                    <a:pt x="3979" y="1303"/>
                  </a:cubicBezTo>
                  <a:cubicBezTo>
                    <a:pt x="3612" y="1493"/>
                    <a:pt x="3494" y="1552"/>
                    <a:pt x="3186" y="1802"/>
                  </a:cubicBezTo>
                  <a:cubicBezTo>
                    <a:pt x="2774" y="2213"/>
                    <a:pt x="2592" y="2312"/>
                    <a:pt x="2512" y="2312"/>
                  </a:cubicBezTo>
                  <a:cubicBezTo>
                    <a:pt x="2438" y="2312"/>
                    <a:pt x="2452" y="2227"/>
                    <a:pt x="2452" y="2227"/>
                  </a:cubicBezTo>
                  <a:cubicBezTo>
                    <a:pt x="2511" y="2110"/>
                    <a:pt x="2643" y="2037"/>
                    <a:pt x="2643" y="1860"/>
                  </a:cubicBezTo>
                  <a:cubicBezTo>
                    <a:pt x="2643" y="1493"/>
                    <a:pt x="2085" y="1802"/>
                    <a:pt x="2026" y="1435"/>
                  </a:cubicBezTo>
                  <a:cubicBezTo>
                    <a:pt x="1967" y="1068"/>
                    <a:pt x="2511" y="935"/>
                    <a:pt x="2452" y="510"/>
                  </a:cubicBezTo>
                  <a:lnTo>
                    <a:pt x="2393" y="451"/>
                  </a:lnTo>
                  <a:lnTo>
                    <a:pt x="2335" y="392"/>
                  </a:lnTo>
                  <a:cubicBezTo>
                    <a:pt x="2202" y="334"/>
                    <a:pt x="2085" y="334"/>
                    <a:pt x="1967" y="275"/>
                  </a:cubicBezTo>
                  <a:cubicBezTo>
                    <a:pt x="1835" y="201"/>
                    <a:pt x="1835" y="84"/>
                    <a:pt x="1718" y="25"/>
                  </a:cubicBezTo>
                  <a:cubicBezTo>
                    <a:pt x="1684" y="8"/>
                    <a:pt x="1648" y="1"/>
                    <a:pt x="1610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8457;p73">
              <a:extLst>
                <a:ext uri="{FF2B5EF4-FFF2-40B4-BE49-F238E27FC236}">
                  <a16:creationId xmlns:a16="http://schemas.microsoft.com/office/drawing/2014/main" id="{4D23D40E-EC23-AC8D-0F69-1B429121B37F}"/>
                </a:ext>
              </a:extLst>
            </p:cNvPr>
            <p:cNvSpPr/>
            <p:nvPr/>
          </p:nvSpPr>
          <p:spPr>
            <a:xfrm>
              <a:off x="2420425" y="3811325"/>
              <a:ext cx="1102575" cy="877450"/>
            </a:xfrm>
            <a:custGeom>
              <a:avLst/>
              <a:gdLst/>
              <a:ahLst/>
              <a:cxnLst/>
              <a:rect l="l" t="t" r="r" b="b"/>
              <a:pathLst>
                <a:path w="44103" h="35098" extrusionOk="0">
                  <a:moveTo>
                    <a:pt x="5745" y="1"/>
                  </a:moveTo>
                  <a:cubicBezTo>
                    <a:pt x="5703" y="1"/>
                    <a:pt x="5661" y="8"/>
                    <a:pt x="5624" y="25"/>
                  </a:cubicBezTo>
                  <a:cubicBezTo>
                    <a:pt x="4831" y="465"/>
                    <a:pt x="5081" y="1625"/>
                    <a:pt x="4214" y="1933"/>
                  </a:cubicBezTo>
                  <a:cubicBezTo>
                    <a:pt x="4142" y="1954"/>
                    <a:pt x="4070" y="1963"/>
                    <a:pt x="4000" y="1963"/>
                  </a:cubicBezTo>
                  <a:cubicBezTo>
                    <a:pt x="3654" y="1963"/>
                    <a:pt x="3337" y="1746"/>
                    <a:pt x="3020" y="1746"/>
                  </a:cubicBezTo>
                  <a:cubicBezTo>
                    <a:pt x="2871" y="1746"/>
                    <a:pt x="2722" y="1793"/>
                    <a:pt x="2570" y="1933"/>
                  </a:cubicBezTo>
                  <a:cubicBezTo>
                    <a:pt x="2086" y="2359"/>
                    <a:pt x="2321" y="2961"/>
                    <a:pt x="2086" y="3460"/>
                  </a:cubicBezTo>
                  <a:lnTo>
                    <a:pt x="2086" y="3768"/>
                  </a:lnTo>
                  <a:lnTo>
                    <a:pt x="911" y="3210"/>
                  </a:lnTo>
                  <a:lnTo>
                    <a:pt x="911" y="3210"/>
                  </a:lnTo>
                  <a:cubicBezTo>
                    <a:pt x="1410" y="3944"/>
                    <a:pt x="2203" y="5354"/>
                    <a:pt x="2379" y="6088"/>
                  </a:cubicBezTo>
                  <a:cubicBezTo>
                    <a:pt x="2203" y="7365"/>
                    <a:pt x="2144" y="8657"/>
                    <a:pt x="1836" y="9934"/>
                  </a:cubicBezTo>
                  <a:cubicBezTo>
                    <a:pt x="1777" y="9934"/>
                    <a:pt x="1777" y="9934"/>
                    <a:pt x="794" y="10125"/>
                  </a:cubicBezTo>
                  <a:cubicBezTo>
                    <a:pt x="1" y="10243"/>
                    <a:pt x="177" y="11402"/>
                    <a:pt x="1161" y="13120"/>
                  </a:cubicBezTo>
                  <a:cubicBezTo>
                    <a:pt x="2570" y="15572"/>
                    <a:pt x="5756" y="19183"/>
                    <a:pt x="9793" y="22178"/>
                  </a:cubicBezTo>
                  <a:cubicBezTo>
                    <a:pt x="9852" y="22296"/>
                    <a:pt x="16576" y="28785"/>
                    <a:pt x="20437" y="30737"/>
                  </a:cubicBezTo>
                  <a:cubicBezTo>
                    <a:pt x="20554" y="30796"/>
                    <a:pt x="20730" y="30855"/>
                    <a:pt x="20804" y="30928"/>
                  </a:cubicBezTo>
                  <a:lnTo>
                    <a:pt x="20863" y="30928"/>
                  </a:lnTo>
                  <a:cubicBezTo>
                    <a:pt x="21230" y="31104"/>
                    <a:pt x="21538" y="31222"/>
                    <a:pt x="21773" y="31354"/>
                  </a:cubicBezTo>
                  <a:cubicBezTo>
                    <a:pt x="22081" y="31471"/>
                    <a:pt x="22331" y="31530"/>
                    <a:pt x="22566" y="31662"/>
                  </a:cubicBezTo>
                  <a:cubicBezTo>
                    <a:pt x="22815" y="31779"/>
                    <a:pt x="23065" y="31838"/>
                    <a:pt x="23241" y="31956"/>
                  </a:cubicBezTo>
                  <a:cubicBezTo>
                    <a:pt x="23300" y="31956"/>
                    <a:pt x="23373" y="31956"/>
                    <a:pt x="23432" y="32029"/>
                  </a:cubicBezTo>
                  <a:cubicBezTo>
                    <a:pt x="24533" y="32396"/>
                    <a:pt x="25751" y="32822"/>
                    <a:pt x="28570" y="33732"/>
                  </a:cubicBezTo>
                  <a:cubicBezTo>
                    <a:pt x="28937" y="33864"/>
                    <a:pt x="29304" y="33982"/>
                    <a:pt x="29671" y="34040"/>
                  </a:cubicBezTo>
                  <a:cubicBezTo>
                    <a:pt x="30581" y="34349"/>
                    <a:pt x="31624" y="34598"/>
                    <a:pt x="32549" y="34833"/>
                  </a:cubicBezTo>
                  <a:cubicBezTo>
                    <a:pt x="32725" y="34833"/>
                    <a:pt x="32916" y="34892"/>
                    <a:pt x="33033" y="34965"/>
                  </a:cubicBezTo>
                  <a:cubicBezTo>
                    <a:pt x="33209" y="35024"/>
                    <a:pt x="33400" y="35024"/>
                    <a:pt x="33518" y="35083"/>
                  </a:cubicBezTo>
                  <a:cubicBezTo>
                    <a:pt x="33588" y="35092"/>
                    <a:pt x="33655" y="35097"/>
                    <a:pt x="33724" y="35097"/>
                  </a:cubicBezTo>
                  <a:cubicBezTo>
                    <a:pt x="34072" y="35097"/>
                    <a:pt x="34465" y="34973"/>
                    <a:pt x="35544" y="34716"/>
                  </a:cubicBezTo>
                  <a:cubicBezTo>
                    <a:pt x="34017" y="33982"/>
                    <a:pt x="34017" y="33982"/>
                    <a:pt x="33943" y="33982"/>
                  </a:cubicBezTo>
                  <a:lnTo>
                    <a:pt x="33943" y="33732"/>
                  </a:lnTo>
                  <a:lnTo>
                    <a:pt x="34677" y="33732"/>
                  </a:lnTo>
                  <a:cubicBezTo>
                    <a:pt x="37055" y="33850"/>
                    <a:pt x="38307" y="33912"/>
                    <a:pt x="39011" y="33912"/>
                  </a:cubicBezTo>
                  <a:cubicBezTo>
                    <a:pt x="39794" y="33912"/>
                    <a:pt x="39900" y="33836"/>
                    <a:pt x="40124" y="33673"/>
                  </a:cubicBezTo>
                  <a:cubicBezTo>
                    <a:pt x="40315" y="33615"/>
                    <a:pt x="40432" y="33424"/>
                    <a:pt x="40550" y="33306"/>
                  </a:cubicBezTo>
                  <a:cubicBezTo>
                    <a:pt x="41049" y="32264"/>
                    <a:pt x="39522" y="31589"/>
                    <a:pt x="40007" y="30561"/>
                  </a:cubicBezTo>
                  <a:cubicBezTo>
                    <a:pt x="40491" y="29460"/>
                    <a:pt x="42150" y="29695"/>
                    <a:pt x="42634" y="28535"/>
                  </a:cubicBezTo>
                  <a:cubicBezTo>
                    <a:pt x="42693" y="28476"/>
                    <a:pt x="42576" y="28359"/>
                    <a:pt x="42576" y="28285"/>
                  </a:cubicBezTo>
                  <a:cubicBezTo>
                    <a:pt x="43618" y="27258"/>
                    <a:pt x="43926" y="26641"/>
                    <a:pt x="43985" y="26392"/>
                  </a:cubicBezTo>
                  <a:cubicBezTo>
                    <a:pt x="44044" y="26274"/>
                    <a:pt x="44103" y="26083"/>
                    <a:pt x="44103" y="25966"/>
                  </a:cubicBezTo>
                  <a:cubicBezTo>
                    <a:pt x="44103" y="24322"/>
                    <a:pt x="41900" y="25232"/>
                    <a:pt x="40917" y="24689"/>
                  </a:cubicBezTo>
                  <a:cubicBezTo>
                    <a:pt x="39948" y="24189"/>
                    <a:pt x="39155" y="23588"/>
                    <a:pt x="38171" y="23147"/>
                  </a:cubicBezTo>
                  <a:cubicBezTo>
                    <a:pt x="37247" y="22721"/>
                    <a:pt x="36821" y="22604"/>
                    <a:pt x="36336" y="22486"/>
                  </a:cubicBezTo>
                  <a:cubicBezTo>
                    <a:pt x="35676" y="22303"/>
                    <a:pt x="35278" y="22196"/>
                    <a:pt x="34959" y="22196"/>
                  </a:cubicBezTo>
                  <a:cubicBezTo>
                    <a:pt x="34512" y="22196"/>
                    <a:pt x="34219" y="22407"/>
                    <a:pt x="33576" y="22912"/>
                  </a:cubicBezTo>
                  <a:cubicBezTo>
                    <a:pt x="33283" y="22237"/>
                    <a:pt x="33092" y="21752"/>
                    <a:pt x="32607" y="21385"/>
                  </a:cubicBezTo>
                  <a:cubicBezTo>
                    <a:pt x="31506" y="20651"/>
                    <a:pt x="30156" y="20402"/>
                    <a:pt x="29055" y="19726"/>
                  </a:cubicBezTo>
                  <a:cubicBezTo>
                    <a:pt x="27895" y="18992"/>
                    <a:pt x="28071" y="18684"/>
                    <a:pt x="28379" y="18258"/>
                  </a:cubicBezTo>
                  <a:cubicBezTo>
                    <a:pt x="28688" y="17774"/>
                    <a:pt x="26427" y="15322"/>
                    <a:pt x="26309" y="15205"/>
                  </a:cubicBezTo>
                  <a:lnTo>
                    <a:pt x="24034" y="12812"/>
                  </a:lnTo>
                  <a:cubicBezTo>
                    <a:pt x="22698" y="11711"/>
                    <a:pt x="20804" y="12386"/>
                    <a:pt x="19394" y="11344"/>
                  </a:cubicBezTo>
                  <a:cubicBezTo>
                    <a:pt x="19204" y="11226"/>
                    <a:pt x="19204" y="11226"/>
                    <a:pt x="15357" y="6396"/>
                  </a:cubicBezTo>
                  <a:cubicBezTo>
                    <a:pt x="15225" y="6205"/>
                    <a:pt x="14990" y="6029"/>
                    <a:pt x="14799" y="5838"/>
                  </a:cubicBezTo>
                  <a:cubicBezTo>
                    <a:pt x="14616" y="5750"/>
                    <a:pt x="14465" y="5706"/>
                    <a:pt x="14315" y="5706"/>
                  </a:cubicBezTo>
                  <a:cubicBezTo>
                    <a:pt x="14164" y="5706"/>
                    <a:pt x="14014" y="5750"/>
                    <a:pt x="13830" y="5838"/>
                  </a:cubicBezTo>
                  <a:cubicBezTo>
                    <a:pt x="13776" y="5866"/>
                    <a:pt x="13699" y="5878"/>
                    <a:pt x="13605" y="5878"/>
                  </a:cubicBezTo>
                  <a:cubicBezTo>
                    <a:pt x="12634" y="5878"/>
                    <a:pt x="9787" y="4561"/>
                    <a:pt x="9720" y="4561"/>
                  </a:cubicBezTo>
                  <a:cubicBezTo>
                    <a:pt x="8560" y="3768"/>
                    <a:pt x="8809" y="2109"/>
                    <a:pt x="7650" y="1375"/>
                  </a:cubicBezTo>
                  <a:cubicBezTo>
                    <a:pt x="7591" y="1375"/>
                    <a:pt x="7459" y="1434"/>
                    <a:pt x="7341" y="1493"/>
                  </a:cubicBezTo>
                  <a:cubicBezTo>
                    <a:pt x="6974" y="2594"/>
                    <a:pt x="7767" y="3768"/>
                    <a:pt x="7151" y="4928"/>
                  </a:cubicBezTo>
                  <a:cubicBezTo>
                    <a:pt x="6725" y="4737"/>
                    <a:pt x="5022" y="3328"/>
                    <a:pt x="5756" y="2902"/>
                  </a:cubicBezTo>
                  <a:cubicBezTo>
                    <a:pt x="6666" y="2300"/>
                    <a:pt x="6549" y="465"/>
                    <a:pt x="6049" y="98"/>
                  </a:cubicBezTo>
                  <a:cubicBezTo>
                    <a:pt x="5966" y="46"/>
                    <a:pt x="5852" y="1"/>
                    <a:pt x="5745" y="1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8458;p73">
              <a:extLst>
                <a:ext uri="{FF2B5EF4-FFF2-40B4-BE49-F238E27FC236}">
                  <a16:creationId xmlns:a16="http://schemas.microsoft.com/office/drawing/2014/main" id="{C770ABA3-2A99-4806-B2B2-19A69219A5D8}"/>
                </a:ext>
              </a:extLst>
            </p:cNvPr>
            <p:cNvSpPr/>
            <p:nvPr/>
          </p:nvSpPr>
          <p:spPr>
            <a:xfrm>
              <a:off x="3948000" y="3067250"/>
              <a:ext cx="1405725" cy="1489750"/>
            </a:xfrm>
            <a:custGeom>
              <a:avLst/>
              <a:gdLst/>
              <a:ahLst/>
              <a:cxnLst/>
              <a:rect l="l" t="t" r="r" b="b"/>
              <a:pathLst>
                <a:path w="56229" h="59590" extrusionOk="0">
                  <a:moveTo>
                    <a:pt x="44777" y="0"/>
                  </a:moveTo>
                  <a:cubicBezTo>
                    <a:pt x="41973" y="191"/>
                    <a:pt x="44351" y="4654"/>
                    <a:pt x="41606" y="5080"/>
                  </a:cubicBezTo>
                  <a:cubicBezTo>
                    <a:pt x="40813" y="4228"/>
                    <a:pt x="41239" y="3186"/>
                    <a:pt x="41474" y="2511"/>
                  </a:cubicBezTo>
                  <a:cubicBezTo>
                    <a:pt x="41356" y="2511"/>
                    <a:pt x="41239" y="2452"/>
                    <a:pt x="41180" y="2452"/>
                  </a:cubicBezTo>
                  <a:cubicBezTo>
                    <a:pt x="40006" y="2628"/>
                    <a:pt x="39154" y="3553"/>
                    <a:pt x="38053" y="3670"/>
                  </a:cubicBezTo>
                  <a:cubicBezTo>
                    <a:pt x="37992" y="3682"/>
                    <a:pt x="37934" y="3688"/>
                    <a:pt x="37877" y="3688"/>
                  </a:cubicBezTo>
                  <a:cubicBezTo>
                    <a:pt x="37350" y="3688"/>
                    <a:pt x="36965" y="3231"/>
                    <a:pt x="36435" y="3231"/>
                  </a:cubicBezTo>
                  <a:cubicBezTo>
                    <a:pt x="36384" y="3231"/>
                    <a:pt x="36331" y="3235"/>
                    <a:pt x="36277" y="3245"/>
                  </a:cubicBezTo>
                  <a:cubicBezTo>
                    <a:pt x="36218" y="3245"/>
                    <a:pt x="36100" y="3303"/>
                    <a:pt x="35968" y="3303"/>
                  </a:cubicBezTo>
                  <a:cubicBezTo>
                    <a:pt x="35308" y="3729"/>
                    <a:pt x="35308" y="3920"/>
                    <a:pt x="35366" y="6063"/>
                  </a:cubicBezTo>
                  <a:cubicBezTo>
                    <a:pt x="35425" y="6739"/>
                    <a:pt x="34574" y="7399"/>
                    <a:pt x="34075" y="7473"/>
                  </a:cubicBezTo>
                  <a:cubicBezTo>
                    <a:pt x="34009" y="7487"/>
                    <a:pt x="33945" y="7494"/>
                    <a:pt x="33883" y="7494"/>
                  </a:cubicBezTo>
                  <a:cubicBezTo>
                    <a:pt x="33284" y="7494"/>
                    <a:pt x="32851" y="6874"/>
                    <a:pt x="32264" y="6874"/>
                  </a:cubicBezTo>
                  <a:cubicBezTo>
                    <a:pt x="32181" y="6874"/>
                    <a:pt x="32095" y="6886"/>
                    <a:pt x="32005" y="6915"/>
                  </a:cubicBezTo>
                  <a:cubicBezTo>
                    <a:pt x="30033" y="7439"/>
                    <a:pt x="29470" y="7589"/>
                    <a:pt x="29218" y="7589"/>
                  </a:cubicBezTo>
                  <a:cubicBezTo>
                    <a:pt x="29117" y="7589"/>
                    <a:pt x="29066" y="7565"/>
                    <a:pt x="28995" y="7531"/>
                  </a:cubicBezTo>
                  <a:cubicBezTo>
                    <a:pt x="26558" y="6607"/>
                    <a:pt x="26675" y="3861"/>
                    <a:pt x="25207" y="2202"/>
                  </a:cubicBezTo>
                  <a:cubicBezTo>
                    <a:pt x="24414" y="2261"/>
                    <a:pt x="23680" y="2452"/>
                    <a:pt x="22888" y="2569"/>
                  </a:cubicBezTo>
                  <a:cubicBezTo>
                    <a:pt x="22829" y="2569"/>
                    <a:pt x="17133" y="5021"/>
                    <a:pt x="15782" y="6856"/>
                  </a:cubicBezTo>
                  <a:cubicBezTo>
                    <a:pt x="15782" y="6915"/>
                    <a:pt x="14754" y="8383"/>
                    <a:pt x="13888" y="8691"/>
                  </a:cubicBezTo>
                  <a:cubicBezTo>
                    <a:pt x="13845" y="8703"/>
                    <a:pt x="13802" y="8709"/>
                    <a:pt x="13761" y="8709"/>
                  </a:cubicBezTo>
                  <a:cubicBezTo>
                    <a:pt x="13399" y="8709"/>
                    <a:pt x="13117" y="8267"/>
                    <a:pt x="12787" y="7766"/>
                  </a:cubicBezTo>
                  <a:cubicBezTo>
                    <a:pt x="12496" y="7309"/>
                    <a:pt x="12270" y="6851"/>
                    <a:pt x="11517" y="6851"/>
                  </a:cubicBezTo>
                  <a:cubicBezTo>
                    <a:pt x="11472" y="6851"/>
                    <a:pt x="11426" y="6853"/>
                    <a:pt x="11378" y="6856"/>
                  </a:cubicBezTo>
                  <a:cubicBezTo>
                    <a:pt x="11084" y="6856"/>
                    <a:pt x="10644" y="6915"/>
                    <a:pt x="10101" y="7106"/>
                  </a:cubicBezTo>
                  <a:lnTo>
                    <a:pt x="10101" y="7399"/>
                  </a:lnTo>
                  <a:cubicBezTo>
                    <a:pt x="10893" y="7766"/>
                    <a:pt x="10893" y="7766"/>
                    <a:pt x="11011" y="7840"/>
                  </a:cubicBezTo>
                  <a:lnTo>
                    <a:pt x="8750" y="14446"/>
                  </a:lnTo>
                  <a:lnTo>
                    <a:pt x="8442" y="15298"/>
                  </a:lnTo>
                  <a:cubicBezTo>
                    <a:pt x="7957" y="16457"/>
                    <a:pt x="7223" y="17984"/>
                    <a:pt x="6430" y="18601"/>
                  </a:cubicBezTo>
                  <a:cubicBezTo>
                    <a:pt x="5329" y="19452"/>
                    <a:pt x="4845" y="19951"/>
                    <a:pt x="4404" y="20686"/>
                  </a:cubicBezTo>
                  <a:cubicBezTo>
                    <a:pt x="4346" y="20744"/>
                    <a:pt x="4287" y="20920"/>
                    <a:pt x="4169" y="21053"/>
                  </a:cubicBezTo>
                  <a:cubicBezTo>
                    <a:pt x="3553" y="22271"/>
                    <a:pt x="3861" y="23739"/>
                    <a:pt x="3186" y="24958"/>
                  </a:cubicBezTo>
                  <a:cubicBezTo>
                    <a:pt x="2510" y="26308"/>
                    <a:pt x="925" y="26852"/>
                    <a:pt x="440" y="28393"/>
                  </a:cubicBezTo>
                  <a:cubicBezTo>
                    <a:pt x="0" y="29979"/>
                    <a:pt x="1542" y="31080"/>
                    <a:pt x="1351" y="32606"/>
                  </a:cubicBezTo>
                  <a:cubicBezTo>
                    <a:pt x="1233" y="34075"/>
                    <a:pt x="558" y="35425"/>
                    <a:pt x="558" y="36952"/>
                  </a:cubicBezTo>
                  <a:cubicBezTo>
                    <a:pt x="558" y="37128"/>
                    <a:pt x="617" y="37436"/>
                    <a:pt x="734" y="37686"/>
                  </a:cubicBezTo>
                  <a:cubicBezTo>
                    <a:pt x="734" y="37793"/>
                    <a:pt x="6677" y="45400"/>
                    <a:pt x="10751" y="45400"/>
                  </a:cubicBezTo>
                  <a:cubicBezTo>
                    <a:pt x="11168" y="45400"/>
                    <a:pt x="11566" y="45320"/>
                    <a:pt x="11936" y="45144"/>
                  </a:cubicBezTo>
                  <a:cubicBezTo>
                    <a:pt x="15356" y="43558"/>
                    <a:pt x="15356" y="43558"/>
                    <a:pt x="16707" y="43441"/>
                  </a:cubicBezTo>
                  <a:cubicBezTo>
                    <a:pt x="19027" y="43309"/>
                    <a:pt x="19819" y="40798"/>
                    <a:pt x="21904" y="40196"/>
                  </a:cubicBezTo>
                  <a:cubicBezTo>
                    <a:pt x="22024" y="40168"/>
                    <a:pt x="22117" y="40146"/>
                    <a:pt x="22201" y="40146"/>
                  </a:cubicBezTo>
                  <a:cubicBezTo>
                    <a:pt x="22506" y="40146"/>
                    <a:pt x="22670" y="40445"/>
                    <a:pt x="23431" y="41841"/>
                  </a:cubicBezTo>
                  <a:cubicBezTo>
                    <a:pt x="23494" y="41854"/>
                    <a:pt x="23559" y="41861"/>
                    <a:pt x="23625" y="41861"/>
                  </a:cubicBezTo>
                  <a:cubicBezTo>
                    <a:pt x="24457" y="41861"/>
                    <a:pt x="25461" y="40848"/>
                    <a:pt x="26141" y="40848"/>
                  </a:cubicBezTo>
                  <a:cubicBezTo>
                    <a:pt x="26390" y="40848"/>
                    <a:pt x="26596" y="40984"/>
                    <a:pt x="26734" y="41356"/>
                  </a:cubicBezTo>
                  <a:cubicBezTo>
                    <a:pt x="27527" y="43368"/>
                    <a:pt x="24781" y="43867"/>
                    <a:pt x="24899" y="45643"/>
                  </a:cubicBezTo>
                  <a:cubicBezTo>
                    <a:pt x="25266" y="45819"/>
                    <a:pt x="25824" y="45643"/>
                    <a:pt x="26132" y="46010"/>
                  </a:cubicBezTo>
                  <a:lnTo>
                    <a:pt x="27776" y="48755"/>
                  </a:lnTo>
                  <a:cubicBezTo>
                    <a:pt x="27776" y="48873"/>
                    <a:pt x="27776" y="48873"/>
                    <a:pt x="26426" y="51016"/>
                  </a:cubicBezTo>
                  <a:cubicBezTo>
                    <a:pt x="26617" y="51207"/>
                    <a:pt x="26984" y="51325"/>
                    <a:pt x="27101" y="51633"/>
                  </a:cubicBezTo>
                  <a:cubicBezTo>
                    <a:pt x="26984" y="52000"/>
                    <a:pt x="26675" y="52616"/>
                    <a:pt x="23680" y="54819"/>
                  </a:cubicBezTo>
                  <a:cubicBezTo>
                    <a:pt x="21654" y="56345"/>
                    <a:pt x="21596" y="57388"/>
                    <a:pt x="21787" y="57872"/>
                  </a:cubicBezTo>
                  <a:cubicBezTo>
                    <a:pt x="21157" y="58612"/>
                    <a:pt x="20527" y="58981"/>
                    <a:pt x="19754" y="59480"/>
                  </a:cubicBezTo>
                  <a:lnTo>
                    <a:pt x="19754" y="59480"/>
                  </a:lnTo>
                  <a:cubicBezTo>
                    <a:pt x="19797" y="59466"/>
                    <a:pt x="19844" y="59458"/>
                    <a:pt x="19893" y="59458"/>
                  </a:cubicBezTo>
                  <a:cubicBezTo>
                    <a:pt x="21111" y="58856"/>
                    <a:pt x="22697" y="57990"/>
                    <a:pt x="23930" y="57314"/>
                  </a:cubicBezTo>
                  <a:cubicBezTo>
                    <a:pt x="24664" y="56889"/>
                    <a:pt x="25266" y="56580"/>
                    <a:pt x="25824" y="56213"/>
                  </a:cubicBezTo>
                  <a:cubicBezTo>
                    <a:pt x="25941" y="56155"/>
                    <a:pt x="26132" y="56037"/>
                    <a:pt x="26250" y="55978"/>
                  </a:cubicBezTo>
                  <a:cubicBezTo>
                    <a:pt x="27101" y="55479"/>
                    <a:pt x="27776" y="55054"/>
                    <a:pt x="28510" y="54510"/>
                  </a:cubicBezTo>
                  <a:cubicBezTo>
                    <a:pt x="28628" y="54452"/>
                    <a:pt x="28701" y="54378"/>
                    <a:pt x="28819" y="54319"/>
                  </a:cubicBezTo>
                  <a:cubicBezTo>
                    <a:pt x="28877" y="54261"/>
                    <a:pt x="28936" y="54202"/>
                    <a:pt x="29068" y="54143"/>
                  </a:cubicBezTo>
                  <a:cubicBezTo>
                    <a:pt x="29979" y="53468"/>
                    <a:pt x="31138" y="52616"/>
                    <a:pt x="32856" y="51383"/>
                  </a:cubicBezTo>
                  <a:cubicBezTo>
                    <a:pt x="32915" y="51325"/>
                    <a:pt x="32973" y="51325"/>
                    <a:pt x="33032" y="51266"/>
                  </a:cubicBezTo>
                  <a:lnTo>
                    <a:pt x="33223" y="51148"/>
                  </a:lnTo>
                  <a:lnTo>
                    <a:pt x="36218" y="48638"/>
                  </a:lnTo>
                  <a:cubicBezTo>
                    <a:pt x="37436" y="47596"/>
                    <a:pt x="38611" y="46436"/>
                    <a:pt x="39639" y="45335"/>
                  </a:cubicBezTo>
                  <a:cubicBezTo>
                    <a:pt x="52367" y="31872"/>
                    <a:pt x="56155" y="14138"/>
                    <a:pt x="56228" y="13947"/>
                  </a:cubicBezTo>
                  <a:lnTo>
                    <a:pt x="56228" y="12420"/>
                  </a:lnTo>
                  <a:cubicBezTo>
                    <a:pt x="53409" y="18175"/>
                    <a:pt x="53409" y="18175"/>
                    <a:pt x="52558" y="18351"/>
                  </a:cubicBezTo>
                  <a:cubicBezTo>
                    <a:pt x="52191" y="17500"/>
                    <a:pt x="52734" y="16707"/>
                    <a:pt x="52484" y="15841"/>
                  </a:cubicBezTo>
                  <a:lnTo>
                    <a:pt x="49680" y="11745"/>
                  </a:lnTo>
                  <a:cubicBezTo>
                    <a:pt x="48814" y="10042"/>
                    <a:pt x="48888" y="8016"/>
                    <a:pt x="47904" y="6430"/>
                  </a:cubicBezTo>
                  <a:cubicBezTo>
                    <a:pt x="47111" y="5080"/>
                    <a:pt x="45511" y="4170"/>
                    <a:pt x="45452" y="2393"/>
                  </a:cubicBezTo>
                  <a:cubicBezTo>
                    <a:pt x="45276" y="1659"/>
                    <a:pt x="44968" y="734"/>
                    <a:pt x="44777" y="0"/>
                  </a:cubicBezTo>
                  <a:close/>
                  <a:moveTo>
                    <a:pt x="19754" y="59480"/>
                  </a:moveTo>
                  <a:cubicBezTo>
                    <a:pt x="19681" y="59503"/>
                    <a:pt x="19621" y="59544"/>
                    <a:pt x="19584" y="59590"/>
                  </a:cubicBezTo>
                  <a:cubicBezTo>
                    <a:pt x="19642" y="59552"/>
                    <a:pt x="19698" y="59516"/>
                    <a:pt x="19754" y="5948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8459;p73">
              <a:extLst>
                <a:ext uri="{FF2B5EF4-FFF2-40B4-BE49-F238E27FC236}">
                  <a16:creationId xmlns:a16="http://schemas.microsoft.com/office/drawing/2014/main" id="{7EC6F2BD-0A95-1411-6411-618DE769617F}"/>
                </a:ext>
              </a:extLst>
            </p:cNvPr>
            <p:cNvSpPr/>
            <p:nvPr/>
          </p:nvSpPr>
          <p:spPr>
            <a:xfrm>
              <a:off x="5351850" y="3373350"/>
              <a:ext cx="1875" cy="5875"/>
            </a:xfrm>
            <a:custGeom>
              <a:avLst/>
              <a:gdLst/>
              <a:ahLst/>
              <a:cxnLst/>
              <a:rect l="l" t="t" r="r" b="b"/>
              <a:pathLst>
                <a:path w="75" h="235" extrusionOk="0">
                  <a:moveTo>
                    <a:pt x="74" y="0"/>
                  </a:moveTo>
                  <a:lnTo>
                    <a:pt x="1" y="235"/>
                  </a:lnTo>
                  <a:lnTo>
                    <a:pt x="74" y="176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8460;p73">
              <a:extLst>
                <a:ext uri="{FF2B5EF4-FFF2-40B4-BE49-F238E27FC236}">
                  <a16:creationId xmlns:a16="http://schemas.microsoft.com/office/drawing/2014/main" id="{72A178EF-23C6-2F2F-957A-A5BFB5F92003}"/>
                </a:ext>
              </a:extLst>
            </p:cNvPr>
            <p:cNvSpPr/>
            <p:nvPr/>
          </p:nvSpPr>
          <p:spPr>
            <a:xfrm>
              <a:off x="3938825" y="1137425"/>
              <a:ext cx="3325" cy="25"/>
            </a:xfrm>
            <a:custGeom>
              <a:avLst/>
              <a:gdLst/>
              <a:ahLst/>
              <a:cxnLst/>
              <a:rect l="l" t="t" r="r" b="b"/>
              <a:pathLst>
                <a:path w="133" h="1" extrusionOk="0">
                  <a:moveTo>
                    <a:pt x="0" y="1"/>
                  </a:moveTo>
                  <a:lnTo>
                    <a:pt x="132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8461;p73">
              <a:extLst>
                <a:ext uri="{FF2B5EF4-FFF2-40B4-BE49-F238E27FC236}">
                  <a16:creationId xmlns:a16="http://schemas.microsoft.com/office/drawing/2014/main" id="{3FF3E2C2-9955-0BEC-0E7A-BBB65B508091}"/>
                </a:ext>
              </a:extLst>
            </p:cNvPr>
            <p:cNvSpPr/>
            <p:nvPr/>
          </p:nvSpPr>
          <p:spPr>
            <a:xfrm>
              <a:off x="3576550" y="1108450"/>
              <a:ext cx="1832225" cy="2344200"/>
            </a:xfrm>
            <a:custGeom>
              <a:avLst/>
              <a:gdLst/>
              <a:ahLst/>
              <a:cxnLst/>
              <a:rect l="l" t="t" r="r" b="b"/>
              <a:pathLst>
                <a:path w="73289" h="93768" extrusionOk="0">
                  <a:moveTo>
                    <a:pt x="544" y="0"/>
                  </a:moveTo>
                  <a:lnTo>
                    <a:pt x="493" y="51"/>
                  </a:lnTo>
                  <a:lnTo>
                    <a:pt x="493" y="51"/>
                  </a:lnTo>
                  <a:cubicBezTo>
                    <a:pt x="1039" y="35"/>
                    <a:pt x="1547" y="0"/>
                    <a:pt x="2012" y="0"/>
                  </a:cubicBezTo>
                  <a:close/>
                  <a:moveTo>
                    <a:pt x="493" y="51"/>
                  </a:moveTo>
                  <a:cubicBezTo>
                    <a:pt x="332" y="56"/>
                    <a:pt x="168" y="59"/>
                    <a:pt x="1" y="59"/>
                  </a:cubicBezTo>
                  <a:lnTo>
                    <a:pt x="485" y="59"/>
                  </a:lnTo>
                  <a:lnTo>
                    <a:pt x="493" y="51"/>
                  </a:lnTo>
                  <a:close/>
                  <a:moveTo>
                    <a:pt x="44102" y="78352"/>
                  </a:moveTo>
                  <a:cubicBezTo>
                    <a:pt x="44161" y="78484"/>
                    <a:pt x="44161" y="78602"/>
                    <a:pt x="44161" y="78778"/>
                  </a:cubicBezTo>
                  <a:cubicBezTo>
                    <a:pt x="44352" y="78778"/>
                    <a:pt x="44528" y="78719"/>
                    <a:pt x="44719" y="78719"/>
                  </a:cubicBezTo>
                  <a:cubicBezTo>
                    <a:pt x="44778" y="78602"/>
                    <a:pt x="44837" y="78484"/>
                    <a:pt x="44895" y="78352"/>
                  </a:cubicBezTo>
                  <a:close/>
                  <a:moveTo>
                    <a:pt x="22140" y="78352"/>
                  </a:moveTo>
                  <a:cubicBezTo>
                    <a:pt x="22022" y="79277"/>
                    <a:pt x="22140" y="80613"/>
                    <a:pt x="22331" y="82698"/>
                  </a:cubicBezTo>
                  <a:cubicBezTo>
                    <a:pt x="22331" y="83098"/>
                    <a:pt x="22541" y="84718"/>
                    <a:pt x="23712" y="84718"/>
                  </a:cubicBezTo>
                  <a:cubicBezTo>
                    <a:pt x="23960" y="84718"/>
                    <a:pt x="24251" y="84646"/>
                    <a:pt x="24592" y="84474"/>
                  </a:cubicBezTo>
                  <a:cubicBezTo>
                    <a:pt x="25267" y="84107"/>
                    <a:pt x="25267" y="84107"/>
                    <a:pt x="26060" y="84107"/>
                  </a:cubicBezTo>
                  <a:lnTo>
                    <a:pt x="26236" y="84107"/>
                  </a:lnTo>
                  <a:cubicBezTo>
                    <a:pt x="26309" y="84094"/>
                    <a:pt x="26382" y="84088"/>
                    <a:pt x="26455" y="84088"/>
                  </a:cubicBezTo>
                  <a:cubicBezTo>
                    <a:pt x="27156" y="84088"/>
                    <a:pt x="27835" y="84650"/>
                    <a:pt x="28548" y="84650"/>
                  </a:cubicBezTo>
                  <a:cubicBezTo>
                    <a:pt x="28814" y="84650"/>
                    <a:pt x="29085" y="84572"/>
                    <a:pt x="29363" y="84357"/>
                  </a:cubicBezTo>
                  <a:cubicBezTo>
                    <a:pt x="30581" y="83373"/>
                    <a:pt x="29906" y="81787"/>
                    <a:pt x="30640" y="80613"/>
                  </a:cubicBezTo>
                  <a:cubicBezTo>
                    <a:pt x="31007" y="80070"/>
                    <a:pt x="31139" y="79218"/>
                    <a:pt x="31257" y="78352"/>
                  </a:cubicBezTo>
                  <a:close/>
                  <a:moveTo>
                    <a:pt x="60075" y="78352"/>
                  </a:moveTo>
                  <a:cubicBezTo>
                    <a:pt x="60134" y="79086"/>
                    <a:pt x="60252" y="79879"/>
                    <a:pt x="60310" y="80745"/>
                  </a:cubicBezTo>
                  <a:lnTo>
                    <a:pt x="60310" y="80686"/>
                  </a:lnTo>
                  <a:cubicBezTo>
                    <a:pt x="60442" y="80554"/>
                    <a:pt x="60560" y="80437"/>
                    <a:pt x="60677" y="80319"/>
                  </a:cubicBezTo>
                  <a:cubicBezTo>
                    <a:pt x="64773" y="81905"/>
                    <a:pt x="66432" y="84959"/>
                    <a:pt x="68076" y="93767"/>
                  </a:cubicBezTo>
                  <a:cubicBezTo>
                    <a:pt x="70279" y="92182"/>
                    <a:pt x="73215" y="79762"/>
                    <a:pt x="73215" y="79644"/>
                  </a:cubicBezTo>
                  <a:cubicBezTo>
                    <a:pt x="73288" y="79336"/>
                    <a:pt x="73288" y="79218"/>
                    <a:pt x="73156" y="78352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8462;p73">
              <a:extLst>
                <a:ext uri="{FF2B5EF4-FFF2-40B4-BE49-F238E27FC236}">
                  <a16:creationId xmlns:a16="http://schemas.microsoft.com/office/drawing/2014/main" id="{1D581C79-0A15-6A45-A8C1-54B1BCBA449A}"/>
                </a:ext>
              </a:extLst>
            </p:cNvPr>
            <p:cNvSpPr/>
            <p:nvPr/>
          </p:nvSpPr>
          <p:spPr>
            <a:xfrm>
              <a:off x="3504625" y="1112850"/>
              <a:ext cx="15450" cy="1500"/>
            </a:xfrm>
            <a:custGeom>
              <a:avLst/>
              <a:gdLst/>
              <a:ahLst/>
              <a:cxnLst/>
              <a:rect l="l" t="t" r="r" b="b"/>
              <a:pathLst>
                <a:path w="618" h="60" extrusionOk="0">
                  <a:moveTo>
                    <a:pt x="426" y="0"/>
                  </a:moveTo>
                  <a:lnTo>
                    <a:pt x="383" y="6"/>
                  </a:lnTo>
                  <a:lnTo>
                    <a:pt x="383" y="6"/>
                  </a:lnTo>
                  <a:cubicBezTo>
                    <a:pt x="455" y="0"/>
                    <a:pt x="528" y="0"/>
                    <a:pt x="617" y="0"/>
                  </a:cubicBezTo>
                  <a:close/>
                  <a:moveTo>
                    <a:pt x="383" y="6"/>
                  </a:moveTo>
                  <a:cubicBezTo>
                    <a:pt x="341" y="10"/>
                    <a:pt x="300" y="15"/>
                    <a:pt x="256" y="24"/>
                  </a:cubicBezTo>
                  <a:lnTo>
                    <a:pt x="256" y="24"/>
                  </a:lnTo>
                  <a:lnTo>
                    <a:pt x="383" y="6"/>
                  </a:lnTo>
                  <a:close/>
                  <a:moveTo>
                    <a:pt x="256" y="24"/>
                  </a:moveTo>
                  <a:lnTo>
                    <a:pt x="0" y="59"/>
                  </a:lnTo>
                  <a:lnTo>
                    <a:pt x="118" y="59"/>
                  </a:lnTo>
                  <a:cubicBezTo>
                    <a:pt x="168" y="44"/>
                    <a:pt x="213" y="32"/>
                    <a:pt x="256" y="24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8463;p73">
              <a:extLst>
                <a:ext uri="{FF2B5EF4-FFF2-40B4-BE49-F238E27FC236}">
                  <a16:creationId xmlns:a16="http://schemas.microsoft.com/office/drawing/2014/main" id="{E30B9A64-9730-13CE-719B-CF4B2BAEA867}"/>
                </a:ext>
              </a:extLst>
            </p:cNvPr>
            <p:cNvSpPr/>
            <p:nvPr/>
          </p:nvSpPr>
          <p:spPr>
            <a:xfrm>
              <a:off x="2414375" y="3584275"/>
              <a:ext cx="64075" cy="60525"/>
            </a:xfrm>
            <a:custGeom>
              <a:avLst/>
              <a:gdLst/>
              <a:ahLst/>
              <a:cxnLst/>
              <a:rect l="l" t="t" r="r" b="b"/>
              <a:pathLst>
                <a:path w="2563" h="2421" extrusionOk="0">
                  <a:moveTo>
                    <a:pt x="563" y="0"/>
                  </a:moveTo>
                  <a:cubicBezTo>
                    <a:pt x="170" y="0"/>
                    <a:pt x="1" y="868"/>
                    <a:pt x="184" y="1164"/>
                  </a:cubicBezTo>
                  <a:cubicBezTo>
                    <a:pt x="184" y="1164"/>
                    <a:pt x="243" y="1340"/>
                    <a:pt x="493" y="1531"/>
                  </a:cubicBezTo>
                  <a:lnTo>
                    <a:pt x="1227" y="2075"/>
                  </a:lnTo>
                  <a:cubicBezTo>
                    <a:pt x="1285" y="2075"/>
                    <a:pt x="1344" y="2133"/>
                    <a:pt x="1520" y="2207"/>
                  </a:cubicBezTo>
                  <a:cubicBezTo>
                    <a:pt x="1851" y="2364"/>
                    <a:pt x="2110" y="2420"/>
                    <a:pt x="2288" y="2420"/>
                  </a:cubicBezTo>
                  <a:cubicBezTo>
                    <a:pt x="2442" y="2420"/>
                    <a:pt x="2535" y="2379"/>
                    <a:pt x="2563" y="2324"/>
                  </a:cubicBezTo>
                  <a:cubicBezTo>
                    <a:pt x="2563" y="2133"/>
                    <a:pt x="2445" y="1898"/>
                    <a:pt x="2328" y="1708"/>
                  </a:cubicBezTo>
                  <a:cubicBezTo>
                    <a:pt x="2195" y="1531"/>
                    <a:pt x="2019" y="1399"/>
                    <a:pt x="1887" y="1223"/>
                  </a:cubicBezTo>
                  <a:lnTo>
                    <a:pt x="2195" y="1223"/>
                  </a:lnTo>
                  <a:cubicBezTo>
                    <a:pt x="1652" y="915"/>
                    <a:pt x="1285" y="372"/>
                    <a:pt x="786" y="63"/>
                  </a:cubicBezTo>
                  <a:cubicBezTo>
                    <a:pt x="669" y="5"/>
                    <a:pt x="610" y="5"/>
                    <a:pt x="610" y="5"/>
                  </a:cubicBezTo>
                  <a:cubicBezTo>
                    <a:pt x="594" y="2"/>
                    <a:pt x="578" y="0"/>
                    <a:pt x="563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8464;p73">
              <a:extLst>
                <a:ext uri="{FF2B5EF4-FFF2-40B4-BE49-F238E27FC236}">
                  <a16:creationId xmlns:a16="http://schemas.microsoft.com/office/drawing/2014/main" id="{CB831FA3-31E9-A9AC-1454-F63DE602016C}"/>
                </a:ext>
              </a:extLst>
            </p:cNvPr>
            <p:cNvSpPr/>
            <p:nvPr/>
          </p:nvSpPr>
          <p:spPr>
            <a:xfrm>
              <a:off x="2490900" y="3593375"/>
              <a:ext cx="174375" cy="105525"/>
            </a:xfrm>
            <a:custGeom>
              <a:avLst/>
              <a:gdLst/>
              <a:ahLst/>
              <a:cxnLst/>
              <a:rect l="l" t="t" r="r" b="b"/>
              <a:pathLst>
                <a:path w="6975" h="4221" extrusionOk="0">
                  <a:moveTo>
                    <a:pt x="735" y="976"/>
                  </a:moveTo>
                  <a:lnTo>
                    <a:pt x="735" y="1109"/>
                  </a:lnTo>
                  <a:cubicBezTo>
                    <a:pt x="852" y="1109"/>
                    <a:pt x="911" y="1109"/>
                    <a:pt x="970" y="1167"/>
                  </a:cubicBezTo>
                  <a:lnTo>
                    <a:pt x="1219" y="1167"/>
                  </a:lnTo>
                  <a:cubicBezTo>
                    <a:pt x="1102" y="1109"/>
                    <a:pt x="911" y="1035"/>
                    <a:pt x="735" y="976"/>
                  </a:cubicBezTo>
                  <a:close/>
                  <a:moveTo>
                    <a:pt x="1219" y="1167"/>
                  </a:moveTo>
                  <a:lnTo>
                    <a:pt x="1372" y="1203"/>
                  </a:lnTo>
                  <a:lnTo>
                    <a:pt x="1372" y="1203"/>
                  </a:lnTo>
                  <a:cubicBezTo>
                    <a:pt x="1334" y="1167"/>
                    <a:pt x="1319" y="1167"/>
                    <a:pt x="1219" y="1167"/>
                  </a:cubicBezTo>
                  <a:close/>
                  <a:moveTo>
                    <a:pt x="1372" y="1203"/>
                  </a:moveTo>
                  <a:lnTo>
                    <a:pt x="1372" y="1203"/>
                  </a:lnTo>
                  <a:cubicBezTo>
                    <a:pt x="1379" y="1210"/>
                    <a:pt x="1387" y="1217"/>
                    <a:pt x="1395" y="1226"/>
                  </a:cubicBezTo>
                  <a:lnTo>
                    <a:pt x="1469" y="1226"/>
                  </a:lnTo>
                  <a:lnTo>
                    <a:pt x="1372" y="1203"/>
                  </a:lnTo>
                  <a:close/>
                  <a:moveTo>
                    <a:pt x="2577" y="0"/>
                  </a:moveTo>
                  <a:cubicBezTo>
                    <a:pt x="2339" y="0"/>
                    <a:pt x="2071" y="441"/>
                    <a:pt x="2071" y="551"/>
                  </a:cubicBezTo>
                  <a:cubicBezTo>
                    <a:pt x="2012" y="1109"/>
                    <a:pt x="2379" y="1476"/>
                    <a:pt x="2496" y="1901"/>
                  </a:cubicBezTo>
                  <a:cubicBezTo>
                    <a:pt x="2129" y="1901"/>
                    <a:pt x="1895" y="1534"/>
                    <a:pt x="1527" y="1344"/>
                  </a:cubicBezTo>
                  <a:cubicBezTo>
                    <a:pt x="1337" y="1285"/>
                    <a:pt x="1102" y="1285"/>
                    <a:pt x="911" y="1226"/>
                  </a:cubicBezTo>
                  <a:cubicBezTo>
                    <a:pt x="852" y="1167"/>
                    <a:pt x="793" y="1167"/>
                    <a:pt x="735" y="1109"/>
                  </a:cubicBezTo>
                  <a:cubicBezTo>
                    <a:pt x="735" y="1109"/>
                    <a:pt x="661" y="1035"/>
                    <a:pt x="603" y="1035"/>
                  </a:cubicBezTo>
                  <a:lnTo>
                    <a:pt x="368" y="1035"/>
                  </a:lnTo>
                  <a:cubicBezTo>
                    <a:pt x="236" y="1035"/>
                    <a:pt x="177" y="918"/>
                    <a:pt x="118" y="918"/>
                  </a:cubicBezTo>
                  <a:cubicBezTo>
                    <a:pt x="1" y="976"/>
                    <a:pt x="59" y="1167"/>
                    <a:pt x="118" y="1285"/>
                  </a:cubicBezTo>
                  <a:cubicBezTo>
                    <a:pt x="118" y="1285"/>
                    <a:pt x="852" y="2503"/>
                    <a:pt x="1836" y="2944"/>
                  </a:cubicBezTo>
                  <a:cubicBezTo>
                    <a:pt x="1895" y="2944"/>
                    <a:pt x="2071" y="3002"/>
                    <a:pt x="2262" y="3061"/>
                  </a:cubicBezTo>
                  <a:lnTo>
                    <a:pt x="3598" y="3428"/>
                  </a:lnTo>
                  <a:cubicBezTo>
                    <a:pt x="3671" y="3428"/>
                    <a:pt x="5315" y="3678"/>
                    <a:pt x="5315" y="3678"/>
                  </a:cubicBezTo>
                  <a:lnTo>
                    <a:pt x="5682" y="3678"/>
                  </a:lnTo>
                  <a:cubicBezTo>
                    <a:pt x="6167" y="3678"/>
                    <a:pt x="6167" y="3678"/>
                    <a:pt x="6475" y="3971"/>
                  </a:cubicBezTo>
                  <a:cubicBezTo>
                    <a:pt x="6666" y="4104"/>
                    <a:pt x="6783" y="4221"/>
                    <a:pt x="6974" y="4221"/>
                  </a:cubicBezTo>
                  <a:cubicBezTo>
                    <a:pt x="6901" y="3913"/>
                    <a:pt x="6901" y="3913"/>
                    <a:pt x="5139" y="2577"/>
                  </a:cubicBezTo>
                  <a:cubicBezTo>
                    <a:pt x="4405" y="1960"/>
                    <a:pt x="3906" y="1109"/>
                    <a:pt x="3230" y="433"/>
                  </a:cubicBezTo>
                  <a:cubicBezTo>
                    <a:pt x="3230" y="433"/>
                    <a:pt x="2863" y="125"/>
                    <a:pt x="2629" y="8"/>
                  </a:cubicBezTo>
                  <a:cubicBezTo>
                    <a:pt x="2612" y="3"/>
                    <a:pt x="2594" y="0"/>
                    <a:pt x="2577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8465;p73">
              <a:extLst>
                <a:ext uri="{FF2B5EF4-FFF2-40B4-BE49-F238E27FC236}">
                  <a16:creationId xmlns:a16="http://schemas.microsoft.com/office/drawing/2014/main" id="{C79D6FFB-A4E7-6A5B-2DB5-DD974DE13831}"/>
                </a:ext>
              </a:extLst>
            </p:cNvPr>
            <p:cNvSpPr/>
            <p:nvPr/>
          </p:nvSpPr>
          <p:spPr>
            <a:xfrm>
              <a:off x="2320975" y="3412225"/>
              <a:ext cx="203350" cy="173600"/>
            </a:xfrm>
            <a:custGeom>
              <a:avLst/>
              <a:gdLst/>
              <a:ahLst/>
              <a:cxnLst/>
              <a:rect l="l" t="t" r="r" b="b"/>
              <a:pathLst>
                <a:path w="8134" h="6944" extrusionOk="0">
                  <a:moveTo>
                    <a:pt x="1041" y="0"/>
                  </a:moveTo>
                  <a:cubicBezTo>
                    <a:pt x="897" y="0"/>
                    <a:pt x="741" y="13"/>
                    <a:pt x="558" y="31"/>
                  </a:cubicBezTo>
                  <a:lnTo>
                    <a:pt x="0" y="398"/>
                  </a:lnTo>
                  <a:cubicBezTo>
                    <a:pt x="426" y="647"/>
                    <a:pt x="852" y="706"/>
                    <a:pt x="1292" y="1014"/>
                  </a:cubicBezTo>
                  <a:cubicBezTo>
                    <a:pt x="1292" y="1014"/>
                    <a:pt x="2819" y="2233"/>
                    <a:pt x="2937" y="2409"/>
                  </a:cubicBezTo>
                  <a:cubicBezTo>
                    <a:pt x="3788" y="3392"/>
                    <a:pt x="3861" y="4919"/>
                    <a:pt x="5021" y="5712"/>
                  </a:cubicBezTo>
                  <a:cubicBezTo>
                    <a:pt x="5256" y="5844"/>
                    <a:pt x="5388" y="6152"/>
                    <a:pt x="5697" y="6211"/>
                  </a:cubicBezTo>
                  <a:cubicBezTo>
                    <a:pt x="5824" y="6211"/>
                    <a:pt x="5921" y="6081"/>
                    <a:pt x="6037" y="6081"/>
                  </a:cubicBezTo>
                  <a:cubicBezTo>
                    <a:pt x="6081" y="6081"/>
                    <a:pt x="6128" y="6100"/>
                    <a:pt x="6181" y="6152"/>
                  </a:cubicBezTo>
                  <a:lnTo>
                    <a:pt x="6181" y="6020"/>
                  </a:lnTo>
                  <a:cubicBezTo>
                    <a:pt x="6357" y="6270"/>
                    <a:pt x="6489" y="6387"/>
                    <a:pt x="6856" y="6578"/>
                  </a:cubicBezTo>
                  <a:lnTo>
                    <a:pt x="6915" y="6578"/>
                  </a:lnTo>
                  <a:lnTo>
                    <a:pt x="6915" y="6637"/>
                  </a:lnTo>
                  <a:cubicBezTo>
                    <a:pt x="7311" y="6835"/>
                    <a:pt x="7545" y="6943"/>
                    <a:pt x="7715" y="6943"/>
                  </a:cubicBezTo>
                  <a:cubicBezTo>
                    <a:pt x="7861" y="6943"/>
                    <a:pt x="7960" y="6865"/>
                    <a:pt x="8075" y="6696"/>
                  </a:cubicBezTo>
                  <a:cubicBezTo>
                    <a:pt x="8075" y="6578"/>
                    <a:pt x="8134" y="6446"/>
                    <a:pt x="7957" y="6211"/>
                  </a:cubicBezTo>
                  <a:cubicBezTo>
                    <a:pt x="7341" y="5536"/>
                    <a:pt x="6431" y="5228"/>
                    <a:pt x="5814" y="4552"/>
                  </a:cubicBezTo>
                  <a:cubicBezTo>
                    <a:pt x="5623" y="4376"/>
                    <a:pt x="5447" y="4127"/>
                    <a:pt x="5330" y="3877"/>
                  </a:cubicBezTo>
                  <a:cubicBezTo>
                    <a:pt x="4963" y="3143"/>
                    <a:pt x="3421" y="1440"/>
                    <a:pt x="3421" y="1440"/>
                  </a:cubicBezTo>
                  <a:cubicBezTo>
                    <a:pt x="2878" y="882"/>
                    <a:pt x="2085" y="280"/>
                    <a:pt x="2026" y="280"/>
                  </a:cubicBezTo>
                  <a:cubicBezTo>
                    <a:pt x="1638" y="66"/>
                    <a:pt x="1371" y="0"/>
                    <a:pt x="1041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8466;p73">
              <a:extLst>
                <a:ext uri="{FF2B5EF4-FFF2-40B4-BE49-F238E27FC236}">
                  <a16:creationId xmlns:a16="http://schemas.microsoft.com/office/drawing/2014/main" id="{D0BBF47D-963F-7E1C-2D67-D13DFD28C215}"/>
                </a:ext>
              </a:extLst>
            </p:cNvPr>
            <p:cNvSpPr/>
            <p:nvPr/>
          </p:nvSpPr>
          <p:spPr>
            <a:xfrm>
              <a:off x="2606875" y="2747575"/>
              <a:ext cx="59850" cy="45900"/>
            </a:xfrm>
            <a:custGeom>
              <a:avLst/>
              <a:gdLst/>
              <a:ahLst/>
              <a:cxnLst/>
              <a:rect l="l" t="t" r="r" b="b"/>
              <a:pathLst>
                <a:path w="2394" h="1836" extrusionOk="0">
                  <a:moveTo>
                    <a:pt x="1161" y="0"/>
                  </a:moveTo>
                  <a:cubicBezTo>
                    <a:pt x="1" y="0"/>
                    <a:pt x="1" y="1835"/>
                    <a:pt x="1234" y="1835"/>
                  </a:cubicBezTo>
                  <a:cubicBezTo>
                    <a:pt x="2394" y="1835"/>
                    <a:pt x="2394" y="0"/>
                    <a:pt x="1161" y="0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8467;p73">
              <a:extLst>
                <a:ext uri="{FF2B5EF4-FFF2-40B4-BE49-F238E27FC236}">
                  <a16:creationId xmlns:a16="http://schemas.microsoft.com/office/drawing/2014/main" id="{744B3252-20D0-4527-2E62-785AF89845B4}"/>
                </a:ext>
              </a:extLst>
            </p:cNvPr>
            <p:cNvSpPr/>
            <p:nvPr/>
          </p:nvSpPr>
          <p:spPr>
            <a:xfrm>
              <a:off x="2606875" y="2649925"/>
              <a:ext cx="59850" cy="45925"/>
            </a:xfrm>
            <a:custGeom>
              <a:avLst/>
              <a:gdLst/>
              <a:ahLst/>
              <a:cxnLst/>
              <a:rect l="l" t="t" r="r" b="b"/>
              <a:pathLst>
                <a:path w="2394" h="1837" extrusionOk="0">
                  <a:moveTo>
                    <a:pt x="1161" y="1"/>
                  </a:moveTo>
                  <a:cubicBezTo>
                    <a:pt x="1" y="1"/>
                    <a:pt x="1" y="1836"/>
                    <a:pt x="1234" y="1836"/>
                  </a:cubicBezTo>
                  <a:cubicBezTo>
                    <a:pt x="2394" y="1836"/>
                    <a:pt x="2394" y="1"/>
                    <a:pt x="1161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8468;p73">
              <a:extLst>
                <a:ext uri="{FF2B5EF4-FFF2-40B4-BE49-F238E27FC236}">
                  <a16:creationId xmlns:a16="http://schemas.microsoft.com/office/drawing/2014/main" id="{9F00D1E6-FC01-E5C3-7AF3-C485C7936084}"/>
                </a:ext>
              </a:extLst>
            </p:cNvPr>
            <p:cNvSpPr/>
            <p:nvPr/>
          </p:nvSpPr>
          <p:spPr>
            <a:xfrm>
              <a:off x="2529075" y="2720050"/>
              <a:ext cx="59475" cy="45900"/>
            </a:xfrm>
            <a:custGeom>
              <a:avLst/>
              <a:gdLst/>
              <a:ahLst/>
              <a:cxnLst/>
              <a:rect l="l" t="t" r="r" b="b"/>
              <a:pathLst>
                <a:path w="2379" h="1836" extrusionOk="0">
                  <a:moveTo>
                    <a:pt x="1160" y="0"/>
                  </a:moveTo>
                  <a:cubicBezTo>
                    <a:pt x="0" y="0"/>
                    <a:pt x="0" y="1835"/>
                    <a:pt x="1160" y="1835"/>
                  </a:cubicBezTo>
                  <a:cubicBezTo>
                    <a:pt x="2379" y="1835"/>
                    <a:pt x="2320" y="0"/>
                    <a:pt x="1160" y="0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8469;p73">
              <a:extLst>
                <a:ext uri="{FF2B5EF4-FFF2-40B4-BE49-F238E27FC236}">
                  <a16:creationId xmlns:a16="http://schemas.microsoft.com/office/drawing/2014/main" id="{97EC518D-9A17-8384-1379-9543D037B6E8}"/>
                </a:ext>
              </a:extLst>
            </p:cNvPr>
            <p:cNvSpPr/>
            <p:nvPr/>
          </p:nvSpPr>
          <p:spPr>
            <a:xfrm>
              <a:off x="2472550" y="2918975"/>
              <a:ext cx="59475" cy="45900"/>
            </a:xfrm>
            <a:custGeom>
              <a:avLst/>
              <a:gdLst/>
              <a:ahLst/>
              <a:cxnLst/>
              <a:rect l="l" t="t" r="r" b="b"/>
              <a:pathLst>
                <a:path w="2379" h="1836" extrusionOk="0">
                  <a:moveTo>
                    <a:pt x="1219" y="0"/>
                  </a:moveTo>
                  <a:cubicBezTo>
                    <a:pt x="1" y="0"/>
                    <a:pt x="1" y="1835"/>
                    <a:pt x="1219" y="1835"/>
                  </a:cubicBezTo>
                  <a:cubicBezTo>
                    <a:pt x="2379" y="1835"/>
                    <a:pt x="2379" y="0"/>
                    <a:pt x="1219" y="0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8470;p73">
              <a:extLst>
                <a:ext uri="{FF2B5EF4-FFF2-40B4-BE49-F238E27FC236}">
                  <a16:creationId xmlns:a16="http://schemas.microsoft.com/office/drawing/2014/main" id="{BA6CB082-A3A4-1940-920A-BF001CA38AD4}"/>
                </a:ext>
              </a:extLst>
            </p:cNvPr>
            <p:cNvSpPr/>
            <p:nvPr/>
          </p:nvSpPr>
          <p:spPr>
            <a:xfrm>
              <a:off x="2605425" y="2868675"/>
              <a:ext cx="59850" cy="45900"/>
            </a:xfrm>
            <a:custGeom>
              <a:avLst/>
              <a:gdLst/>
              <a:ahLst/>
              <a:cxnLst/>
              <a:rect l="l" t="t" r="r" b="b"/>
              <a:pathLst>
                <a:path w="2394" h="1836" extrusionOk="0">
                  <a:moveTo>
                    <a:pt x="1160" y="1"/>
                  </a:moveTo>
                  <a:cubicBezTo>
                    <a:pt x="0" y="1"/>
                    <a:pt x="0" y="1836"/>
                    <a:pt x="1160" y="1836"/>
                  </a:cubicBezTo>
                  <a:cubicBezTo>
                    <a:pt x="2393" y="1836"/>
                    <a:pt x="2393" y="1"/>
                    <a:pt x="1160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8471;p73">
              <a:extLst>
                <a:ext uri="{FF2B5EF4-FFF2-40B4-BE49-F238E27FC236}">
                  <a16:creationId xmlns:a16="http://schemas.microsoft.com/office/drawing/2014/main" id="{A49B0DE0-82A0-4F29-5821-F838154AA04A}"/>
                </a:ext>
              </a:extLst>
            </p:cNvPr>
            <p:cNvSpPr/>
            <p:nvPr/>
          </p:nvSpPr>
          <p:spPr>
            <a:xfrm>
              <a:off x="2446500" y="2831975"/>
              <a:ext cx="58000" cy="45900"/>
            </a:xfrm>
            <a:custGeom>
              <a:avLst/>
              <a:gdLst/>
              <a:ahLst/>
              <a:cxnLst/>
              <a:rect l="l" t="t" r="r" b="b"/>
              <a:pathLst>
                <a:path w="2320" h="1836" extrusionOk="0">
                  <a:moveTo>
                    <a:pt x="1160" y="1"/>
                  </a:moveTo>
                  <a:cubicBezTo>
                    <a:pt x="0" y="1"/>
                    <a:pt x="0" y="1836"/>
                    <a:pt x="1160" y="1836"/>
                  </a:cubicBezTo>
                  <a:cubicBezTo>
                    <a:pt x="2320" y="1836"/>
                    <a:pt x="2320" y="1"/>
                    <a:pt x="1160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8472;p73">
              <a:extLst>
                <a:ext uri="{FF2B5EF4-FFF2-40B4-BE49-F238E27FC236}">
                  <a16:creationId xmlns:a16="http://schemas.microsoft.com/office/drawing/2014/main" id="{D54C581F-C316-57E7-6647-E5EBFEEB8A3B}"/>
                </a:ext>
              </a:extLst>
            </p:cNvPr>
            <p:cNvSpPr/>
            <p:nvPr/>
          </p:nvSpPr>
          <p:spPr>
            <a:xfrm>
              <a:off x="2305550" y="2954200"/>
              <a:ext cx="58400" cy="45900"/>
            </a:xfrm>
            <a:custGeom>
              <a:avLst/>
              <a:gdLst/>
              <a:ahLst/>
              <a:cxnLst/>
              <a:rect l="l" t="t" r="r" b="b"/>
              <a:pathLst>
                <a:path w="2336" h="1836" extrusionOk="0">
                  <a:moveTo>
                    <a:pt x="1175" y="0"/>
                  </a:moveTo>
                  <a:cubicBezTo>
                    <a:pt x="1" y="0"/>
                    <a:pt x="1" y="1836"/>
                    <a:pt x="1175" y="1836"/>
                  </a:cubicBezTo>
                  <a:cubicBezTo>
                    <a:pt x="2335" y="1836"/>
                    <a:pt x="2335" y="0"/>
                    <a:pt x="1175" y="0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8473;p73">
              <a:extLst>
                <a:ext uri="{FF2B5EF4-FFF2-40B4-BE49-F238E27FC236}">
                  <a16:creationId xmlns:a16="http://schemas.microsoft.com/office/drawing/2014/main" id="{750EDCC9-2C25-ECF7-C89A-D3B4AAE02F97}"/>
                </a:ext>
              </a:extLst>
            </p:cNvPr>
            <p:cNvSpPr/>
            <p:nvPr/>
          </p:nvSpPr>
          <p:spPr>
            <a:xfrm>
              <a:off x="2385200" y="2695825"/>
              <a:ext cx="59850" cy="45900"/>
            </a:xfrm>
            <a:custGeom>
              <a:avLst/>
              <a:gdLst/>
              <a:ahLst/>
              <a:cxnLst/>
              <a:rect l="l" t="t" r="r" b="b"/>
              <a:pathLst>
                <a:path w="2394" h="1836" extrusionOk="0">
                  <a:moveTo>
                    <a:pt x="1219" y="0"/>
                  </a:moveTo>
                  <a:cubicBezTo>
                    <a:pt x="1" y="0"/>
                    <a:pt x="1" y="1835"/>
                    <a:pt x="1219" y="1835"/>
                  </a:cubicBezTo>
                  <a:cubicBezTo>
                    <a:pt x="2394" y="1835"/>
                    <a:pt x="2394" y="0"/>
                    <a:pt x="1219" y="0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8474;p73">
              <a:extLst>
                <a:ext uri="{FF2B5EF4-FFF2-40B4-BE49-F238E27FC236}">
                  <a16:creationId xmlns:a16="http://schemas.microsoft.com/office/drawing/2014/main" id="{01D8541D-A80A-43D5-B914-82527B739DB5}"/>
                </a:ext>
              </a:extLst>
            </p:cNvPr>
            <p:cNvSpPr/>
            <p:nvPr/>
          </p:nvSpPr>
          <p:spPr>
            <a:xfrm>
              <a:off x="2500075" y="2567350"/>
              <a:ext cx="59500" cy="45900"/>
            </a:xfrm>
            <a:custGeom>
              <a:avLst/>
              <a:gdLst/>
              <a:ahLst/>
              <a:cxnLst/>
              <a:rect l="l" t="t" r="r" b="b"/>
              <a:pathLst>
                <a:path w="2380" h="1836" extrusionOk="0">
                  <a:moveTo>
                    <a:pt x="1160" y="1"/>
                  </a:moveTo>
                  <a:cubicBezTo>
                    <a:pt x="1" y="1"/>
                    <a:pt x="1" y="1836"/>
                    <a:pt x="1160" y="1836"/>
                  </a:cubicBezTo>
                  <a:cubicBezTo>
                    <a:pt x="2379" y="1836"/>
                    <a:pt x="2379" y="1"/>
                    <a:pt x="1160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8475;p73">
              <a:extLst>
                <a:ext uri="{FF2B5EF4-FFF2-40B4-BE49-F238E27FC236}">
                  <a16:creationId xmlns:a16="http://schemas.microsoft.com/office/drawing/2014/main" id="{64E7C286-278B-3AD9-4353-6A94B9182A08}"/>
                </a:ext>
              </a:extLst>
            </p:cNvPr>
            <p:cNvSpPr/>
            <p:nvPr/>
          </p:nvSpPr>
          <p:spPr>
            <a:xfrm>
              <a:off x="2460075" y="2663525"/>
              <a:ext cx="59850" cy="47350"/>
            </a:xfrm>
            <a:custGeom>
              <a:avLst/>
              <a:gdLst/>
              <a:ahLst/>
              <a:cxnLst/>
              <a:rect l="l" t="t" r="r" b="b"/>
              <a:pathLst>
                <a:path w="2394" h="1894" extrusionOk="0">
                  <a:moveTo>
                    <a:pt x="1160" y="0"/>
                  </a:moveTo>
                  <a:cubicBezTo>
                    <a:pt x="0" y="0"/>
                    <a:pt x="0" y="1894"/>
                    <a:pt x="1234" y="1894"/>
                  </a:cubicBezTo>
                  <a:cubicBezTo>
                    <a:pt x="2393" y="1894"/>
                    <a:pt x="2393" y="0"/>
                    <a:pt x="1160" y="0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8476;p73">
              <a:extLst>
                <a:ext uri="{FF2B5EF4-FFF2-40B4-BE49-F238E27FC236}">
                  <a16:creationId xmlns:a16="http://schemas.microsoft.com/office/drawing/2014/main" id="{197D32AE-91D8-CFF9-7137-8B2AC30CC26F}"/>
                </a:ext>
              </a:extLst>
            </p:cNvPr>
            <p:cNvSpPr/>
            <p:nvPr/>
          </p:nvSpPr>
          <p:spPr>
            <a:xfrm>
              <a:off x="2736800" y="2663525"/>
              <a:ext cx="59850" cy="47350"/>
            </a:xfrm>
            <a:custGeom>
              <a:avLst/>
              <a:gdLst/>
              <a:ahLst/>
              <a:cxnLst/>
              <a:rect l="l" t="t" r="r" b="b"/>
              <a:pathLst>
                <a:path w="2394" h="1894" extrusionOk="0">
                  <a:moveTo>
                    <a:pt x="1234" y="0"/>
                  </a:moveTo>
                  <a:cubicBezTo>
                    <a:pt x="1" y="0"/>
                    <a:pt x="1" y="1894"/>
                    <a:pt x="1234" y="1894"/>
                  </a:cubicBezTo>
                  <a:cubicBezTo>
                    <a:pt x="2394" y="1894"/>
                    <a:pt x="2394" y="0"/>
                    <a:pt x="1234" y="0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8477;p73">
              <a:extLst>
                <a:ext uri="{FF2B5EF4-FFF2-40B4-BE49-F238E27FC236}">
                  <a16:creationId xmlns:a16="http://schemas.microsoft.com/office/drawing/2014/main" id="{5E87274C-3417-D412-A8A4-40C307DDFB73}"/>
                </a:ext>
              </a:extLst>
            </p:cNvPr>
            <p:cNvSpPr/>
            <p:nvPr/>
          </p:nvSpPr>
          <p:spPr>
            <a:xfrm>
              <a:off x="2804350" y="2539825"/>
              <a:ext cx="58000" cy="45900"/>
            </a:xfrm>
            <a:custGeom>
              <a:avLst/>
              <a:gdLst/>
              <a:ahLst/>
              <a:cxnLst/>
              <a:rect l="l" t="t" r="r" b="b"/>
              <a:pathLst>
                <a:path w="2320" h="1836" extrusionOk="0">
                  <a:moveTo>
                    <a:pt x="1160" y="1"/>
                  </a:moveTo>
                  <a:cubicBezTo>
                    <a:pt x="0" y="1"/>
                    <a:pt x="0" y="1836"/>
                    <a:pt x="1160" y="1836"/>
                  </a:cubicBezTo>
                  <a:cubicBezTo>
                    <a:pt x="2320" y="1836"/>
                    <a:pt x="2320" y="1"/>
                    <a:pt x="1160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8478;p73">
              <a:extLst>
                <a:ext uri="{FF2B5EF4-FFF2-40B4-BE49-F238E27FC236}">
                  <a16:creationId xmlns:a16="http://schemas.microsoft.com/office/drawing/2014/main" id="{2CDEDEAF-27DD-B23D-78DD-1EDED01015E0}"/>
                </a:ext>
              </a:extLst>
            </p:cNvPr>
            <p:cNvSpPr/>
            <p:nvPr/>
          </p:nvSpPr>
          <p:spPr>
            <a:xfrm>
              <a:off x="2700100" y="2807400"/>
              <a:ext cx="59850" cy="45900"/>
            </a:xfrm>
            <a:custGeom>
              <a:avLst/>
              <a:gdLst/>
              <a:ahLst/>
              <a:cxnLst/>
              <a:rect l="l" t="t" r="r" b="b"/>
              <a:pathLst>
                <a:path w="2394" h="1836" extrusionOk="0">
                  <a:moveTo>
                    <a:pt x="1175" y="0"/>
                  </a:moveTo>
                  <a:cubicBezTo>
                    <a:pt x="1" y="0"/>
                    <a:pt x="1" y="1835"/>
                    <a:pt x="1175" y="1835"/>
                  </a:cubicBezTo>
                  <a:cubicBezTo>
                    <a:pt x="2394" y="1835"/>
                    <a:pt x="2394" y="0"/>
                    <a:pt x="1175" y="0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8479;p73">
              <a:extLst>
                <a:ext uri="{FF2B5EF4-FFF2-40B4-BE49-F238E27FC236}">
                  <a16:creationId xmlns:a16="http://schemas.microsoft.com/office/drawing/2014/main" id="{C82BE763-F7F7-6156-05F8-6768E6667604}"/>
                </a:ext>
              </a:extLst>
            </p:cNvPr>
            <p:cNvSpPr/>
            <p:nvPr/>
          </p:nvSpPr>
          <p:spPr>
            <a:xfrm>
              <a:off x="2371625" y="2877850"/>
              <a:ext cx="59475" cy="45900"/>
            </a:xfrm>
            <a:custGeom>
              <a:avLst/>
              <a:gdLst/>
              <a:ahLst/>
              <a:cxnLst/>
              <a:rect l="l" t="t" r="r" b="b"/>
              <a:pathLst>
                <a:path w="2379" h="1836" extrusionOk="0">
                  <a:moveTo>
                    <a:pt x="1160" y="1"/>
                  </a:moveTo>
                  <a:cubicBezTo>
                    <a:pt x="0" y="1"/>
                    <a:pt x="0" y="1836"/>
                    <a:pt x="1160" y="1836"/>
                  </a:cubicBezTo>
                  <a:cubicBezTo>
                    <a:pt x="2379" y="1836"/>
                    <a:pt x="2379" y="1"/>
                    <a:pt x="1160" y="1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8480;p73">
              <a:extLst>
                <a:ext uri="{FF2B5EF4-FFF2-40B4-BE49-F238E27FC236}">
                  <a16:creationId xmlns:a16="http://schemas.microsoft.com/office/drawing/2014/main" id="{CBB5756A-2E18-14C6-E66F-BF99FEE9E5FF}"/>
                </a:ext>
              </a:extLst>
            </p:cNvPr>
            <p:cNvSpPr/>
            <p:nvPr/>
          </p:nvSpPr>
          <p:spPr>
            <a:xfrm>
              <a:off x="2397325" y="3001550"/>
              <a:ext cx="59850" cy="45900"/>
            </a:xfrm>
            <a:custGeom>
              <a:avLst/>
              <a:gdLst/>
              <a:ahLst/>
              <a:cxnLst/>
              <a:rect l="l" t="t" r="r" b="b"/>
              <a:pathLst>
                <a:path w="2394" h="1836" extrusionOk="0">
                  <a:moveTo>
                    <a:pt x="1233" y="0"/>
                  </a:moveTo>
                  <a:cubicBezTo>
                    <a:pt x="0" y="0"/>
                    <a:pt x="73" y="1835"/>
                    <a:pt x="1233" y="1835"/>
                  </a:cubicBezTo>
                  <a:cubicBezTo>
                    <a:pt x="2393" y="1835"/>
                    <a:pt x="2393" y="0"/>
                    <a:pt x="1233" y="0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8481;p73">
              <a:extLst>
                <a:ext uri="{FF2B5EF4-FFF2-40B4-BE49-F238E27FC236}">
                  <a16:creationId xmlns:a16="http://schemas.microsoft.com/office/drawing/2014/main" id="{B3C16CB3-4DE6-B365-674A-AD149D799CC4}"/>
                </a:ext>
              </a:extLst>
            </p:cNvPr>
            <p:cNvSpPr/>
            <p:nvPr/>
          </p:nvSpPr>
          <p:spPr>
            <a:xfrm>
              <a:off x="4482000" y="964575"/>
              <a:ext cx="1007525" cy="368500"/>
            </a:xfrm>
            <a:custGeom>
              <a:avLst/>
              <a:gdLst/>
              <a:ahLst/>
              <a:cxnLst/>
              <a:rect l="l" t="t" r="r" b="b"/>
              <a:pathLst>
                <a:path w="40301" h="14740" extrusionOk="0">
                  <a:moveTo>
                    <a:pt x="23241" y="0"/>
                  </a:moveTo>
                  <a:cubicBezTo>
                    <a:pt x="15651" y="0"/>
                    <a:pt x="15959" y="5329"/>
                    <a:pt x="15959" y="5329"/>
                  </a:cubicBezTo>
                  <a:cubicBezTo>
                    <a:pt x="15959" y="5329"/>
                    <a:pt x="15250" y="5183"/>
                    <a:pt x="14298" y="5183"/>
                  </a:cubicBezTo>
                  <a:cubicBezTo>
                    <a:pt x="12358" y="5183"/>
                    <a:pt x="9411" y="5791"/>
                    <a:pt x="9411" y="9484"/>
                  </a:cubicBezTo>
                  <a:cubicBezTo>
                    <a:pt x="9411" y="9484"/>
                    <a:pt x="8772" y="9332"/>
                    <a:pt x="7968" y="9332"/>
                  </a:cubicBezTo>
                  <a:cubicBezTo>
                    <a:pt x="6606" y="9332"/>
                    <a:pt x="4772" y="9768"/>
                    <a:pt x="4772" y="12112"/>
                  </a:cubicBezTo>
                  <a:lnTo>
                    <a:pt x="1" y="14740"/>
                  </a:lnTo>
                  <a:lnTo>
                    <a:pt x="40300" y="14740"/>
                  </a:lnTo>
                  <a:cubicBezTo>
                    <a:pt x="40300" y="14740"/>
                    <a:pt x="38951" y="10890"/>
                    <a:pt x="35525" y="10890"/>
                  </a:cubicBezTo>
                  <a:cubicBezTo>
                    <a:pt x="35468" y="10890"/>
                    <a:pt x="35411" y="10891"/>
                    <a:pt x="35353" y="10893"/>
                  </a:cubicBezTo>
                  <a:cubicBezTo>
                    <a:pt x="35353" y="10893"/>
                    <a:pt x="35969" y="6724"/>
                    <a:pt x="30581" y="6724"/>
                  </a:cubicBezTo>
                  <a:cubicBezTo>
                    <a:pt x="30581" y="6724"/>
                    <a:pt x="30831" y="0"/>
                    <a:pt x="23241" y="0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8482;p73">
              <a:extLst>
                <a:ext uri="{FF2B5EF4-FFF2-40B4-BE49-F238E27FC236}">
                  <a16:creationId xmlns:a16="http://schemas.microsoft.com/office/drawing/2014/main" id="{49CEB9D2-EC34-E1B6-8451-A344887AEF3E}"/>
                </a:ext>
              </a:extLst>
            </p:cNvPr>
            <p:cNvSpPr/>
            <p:nvPr/>
          </p:nvSpPr>
          <p:spPr>
            <a:xfrm>
              <a:off x="5115125" y="1217075"/>
              <a:ext cx="594600" cy="206300"/>
            </a:xfrm>
            <a:custGeom>
              <a:avLst/>
              <a:gdLst/>
              <a:ahLst/>
              <a:cxnLst/>
              <a:rect l="l" t="t" r="r" b="b"/>
              <a:pathLst>
                <a:path w="23784" h="8252" extrusionOk="0">
                  <a:moveTo>
                    <a:pt x="14241" y="1"/>
                  </a:moveTo>
                  <a:cubicBezTo>
                    <a:pt x="8075" y="1"/>
                    <a:pt x="8075" y="4332"/>
                    <a:pt x="8075" y="4332"/>
                  </a:cubicBezTo>
                  <a:cubicBezTo>
                    <a:pt x="8075" y="4332"/>
                    <a:pt x="7688" y="4276"/>
                    <a:pt x="7147" y="4276"/>
                  </a:cubicBezTo>
                  <a:cubicBezTo>
                    <a:pt x="5915" y="4276"/>
                    <a:pt x="3888" y="4567"/>
                    <a:pt x="3847" y="6475"/>
                  </a:cubicBezTo>
                  <a:lnTo>
                    <a:pt x="0" y="8251"/>
                  </a:lnTo>
                  <a:lnTo>
                    <a:pt x="23549" y="8251"/>
                  </a:lnTo>
                  <a:cubicBezTo>
                    <a:pt x="23549" y="8251"/>
                    <a:pt x="23784" y="4097"/>
                    <a:pt x="20304" y="4097"/>
                  </a:cubicBezTo>
                  <a:cubicBezTo>
                    <a:pt x="20304" y="4097"/>
                    <a:pt x="20422" y="1"/>
                    <a:pt x="14241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8483;p73">
              <a:extLst>
                <a:ext uri="{FF2B5EF4-FFF2-40B4-BE49-F238E27FC236}">
                  <a16:creationId xmlns:a16="http://schemas.microsoft.com/office/drawing/2014/main" id="{6837447D-57E2-1EBC-5533-3B086AA89A1B}"/>
                </a:ext>
              </a:extLst>
            </p:cNvPr>
            <p:cNvSpPr/>
            <p:nvPr/>
          </p:nvSpPr>
          <p:spPr>
            <a:xfrm>
              <a:off x="5110350" y="864775"/>
              <a:ext cx="424725" cy="162575"/>
            </a:xfrm>
            <a:custGeom>
              <a:avLst/>
              <a:gdLst/>
              <a:ahLst/>
              <a:cxnLst/>
              <a:rect l="l" t="t" r="r" b="b"/>
              <a:pathLst>
                <a:path w="16989" h="6503" extrusionOk="0">
                  <a:moveTo>
                    <a:pt x="9636" y="0"/>
                  </a:moveTo>
                  <a:cubicBezTo>
                    <a:pt x="9488" y="0"/>
                    <a:pt x="9335" y="4"/>
                    <a:pt x="9176" y="14"/>
                  </a:cubicBezTo>
                  <a:cubicBezTo>
                    <a:pt x="4831" y="263"/>
                    <a:pt x="4889" y="4183"/>
                    <a:pt x="4889" y="4183"/>
                  </a:cubicBezTo>
                  <a:lnTo>
                    <a:pt x="1" y="6503"/>
                  </a:lnTo>
                  <a:lnTo>
                    <a:pt x="16825" y="6503"/>
                  </a:lnTo>
                  <a:cubicBezTo>
                    <a:pt x="16825" y="6503"/>
                    <a:pt x="16988" y="2992"/>
                    <a:pt x="14119" y="2992"/>
                  </a:cubicBezTo>
                  <a:cubicBezTo>
                    <a:pt x="14008" y="2992"/>
                    <a:pt x="13892" y="2998"/>
                    <a:pt x="13771" y="3009"/>
                  </a:cubicBezTo>
                  <a:cubicBezTo>
                    <a:pt x="13771" y="3009"/>
                    <a:pt x="13485" y="0"/>
                    <a:pt x="9636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8484;p73">
              <a:extLst>
                <a:ext uri="{FF2B5EF4-FFF2-40B4-BE49-F238E27FC236}">
                  <a16:creationId xmlns:a16="http://schemas.microsoft.com/office/drawing/2014/main" id="{C01D1E12-E0EF-32EB-D370-4DE1BB786CED}"/>
                </a:ext>
              </a:extLst>
            </p:cNvPr>
            <p:cNvSpPr/>
            <p:nvPr/>
          </p:nvSpPr>
          <p:spPr>
            <a:xfrm>
              <a:off x="4098100" y="2261250"/>
              <a:ext cx="960150" cy="806025"/>
            </a:xfrm>
            <a:custGeom>
              <a:avLst/>
              <a:gdLst/>
              <a:ahLst/>
              <a:cxnLst/>
              <a:rect l="l" t="t" r="r" b="b"/>
              <a:pathLst>
                <a:path w="38406" h="32241" extrusionOk="0">
                  <a:moveTo>
                    <a:pt x="1" y="1"/>
                  </a:moveTo>
                  <a:lnTo>
                    <a:pt x="1" y="32240"/>
                  </a:lnTo>
                  <a:lnTo>
                    <a:pt x="38406" y="32240"/>
                  </a:lnTo>
                  <a:lnTo>
                    <a:pt x="38406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8485;p73">
              <a:extLst>
                <a:ext uri="{FF2B5EF4-FFF2-40B4-BE49-F238E27FC236}">
                  <a16:creationId xmlns:a16="http://schemas.microsoft.com/office/drawing/2014/main" id="{A747D605-F4C2-63BF-8694-83E04B6BE6B7}"/>
                </a:ext>
              </a:extLst>
            </p:cNvPr>
            <p:cNvSpPr/>
            <p:nvPr/>
          </p:nvSpPr>
          <p:spPr>
            <a:xfrm>
              <a:off x="4142500" y="2198875"/>
              <a:ext cx="874650" cy="62400"/>
            </a:xfrm>
            <a:custGeom>
              <a:avLst/>
              <a:gdLst/>
              <a:ahLst/>
              <a:cxnLst/>
              <a:rect l="l" t="t" r="r" b="b"/>
              <a:pathLst>
                <a:path w="34986" h="2496" extrusionOk="0">
                  <a:moveTo>
                    <a:pt x="1" y="0"/>
                  </a:moveTo>
                  <a:lnTo>
                    <a:pt x="1" y="2496"/>
                  </a:lnTo>
                  <a:lnTo>
                    <a:pt x="34986" y="2496"/>
                  </a:lnTo>
                  <a:lnTo>
                    <a:pt x="34986" y="0"/>
                  </a:ln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8486;p73">
              <a:extLst>
                <a:ext uri="{FF2B5EF4-FFF2-40B4-BE49-F238E27FC236}">
                  <a16:creationId xmlns:a16="http://schemas.microsoft.com/office/drawing/2014/main" id="{B296001F-5A36-A00A-5273-6FFD1A879A0D}"/>
                </a:ext>
              </a:extLst>
            </p:cNvPr>
            <p:cNvSpPr/>
            <p:nvPr/>
          </p:nvSpPr>
          <p:spPr>
            <a:xfrm>
              <a:off x="4223250" y="2085450"/>
              <a:ext cx="33800" cy="113450"/>
            </a:xfrm>
            <a:custGeom>
              <a:avLst/>
              <a:gdLst/>
              <a:ahLst/>
              <a:cxnLst/>
              <a:rect l="l" t="t" r="r" b="b"/>
              <a:pathLst>
                <a:path w="1352" h="4538" extrusionOk="0">
                  <a:moveTo>
                    <a:pt x="1" y="1"/>
                  </a:moveTo>
                  <a:lnTo>
                    <a:pt x="1" y="4537"/>
                  </a:lnTo>
                  <a:lnTo>
                    <a:pt x="1351" y="4537"/>
                  </a:lnTo>
                  <a:lnTo>
                    <a:pt x="1351" y="1"/>
                  </a:ln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8487;p73">
              <a:extLst>
                <a:ext uri="{FF2B5EF4-FFF2-40B4-BE49-F238E27FC236}">
                  <a16:creationId xmlns:a16="http://schemas.microsoft.com/office/drawing/2014/main" id="{9465E2C3-03F6-8319-F40B-A0374A010F0C}"/>
                </a:ext>
              </a:extLst>
            </p:cNvPr>
            <p:cNvSpPr/>
            <p:nvPr/>
          </p:nvSpPr>
          <p:spPr>
            <a:xfrm>
              <a:off x="4307675" y="2122150"/>
              <a:ext cx="29025" cy="76750"/>
            </a:xfrm>
            <a:custGeom>
              <a:avLst/>
              <a:gdLst/>
              <a:ahLst/>
              <a:cxnLst/>
              <a:rect l="l" t="t" r="r" b="b"/>
              <a:pathLst>
                <a:path w="1161" h="3070" extrusionOk="0">
                  <a:moveTo>
                    <a:pt x="0" y="1"/>
                  </a:moveTo>
                  <a:lnTo>
                    <a:pt x="0" y="3069"/>
                  </a:lnTo>
                  <a:lnTo>
                    <a:pt x="1160" y="3069"/>
                  </a:lnTo>
                  <a:lnTo>
                    <a:pt x="1160" y="1"/>
                  </a:ln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8488;p73">
              <a:extLst>
                <a:ext uri="{FF2B5EF4-FFF2-40B4-BE49-F238E27FC236}">
                  <a16:creationId xmlns:a16="http://schemas.microsoft.com/office/drawing/2014/main" id="{F22D1913-336C-59B3-65E6-0D735A6F0576}"/>
                </a:ext>
              </a:extLst>
            </p:cNvPr>
            <p:cNvSpPr/>
            <p:nvPr/>
          </p:nvSpPr>
          <p:spPr>
            <a:xfrm>
              <a:off x="4381075" y="2065625"/>
              <a:ext cx="41125" cy="133275"/>
            </a:xfrm>
            <a:custGeom>
              <a:avLst/>
              <a:gdLst/>
              <a:ahLst/>
              <a:cxnLst/>
              <a:rect l="l" t="t" r="r" b="b"/>
              <a:pathLst>
                <a:path w="1645" h="5331" extrusionOk="0">
                  <a:moveTo>
                    <a:pt x="1" y="1"/>
                  </a:moveTo>
                  <a:lnTo>
                    <a:pt x="1" y="5330"/>
                  </a:lnTo>
                  <a:lnTo>
                    <a:pt x="1645" y="5330"/>
                  </a:lnTo>
                  <a:lnTo>
                    <a:pt x="1645" y="1"/>
                  </a:ln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8489;p73">
              <a:extLst>
                <a:ext uri="{FF2B5EF4-FFF2-40B4-BE49-F238E27FC236}">
                  <a16:creationId xmlns:a16="http://schemas.microsoft.com/office/drawing/2014/main" id="{88281A70-8460-DB8B-C7DD-209701524FA1}"/>
                </a:ext>
              </a:extLst>
            </p:cNvPr>
            <p:cNvSpPr/>
            <p:nvPr/>
          </p:nvSpPr>
          <p:spPr>
            <a:xfrm>
              <a:off x="4501825" y="1462975"/>
              <a:ext cx="123725" cy="50675"/>
            </a:xfrm>
            <a:custGeom>
              <a:avLst/>
              <a:gdLst/>
              <a:ahLst/>
              <a:cxnLst/>
              <a:rect l="l" t="t" r="r" b="b"/>
              <a:pathLst>
                <a:path w="4949" h="2027" extrusionOk="0">
                  <a:moveTo>
                    <a:pt x="59" y="1"/>
                  </a:moveTo>
                  <a:lnTo>
                    <a:pt x="1" y="2027"/>
                  </a:lnTo>
                  <a:lnTo>
                    <a:pt x="4948" y="2027"/>
                  </a:lnTo>
                  <a:lnTo>
                    <a:pt x="4889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8490;p73">
              <a:extLst>
                <a:ext uri="{FF2B5EF4-FFF2-40B4-BE49-F238E27FC236}">
                  <a16:creationId xmlns:a16="http://schemas.microsoft.com/office/drawing/2014/main" id="{C37C8E67-85E7-76BF-8D17-36D228E376BA}"/>
                </a:ext>
              </a:extLst>
            </p:cNvPr>
            <p:cNvSpPr/>
            <p:nvPr/>
          </p:nvSpPr>
          <p:spPr>
            <a:xfrm>
              <a:off x="4503300" y="1409775"/>
              <a:ext cx="120775" cy="53225"/>
            </a:xfrm>
            <a:custGeom>
              <a:avLst/>
              <a:gdLst/>
              <a:ahLst/>
              <a:cxnLst/>
              <a:rect l="l" t="t" r="r" b="b"/>
              <a:pathLst>
                <a:path w="4831" h="2129" extrusionOk="0">
                  <a:moveTo>
                    <a:pt x="59" y="0"/>
                  </a:moveTo>
                  <a:lnTo>
                    <a:pt x="0" y="2129"/>
                  </a:lnTo>
                  <a:lnTo>
                    <a:pt x="4830" y="2129"/>
                  </a:lnTo>
                  <a:lnTo>
                    <a:pt x="4772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8491;p73">
              <a:extLst>
                <a:ext uri="{FF2B5EF4-FFF2-40B4-BE49-F238E27FC236}">
                  <a16:creationId xmlns:a16="http://schemas.microsoft.com/office/drawing/2014/main" id="{79F48E37-DCF8-5761-7F40-7B622C97E63B}"/>
                </a:ext>
              </a:extLst>
            </p:cNvPr>
            <p:cNvSpPr/>
            <p:nvPr/>
          </p:nvSpPr>
          <p:spPr>
            <a:xfrm>
              <a:off x="4500350" y="1513625"/>
              <a:ext cx="125200" cy="36725"/>
            </a:xfrm>
            <a:custGeom>
              <a:avLst/>
              <a:gdLst/>
              <a:ahLst/>
              <a:cxnLst/>
              <a:rect l="l" t="t" r="r" b="b"/>
              <a:pathLst>
                <a:path w="5008" h="1469" extrusionOk="0">
                  <a:moveTo>
                    <a:pt x="60" y="1"/>
                  </a:moveTo>
                  <a:lnTo>
                    <a:pt x="1" y="1469"/>
                  </a:lnTo>
                  <a:lnTo>
                    <a:pt x="5007" y="1469"/>
                  </a:lnTo>
                  <a:lnTo>
                    <a:pt x="5007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8492;p73">
              <a:extLst>
                <a:ext uri="{FF2B5EF4-FFF2-40B4-BE49-F238E27FC236}">
                  <a16:creationId xmlns:a16="http://schemas.microsoft.com/office/drawing/2014/main" id="{902F7E30-AD9E-2928-6217-69AD94243E92}"/>
                </a:ext>
              </a:extLst>
            </p:cNvPr>
            <p:cNvSpPr/>
            <p:nvPr/>
          </p:nvSpPr>
          <p:spPr>
            <a:xfrm>
              <a:off x="4483475" y="1550325"/>
              <a:ext cx="160425" cy="648575"/>
            </a:xfrm>
            <a:custGeom>
              <a:avLst/>
              <a:gdLst/>
              <a:ahLst/>
              <a:cxnLst/>
              <a:rect l="l" t="t" r="r" b="b"/>
              <a:pathLst>
                <a:path w="6417" h="25943" extrusionOk="0">
                  <a:moveTo>
                    <a:pt x="676" y="1"/>
                  </a:moveTo>
                  <a:lnTo>
                    <a:pt x="1" y="25942"/>
                  </a:lnTo>
                  <a:lnTo>
                    <a:pt x="6416" y="25942"/>
                  </a:lnTo>
                  <a:lnTo>
                    <a:pt x="568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8493;p73">
              <a:extLst>
                <a:ext uri="{FF2B5EF4-FFF2-40B4-BE49-F238E27FC236}">
                  <a16:creationId xmlns:a16="http://schemas.microsoft.com/office/drawing/2014/main" id="{3F05E8AA-D65F-79CD-6592-66DF26F3F6E5}"/>
                </a:ext>
              </a:extLst>
            </p:cNvPr>
            <p:cNvSpPr/>
            <p:nvPr/>
          </p:nvSpPr>
          <p:spPr>
            <a:xfrm>
              <a:off x="4723500" y="1462975"/>
              <a:ext cx="123725" cy="50675"/>
            </a:xfrm>
            <a:custGeom>
              <a:avLst/>
              <a:gdLst/>
              <a:ahLst/>
              <a:cxnLst/>
              <a:rect l="l" t="t" r="r" b="b"/>
              <a:pathLst>
                <a:path w="4949" h="2027" extrusionOk="0">
                  <a:moveTo>
                    <a:pt x="60" y="1"/>
                  </a:moveTo>
                  <a:lnTo>
                    <a:pt x="1" y="2027"/>
                  </a:lnTo>
                  <a:lnTo>
                    <a:pt x="4948" y="2027"/>
                  </a:lnTo>
                  <a:lnTo>
                    <a:pt x="4890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8494;p73">
              <a:extLst>
                <a:ext uri="{FF2B5EF4-FFF2-40B4-BE49-F238E27FC236}">
                  <a16:creationId xmlns:a16="http://schemas.microsoft.com/office/drawing/2014/main" id="{334DA768-A092-B61B-F4F4-143CDDA27514}"/>
                </a:ext>
              </a:extLst>
            </p:cNvPr>
            <p:cNvSpPr/>
            <p:nvPr/>
          </p:nvSpPr>
          <p:spPr>
            <a:xfrm>
              <a:off x="4724975" y="1409775"/>
              <a:ext cx="120775" cy="53225"/>
            </a:xfrm>
            <a:custGeom>
              <a:avLst/>
              <a:gdLst/>
              <a:ahLst/>
              <a:cxnLst/>
              <a:rect l="l" t="t" r="r" b="b"/>
              <a:pathLst>
                <a:path w="4831" h="2129" extrusionOk="0">
                  <a:moveTo>
                    <a:pt x="59" y="0"/>
                  </a:moveTo>
                  <a:lnTo>
                    <a:pt x="1" y="2129"/>
                  </a:lnTo>
                  <a:lnTo>
                    <a:pt x="4831" y="2129"/>
                  </a:lnTo>
                  <a:lnTo>
                    <a:pt x="4772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8495;p73">
              <a:extLst>
                <a:ext uri="{FF2B5EF4-FFF2-40B4-BE49-F238E27FC236}">
                  <a16:creationId xmlns:a16="http://schemas.microsoft.com/office/drawing/2014/main" id="{2C6BAE61-F72B-F3EE-5709-51078C14A9FB}"/>
                </a:ext>
              </a:extLst>
            </p:cNvPr>
            <p:cNvSpPr/>
            <p:nvPr/>
          </p:nvSpPr>
          <p:spPr>
            <a:xfrm>
              <a:off x="4722050" y="1513625"/>
              <a:ext cx="125175" cy="36725"/>
            </a:xfrm>
            <a:custGeom>
              <a:avLst/>
              <a:gdLst/>
              <a:ahLst/>
              <a:cxnLst/>
              <a:rect l="l" t="t" r="r" b="b"/>
              <a:pathLst>
                <a:path w="5007" h="1469" extrusionOk="0">
                  <a:moveTo>
                    <a:pt x="59" y="1"/>
                  </a:moveTo>
                  <a:lnTo>
                    <a:pt x="0" y="1469"/>
                  </a:lnTo>
                  <a:lnTo>
                    <a:pt x="5006" y="1469"/>
                  </a:lnTo>
                  <a:lnTo>
                    <a:pt x="5006" y="1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8496;p73">
              <a:extLst>
                <a:ext uri="{FF2B5EF4-FFF2-40B4-BE49-F238E27FC236}">
                  <a16:creationId xmlns:a16="http://schemas.microsoft.com/office/drawing/2014/main" id="{22589D72-4FE5-2C4D-37EE-8D803B2396A8}"/>
                </a:ext>
              </a:extLst>
            </p:cNvPr>
            <p:cNvSpPr/>
            <p:nvPr/>
          </p:nvSpPr>
          <p:spPr>
            <a:xfrm>
              <a:off x="4705150" y="1550325"/>
              <a:ext cx="160425" cy="648575"/>
            </a:xfrm>
            <a:custGeom>
              <a:avLst/>
              <a:gdLst/>
              <a:ahLst/>
              <a:cxnLst/>
              <a:rect l="l" t="t" r="r" b="b"/>
              <a:pathLst>
                <a:path w="6417" h="25943" extrusionOk="0">
                  <a:moveTo>
                    <a:pt x="676" y="1"/>
                  </a:moveTo>
                  <a:lnTo>
                    <a:pt x="1" y="25942"/>
                  </a:lnTo>
                  <a:lnTo>
                    <a:pt x="6416" y="25942"/>
                  </a:lnTo>
                  <a:lnTo>
                    <a:pt x="5682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8497;p73">
              <a:extLst>
                <a:ext uri="{FF2B5EF4-FFF2-40B4-BE49-F238E27FC236}">
                  <a16:creationId xmlns:a16="http://schemas.microsoft.com/office/drawing/2014/main" id="{0DE8363E-894C-3FB9-D011-989307F44704}"/>
                </a:ext>
              </a:extLst>
            </p:cNvPr>
            <p:cNvSpPr/>
            <p:nvPr/>
          </p:nvSpPr>
          <p:spPr>
            <a:xfrm>
              <a:off x="3626850" y="1986000"/>
              <a:ext cx="471275" cy="1081275"/>
            </a:xfrm>
            <a:custGeom>
              <a:avLst/>
              <a:gdLst/>
              <a:ahLst/>
              <a:cxnLst/>
              <a:rect l="l" t="t" r="r" b="b"/>
              <a:pathLst>
                <a:path w="18851" h="43251" extrusionOk="0">
                  <a:moveTo>
                    <a:pt x="3920" y="3186"/>
                  </a:moveTo>
                  <a:lnTo>
                    <a:pt x="3920" y="7649"/>
                  </a:lnTo>
                  <a:lnTo>
                    <a:pt x="1777" y="7649"/>
                  </a:lnTo>
                  <a:lnTo>
                    <a:pt x="1777" y="3186"/>
                  </a:lnTo>
                  <a:close/>
                  <a:moveTo>
                    <a:pt x="8324" y="3186"/>
                  </a:moveTo>
                  <a:lnTo>
                    <a:pt x="8324" y="7649"/>
                  </a:lnTo>
                  <a:lnTo>
                    <a:pt x="6181" y="7649"/>
                  </a:lnTo>
                  <a:lnTo>
                    <a:pt x="6181" y="3186"/>
                  </a:lnTo>
                  <a:close/>
                  <a:moveTo>
                    <a:pt x="12670" y="3186"/>
                  </a:moveTo>
                  <a:lnTo>
                    <a:pt x="12670" y="7649"/>
                  </a:lnTo>
                  <a:lnTo>
                    <a:pt x="10585" y="7649"/>
                  </a:lnTo>
                  <a:lnTo>
                    <a:pt x="10585" y="3186"/>
                  </a:lnTo>
                  <a:close/>
                  <a:moveTo>
                    <a:pt x="17074" y="3186"/>
                  </a:moveTo>
                  <a:lnTo>
                    <a:pt x="17074" y="7649"/>
                  </a:lnTo>
                  <a:lnTo>
                    <a:pt x="14989" y="7649"/>
                  </a:lnTo>
                  <a:lnTo>
                    <a:pt x="14989" y="3186"/>
                  </a:lnTo>
                  <a:close/>
                  <a:moveTo>
                    <a:pt x="3920" y="10585"/>
                  </a:moveTo>
                  <a:lnTo>
                    <a:pt x="3920" y="15048"/>
                  </a:lnTo>
                  <a:lnTo>
                    <a:pt x="1777" y="15048"/>
                  </a:lnTo>
                  <a:lnTo>
                    <a:pt x="1777" y="10585"/>
                  </a:lnTo>
                  <a:close/>
                  <a:moveTo>
                    <a:pt x="8324" y="10585"/>
                  </a:moveTo>
                  <a:lnTo>
                    <a:pt x="8324" y="15048"/>
                  </a:lnTo>
                  <a:lnTo>
                    <a:pt x="6181" y="15048"/>
                  </a:lnTo>
                  <a:lnTo>
                    <a:pt x="6181" y="10585"/>
                  </a:lnTo>
                  <a:close/>
                  <a:moveTo>
                    <a:pt x="12670" y="10585"/>
                  </a:moveTo>
                  <a:lnTo>
                    <a:pt x="12670" y="15048"/>
                  </a:lnTo>
                  <a:lnTo>
                    <a:pt x="10585" y="15048"/>
                  </a:lnTo>
                  <a:lnTo>
                    <a:pt x="10585" y="10585"/>
                  </a:lnTo>
                  <a:close/>
                  <a:moveTo>
                    <a:pt x="17074" y="10585"/>
                  </a:moveTo>
                  <a:lnTo>
                    <a:pt x="17074" y="15048"/>
                  </a:lnTo>
                  <a:lnTo>
                    <a:pt x="14989" y="15048"/>
                  </a:lnTo>
                  <a:lnTo>
                    <a:pt x="14989" y="10585"/>
                  </a:lnTo>
                  <a:close/>
                  <a:moveTo>
                    <a:pt x="3920" y="17500"/>
                  </a:moveTo>
                  <a:lnTo>
                    <a:pt x="3920" y="22022"/>
                  </a:lnTo>
                  <a:lnTo>
                    <a:pt x="1777" y="22022"/>
                  </a:lnTo>
                  <a:lnTo>
                    <a:pt x="1777" y="17500"/>
                  </a:lnTo>
                  <a:close/>
                  <a:moveTo>
                    <a:pt x="8324" y="17500"/>
                  </a:moveTo>
                  <a:lnTo>
                    <a:pt x="8324" y="22022"/>
                  </a:lnTo>
                  <a:lnTo>
                    <a:pt x="6181" y="22022"/>
                  </a:lnTo>
                  <a:lnTo>
                    <a:pt x="6181" y="17500"/>
                  </a:lnTo>
                  <a:close/>
                  <a:moveTo>
                    <a:pt x="12670" y="17500"/>
                  </a:moveTo>
                  <a:lnTo>
                    <a:pt x="12670" y="22022"/>
                  </a:lnTo>
                  <a:lnTo>
                    <a:pt x="10585" y="22022"/>
                  </a:lnTo>
                  <a:lnTo>
                    <a:pt x="10585" y="17500"/>
                  </a:lnTo>
                  <a:close/>
                  <a:moveTo>
                    <a:pt x="17074" y="17500"/>
                  </a:moveTo>
                  <a:lnTo>
                    <a:pt x="17074" y="22022"/>
                  </a:lnTo>
                  <a:lnTo>
                    <a:pt x="14989" y="22022"/>
                  </a:lnTo>
                  <a:lnTo>
                    <a:pt x="14989" y="17500"/>
                  </a:lnTo>
                  <a:close/>
                  <a:moveTo>
                    <a:pt x="3920" y="24899"/>
                  </a:moveTo>
                  <a:lnTo>
                    <a:pt x="3920" y="29362"/>
                  </a:lnTo>
                  <a:lnTo>
                    <a:pt x="1777" y="29362"/>
                  </a:lnTo>
                  <a:lnTo>
                    <a:pt x="1777" y="24899"/>
                  </a:lnTo>
                  <a:close/>
                  <a:moveTo>
                    <a:pt x="8324" y="24899"/>
                  </a:moveTo>
                  <a:lnTo>
                    <a:pt x="8324" y="29362"/>
                  </a:lnTo>
                  <a:lnTo>
                    <a:pt x="6181" y="29362"/>
                  </a:lnTo>
                  <a:lnTo>
                    <a:pt x="6181" y="24899"/>
                  </a:lnTo>
                  <a:close/>
                  <a:moveTo>
                    <a:pt x="12670" y="24899"/>
                  </a:moveTo>
                  <a:lnTo>
                    <a:pt x="12670" y="29362"/>
                  </a:lnTo>
                  <a:lnTo>
                    <a:pt x="10585" y="29362"/>
                  </a:lnTo>
                  <a:lnTo>
                    <a:pt x="10585" y="24899"/>
                  </a:lnTo>
                  <a:close/>
                  <a:moveTo>
                    <a:pt x="17074" y="24899"/>
                  </a:moveTo>
                  <a:lnTo>
                    <a:pt x="17074" y="29362"/>
                  </a:lnTo>
                  <a:lnTo>
                    <a:pt x="14989" y="29362"/>
                  </a:lnTo>
                  <a:lnTo>
                    <a:pt x="14989" y="24899"/>
                  </a:lnTo>
                  <a:close/>
                  <a:moveTo>
                    <a:pt x="0" y="0"/>
                  </a:moveTo>
                  <a:lnTo>
                    <a:pt x="0" y="43250"/>
                  </a:lnTo>
                  <a:lnTo>
                    <a:pt x="18851" y="43250"/>
                  </a:lnTo>
                  <a:lnTo>
                    <a:pt x="18851" y="0"/>
                  </a:ln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8498;p73">
              <a:extLst>
                <a:ext uri="{FF2B5EF4-FFF2-40B4-BE49-F238E27FC236}">
                  <a16:creationId xmlns:a16="http://schemas.microsoft.com/office/drawing/2014/main" id="{F659F65E-9801-BCD2-365E-C18F18FBCF52}"/>
                </a:ext>
              </a:extLst>
            </p:cNvPr>
            <p:cNvSpPr/>
            <p:nvPr/>
          </p:nvSpPr>
          <p:spPr>
            <a:xfrm>
              <a:off x="3662075" y="1892775"/>
              <a:ext cx="400825" cy="93250"/>
            </a:xfrm>
            <a:custGeom>
              <a:avLst/>
              <a:gdLst/>
              <a:ahLst/>
              <a:cxnLst/>
              <a:rect l="l" t="t" r="r" b="b"/>
              <a:pathLst>
                <a:path w="16033" h="3730" extrusionOk="0">
                  <a:moveTo>
                    <a:pt x="1" y="0"/>
                  </a:moveTo>
                  <a:lnTo>
                    <a:pt x="1" y="3729"/>
                  </a:lnTo>
                  <a:lnTo>
                    <a:pt x="16032" y="3729"/>
                  </a:lnTo>
                  <a:lnTo>
                    <a:pt x="16032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8499;p73">
              <a:extLst>
                <a:ext uri="{FF2B5EF4-FFF2-40B4-BE49-F238E27FC236}">
                  <a16:creationId xmlns:a16="http://schemas.microsoft.com/office/drawing/2014/main" id="{50DACADB-D83E-AFA7-5855-3BA82D67F75C}"/>
                </a:ext>
              </a:extLst>
            </p:cNvPr>
            <p:cNvSpPr/>
            <p:nvPr/>
          </p:nvSpPr>
          <p:spPr>
            <a:xfrm>
              <a:off x="3721900" y="1567225"/>
              <a:ext cx="283000" cy="325575"/>
            </a:xfrm>
            <a:custGeom>
              <a:avLst/>
              <a:gdLst/>
              <a:ahLst/>
              <a:cxnLst/>
              <a:rect l="l" t="t" r="r" b="b"/>
              <a:pathLst>
                <a:path w="11320" h="13023" extrusionOk="0">
                  <a:moveTo>
                    <a:pt x="1" y="0"/>
                  </a:moveTo>
                  <a:lnTo>
                    <a:pt x="1" y="13022"/>
                  </a:lnTo>
                  <a:lnTo>
                    <a:pt x="11320" y="13022"/>
                  </a:lnTo>
                  <a:lnTo>
                    <a:pt x="11320" y="0"/>
                  </a:ln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8500;p73">
              <a:extLst>
                <a:ext uri="{FF2B5EF4-FFF2-40B4-BE49-F238E27FC236}">
                  <a16:creationId xmlns:a16="http://schemas.microsoft.com/office/drawing/2014/main" id="{36FCD408-50A8-A28B-D637-870430E46655}"/>
                </a:ext>
              </a:extLst>
            </p:cNvPr>
            <p:cNvSpPr/>
            <p:nvPr/>
          </p:nvSpPr>
          <p:spPr>
            <a:xfrm>
              <a:off x="3743200" y="1496750"/>
              <a:ext cx="238575" cy="70500"/>
            </a:xfrm>
            <a:custGeom>
              <a:avLst/>
              <a:gdLst/>
              <a:ahLst/>
              <a:cxnLst/>
              <a:rect l="l" t="t" r="r" b="b"/>
              <a:pathLst>
                <a:path w="9543" h="2820" extrusionOk="0">
                  <a:moveTo>
                    <a:pt x="0" y="1"/>
                  </a:moveTo>
                  <a:lnTo>
                    <a:pt x="0" y="2819"/>
                  </a:lnTo>
                  <a:lnTo>
                    <a:pt x="9543" y="2819"/>
                  </a:lnTo>
                  <a:lnTo>
                    <a:pt x="9543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8501;p73">
              <a:extLst>
                <a:ext uri="{FF2B5EF4-FFF2-40B4-BE49-F238E27FC236}">
                  <a16:creationId xmlns:a16="http://schemas.microsoft.com/office/drawing/2014/main" id="{D604BC77-9056-2149-006A-DEB2B39C3D4A}"/>
                </a:ext>
              </a:extLst>
            </p:cNvPr>
            <p:cNvSpPr/>
            <p:nvPr/>
          </p:nvSpPr>
          <p:spPr>
            <a:xfrm>
              <a:off x="3773650" y="1429575"/>
              <a:ext cx="177675" cy="67200"/>
            </a:xfrm>
            <a:custGeom>
              <a:avLst/>
              <a:gdLst/>
              <a:ahLst/>
              <a:cxnLst/>
              <a:rect l="l" t="t" r="r" b="b"/>
              <a:pathLst>
                <a:path w="7107" h="2688" extrusionOk="0">
                  <a:moveTo>
                    <a:pt x="1" y="1"/>
                  </a:moveTo>
                  <a:lnTo>
                    <a:pt x="1" y="2688"/>
                  </a:lnTo>
                  <a:lnTo>
                    <a:pt x="7106" y="2688"/>
                  </a:lnTo>
                  <a:lnTo>
                    <a:pt x="7106" y="1"/>
                  </a:ln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8502;p73">
              <a:extLst>
                <a:ext uri="{FF2B5EF4-FFF2-40B4-BE49-F238E27FC236}">
                  <a16:creationId xmlns:a16="http://schemas.microsoft.com/office/drawing/2014/main" id="{3935C143-5585-23F1-3AFF-C5085468546D}"/>
                </a:ext>
              </a:extLst>
            </p:cNvPr>
            <p:cNvSpPr/>
            <p:nvPr/>
          </p:nvSpPr>
          <p:spPr>
            <a:xfrm>
              <a:off x="3803025" y="1986000"/>
              <a:ext cx="1169725" cy="1081275"/>
            </a:xfrm>
            <a:custGeom>
              <a:avLst/>
              <a:gdLst/>
              <a:ahLst/>
              <a:cxnLst/>
              <a:rect l="l" t="t" r="r" b="b"/>
              <a:pathLst>
                <a:path w="46789" h="43251" extrusionOk="0">
                  <a:moveTo>
                    <a:pt x="17735" y="31447"/>
                  </a:moveTo>
                  <a:lnTo>
                    <a:pt x="17735" y="36277"/>
                  </a:lnTo>
                  <a:lnTo>
                    <a:pt x="12112" y="36277"/>
                  </a:lnTo>
                  <a:lnTo>
                    <a:pt x="12112" y="31447"/>
                  </a:lnTo>
                  <a:close/>
                  <a:moveTo>
                    <a:pt x="26543" y="31447"/>
                  </a:moveTo>
                  <a:lnTo>
                    <a:pt x="26543" y="36277"/>
                  </a:lnTo>
                  <a:lnTo>
                    <a:pt x="20920" y="36277"/>
                  </a:lnTo>
                  <a:lnTo>
                    <a:pt x="20920" y="31447"/>
                  </a:lnTo>
                  <a:close/>
                  <a:moveTo>
                    <a:pt x="34985" y="31447"/>
                  </a:moveTo>
                  <a:lnTo>
                    <a:pt x="34985" y="36277"/>
                  </a:lnTo>
                  <a:lnTo>
                    <a:pt x="29362" y="36277"/>
                  </a:lnTo>
                  <a:lnTo>
                    <a:pt x="29362" y="31447"/>
                  </a:lnTo>
                  <a:close/>
                  <a:moveTo>
                    <a:pt x="43793" y="31447"/>
                  </a:moveTo>
                  <a:lnTo>
                    <a:pt x="43793" y="36277"/>
                  </a:lnTo>
                  <a:lnTo>
                    <a:pt x="38171" y="36277"/>
                  </a:lnTo>
                  <a:lnTo>
                    <a:pt x="38171" y="31447"/>
                  </a:lnTo>
                  <a:close/>
                  <a:moveTo>
                    <a:pt x="34867" y="0"/>
                  </a:moveTo>
                  <a:lnTo>
                    <a:pt x="34867" y="27718"/>
                  </a:lnTo>
                  <a:lnTo>
                    <a:pt x="32298" y="27718"/>
                  </a:lnTo>
                  <a:lnTo>
                    <a:pt x="32298" y="19585"/>
                  </a:lnTo>
                  <a:lnTo>
                    <a:pt x="24150" y="27718"/>
                  </a:lnTo>
                  <a:lnTo>
                    <a:pt x="24150" y="20128"/>
                  </a:lnTo>
                  <a:lnTo>
                    <a:pt x="16516" y="27718"/>
                  </a:lnTo>
                  <a:lnTo>
                    <a:pt x="16575" y="20069"/>
                  </a:lnTo>
                  <a:lnTo>
                    <a:pt x="9968" y="26617"/>
                  </a:lnTo>
                  <a:lnTo>
                    <a:pt x="9968" y="36335"/>
                  </a:lnTo>
                  <a:lnTo>
                    <a:pt x="0" y="36335"/>
                  </a:lnTo>
                  <a:lnTo>
                    <a:pt x="0" y="43250"/>
                  </a:lnTo>
                  <a:lnTo>
                    <a:pt x="46788" y="43250"/>
                  </a:lnTo>
                  <a:lnTo>
                    <a:pt x="46788" y="7532"/>
                  </a:lnTo>
                  <a:lnTo>
                    <a:pt x="42942" y="7532"/>
                  </a:lnTo>
                  <a:lnTo>
                    <a:pt x="42942" y="27718"/>
                  </a:lnTo>
                  <a:lnTo>
                    <a:pt x="39389" y="27718"/>
                  </a:lnTo>
                  <a:lnTo>
                    <a:pt x="39389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8503;p73">
              <a:extLst>
                <a:ext uri="{FF2B5EF4-FFF2-40B4-BE49-F238E27FC236}">
                  <a16:creationId xmlns:a16="http://schemas.microsoft.com/office/drawing/2014/main" id="{F37C13FD-BE84-B6CC-7669-E9F049921E89}"/>
                </a:ext>
              </a:extLst>
            </p:cNvPr>
            <p:cNvSpPr/>
            <p:nvPr/>
          </p:nvSpPr>
          <p:spPr>
            <a:xfrm>
              <a:off x="5021525" y="1989300"/>
              <a:ext cx="471300" cy="1079425"/>
            </a:xfrm>
            <a:custGeom>
              <a:avLst/>
              <a:gdLst/>
              <a:ahLst/>
              <a:cxnLst/>
              <a:rect l="l" t="t" r="r" b="b"/>
              <a:pathLst>
                <a:path w="18852" h="43177" extrusionOk="0">
                  <a:moveTo>
                    <a:pt x="3921" y="3171"/>
                  </a:moveTo>
                  <a:lnTo>
                    <a:pt x="3921" y="7649"/>
                  </a:lnTo>
                  <a:lnTo>
                    <a:pt x="1777" y="7649"/>
                  </a:lnTo>
                  <a:lnTo>
                    <a:pt x="1777" y="3171"/>
                  </a:lnTo>
                  <a:close/>
                  <a:moveTo>
                    <a:pt x="8325" y="3171"/>
                  </a:moveTo>
                  <a:lnTo>
                    <a:pt x="8325" y="7649"/>
                  </a:lnTo>
                  <a:lnTo>
                    <a:pt x="6182" y="7649"/>
                  </a:lnTo>
                  <a:lnTo>
                    <a:pt x="6182" y="3171"/>
                  </a:lnTo>
                  <a:close/>
                  <a:moveTo>
                    <a:pt x="12729" y="3171"/>
                  </a:moveTo>
                  <a:lnTo>
                    <a:pt x="12729" y="7649"/>
                  </a:lnTo>
                  <a:lnTo>
                    <a:pt x="10586" y="7649"/>
                  </a:lnTo>
                  <a:lnTo>
                    <a:pt x="10586" y="3171"/>
                  </a:lnTo>
                  <a:close/>
                  <a:moveTo>
                    <a:pt x="17133" y="3171"/>
                  </a:moveTo>
                  <a:lnTo>
                    <a:pt x="17133" y="7649"/>
                  </a:lnTo>
                  <a:lnTo>
                    <a:pt x="14990" y="7649"/>
                  </a:lnTo>
                  <a:lnTo>
                    <a:pt x="14990" y="3171"/>
                  </a:lnTo>
                  <a:close/>
                  <a:moveTo>
                    <a:pt x="3921" y="10512"/>
                  </a:moveTo>
                  <a:lnTo>
                    <a:pt x="3921" y="14990"/>
                  </a:lnTo>
                  <a:lnTo>
                    <a:pt x="1777" y="14990"/>
                  </a:lnTo>
                  <a:lnTo>
                    <a:pt x="1777" y="10512"/>
                  </a:lnTo>
                  <a:close/>
                  <a:moveTo>
                    <a:pt x="8325" y="10512"/>
                  </a:moveTo>
                  <a:lnTo>
                    <a:pt x="8325" y="14990"/>
                  </a:lnTo>
                  <a:lnTo>
                    <a:pt x="6182" y="14990"/>
                  </a:lnTo>
                  <a:lnTo>
                    <a:pt x="6182" y="10512"/>
                  </a:lnTo>
                  <a:close/>
                  <a:moveTo>
                    <a:pt x="12729" y="10512"/>
                  </a:moveTo>
                  <a:lnTo>
                    <a:pt x="12729" y="14990"/>
                  </a:lnTo>
                  <a:lnTo>
                    <a:pt x="10586" y="14990"/>
                  </a:lnTo>
                  <a:lnTo>
                    <a:pt x="10586" y="10512"/>
                  </a:lnTo>
                  <a:close/>
                  <a:moveTo>
                    <a:pt x="17133" y="10512"/>
                  </a:moveTo>
                  <a:lnTo>
                    <a:pt x="17133" y="14990"/>
                  </a:lnTo>
                  <a:lnTo>
                    <a:pt x="14990" y="14990"/>
                  </a:lnTo>
                  <a:lnTo>
                    <a:pt x="14990" y="10512"/>
                  </a:lnTo>
                  <a:close/>
                  <a:moveTo>
                    <a:pt x="3921" y="17485"/>
                  </a:moveTo>
                  <a:lnTo>
                    <a:pt x="3921" y="21963"/>
                  </a:lnTo>
                  <a:lnTo>
                    <a:pt x="1777" y="21963"/>
                  </a:lnTo>
                  <a:lnTo>
                    <a:pt x="1777" y="17485"/>
                  </a:lnTo>
                  <a:close/>
                  <a:moveTo>
                    <a:pt x="8325" y="17485"/>
                  </a:moveTo>
                  <a:lnTo>
                    <a:pt x="8325" y="21963"/>
                  </a:lnTo>
                  <a:lnTo>
                    <a:pt x="6182" y="21963"/>
                  </a:lnTo>
                  <a:lnTo>
                    <a:pt x="6182" y="17485"/>
                  </a:lnTo>
                  <a:close/>
                  <a:moveTo>
                    <a:pt x="12729" y="17485"/>
                  </a:moveTo>
                  <a:lnTo>
                    <a:pt x="12729" y="21963"/>
                  </a:lnTo>
                  <a:lnTo>
                    <a:pt x="10586" y="21963"/>
                  </a:lnTo>
                  <a:lnTo>
                    <a:pt x="10586" y="17485"/>
                  </a:lnTo>
                  <a:close/>
                  <a:moveTo>
                    <a:pt x="17133" y="17485"/>
                  </a:moveTo>
                  <a:lnTo>
                    <a:pt x="17133" y="21963"/>
                  </a:lnTo>
                  <a:lnTo>
                    <a:pt x="14990" y="21963"/>
                  </a:lnTo>
                  <a:lnTo>
                    <a:pt x="14990" y="17485"/>
                  </a:lnTo>
                  <a:close/>
                  <a:moveTo>
                    <a:pt x="3921" y="24899"/>
                  </a:moveTo>
                  <a:lnTo>
                    <a:pt x="3921" y="29362"/>
                  </a:lnTo>
                  <a:lnTo>
                    <a:pt x="1777" y="29362"/>
                  </a:lnTo>
                  <a:lnTo>
                    <a:pt x="1777" y="24899"/>
                  </a:lnTo>
                  <a:close/>
                  <a:moveTo>
                    <a:pt x="8325" y="24899"/>
                  </a:moveTo>
                  <a:lnTo>
                    <a:pt x="8325" y="29362"/>
                  </a:lnTo>
                  <a:lnTo>
                    <a:pt x="6182" y="29362"/>
                  </a:lnTo>
                  <a:lnTo>
                    <a:pt x="6182" y="24899"/>
                  </a:lnTo>
                  <a:close/>
                  <a:moveTo>
                    <a:pt x="12729" y="24899"/>
                  </a:moveTo>
                  <a:lnTo>
                    <a:pt x="12729" y="29362"/>
                  </a:lnTo>
                  <a:lnTo>
                    <a:pt x="10586" y="29362"/>
                  </a:lnTo>
                  <a:lnTo>
                    <a:pt x="10586" y="24899"/>
                  </a:lnTo>
                  <a:close/>
                  <a:moveTo>
                    <a:pt x="17133" y="24899"/>
                  </a:moveTo>
                  <a:lnTo>
                    <a:pt x="17133" y="29362"/>
                  </a:lnTo>
                  <a:lnTo>
                    <a:pt x="14990" y="29362"/>
                  </a:lnTo>
                  <a:lnTo>
                    <a:pt x="14990" y="24899"/>
                  </a:lnTo>
                  <a:close/>
                  <a:moveTo>
                    <a:pt x="1" y="0"/>
                  </a:moveTo>
                  <a:lnTo>
                    <a:pt x="1" y="43177"/>
                  </a:lnTo>
                  <a:lnTo>
                    <a:pt x="18851" y="43177"/>
                  </a:lnTo>
                  <a:lnTo>
                    <a:pt x="18851" y="0"/>
                  </a:ln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8504;p73">
              <a:extLst>
                <a:ext uri="{FF2B5EF4-FFF2-40B4-BE49-F238E27FC236}">
                  <a16:creationId xmlns:a16="http://schemas.microsoft.com/office/drawing/2014/main" id="{94CF6C77-4468-FF30-F34F-51341FDFF541}"/>
                </a:ext>
              </a:extLst>
            </p:cNvPr>
            <p:cNvSpPr/>
            <p:nvPr/>
          </p:nvSpPr>
          <p:spPr>
            <a:xfrm>
              <a:off x="5058225" y="1894225"/>
              <a:ext cx="399350" cy="95100"/>
            </a:xfrm>
            <a:custGeom>
              <a:avLst/>
              <a:gdLst/>
              <a:ahLst/>
              <a:cxnLst/>
              <a:rect l="l" t="t" r="r" b="b"/>
              <a:pathLst>
                <a:path w="15974" h="3804" extrusionOk="0">
                  <a:moveTo>
                    <a:pt x="1" y="1"/>
                  </a:moveTo>
                  <a:lnTo>
                    <a:pt x="1" y="3803"/>
                  </a:lnTo>
                  <a:lnTo>
                    <a:pt x="15974" y="3803"/>
                  </a:lnTo>
                  <a:lnTo>
                    <a:pt x="15974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1" name="Google Shape;8505;p73">
              <a:extLst>
                <a:ext uri="{FF2B5EF4-FFF2-40B4-BE49-F238E27FC236}">
                  <a16:creationId xmlns:a16="http://schemas.microsoft.com/office/drawing/2014/main" id="{1ECC8899-8647-1A0F-79C8-6F220E155525}"/>
                </a:ext>
              </a:extLst>
            </p:cNvPr>
            <p:cNvSpPr/>
            <p:nvPr/>
          </p:nvSpPr>
          <p:spPr>
            <a:xfrm>
              <a:off x="5116600" y="1732375"/>
              <a:ext cx="283000" cy="161875"/>
            </a:xfrm>
            <a:custGeom>
              <a:avLst/>
              <a:gdLst/>
              <a:ahLst/>
              <a:cxnLst/>
              <a:rect l="l" t="t" r="r" b="b"/>
              <a:pathLst>
                <a:path w="11320" h="6475" extrusionOk="0">
                  <a:moveTo>
                    <a:pt x="5623" y="1"/>
                  </a:moveTo>
                  <a:lnTo>
                    <a:pt x="0" y="6475"/>
                  </a:lnTo>
                  <a:lnTo>
                    <a:pt x="11319" y="6475"/>
                  </a:lnTo>
                  <a:lnTo>
                    <a:pt x="5623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2" name="Google Shape;8506;p73">
              <a:extLst>
                <a:ext uri="{FF2B5EF4-FFF2-40B4-BE49-F238E27FC236}">
                  <a16:creationId xmlns:a16="http://schemas.microsoft.com/office/drawing/2014/main" id="{5C0310B0-77D7-92CE-75E9-709C81112042}"/>
                </a:ext>
              </a:extLst>
            </p:cNvPr>
            <p:cNvSpPr/>
            <p:nvPr/>
          </p:nvSpPr>
          <p:spPr>
            <a:xfrm>
              <a:off x="2929500" y="3132950"/>
              <a:ext cx="916125" cy="1021800"/>
            </a:xfrm>
            <a:custGeom>
              <a:avLst/>
              <a:gdLst/>
              <a:ahLst/>
              <a:cxnLst/>
              <a:rect l="l" t="t" r="r" b="b"/>
              <a:pathLst>
                <a:path w="36645" h="40872" extrusionOk="0">
                  <a:moveTo>
                    <a:pt x="17500" y="2643"/>
                  </a:moveTo>
                  <a:cubicBezTo>
                    <a:pt x="20260" y="2643"/>
                    <a:pt x="22947" y="3861"/>
                    <a:pt x="25031" y="6739"/>
                  </a:cubicBezTo>
                  <a:cubicBezTo>
                    <a:pt x="27777" y="10585"/>
                    <a:pt x="27718" y="15665"/>
                    <a:pt x="28335" y="20318"/>
                  </a:cubicBezTo>
                  <a:cubicBezTo>
                    <a:pt x="28261" y="25325"/>
                    <a:pt x="33341" y="30830"/>
                    <a:pt x="30170" y="35425"/>
                  </a:cubicBezTo>
                  <a:cubicBezTo>
                    <a:pt x="29127" y="36159"/>
                    <a:pt x="28085" y="36409"/>
                    <a:pt x="27043" y="36409"/>
                  </a:cubicBezTo>
                  <a:cubicBezTo>
                    <a:pt x="22521" y="36409"/>
                    <a:pt x="18293" y="30463"/>
                    <a:pt x="14138" y="28877"/>
                  </a:cubicBezTo>
                  <a:cubicBezTo>
                    <a:pt x="9734" y="26367"/>
                    <a:pt x="4170" y="23431"/>
                    <a:pt x="3494" y="17867"/>
                  </a:cubicBezTo>
                  <a:cubicBezTo>
                    <a:pt x="3069" y="10468"/>
                    <a:pt x="10468" y="2643"/>
                    <a:pt x="17500" y="2643"/>
                  </a:cubicBezTo>
                  <a:close/>
                  <a:moveTo>
                    <a:pt x="17559" y="0"/>
                  </a:moveTo>
                  <a:cubicBezTo>
                    <a:pt x="9059" y="0"/>
                    <a:pt x="0" y="9425"/>
                    <a:pt x="617" y="18425"/>
                  </a:cubicBezTo>
                  <a:cubicBezTo>
                    <a:pt x="1410" y="25148"/>
                    <a:pt x="8148" y="28701"/>
                    <a:pt x="13463" y="31696"/>
                  </a:cubicBezTo>
                  <a:cubicBezTo>
                    <a:pt x="18542" y="33649"/>
                    <a:pt x="23622" y="40872"/>
                    <a:pt x="29127" y="40872"/>
                  </a:cubicBezTo>
                  <a:cubicBezTo>
                    <a:pt x="30346" y="40872"/>
                    <a:pt x="31564" y="40505"/>
                    <a:pt x="32856" y="39638"/>
                  </a:cubicBezTo>
                  <a:cubicBezTo>
                    <a:pt x="36644" y="34133"/>
                    <a:pt x="30537" y="27409"/>
                    <a:pt x="30654" y="21361"/>
                  </a:cubicBezTo>
                  <a:cubicBezTo>
                    <a:pt x="29861" y="15723"/>
                    <a:pt x="29979" y="9616"/>
                    <a:pt x="26676" y="4962"/>
                  </a:cubicBezTo>
                  <a:cubicBezTo>
                    <a:pt x="24107" y="1468"/>
                    <a:pt x="20862" y="0"/>
                    <a:pt x="17559" y="0"/>
                  </a:cubicBezTo>
                  <a:close/>
                </a:path>
              </a:pathLst>
            </a:custGeom>
            <a:solidFill>
              <a:srgbClr val="7689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3" name="Google Shape;8507;p73">
              <a:extLst>
                <a:ext uri="{FF2B5EF4-FFF2-40B4-BE49-F238E27FC236}">
                  <a16:creationId xmlns:a16="http://schemas.microsoft.com/office/drawing/2014/main" id="{054FB136-3362-20DC-AC3E-74D8A8D36EC7}"/>
                </a:ext>
              </a:extLst>
            </p:cNvPr>
            <p:cNvSpPr/>
            <p:nvPr/>
          </p:nvSpPr>
          <p:spPr>
            <a:xfrm>
              <a:off x="3006200" y="3199000"/>
              <a:ext cx="756825" cy="844175"/>
            </a:xfrm>
            <a:custGeom>
              <a:avLst/>
              <a:gdLst/>
              <a:ahLst/>
              <a:cxnLst/>
              <a:rect l="l" t="t" r="r" b="b"/>
              <a:pathLst>
                <a:path w="30273" h="33767" extrusionOk="0">
                  <a:moveTo>
                    <a:pt x="14432" y="1"/>
                  </a:moveTo>
                  <a:cubicBezTo>
                    <a:pt x="7400" y="1"/>
                    <a:pt x="1" y="7826"/>
                    <a:pt x="426" y="15225"/>
                  </a:cubicBezTo>
                  <a:cubicBezTo>
                    <a:pt x="1102" y="20789"/>
                    <a:pt x="6666" y="23725"/>
                    <a:pt x="11070" y="26235"/>
                  </a:cubicBezTo>
                  <a:cubicBezTo>
                    <a:pt x="15225" y="27821"/>
                    <a:pt x="19453" y="33767"/>
                    <a:pt x="23975" y="33767"/>
                  </a:cubicBezTo>
                  <a:cubicBezTo>
                    <a:pt x="25017" y="33767"/>
                    <a:pt x="26059" y="33517"/>
                    <a:pt x="27102" y="32783"/>
                  </a:cubicBezTo>
                  <a:cubicBezTo>
                    <a:pt x="30273" y="28188"/>
                    <a:pt x="25193" y="22683"/>
                    <a:pt x="25267" y="17676"/>
                  </a:cubicBezTo>
                  <a:cubicBezTo>
                    <a:pt x="24650" y="13023"/>
                    <a:pt x="24709" y="7943"/>
                    <a:pt x="21963" y="4097"/>
                  </a:cubicBezTo>
                  <a:cubicBezTo>
                    <a:pt x="19879" y="1219"/>
                    <a:pt x="17192" y="1"/>
                    <a:pt x="14432" y="1"/>
                  </a:cubicBezTo>
                  <a:close/>
                </a:path>
              </a:pathLst>
            </a:custGeom>
            <a:solidFill>
              <a:srgbClr val="6E787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4" name="Google Shape;8508;p73">
              <a:extLst>
                <a:ext uri="{FF2B5EF4-FFF2-40B4-BE49-F238E27FC236}">
                  <a16:creationId xmlns:a16="http://schemas.microsoft.com/office/drawing/2014/main" id="{4415BBA7-23B8-70F9-8C52-A27DB1A2320A}"/>
                </a:ext>
              </a:extLst>
            </p:cNvPr>
            <p:cNvSpPr/>
            <p:nvPr/>
          </p:nvSpPr>
          <p:spPr>
            <a:xfrm>
              <a:off x="6140950" y="2510825"/>
              <a:ext cx="146850" cy="273475"/>
            </a:xfrm>
            <a:custGeom>
              <a:avLst/>
              <a:gdLst/>
              <a:ahLst/>
              <a:cxnLst/>
              <a:rect l="l" t="t" r="r" b="b"/>
              <a:pathLst>
                <a:path w="5874" h="10939" extrusionOk="0">
                  <a:moveTo>
                    <a:pt x="1" y="1"/>
                  </a:moveTo>
                  <a:lnTo>
                    <a:pt x="1" y="1469"/>
                  </a:lnTo>
                  <a:lnTo>
                    <a:pt x="2570" y="1469"/>
                  </a:lnTo>
                  <a:cubicBezTo>
                    <a:pt x="3495" y="1469"/>
                    <a:pt x="4229" y="2071"/>
                    <a:pt x="4229" y="2805"/>
                  </a:cubicBezTo>
                  <a:lnTo>
                    <a:pt x="4229" y="10938"/>
                  </a:lnTo>
                  <a:lnTo>
                    <a:pt x="5873" y="10938"/>
                  </a:lnTo>
                  <a:lnTo>
                    <a:pt x="5873" y="2805"/>
                  </a:lnTo>
                  <a:cubicBezTo>
                    <a:pt x="5873" y="1278"/>
                    <a:pt x="4405" y="1"/>
                    <a:pt x="2570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5" name="Google Shape;8509;p73">
              <a:extLst>
                <a:ext uri="{FF2B5EF4-FFF2-40B4-BE49-F238E27FC236}">
                  <a16:creationId xmlns:a16="http://schemas.microsoft.com/office/drawing/2014/main" id="{5A60485F-8DEB-EDA4-826A-4A57E5F5DF70}"/>
                </a:ext>
              </a:extLst>
            </p:cNvPr>
            <p:cNvSpPr/>
            <p:nvPr/>
          </p:nvSpPr>
          <p:spPr>
            <a:xfrm>
              <a:off x="6032675" y="2937325"/>
              <a:ext cx="108300" cy="183525"/>
            </a:xfrm>
            <a:custGeom>
              <a:avLst/>
              <a:gdLst/>
              <a:ahLst/>
              <a:cxnLst/>
              <a:rect l="l" t="t" r="r" b="b"/>
              <a:pathLst>
                <a:path w="4332" h="7341" extrusionOk="0">
                  <a:moveTo>
                    <a:pt x="1" y="0"/>
                  </a:moveTo>
                  <a:lnTo>
                    <a:pt x="1" y="7341"/>
                  </a:lnTo>
                  <a:lnTo>
                    <a:pt x="4332" y="7341"/>
                  </a:lnTo>
                  <a:lnTo>
                    <a:pt x="4332" y="0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6" name="Google Shape;8510;p73">
              <a:extLst>
                <a:ext uri="{FF2B5EF4-FFF2-40B4-BE49-F238E27FC236}">
                  <a16:creationId xmlns:a16="http://schemas.microsoft.com/office/drawing/2014/main" id="{F4DE7178-F4EE-126F-BBA2-1AFDE1480976}"/>
                </a:ext>
              </a:extLst>
            </p:cNvPr>
            <p:cNvSpPr/>
            <p:nvPr/>
          </p:nvSpPr>
          <p:spPr>
            <a:xfrm>
              <a:off x="6032675" y="2585700"/>
              <a:ext cx="108300" cy="351650"/>
            </a:xfrm>
            <a:custGeom>
              <a:avLst/>
              <a:gdLst/>
              <a:ahLst/>
              <a:cxnLst/>
              <a:rect l="l" t="t" r="r" b="b"/>
              <a:pathLst>
                <a:path w="4332" h="14066" extrusionOk="0">
                  <a:moveTo>
                    <a:pt x="1" y="1"/>
                  </a:moveTo>
                  <a:lnTo>
                    <a:pt x="1" y="2071"/>
                  </a:lnTo>
                  <a:lnTo>
                    <a:pt x="1" y="14065"/>
                  </a:lnTo>
                  <a:lnTo>
                    <a:pt x="4332" y="14065"/>
                  </a:lnTo>
                  <a:lnTo>
                    <a:pt x="4332" y="7943"/>
                  </a:lnTo>
                  <a:lnTo>
                    <a:pt x="4332" y="1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7" name="Google Shape;8511;p73">
              <a:extLst>
                <a:ext uri="{FF2B5EF4-FFF2-40B4-BE49-F238E27FC236}">
                  <a16:creationId xmlns:a16="http://schemas.microsoft.com/office/drawing/2014/main" id="{5F2A2DD6-29C1-C27D-D1BB-289064E9D8D7}"/>
                </a:ext>
              </a:extLst>
            </p:cNvPr>
            <p:cNvSpPr/>
            <p:nvPr/>
          </p:nvSpPr>
          <p:spPr>
            <a:xfrm>
              <a:off x="6032675" y="2472300"/>
              <a:ext cx="108300" cy="113425"/>
            </a:xfrm>
            <a:custGeom>
              <a:avLst/>
              <a:gdLst/>
              <a:ahLst/>
              <a:cxnLst/>
              <a:rect l="l" t="t" r="r" b="b"/>
              <a:pathLst>
                <a:path w="4332" h="4537" extrusionOk="0">
                  <a:moveTo>
                    <a:pt x="1" y="0"/>
                  </a:moveTo>
                  <a:lnTo>
                    <a:pt x="1" y="4537"/>
                  </a:lnTo>
                  <a:lnTo>
                    <a:pt x="4332" y="4537"/>
                  </a:lnTo>
                  <a:lnTo>
                    <a:pt x="4332" y="3010"/>
                  </a:lnTo>
                  <a:lnTo>
                    <a:pt x="4332" y="1542"/>
                  </a:lnTo>
                  <a:lnTo>
                    <a:pt x="4332" y="0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8" name="Google Shape;8512;p73">
              <a:extLst>
                <a:ext uri="{FF2B5EF4-FFF2-40B4-BE49-F238E27FC236}">
                  <a16:creationId xmlns:a16="http://schemas.microsoft.com/office/drawing/2014/main" id="{84D96BCE-2EED-9343-248F-35A8A8CC7866}"/>
                </a:ext>
              </a:extLst>
            </p:cNvPr>
            <p:cNvSpPr/>
            <p:nvPr/>
          </p:nvSpPr>
          <p:spPr>
            <a:xfrm>
              <a:off x="6032675" y="2412850"/>
              <a:ext cx="108300" cy="59475"/>
            </a:xfrm>
            <a:custGeom>
              <a:avLst/>
              <a:gdLst/>
              <a:ahLst/>
              <a:cxnLst/>
              <a:rect l="l" t="t" r="r" b="b"/>
              <a:pathLst>
                <a:path w="4332" h="2379" extrusionOk="0">
                  <a:moveTo>
                    <a:pt x="1" y="0"/>
                  </a:moveTo>
                  <a:lnTo>
                    <a:pt x="1" y="2378"/>
                  </a:lnTo>
                  <a:lnTo>
                    <a:pt x="4332" y="2378"/>
                  </a:lnTo>
                  <a:lnTo>
                    <a:pt x="4332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9" name="Google Shape;8513;p73">
              <a:extLst>
                <a:ext uri="{FF2B5EF4-FFF2-40B4-BE49-F238E27FC236}">
                  <a16:creationId xmlns:a16="http://schemas.microsoft.com/office/drawing/2014/main" id="{57C5A3F2-092B-B1BD-B47D-9FBAA6832E65}"/>
                </a:ext>
              </a:extLst>
            </p:cNvPr>
            <p:cNvSpPr/>
            <p:nvPr/>
          </p:nvSpPr>
          <p:spPr>
            <a:xfrm>
              <a:off x="6032675" y="2360725"/>
              <a:ext cx="108300" cy="52150"/>
            </a:xfrm>
            <a:custGeom>
              <a:avLst/>
              <a:gdLst/>
              <a:ahLst/>
              <a:cxnLst/>
              <a:rect l="l" t="t" r="r" b="b"/>
              <a:pathLst>
                <a:path w="4332" h="2086" extrusionOk="0">
                  <a:moveTo>
                    <a:pt x="1" y="0"/>
                  </a:moveTo>
                  <a:lnTo>
                    <a:pt x="1" y="617"/>
                  </a:lnTo>
                  <a:lnTo>
                    <a:pt x="1" y="2085"/>
                  </a:lnTo>
                  <a:lnTo>
                    <a:pt x="4332" y="2085"/>
                  </a:lnTo>
                  <a:lnTo>
                    <a:pt x="4332" y="0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0" name="Google Shape;8514;p73">
              <a:extLst>
                <a:ext uri="{FF2B5EF4-FFF2-40B4-BE49-F238E27FC236}">
                  <a16:creationId xmlns:a16="http://schemas.microsoft.com/office/drawing/2014/main" id="{2B7C2D66-070B-FE8A-5E1C-0C349BDF44AD}"/>
                </a:ext>
              </a:extLst>
            </p:cNvPr>
            <p:cNvSpPr/>
            <p:nvPr/>
          </p:nvSpPr>
          <p:spPr>
            <a:xfrm>
              <a:off x="6140950" y="2784275"/>
              <a:ext cx="352000" cy="336575"/>
            </a:xfrm>
            <a:custGeom>
              <a:avLst/>
              <a:gdLst/>
              <a:ahLst/>
              <a:cxnLst/>
              <a:rect l="l" t="t" r="r" b="b"/>
              <a:pathLst>
                <a:path w="14080" h="13463" extrusionOk="0">
                  <a:moveTo>
                    <a:pt x="1" y="0"/>
                  </a:moveTo>
                  <a:lnTo>
                    <a:pt x="1" y="13463"/>
                  </a:lnTo>
                  <a:lnTo>
                    <a:pt x="14080" y="13463"/>
                  </a:lnTo>
                  <a:lnTo>
                    <a:pt x="14080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1" name="Google Shape;8515;p73">
              <a:extLst>
                <a:ext uri="{FF2B5EF4-FFF2-40B4-BE49-F238E27FC236}">
                  <a16:creationId xmlns:a16="http://schemas.microsoft.com/office/drawing/2014/main" id="{190B70ED-7FC6-7840-5D39-BB3285A1F175}"/>
                </a:ext>
              </a:extLst>
            </p:cNvPr>
            <p:cNvSpPr/>
            <p:nvPr/>
          </p:nvSpPr>
          <p:spPr>
            <a:xfrm>
              <a:off x="5679250" y="2784275"/>
              <a:ext cx="353450" cy="336575"/>
            </a:xfrm>
            <a:custGeom>
              <a:avLst/>
              <a:gdLst/>
              <a:ahLst/>
              <a:cxnLst/>
              <a:rect l="l" t="t" r="r" b="b"/>
              <a:pathLst>
                <a:path w="14138" h="13463" extrusionOk="0">
                  <a:moveTo>
                    <a:pt x="0" y="0"/>
                  </a:moveTo>
                  <a:lnTo>
                    <a:pt x="0" y="13463"/>
                  </a:lnTo>
                  <a:lnTo>
                    <a:pt x="14138" y="13463"/>
                  </a:lnTo>
                  <a:lnTo>
                    <a:pt x="14138" y="0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2" name="Google Shape;8516;p73">
              <a:extLst>
                <a:ext uri="{FF2B5EF4-FFF2-40B4-BE49-F238E27FC236}">
                  <a16:creationId xmlns:a16="http://schemas.microsoft.com/office/drawing/2014/main" id="{4975E759-01F2-73BB-C2D1-1F084D5B3B16}"/>
                </a:ext>
              </a:extLst>
            </p:cNvPr>
            <p:cNvSpPr/>
            <p:nvPr/>
          </p:nvSpPr>
          <p:spPr>
            <a:xfrm>
              <a:off x="5717400" y="2515250"/>
              <a:ext cx="42975" cy="269050"/>
            </a:xfrm>
            <a:custGeom>
              <a:avLst/>
              <a:gdLst/>
              <a:ahLst/>
              <a:cxnLst/>
              <a:rect l="l" t="t" r="r" b="b"/>
              <a:pathLst>
                <a:path w="1719" h="10762" extrusionOk="0">
                  <a:moveTo>
                    <a:pt x="1" y="0"/>
                  </a:moveTo>
                  <a:lnTo>
                    <a:pt x="1" y="10761"/>
                  </a:lnTo>
                  <a:lnTo>
                    <a:pt x="1719" y="10761"/>
                  </a:lnTo>
                  <a:lnTo>
                    <a:pt x="1719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3" name="Google Shape;8517;p73">
              <a:extLst>
                <a:ext uri="{FF2B5EF4-FFF2-40B4-BE49-F238E27FC236}">
                  <a16:creationId xmlns:a16="http://schemas.microsoft.com/office/drawing/2014/main" id="{C6FD1674-DA28-90DB-7BA1-A0828C7EBDD5}"/>
                </a:ext>
              </a:extLst>
            </p:cNvPr>
            <p:cNvSpPr/>
            <p:nvPr/>
          </p:nvSpPr>
          <p:spPr>
            <a:xfrm>
              <a:off x="5824575" y="2515250"/>
              <a:ext cx="44450" cy="269050"/>
            </a:xfrm>
            <a:custGeom>
              <a:avLst/>
              <a:gdLst/>
              <a:ahLst/>
              <a:cxnLst/>
              <a:rect l="l" t="t" r="r" b="b"/>
              <a:pathLst>
                <a:path w="1778" h="10762" extrusionOk="0">
                  <a:moveTo>
                    <a:pt x="1" y="0"/>
                  </a:moveTo>
                  <a:lnTo>
                    <a:pt x="1" y="10761"/>
                  </a:lnTo>
                  <a:lnTo>
                    <a:pt x="1777" y="10761"/>
                  </a:lnTo>
                  <a:lnTo>
                    <a:pt x="1777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8" name="Google Shape;8518;p73">
              <a:extLst>
                <a:ext uri="{FF2B5EF4-FFF2-40B4-BE49-F238E27FC236}">
                  <a16:creationId xmlns:a16="http://schemas.microsoft.com/office/drawing/2014/main" id="{E1E8DC2E-7FA4-0716-D68A-E6536EACA77D}"/>
                </a:ext>
              </a:extLst>
            </p:cNvPr>
            <p:cNvSpPr/>
            <p:nvPr/>
          </p:nvSpPr>
          <p:spPr>
            <a:xfrm>
              <a:off x="5928450" y="2515250"/>
              <a:ext cx="42975" cy="269050"/>
            </a:xfrm>
            <a:custGeom>
              <a:avLst/>
              <a:gdLst/>
              <a:ahLst/>
              <a:cxnLst/>
              <a:rect l="l" t="t" r="r" b="b"/>
              <a:pathLst>
                <a:path w="1719" h="10762" extrusionOk="0">
                  <a:moveTo>
                    <a:pt x="0" y="0"/>
                  </a:moveTo>
                  <a:lnTo>
                    <a:pt x="0" y="10761"/>
                  </a:lnTo>
                  <a:lnTo>
                    <a:pt x="1718" y="10761"/>
                  </a:lnTo>
                  <a:lnTo>
                    <a:pt x="1718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9" name="Google Shape;8519;p73">
              <a:extLst>
                <a:ext uri="{FF2B5EF4-FFF2-40B4-BE49-F238E27FC236}">
                  <a16:creationId xmlns:a16="http://schemas.microsoft.com/office/drawing/2014/main" id="{C11A894D-6A57-C793-76DA-98F72662845C}"/>
                </a:ext>
              </a:extLst>
            </p:cNvPr>
            <p:cNvSpPr/>
            <p:nvPr/>
          </p:nvSpPr>
          <p:spPr>
            <a:xfrm>
              <a:off x="5660900" y="2784275"/>
              <a:ext cx="371800" cy="23150"/>
            </a:xfrm>
            <a:custGeom>
              <a:avLst/>
              <a:gdLst/>
              <a:ahLst/>
              <a:cxnLst/>
              <a:rect l="l" t="t" r="r" b="b"/>
              <a:pathLst>
                <a:path w="14872" h="926" extrusionOk="0">
                  <a:moveTo>
                    <a:pt x="0" y="0"/>
                  </a:moveTo>
                  <a:lnTo>
                    <a:pt x="0" y="925"/>
                  </a:lnTo>
                  <a:lnTo>
                    <a:pt x="14872" y="925"/>
                  </a:lnTo>
                  <a:lnTo>
                    <a:pt x="14872" y="0"/>
                  </a:ln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0" name="Google Shape;8520;p73">
              <a:extLst>
                <a:ext uri="{FF2B5EF4-FFF2-40B4-BE49-F238E27FC236}">
                  <a16:creationId xmlns:a16="http://schemas.microsoft.com/office/drawing/2014/main" id="{5AB34367-7A5A-B52B-C0BF-8DFC18BD51A1}"/>
                </a:ext>
              </a:extLst>
            </p:cNvPr>
            <p:cNvSpPr/>
            <p:nvPr/>
          </p:nvSpPr>
          <p:spPr>
            <a:xfrm>
              <a:off x="6140950" y="2784275"/>
              <a:ext cx="370350" cy="23150"/>
            </a:xfrm>
            <a:custGeom>
              <a:avLst/>
              <a:gdLst/>
              <a:ahLst/>
              <a:cxnLst/>
              <a:rect l="l" t="t" r="r" b="b"/>
              <a:pathLst>
                <a:path w="14814" h="926" extrusionOk="0">
                  <a:moveTo>
                    <a:pt x="1" y="0"/>
                  </a:moveTo>
                  <a:lnTo>
                    <a:pt x="1" y="925"/>
                  </a:lnTo>
                  <a:lnTo>
                    <a:pt x="14814" y="925"/>
                  </a:lnTo>
                  <a:lnTo>
                    <a:pt x="14814" y="0"/>
                  </a:ln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1" name="Google Shape;8521;p73">
              <a:extLst>
                <a:ext uri="{FF2B5EF4-FFF2-40B4-BE49-F238E27FC236}">
                  <a16:creationId xmlns:a16="http://schemas.microsoft.com/office/drawing/2014/main" id="{98D1F1B8-A885-F458-CDF4-A19E65B69DF1}"/>
                </a:ext>
              </a:extLst>
            </p:cNvPr>
            <p:cNvSpPr/>
            <p:nvPr/>
          </p:nvSpPr>
          <p:spPr>
            <a:xfrm>
              <a:off x="5986800" y="2047275"/>
              <a:ext cx="684900" cy="249250"/>
            </a:xfrm>
            <a:custGeom>
              <a:avLst/>
              <a:gdLst/>
              <a:ahLst/>
              <a:cxnLst/>
              <a:rect l="l" t="t" r="r" b="b"/>
              <a:pathLst>
                <a:path w="27396" h="9970" extrusionOk="0">
                  <a:moveTo>
                    <a:pt x="15783" y="1"/>
                  </a:moveTo>
                  <a:cubicBezTo>
                    <a:pt x="10644" y="1"/>
                    <a:pt x="10879" y="3612"/>
                    <a:pt x="10879" y="3612"/>
                  </a:cubicBezTo>
                  <a:cubicBezTo>
                    <a:pt x="10879" y="3612"/>
                    <a:pt x="10391" y="3511"/>
                    <a:pt x="9738" y="3511"/>
                  </a:cubicBezTo>
                  <a:cubicBezTo>
                    <a:pt x="8416" y="3511"/>
                    <a:pt x="6416" y="3926"/>
                    <a:pt x="6416" y="6431"/>
                  </a:cubicBezTo>
                  <a:cubicBezTo>
                    <a:pt x="6416" y="6431"/>
                    <a:pt x="5979" y="6330"/>
                    <a:pt x="5429" y="6330"/>
                  </a:cubicBezTo>
                  <a:cubicBezTo>
                    <a:pt x="4493" y="6330"/>
                    <a:pt x="3231" y="6621"/>
                    <a:pt x="3231" y="8193"/>
                  </a:cubicBezTo>
                  <a:lnTo>
                    <a:pt x="1" y="9969"/>
                  </a:lnTo>
                  <a:lnTo>
                    <a:pt x="27395" y="9969"/>
                  </a:lnTo>
                  <a:cubicBezTo>
                    <a:pt x="27395" y="9969"/>
                    <a:pt x="26467" y="7396"/>
                    <a:pt x="24185" y="7396"/>
                  </a:cubicBezTo>
                  <a:cubicBezTo>
                    <a:pt x="24135" y="7396"/>
                    <a:pt x="24085" y="7398"/>
                    <a:pt x="24033" y="7400"/>
                  </a:cubicBezTo>
                  <a:cubicBezTo>
                    <a:pt x="24033" y="7400"/>
                    <a:pt x="24400" y="4523"/>
                    <a:pt x="20789" y="4523"/>
                  </a:cubicBezTo>
                  <a:cubicBezTo>
                    <a:pt x="20789" y="4523"/>
                    <a:pt x="20980" y="1"/>
                    <a:pt x="15783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2" name="Google Shape;8522;p73">
              <a:extLst>
                <a:ext uri="{FF2B5EF4-FFF2-40B4-BE49-F238E27FC236}">
                  <a16:creationId xmlns:a16="http://schemas.microsoft.com/office/drawing/2014/main" id="{4DA0715E-FCB3-135C-E180-5074B4ED996B}"/>
                </a:ext>
              </a:extLst>
            </p:cNvPr>
            <p:cNvSpPr/>
            <p:nvPr/>
          </p:nvSpPr>
          <p:spPr>
            <a:xfrm>
              <a:off x="6416225" y="2217225"/>
              <a:ext cx="403750" cy="140575"/>
            </a:xfrm>
            <a:custGeom>
              <a:avLst/>
              <a:gdLst/>
              <a:ahLst/>
              <a:cxnLst/>
              <a:rect l="l" t="t" r="r" b="b"/>
              <a:pathLst>
                <a:path w="16150" h="5623" extrusionOk="0">
                  <a:moveTo>
                    <a:pt x="9734" y="0"/>
                  </a:moveTo>
                  <a:cubicBezTo>
                    <a:pt x="5506" y="0"/>
                    <a:pt x="5506" y="2995"/>
                    <a:pt x="5506" y="2995"/>
                  </a:cubicBezTo>
                  <a:cubicBezTo>
                    <a:pt x="5506" y="2995"/>
                    <a:pt x="5236" y="2954"/>
                    <a:pt x="4862" y="2954"/>
                  </a:cubicBezTo>
                  <a:cubicBezTo>
                    <a:pt x="4030" y="2954"/>
                    <a:pt x="2684" y="3157"/>
                    <a:pt x="2643" y="4463"/>
                  </a:cubicBezTo>
                  <a:lnTo>
                    <a:pt x="0" y="5623"/>
                  </a:lnTo>
                  <a:lnTo>
                    <a:pt x="16032" y="5623"/>
                  </a:lnTo>
                  <a:cubicBezTo>
                    <a:pt x="16032" y="5623"/>
                    <a:pt x="16149" y="2804"/>
                    <a:pt x="13830" y="2804"/>
                  </a:cubicBezTo>
                  <a:cubicBezTo>
                    <a:pt x="13830" y="2804"/>
                    <a:pt x="13889" y="0"/>
                    <a:pt x="9734" y="0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3" name="Google Shape;8523;p73">
              <a:extLst>
                <a:ext uri="{FF2B5EF4-FFF2-40B4-BE49-F238E27FC236}">
                  <a16:creationId xmlns:a16="http://schemas.microsoft.com/office/drawing/2014/main" id="{B00806C2-A9C1-9176-8C89-90CF14840D22}"/>
                </a:ext>
              </a:extLst>
            </p:cNvPr>
            <p:cNvSpPr/>
            <p:nvPr/>
          </p:nvSpPr>
          <p:spPr>
            <a:xfrm>
              <a:off x="6549450" y="2005875"/>
              <a:ext cx="288675" cy="108600"/>
            </a:xfrm>
            <a:custGeom>
              <a:avLst/>
              <a:gdLst/>
              <a:ahLst/>
              <a:cxnLst/>
              <a:rect l="l" t="t" r="r" b="b"/>
              <a:pathLst>
                <a:path w="11547" h="4344" extrusionOk="0">
                  <a:moveTo>
                    <a:pt x="6592" y="1"/>
                  </a:moveTo>
                  <a:cubicBezTo>
                    <a:pt x="6479" y="1"/>
                    <a:pt x="6362" y="5"/>
                    <a:pt x="6240" y="13"/>
                  </a:cubicBezTo>
                  <a:cubicBezTo>
                    <a:pt x="3304" y="130"/>
                    <a:pt x="3363" y="2817"/>
                    <a:pt x="3363" y="2817"/>
                  </a:cubicBezTo>
                  <a:lnTo>
                    <a:pt x="1" y="4344"/>
                  </a:lnTo>
                  <a:lnTo>
                    <a:pt x="11437" y="4344"/>
                  </a:lnTo>
                  <a:cubicBezTo>
                    <a:pt x="11437" y="4344"/>
                    <a:pt x="11547" y="2015"/>
                    <a:pt x="9570" y="2015"/>
                  </a:cubicBezTo>
                  <a:cubicBezTo>
                    <a:pt x="9500" y="2015"/>
                    <a:pt x="9427" y="2018"/>
                    <a:pt x="9352" y="2024"/>
                  </a:cubicBezTo>
                  <a:cubicBezTo>
                    <a:pt x="9352" y="2024"/>
                    <a:pt x="9191" y="1"/>
                    <a:pt x="6592" y="1"/>
                  </a:cubicBez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4" name="Google Shape;8524;p73">
              <a:extLst>
                <a:ext uri="{FF2B5EF4-FFF2-40B4-BE49-F238E27FC236}">
                  <a16:creationId xmlns:a16="http://schemas.microsoft.com/office/drawing/2014/main" id="{3446AF59-2314-A5B6-57B1-5E4EBEF3DE43}"/>
                </a:ext>
              </a:extLst>
            </p:cNvPr>
            <p:cNvSpPr/>
            <p:nvPr/>
          </p:nvSpPr>
          <p:spPr>
            <a:xfrm>
              <a:off x="4552100" y="3214050"/>
              <a:ext cx="2717475" cy="15450"/>
            </a:xfrm>
            <a:custGeom>
              <a:avLst/>
              <a:gdLst/>
              <a:ahLst/>
              <a:cxnLst/>
              <a:rect l="l" t="t" r="r" b="b"/>
              <a:pathLst>
                <a:path w="108699" h="618" extrusionOk="0">
                  <a:moveTo>
                    <a:pt x="1" y="1"/>
                  </a:moveTo>
                  <a:lnTo>
                    <a:pt x="1" y="617"/>
                  </a:lnTo>
                  <a:lnTo>
                    <a:pt x="108699" y="617"/>
                  </a:lnTo>
                  <a:lnTo>
                    <a:pt x="10869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5" name="Google Shape;8525;p73">
              <a:extLst>
                <a:ext uri="{FF2B5EF4-FFF2-40B4-BE49-F238E27FC236}">
                  <a16:creationId xmlns:a16="http://schemas.microsoft.com/office/drawing/2014/main" id="{9434F417-D07C-18AB-CC6D-3569D556C2FC}"/>
                </a:ext>
              </a:extLst>
            </p:cNvPr>
            <p:cNvSpPr/>
            <p:nvPr/>
          </p:nvSpPr>
          <p:spPr>
            <a:xfrm>
              <a:off x="6564875" y="2847025"/>
              <a:ext cx="166650" cy="280075"/>
            </a:xfrm>
            <a:custGeom>
              <a:avLst/>
              <a:gdLst/>
              <a:ahLst/>
              <a:cxnLst/>
              <a:rect l="l" t="t" r="r" b="b"/>
              <a:pathLst>
                <a:path w="6666" h="11203" extrusionOk="0">
                  <a:moveTo>
                    <a:pt x="0" y="1"/>
                  </a:moveTo>
                  <a:lnTo>
                    <a:pt x="0" y="11202"/>
                  </a:lnTo>
                  <a:lnTo>
                    <a:pt x="6665" y="11202"/>
                  </a:lnTo>
                  <a:lnTo>
                    <a:pt x="6665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6" name="Google Shape;8526;p73">
              <a:extLst>
                <a:ext uri="{FF2B5EF4-FFF2-40B4-BE49-F238E27FC236}">
                  <a16:creationId xmlns:a16="http://schemas.microsoft.com/office/drawing/2014/main" id="{1B51A9B6-389F-07F1-B0C5-9CE870CFB79E}"/>
                </a:ext>
              </a:extLst>
            </p:cNvPr>
            <p:cNvSpPr/>
            <p:nvPr/>
          </p:nvSpPr>
          <p:spPr>
            <a:xfrm>
              <a:off x="6555700" y="2847025"/>
              <a:ext cx="189400" cy="24625"/>
            </a:xfrm>
            <a:custGeom>
              <a:avLst/>
              <a:gdLst/>
              <a:ahLst/>
              <a:cxnLst/>
              <a:rect l="l" t="t" r="r" b="b"/>
              <a:pathLst>
                <a:path w="7576" h="985" extrusionOk="0">
                  <a:moveTo>
                    <a:pt x="0" y="1"/>
                  </a:moveTo>
                  <a:lnTo>
                    <a:pt x="0" y="984"/>
                  </a:lnTo>
                  <a:lnTo>
                    <a:pt x="7576" y="984"/>
                  </a:lnTo>
                  <a:lnTo>
                    <a:pt x="7576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7" name="Google Shape;8527;p73">
              <a:extLst>
                <a:ext uri="{FF2B5EF4-FFF2-40B4-BE49-F238E27FC236}">
                  <a16:creationId xmlns:a16="http://schemas.microsoft.com/office/drawing/2014/main" id="{1F2E4EF5-B37E-F313-FAB3-92DA15125173}"/>
                </a:ext>
              </a:extLst>
            </p:cNvPr>
            <p:cNvSpPr/>
            <p:nvPr/>
          </p:nvSpPr>
          <p:spPr>
            <a:xfrm>
              <a:off x="6553850" y="3103950"/>
              <a:ext cx="188325" cy="23150"/>
            </a:xfrm>
            <a:custGeom>
              <a:avLst/>
              <a:gdLst/>
              <a:ahLst/>
              <a:cxnLst/>
              <a:rect l="l" t="t" r="r" b="b"/>
              <a:pathLst>
                <a:path w="7533" h="926" extrusionOk="0">
                  <a:moveTo>
                    <a:pt x="1" y="0"/>
                  </a:moveTo>
                  <a:lnTo>
                    <a:pt x="1" y="925"/>
                  </a:lnTo>
                  <a:lnTo>
                    <a:pt x="7532" y="925"/>
                  </a:lnTo>
                  <a:lnTo>
                    <a:pt x="7532" y="0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8" name="Google Shape;8528;p73">
              <a:extLst>
                <a:ext uri="{FF2B5EF4-FFF2-40B4-BE49-F238E27FC236}">
                  <a16:creationId xmlns:a16="http://schemas.microsoft.com/office/drawing/2014/main" id="{44B9724D-2593-4729-4767-7C062D34A82E}"/>
                </a:ext>
              </a:extLst>
            </p:cNvPr>
            <p:cNvSpPr/>
            <p:nvPr/>
          </p:nvSpPr>
          <p:spPr>
            <a:xfrm>
              <a:off x="6549450" y="2912725"/>
              <a:ext cx="201900" cy="146825"/>
            </a:xfrm>
            <a:custGeom>
              <a:avLst/>
              <a:gdLst/>
              <a:ahLst/>
              <a:cxnLst/>
              <a:rect l="l" t="t" r="r" b="b"/>
              <a:pathLst>
                <a:path w="8076" h="5873" extrusionOk="0">
                  <a:moveTo>
                    <a:pt x="4038" y="0"/>
                  </a:moveTo>
                  <a:cubicBezTo>
                    <a:pt x="4038" y="0"/>
                    <a:pt x="1" y="5873"/>
                    <a:pt x="4038" y="5873"/>
                  </a:cubicBezTo>
                  <a:cubicBezTo>
                    <a:pt x="8075" y="5873"/>
                    <a:pt x="4038" y="0"/>
                    <a:pt x="4038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9" name="Google Shape;8529;p73">
              <a:extLst>
                <a:ext uri="{FF2B5EF4-FFF2-40B4-BE49-F238E27FC236}">
                  <a16:creationId xmlns:a16="http://schemas.microsoft.com/office/drawing/2014/main" id="{F87A66B3-3667-68D4-6A2F-B1DF9ED75DF7}"/>
                </a:ext>
              </a:extLst>
            </p:cNvPr>
            <p:cNvSpPr/>
            <p:nvPr/>
          </p:nvSpPr>
          <p:spPr>
            <a:xfrm>
              <a:off x="6800125" y="2847025"/>
              <a:ext cx="166650" cy="280075"/>
            </a:xfrm>
            <a:custGeom>
              <a:avLst/>
              <a:gdLst/>
              <a:ahLst/>
              <a:cxnLst/>
              <a:rect l="l" t="t" r="r" b="b"/>
              <a:pathLst>
                <a:path w="6666" h="11203" extrusionOk="0">
                  <a:moveTo>
                    <a:pt x="1" y="1"/>
                  </a:moveTo>
                  <a:lnTo>
                    <a:pt x="1" y="11202"/>
                  </a:lnTo>
                  <a:lnTo>
                    <a:pt x="6666" y="11202"/>
                  </a:lnTo>
                  <a:lnTo>
                    <a:pt x="6666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0" name="Google Shape;8530;p73">
              <a:extLst>
                <a:ext uri="{FF2B5EF4-FFF2-40B4-BE49-F238E27FC236}">
                  <a16:creationId xmlns:a16="http://schemas.microsoft.com/office/drawing/2014/main" id="{7D3FB973-3DB8-6DA7-8B4D-257D4C3DE379}"/>
                </a:ext>
              </a:extLst>
            </p:cNvPr>
            <p:cNvSpPr/>
            <p:nvPr/>
          </p:nvSpPr>
          <p:spPr>
            <a:xfrm>
              <a:off x="6792425" y="2847025"/>
              <a:ext cx="188300" cy="24625"/>
            </a:xfrm>
            <a:custGeom>
              <a:avLst/>
              <a:gdLst/>
              <a:ahLst/>
              <a:cxnLst/>
              <a:rect l="l" t="t" r="r" b="b"/>
              <a:pathLst>
                <a:path w="7532" h="985" extrusionOk="0">
                  <a:moveTo>
                    <a:pt x="0" y="1"/>
                  </a:moveTo>
                  <a:lnTo>
                    <a:pt x="0" y="984"/>
                  </a:lnTo>
                  <a:lnTo>
                    <a:pt x="7532" y="984"/>
                  </a:lnTo>
                  <a:lnTo>
                    <a:pt x="7532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1" name="Google Shape;8531;p73">
              <a:extLst>
                <a:ext uri="{FF2B5EF4-FFF2-40B4-BE49-F238E27FC236}">
                  <a16:creationId xmlns:a16="http://schemas.microsoft.com/office/drawing/2014/main" id="{F348ABBD-BFBA-6278-8283-175E808E3797}"/>
                </a:ext>
              </a:extLst>
            </p:cNvPr>
            <p:cNvSpPr/>
            <p:nvPr/>
          </p:nvSpPr>
          <p:spPr>
            <a:xfrm>
              <a:off x="6789475" y="3103950"/>
              <a:ext cx="189775" cy="23150"/>
            </a:xfrm>
            <a:custGeom>
              <a:avLst/>
              <a:gdLst/>
              <a:ahLst/>
              <a:cxnLst/>
              <a:rect l="l" t="t" r="r" b="b"/>
              <a:pathLst>
                <a:path w="7591" h="926" extrusionOk="0">
                  <a:moveTo>
                    <a:pt x="1" y="0"/>
                  </a:moveTo>
                  <a:lnTo>
                    <a:pt x="1" y="925"/>
                  </a:lnTo>
                  <a:lnTo>
                    <a:pt x="7591" y="925"/>
                  </a:lnTo>
                  <a:lnTo>
                    <a:pt x="7591" y="0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2" name="Google Shape;8532;p73">
              <a:extLst>
                <a:ext uri="{FF2B5EF4-FFF2-40B4-BE49-F238E27FC236}">
                  <a16:creationId xmlns:a16="http://schemas.microsoft.com/office/drawing/2014/main" id="{5B2A336D-DBF8-A40C-5C49-E225E83B0439}"/>
                </a:ext>
              </a:extLst>
            </p:cNvPr>
            <p:cNvSpPr/>
            <p:nvPr/>
          </p:nvSpPr>
          <p:spPr>
            <a:xfrm>
              <a:off x="6785075" y="2912725"/>
              <a:ext cx="201900" cy="146825"/>
            </a:xfrm>
            <a:custGeom>
              <a:avLst/>
              <a:gdLst/>
              <a:ahLst/>
              <a:cxnLst/>
              <a:rect l="l" t="t" r="r" b="b"/>
              <a:pathLst>
                <a:path w="8076" h="5873" extrusionOk="0">
                  <a:moveTo>
                    <a:pt x="4038" y="0"/>
                  </a:moveTo>
                  <a:cubicBezTo>
                    <a:pt x="4038" y="0"/>
                    <a:pt x="1" y="5873"/>
                    <a:pt x="4038" y="5873"/>
                  </a:cubicBezTo>
                  <a:cubicBezTo>
                    <a:pt x="8075" y="5873"/>
                    <a:pt x="4038" y="0"/>
                    <a:pt x="4038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3" name="Google Shape;8533;p73">
              <a:extLst>
                <a:ext uri="{FF2B5EF4-FFF2-40B4-BE49-F238E27FC236}">
                  <a16:creationId xmlns:a16="http://schemas.microsoft.com/office/drawing/2014/main" id="{9F6AC049-D6B0-D559-B4CE-8EECCAC45821}"/>
                </a:ext>
              </a:extLst>
            </p:cNvPr>
            <p:cNvSpPr/>
            <p:nvPr/>
          </p:nvSpPr>
          <p:spPr>
            <a:xfrm>
              <a:off x="7025125" y="2847025"/>
              <a:ext cx="166650" cy="280075"/>
            </a:xfrm>
            <a:custGeom>
              <a:avLst/>
              <a:gdLst/>
              <a:ahLst/>
              <a:cxnLst/>
              <a:rect l="l" t="t" r="r" b="b"/>
              <a:pathLst>
                <a:path w="6666" h="11203" extrusionOk="0">
                  <a:moveTo>
                    <a:pt x="0" y="1"/>
                  </a:moveTo>
                  <a:lnTo>
                    <a:pt x="0" y="11202"/>
                  </a:lnTo>
                  <a:lnTo>
                    <a:pt x="6665" y="11202"/>
                  </a:lnTo>
                  <a:lnTo>
                    <a:pt x="6665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4" name="Google Shape;8534;p73">
              <a:extLst>
                <a:ext uri="{FF2B5EF4-FFF2-40B4-BE49-F238E27FC236}">
                  <a16:creationId xmlns:a16="http://schemas.microsoft.com/office/drawing/2014/main" id="{D38231FD-7266-A129-13CB-A72A441E19AE}"/>
                </a:ext>
              </a:extLst>
            </p:cNvPr>
            <p:cNvSpPr/>
            <p:nvPr/>
          </p:nvSpPr>
          <p:spPr>
            <a:xfrm>
              <a:off x="7015950" y="2847025"/>
              <a:ext cx="189400" cy="24625"/>
            </a:xfrm>
            <a:custGeom>
              <a:avLst/>
              <a:gdLst/>
              <a:ahLst/>
              <a:cxnLst/>
              <a:rect l="l" t="t" r="r" b="b"/>
              <a:pathLst>
                <a:path w="7576" h="985" extrusionOk="0">
                  <a:moveTo>
                    <a:pt x="0" y="1"/>
                  </a:moveTo>
                  <a:lnTo>
                    <a:pt x="0" y="984"/>
                  </a:lnTo>
                  <a:lnTo>
                    <a:pt x="7575" y="984"/>
                  </a:lnTo>
                  <a:lnTo>
                    <a:pt x="7575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5" name="Google Shape;8535;p73">
              <a:extLst>
                <a:ext uri="{FF2B5EF4-FFF2-40B4-BE49-F238E27FC236}">
                  <a16:creationId xmlns:a16="http://schemas.microsoft.com/office/drawing/2014/main" id="{E6AD6865-7B15-15CB-22D0-833E2D644881}"/>
                </a:ext>
              </a:extLst>
            </p:cNvPr>
            <p:cNvSpPr/>
            <p:nvPr/>
          </p:nvSpPr>
          <p:spPr>
            <a:xfrm>
              <a:off x="7012625" y="3103950"/>
              <a:ext cx="189800" cy="23150"/>
            </a:xfrm>
            <a:custGeom>
              <a:avLst/>
              <a:gdLst/>
              <a:ahLst/>
              <a:cxnLst/>
              <a:rect l="l" t="t" r="r" b="b"/>
              <a:pathLst>
                <a:path w="7592" h="926" extrusionOk="0">
                  <a:moveTo>
                    <a:pt x="1" y="0"/>
                  </a:moveTo>
                  <a:lnTo>
                    <a:pt x="1" y="925"/>
                  </a:lnTo>
                  <a:lnTo>
                    <a:pt x="7591" y="925"/>
                  </a:lnTo>
                  <a:lnTo>
                    <a:pt x="7591" y="0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6" name="Google Shape;8536;p73">
              <a:extLst>
                <a:ext uri="{FF2B5EF4-FFF2-40B4-BE49-F238E27FC236}">
                  <a16:creationId xmlns:a16="http://schemas.microsoft.com/office/drawing/2014/main" id="{F7C979F2-6E90-69D8-0D9E-86577AA4CF24}"/>
                </a:ext>
              </a:extLst>
            </p:cNvPr>
            <p:cNvSpPr/>
            <p:nvPr/>
          </p:nvSpPr>
          <p:spPr>
            <a:xfrm>
              <a:off x="7009700" y="2912725"/>
              <a:ext cx="201900" cy="146825"/>
            </a:xfrm>
            <a:custGeom>
              <a:avLst/>
              <a:gdLst/>
              <a:ahLst/>
              <a:cxnLst/>
              <a:rect l="l" t="t" r="r" b="b"/>
              <a:pathLst>
                <a:path w="8076" h="5873" extrusionOk="0">
                  <a:moveTo>
                    <a:pt x="4038" y="0"/>
                  </a:moveTo>
                  <a:cubicBezTo>
                    <a:pt x="4038" y="0"/>
                    <a:pt x="1" y="5873"/>
                    <a:pt x="4038" y="5873"/>
                  </a:cubicBezTo>
                  <a:cubicBezTo>
                    <a:pt x="8075" y="5873"/>
                    <a:pt x="4038" y="0"/>
                    <a:pt x="4038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7" name="Google Shape;8537;p73">
              <a:extLst>
                <a:ext uri="{FF2B5EF4-FFF2-40B4-BE49-F238E27FC236}">
                  <a16:creationId xmlns:a16="http://schemas.microsoft.com/office/drawing/2014/main" id="{603531E9-1438-3EA1-317B-BCB611FC7281}"/>
                </a:ext>
              </a:extLst>
            </p:cNvPr>
            <p:cNvSpPr/>
            <p:nvPr/>
          </p:nvSpPr>
          <p:spPr>
            <a:xfrm>
              <a:off x="6118200" y="3938925"/>
              <a:ext cx="73425" cy="143900"/>
            </a:xfrm>
            <a:custGeom>
              <a:avLst/>
              <a:gdLst/>
              <a:ahLst/>
              <a:cxnLst/>
              <a:rect l="l" t="t" r="r" b="b"/>
              <a:pathLst>
                <a:path w="2937" h="5756" extrusionOk="0">
                  <a:moveTo>
                    <a:pt x="0" y="0"/>
                  </a:moveTo>
                  <a:lnTo>
                    <a:pt x="0" y="5755"/>
                  </a:lnTo>
                  <a:lnTo>
                    <a:pt x="2937" y="5755"/>
                  </a:lnTo>
                  <a:lnTo>
                    <a:pt x="2937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8" name="Google Shape;8538;p73">
              <a:extLst>
                <a:ext uri="{FF2B5EF4-FFF2-40B4-BE49-F238E27FC236}">
                  <a16:creationId xmlns:a16="http://schemas.microsoft.com/office/drawing/2014/main" id="{F41295A7-3E1D-2CD9-64C1-ABA2A8BD37F0}"/>
                </a:ext>
              </a:extLst>
            </p:cNvPr>
            <p:cNvSpPr/>
            <p:nvPr/>
          </p:nvSpPr>
          <p:spPr>
            <a:xfrm>
              <a:off x="5992675" y="3605675"/>
              <a:ext cx="324475" cy="153050"/>
            </a:xfrm>
            <a:custGeom>
              <a:avLst/>
              <a:gdLst/>
              <a:ahLst/>
              <a:cxnLst/>
              <a:rect l="l" t="t" r="r" b="b"/>
              <a:pathLst>
                <a:path w="12979" h="6122" extrusionOk="0">
                  <a:moveTo>
                    <a:pt x="2937" y="0"/>
                  </a:moveTo>
                  <a:lnTo>
                    <a:pt x="1" y="6122"/>
                  </a:lnTo>
                  <a:lnTo>
                    <a:pt x="12979" y="6122"/>
                  </a:lnTo>
                  <a:lnTo>
                    <a:pt x="10042" y="0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9" name="Google Shape;8539;p73">
              <a:extLst>
                <a:ext uri="{FF2B5EF4-FFF2-40B4-BE49-F238E27FC236}">
                  <a16:creationId xmlns:a16="http://schemas.microsoft.com/office/drawing/2014/main" id="{3A3015D8-A3F1-8896-22D9-9AAE2ABC2C23}"/>
                </a:ext>
              </a:extLst>
            </p:cNvPr>
            <p:cNvSpPr/>
            <p:nvPr/>
          </p:nvSpPr>
          <p:spPr>
            <a:xfrm>
              <a:off x="5951575" y="3758700"/>
              <a:ext cx="406675" cy="180250"/>
            </a:xfrm>
            <a:custGeom>
              <a:avLst/>
              <a:gdLst/>
              <a:ahLst/>
              <a:cxnLst/>
              <a:rect l="l" t="t" r="r" b="b"/>
              <a:pathLst>
                <a:path w="16267" h="7210" extrusionOk="0">
                  <a:moveTo>
                    <a:pt x="3480" y="1"/>
                  </a:moveTo>
                  <a:lnTo>
                    <a:pt x="0" y="7209"/>
                  </a:lnTo>
                  <a:lnTo>
                    <a:pt x="16267" y="7209"/>
                  </a:lnTo>
                  <a:lnTo>
                    <a:pt x="12846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0" name="Google Shape;8540;p73">
              <a:extLst>
                <a:ext uri="{FF2B5EF4-FFF2-40B4-BE49-F238E27FC236}">
                  <a16:creationId xmlns:a16="http://schemas.microsoft.com/office/drawing/2014/main" id="{B8852086-BCD2-6D48-681B-8065B6DDC293}"/>
                </a:ext>
              </a:extLst>
            </p:cNvPr>
            <p:cNvSpPr/>
            <p:nvPr/>
          </p:nvSpPr>
          <p:spPr>
            <a:xfrm>
              <a:off x="6024975" y="3334800"/>
              <a:ext cx="259875" cy="270900"/>
            </a:xfrm>
            <a:custGeom>
              <a:avLst/>
              <a:gdLst/>
              <a:ahLst/>
              <a:cxnLst/>
              <a:rect l="l" t="t" r="r" b="b"/>
              <a:pathLst>
                <a:path w="10395" h="10836" extrusionOk="0">
                  <a:moveTo>
                    <a:pt x="5198" y="1"/>
                  </a:moveTo>
                  <a:lnTo>
                    <a:pt x="1" y="10835"/>
                  </a:lnTo>
                  <a:lnTo>
                    <a:pt x="10395" y="10835"/>
                  </a:lnTo>
                  <a:lnTo>
                    <a:pt x="5198" y="1"/>
                  </a:ln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1" name="Google Shape;8541;p73">
              <a:extLst>
                <a:ext uri="{FF2B5EF4-FFF2-40B4-BE49-F238E27FC236}">
                  <a16:creationId xmlns:a16="http://schemas.microsoft.com/office/drawing/2014/main" id="{5062EFDA-BC55-FD9B-1507-193BCBFEFBD7}"/>
                </a:ext>
              </a:extLst>
            </p:cNvPr>
            <p:cNvSpPr/>
            <p:nvPr/>
          </p:nvSpPr>
          <p:spPr>
            <a:xfrm>
              <a:off x="5922575" y="3977100"/>
              <a:ext cx="59475" cy="100950"/>
            </a:xfrm>
            <a:custGeom>
              <a:avLst/>
              <a:gdLst/>
              <a:ahLst/>
              <a:cxnLst/>
              <a:rect l="l" t="t" r="r" b="b"/>
              <a:pathLst>
                <a:path w="2379" h="4038" extrusionOk="0">
                  <a:moveTo>
                    <a:pt x="1" y="0"/>
                  </a:moveTo>
                  <a:lnTo>
                    <a:pt x="1" y="4037"/>
                  </a:lnTo>
                  <a:lnTo>
                    <a:pt x="2379" y="4037"/>
                  </a:lnTo>
                  <a:lnTo>
                    <a:pt x="2379" y="0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2" name="Google Shape;8542;p73">
              <a:extLst>
                <a:ext uri="{FF2B5EF4-FFF2-40B4-BE49-F238E27FC236}">
                  <a16:creationId xmlns:a16="http://schemas.microsoft.com/office/drawing/2014/main" id="{6BEC740D-9ABF-998E-E340-42206F8DF871}"/>
                </a:ext>
              </a:extLst>
            </p:cNvPr>
            <p:cNvSpPr/>
            <p:nvPr/>
          </p:nvSpPr>
          <p:spPr>
            <a:xfrm>
              <a:off x="5816875" y="3749525"/>
              <a:ext cx="269050" cy="105375"/>
            </a:xfrm>
            <a:custGeom>
              <a:avLst/>
              <a:gdLst/>
              <a:ahLst/>
              <a:cxnLst/>
              <a:rect l="l" t="t" r="r" b="b"/>
              <a:pathLst>
                <a:path w="10762" h="4215" extrusionOk="0">
                  <a:moveTo>
                    <a:pt x="2452" y="1"/>
                  </a:moveTo>
                  <a:lnTo>
                    <a:pt x="0" y="4214"/>
                  </a:lnTo>
                  <a:lnTo>
                    <a:pt x="10762" y="4214"/>
                  </a:lnTo>
                  <a:lnTo>
                    <a:pt x="8383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3" name="Google Shape;8543;p73">
              <a:extLst>
                <a:ext uri="{FF2B5EF4-FFF2-40B4-BE49-F238E27FC236}">
                  <a16:creationId xmlns:a16="http://schemas.microsoft.com/office/drawing/2014/main" id="{1866243F-0508-3057-9B65-68B171D7BCDB}"/>
                </a:ext>
              </a:extLst>
            </p:cNvPr>
            <p:cNvSpPr/>
            <p:nvPr/>
          </p:nvSpPr>
          <p:spPr>
            <a:xfrm>
              <a:off x="5783100" y="3854875"/>
              <a:ext cx="336600" cy="122250"/>
            </a:xfrm>
            <a:custGeom>
              <a:avLst/>
              <a:gdLst/>
              <a:ahLst/>
              <a:cxnLst/>
              <a:rect l="l" t="t" r="r" b="b"/>
              <a:pathLst>
                <a:path w="13464" h="4890" extrusionOk="0">
                  <a:moveTo>
                    <a:pt x="2878" y="0"/>
                  </a:moveTo>
                  <a:lnTo>
                    <a:pt x="1" y="4889"/>
                  </a:lnTo>
                  <a:lnTo>
                    <a:pt x="13463" y="4889"/>
                  </a:lnTo>
                  <a:lnTo>
                    <a:pt x="10644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4" name="Google Shape;8544;p73">
              <a:extLst>
                <a:ext uri="{FF2B5EF4-FFF2-40B4-BE49-F238E27FC236}">
                  <a16:creationId xmlns:a16="http://schemas.microsoft.com/office/drawing/2014/main" id="{1B67BAEE-15C1-70C2-32DE-117CB2BF3C10}"/>
                </a:ext>
              </a:extLst>
            </p:cNvPr>
            <p:cNvSpPr/>
            <p:nvPr/>
          </p:nvSpPr>
          <p:spPr>
            <a:xfrm>
              <a:off x="5844400" y="3562725"/>
              <a:ext cx="215825" cy="186825"/>
            </a:xfrm>
            <a:custGeom>
              <a:avLst/>
              <a:gdLst/>
              <a:ahLst/>
              <a:cxnLst/>
              <a:rect l="l" t="t" r="r" b="b"/>
              <a:pathLst>
                <a:path w="8633" h="7473" extrusionOk="0">
                  <a:moveTo>
                    <a:pt x="4287" y="0"/>
                  </a:moveTo>
                  <a:lnTo>
                    <a:pt x="1" y="7473"/>
                  </a:lnTo>
                  <a:lnTo>
                    <a:pt x="8633" y="7473"/>
                  </a:lnTo>
                  <a:lnTo>
                    <a:pt x="4287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5" name="Google Shape;8545;p73">
              <a:extLst>
                <a:ext uri="{FF2B5EF4-FFF2-40B4-BE49-F238E27FC236}">
                  <a16:creationId xmlns:a16="http://schemas.microsoft.com/office/drawing/2014/main" id="{D767DDB6-20E8-CAA2-748B-5B80CBD34FD3}"/>
                </a:ext>
              </a:extLst>
            </p:cNvPr>
            <p:cNvSpPr/>
            <p:nvPr/>
          </p:nvSpPr>
          <p:spPr>
            <a:xfrm>
              <a:off x="6281900" y="3654475"/>
              <a:ext cx="212525" cy="434575"/>
            </a:xfrm>
            <a:custGeom>
              <a:avLst/>
              <a:gdLst/>
              <a:ahLst/>
              <a:cxnLst/>
              <a:rect l="l" t="t" r="r" b="b"/>
              <a:pathLst>
                <a:path w="8501" h="17383" extrusionOk="0">
                  <a:moveTo>
                    <a:pt x="3847" y="1"/>
                  </a:moveTo>
                  <a:cubicBezTo>
                    <a:pt x="3612" y="1"/>
                    <a:pt x="3421" y="191"/>
                    <a:pt x="3421" y="426"/>
                  </a:cubicBezTo>
                  <a:lnTo>
                    <a:pt x="3421" y="5697"/>
                  </a:lnTo>
                  <a:lnTo>
                    <a:pt x="793" y="2511"/>
                  </a:lnTo>
                  <a:cubicBezTo>
                    <a:pt x="724" y="2408"/>
                    <a:pt x="589" y="2340"/>
                    <a:pt x="451" y="2340"/>
                  </a:cubicBezTo>
                  <a:cubicBezTo>
                    <a:pt x="354" y="2340"/>
                    <a:pt x="255" y="2373"/>
                    <a:pt x="176" y="2452"/>
                  </a:cubicBezTo>
                  <a:cubicBezTo>
                    <a:pt x="0" y="2570"/>
                    <a:pt x="0" y="2819"/>
                    <a:pt x="118" y="2995"/>
                  </a:cubicBezTo>
                  <a:lnTo>
                    <a:pt x="3421" y="7033"/>
                  </a:lnTo>
                  <a:lnTo>
                    <a:pt x="3421" y="9851"/>
                  </a:lnTo>
                  <a:lnTo>
                    <a:pt x="3421" y="16942"/>
                  </a:lnTo>
                  <a:cubicBezTo>
                    <a:pt x="3421" y="17192"/>
                    <a:pt x="3612" y="17383"/>
                    <a:pt x="3847" y="17383"/>
                  </a:cubicBezTo>
                  <a:cubicBezTo>
                    <a:pt x="4096" y="17383"/>
                    <a:pt x="4272" y="17192"/>
                    <a:pt x="4272" y="16942"/>
                  </a:cubicBezTo>
                  <a:lnTo>
                    <a:pt x="4272" y="9851"/>
                  </a:lnTo>
                  <a:lnTo>
                    <a:pt x="4272" y="8442"/>
                  </a:lnTo>
                  <a:lnTo>
                    <a:pt x="8383" y="3862"/>
                  </a:lnTo>
                  <a:cubicBezTo>
                    <a:pt x="8500" y="3730"/>
                    <a:pt x="8500" y="3436"/>
                    <a:pt x="8310" y="3304"/>
                  </a:cubicBezTo>
                  <a:cubicBezTo>
                    <a:pt x="8222" y="3216"/>
                    <a:pt x="8115" y="3172"/>
                    <a:pt x="8009" y="3172"/>
                  </a:cubicBezTo>
                  <a:cubicBezTo>
                    <a:pt x="7902" y="3172"/>
                    <a:pt x="7796" y="3216"/>
                    <a:pt x="7708" y="3304"/>
                  </a:cubicBezTo>
                  <a:lnTo>
                    <a:pt x="4272" y="7165"/>
                  </a:lnTo>
                  <a:lnTo>
                    <a:pt x="4272" y="426"/>
                  </a:lnTo>
                  <a:cubicBezTo>
                    <a:pt x="4272" y="191"/>
                    <a:pt x="4096" y="1"/>
                    <a:pt x="3847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6" name="Google Shape;8546;p73">
              <a:extLst>
                <a:ext uri="{FF2B5EF4-FFF2-40B4-BE49-F238E27FC236}">
                  <a16:creationId xmlns:a16="http://schemas.microsoft.com/office/drawing/2014/main" id="{F24F4628-62BD-0741-616A-587087702C25}"/>
                </a:ext>
              </a:extLst>
            </p:cNvPr>
            <p:cNvSpPr/>
            <p:nvPr/>
          </p:nvSpPr>
          <p:spPr>
            <a:xfrm>
              <a:off x="6209950" y="3562725"/>
              <a:ext cx="338050" cy="338050"/>
            </a:xfrm>
            <a:custGeom>
              <a:avLst/>
              <a:gdLst/>
              <a:ahLst/>
              <a:cxnLst/>
              <a:rect l="l" t="t" r="r" b="b"/>
              <a:pathLst>
                <a:path w="13522" h="13522" extrusionOk="0">
                  <a:moveTo>
                    <a:pt x="6725" y="0"/>
                  </a:moveTo>
                  <a:cubicBezTo>
                    <a:pt x="2996" y="0"/>
                    <a:pt x="1" y="2995"/>
                    <a:pt x="1" y="6798"/>
                  </a:cubicBezTo>
                  <a:cubicBezTo>
                    <a:pt x="1" y="10336"/>
                    <a:pt x="2746" y="13272"/>
                    <a:pt x="6299" y="13521"/>
                  </a:cubicBezTo>
                  <a:lnTo>
                    <a:pt x="6299" y="10703"/>
                  </a:lnTo>
                  <a:lnTo>
                    <a:pt x="2996" y="6665"/>
                  </a:lnTo>
                  <a:cubicBezTo>
                    <a:pt x="2878" y="6489"/>
                    <a:pt x="2878" y="6240"/>
                    <a:pt x="3054" y="6122"/>
                  </a:cubicBezTo>
                  <a:cubicBezTo>
                    <a:pt x="3133" y="6043"/>
                    <a:pt x="3232" y="6010"/>
                    <a:pt x="3329" y="6010"/>
                  </a:cubicBezTo>
                  <a:cubicBezTo>
                    <a:pt x="3467" y="6010"/>
                    <a:pt x="3602" y="6078"/>
                    <a:pt x="3671" y="6181"/>
                  </a:cubicBezTo>
                  <a:lnTo>
                    <a:pt x="6299" y="9367"/>
                  </a:lnTo>
                  <a:lnTo>
                    <a:pt x="6299" y="4096"/>
                  </a:lnTo>
                  <a:cubicBezTo>
                    <a:pt x="6299" y="3861"/>
                    <a:pt x="6490" y="3671"/>
                    <a:pt x="6725" y="3671"/>
                  </a:cubicBezTo>
                  <a:cubicBezTo>
                    <a:pt x="6974" y="3671"/>
                    <a:pt x="7150" y="3861"/>
                    <a:pt x="7150" y="4096"/>
                  </a:cubicBezTo>
                  <a:lnTo>
                    <a:pt x="7150" y="10835"/>
                  </a:lnTo>
                  <a:lnTo>
                    <a:pt x="10586" y="6974"/>
                  </a:lnTo>
                  <a:cubicBezTo>
                    <a:pt x="10674" y="6886"/>
                    <a:pt x="10780" y="6842"/>
                    <a:pt x="10887" y="6842"/>
                  </a:cubicBezTo>
                  <a:cubicBezTo>
                    <a:pt x="10993" y="6842"/>
                    <a:pt x="11100" y="6886"/>
                    <a:pt x="11188" y="6974"/>
                  </a:cubicBezTo>
                  <a:cubicBezTo>
                    <a:pt x="11378" y="7106"/>
                    <a:pt x="11378" y="7400"/>
                    <a:pt x="11261" y="7532"/>
                  </a:cubicBezTo>
                  <a:lnTo>
                    <a:pt x="7150" y="12112"/>
                  </a:lnTo>
                  <a:lnTo>
                    <a:pt x="7150" y="13521"/>
                  </a:lnTo>
                  <a:cubicBezTo>
                    <a:pt x="10703" y="13272"/>
                    <a:pt x="13522" y="10336"/>
                    <a:pt x="13522" y="6798"/>
                  </a:cubicBezTo>
                  <a:cubicBezTo>
                    <a:pt x="13522" y="2995"/>
                    <a:pt x="10454" y="0"/>
                    <a:pt x="6725" y="0"/>
                  </a:cubicBezTo>
                  <a:close/>
                </a:path>
              </a:pathLst>
            </a:custGeom>
            <a:solidFill>
              <a:srgbClr val="B376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7" name="Google Shape;8547;p73">
              <a:extLst>
                <a:ext uri="{FF2B5EF4-FFF2-40B4-BE49-F238E27FC236}">
                  <a16:creationId xmlns:a16="http://schemas.microsoft.com/office/drawing/2014/main" id="{C75DE2BC-058B-EC22-E67B-527C4AE359A0}"/>
                </a:ext>
              </a:extLst>
            </p:cNvPr>
            <p:cNvSpPr/>
            <p:nvPr/>
          </p:nvSpPr>
          <p:spPr>
            <a:xfrm>
              <a:off x="6569275" y="3821100"/>
              <a:ext cx="223175" cy="292175"/>
            </a:xfrm>
            <a:custGeom>
              <a:avLst/>
              <a:gdLst/>
              <a:ahLst/>
              <a:cxnLst/>
              <a:rect l="l" t="t" r="r" b="b"/>
              <a:pathLst>
                <a:path w="8927" h="11687" extrusionOk="0">
                  <a:moveTo>
                    <a:pt x="5447" y="1"/>
                  </a:moveTo>
                  <a:lnTo>
                    <a:pt x="5447" y="1"/>
                  </a:lnTo>
                  <a:cubicBezTo>
                    <a:pt x="2995" y="2085"/>
                    <a:pt x="2261" y="4229"/>
                    <a:pt x="2261" y="4229"/>
                  </a:cubicBezTo>
                  <a:lnTo>
                    <a:pt x="2452" y="2335"/>
                  </a:lnTo>
                  <a:lnTo>
                    <a:pt x="2452" y="2335"/>
                  </a:lnTo>
                  <a:cubicBezTo>
                    <a:pt x="2452" y="2335"/>
                    <a:pt x="59" y="3803"/>
                    <a:pt x="0" y="7282"/>
                  </a:cubicBezTo>
                  <a:cubicBezTo>
                    <a:pt x="0" y="10776"/>
                    <a:pt x="4405" y="11687"/>
                    <a:pt x="4405" y="11687"/>
                  </a:cubicBezTo>
                  <a:cubicBezTo>
                    <a:pt x="4405" y="11687"/>
                    <a:pt x="8559" y="10468"/>
                    <a:pt x="8750" y="7341"/>
                  </a:cubicBezTo>
                  <a:cubicBezTo>
                    <a:pt x="8926" y="4229"/>
                    <a:pt x="6240" y="2086"/>
                    <a:pt x="6240" y="2085"/>
                  </a:cubicBezTo>
                  <a:lnTo>
                    <a:pt x="6240" y="2085"/>
                  </a:lnTo>
                  <a:lnTo>
                    <a:pt x="6666" y="4170"/>
                  </a:lnTo>
                  <a:cubicBezTo>
                    <a:pt x="4596" y="2570"/>
                    <a:pt x="5447" y="1"/>
                    <a:pt x="5447" y="1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8" name="Google Shape;8548;p73">
              <a:extLst>
                <a:ext uri="{FF2B5EF4-FFF2-40B4-BE49-F238E27FC236}">
                  <a16:creationId xmlns:a16="http://schemas.microsoft.com/office/drawing/2014/main" id="{3D9F890E-1DAE-440C-342B-758B0078491C}"/>
                </a:ext>
              </a:extLst>
            </p:cNvPr>
            <p:cNvSpPr/>
            <p:nvPr/>
          </p:nvSpPr>
          <p:spPr>
            <a:xfrm>
              <a:off x="6607450" y="3907000"/>
              <a:ext cx="159300" cy="187925"/>
            </a:xfrm>
            <a:custGeom>
              <a:avLst/>
              <a:gdLst/>
              <a:ahLst/>
              <a:cxnLst/>
              <a:rect l="l" t="t" r="r" b="b"/>
              <a:pathLst>
                <a:path w="6372" h="7517" extrusionOk="0">
                  <a:moveTo>
                    <a:pt x="2995" y="0"/>
                  </a:moveTo>
                  <a:cubicBezTo>
                    <a:pt x="2995" y="0"/>
                    <a:pt x="617" y="2437"/>
                    <a:pt x="309" y="4155"/>
                  </a:cubicBezTo>
                  <a:cubicBezTo>
                    <a:pt x="0" y="5872"/>
                    <a:pt x="2878" y="7517"/>
                    <a:pt x="2878" y="7517"/>
                  </a:cubicBezTo>
                  <a:cubicBezTo>
                    <a:pt x="6372" y="5197"/>
                    <a:pt x="6005" y="4713"/>
                    <a:pt x="4830" y="2995"/>
                  </a:cubicBezTo>
                  <a:cubicBezTo>
                    <a:pt x="4037" y="1776"/>
                    <a:pt x="2995" y="0"/>
                    <a:pt x="2995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9" name="Google Shape;8549;p73">
              <a:extLst>
                <a:ext uri="{FF2B5EF4-FFF2-40B4-BE49-F238E27FC236}">
                  <a16:creationId xmlns:a16="http://schemas.microsoft.com/office/drawing/2014/main" id="{1BDEEAAD-5CD4-073A-4F5E-B92900BAA10F}"/>
                </a:ext>
              </a:extLst>
            </p:cNvPr>
            <p:cNvSpPr/>
            <p:nvPr/>
          </p:nvSpPr>
          <p:spPr>
            <a:xfrm>
              <a:off x="310050" y="2420550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0" y="0"/>
                  </a:moveTo>
                  <a:lnTo>
                    <a:pt x="2819" y="3304"/>
                  </a:lnTo>
                  <a:lnTo>
                    <a:pt x="2819" y="3304"/>
                  </a:lnTo>
                  <a:lnTo>
                    <a:pt x="2746" y="2261"/>
                  </a:lnTo>
                  <a:cubicBezTo>
                    <a:pt x="2746" y="969"/>
                    <a:pt x="1894" y="0"/>
                    <a:pt x="852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0" name="Google Shape;8550;p73">
              <a:extLst>
                <a:ext uri="{FF2B5EF4-FFF2-40B4-BE49-F238E27FC236}">
                  <a16:creationId xmlns:a16="http://schemas.microsoft.com/office/drawing/2014/main" id="{32E7EBC9-E94E-D15A-1030-909277F70BFE}"/>
                </a:ext>
              </a:extLst>
            </p:cNvPr>
            <p:cNvSpPr/>
            <p:nvPr/>
          </p:nvSpPr>
          <p:spPr>
            <a:xfrm>
              <a:off x="400325" y="2226400"/>
              <a:ext cx="33425" cy="117475"/>
            </a:xfrm>
            <a:custGeom>
              <a:avLst/>
              <a:gdLst/>
              <a:ahLst/>
              <a:cxnLst/>
              <a:rect l="l" t="t" r="r" b="b"/>
              <a:pathLst>
                <a:path w="1337" h="4699" extrusionOk="0">
                  <a:moveTo>
                    <a:pt x="1" y="0"/>
                  </a:moveTo>
                  <a:lnTo>
                    <a:pt x="1" y="4698"/>
                  </a:lnTo>
                  <a:lnTo>
                    <a:pt x="603" y="3964"/>
                  </a:lnTo>
                  <a:cubicBezTo>
                    <a:pt x="1337" y="3054"/>
                    <a:pt x="1337" y="1586"/>
                    <a:pt x="544" y="66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1" name="Google Shape;8551;p73">
              <a:extLst>
                <a:ext uri="{FF2B5EF4-FFF2-40B4-BE49-F238E27FC236}">
                  <a16:creationId xmlns:a16="http://schemas.microsoft.com/office/drawing/2014/main" id="{6D2C7095-136C-CE8D-E41D-4C12E643B8EE}"/>
                </a:ext>
              </a:extLst>
            </p:cNvPr>
            <p:cNvSpPr/>
            <p:nvPr/>
          </p:nvSpPr>
          <p:spPr>
            <a:xfrm>
              <a:off x="426400" y="2623875"/>
              <a:ext cx="68650" cy="84075"/>
            </a:xfrm>
            <a:custGeom>
              <a:avLst/>
              <a:gdLst/>
              <a:ahLst/>
              <a:cxnLst/>
              <a:rect l="l" t="t" r="r" b="b"/>
              <a:pathLst>
                <a:path w="2746" h="3363" extrusionOk="0">
                  <a:moveTo>
                    <a:pt x="2746" y="1"/>
                  </a:moveTo>
                  <a:lnTo>
                    <a:pt x="0" y="3363"/>
                  </a:lnTo>
                  <a:lnTo>
                    <a:pt x="852" y="3363"/>
                  </a:lnTo>
                  <a:cubicBezTo>
                    <a:pt x="1894" y="3304"/>
                    <a:pt x="2746" y="2261"/>
                    <a:pt x="2746" y="984"/>
                  </a:cubicBezTo>
                  <a:lnTo>
                    <a:pt x="2746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2" name="Google Shape;8552;p73">
              <a:extLst>
                <a:ext uri="{FF2B5EF4-FFF2-40B4-BE49-F238E27FC236}">
                  <a16:creationId xmlns:a16="http://schemas.microsoft.com/office/drawing/2014/main" id="{6CF4655A-0598-9B6A-825D-EE562CEBF2D8}"/>
                </a:ext>
              </a:extLst>
            </p:cNvPr>
            <p:cNvSpPr/>
            <p:nvPr/>
          </p:nvSpPr>
          <p:spPr>
            <a:xfrm>
              <a:off x="308575" y="2322550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1" y="1"/>
                  </a:moveTo>
                  <a:lnTo>
                    <a:pt x="2805" y="3304"/>
                  </a:lnTo>
                  <a:lnTo>
                    <a:pt x="2805" y="2261"/>
                  </a:lnTo>
                  <a:cubicBezTo>
                    <a:pt x="2805" y="1043"/>
                    <a:pt x="1895" y="1"/>
                    <a:pt x="852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3" name="Google Shape;8553;p73">
              <a:extLst>
                <a:ext uri="{FF2B5EF4-FFF2-40B4-BE49-F238E27FC236}">
                  <a16:creationId xmlns:a16="http://schemas.microsoft.com/office/drawing/2014/main" id="{E318F289-9A52-E494-825D-DDCD71170DE4}"/>
                </a:ext>
              </a:extLst>
            </p:cNvPr>
            <p:cNvSpPr/>
            <p:nvPr/>
          </p:nvSpPr>
          <p:spPr>
            <a:xfrm>
              <a:off x="305275" y="2424950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1" y="1"/>
                  </a:moveTo>
                  <a:lnTo>
                    <a:pt x="74" y="984"/>
                  </a:lnTo>
                  <a:cubicBezTo>
                    <a:pt x="74" y="2261"/>
                    <a:pt x="926" y="3304"/>
                    <a:pt x="2027" y="3304"/>
                  </a:cubicBezTo>
                  <a:lnTo>
                    <a:pt x="2819" y="330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4" name="Google Shape;8554;p73">
              <a:extLst>
                <a:ext uri="{FF2B5EF4-FFF2-40B4-BE49-F238E27FC236}">
                  <a16:creationId xmlns:a16="http://schemas.microsoft.com/office/drawing/2014/main" id="{03D0026E-E23E-86A2-5040-4AB29C0B96D9}"/>
                </a:ext>
              </a:extLst>
            </p:cNvPr>
            <p:cNvSpPr/>
            <p:nvPr/>
          </p:nvSpPr>
          <p:spPr>
            <a:xfrm>
              <a:off x="308575" y="2620950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1" y="0"/>
                  </a:moveTo>
                  <a:lnTo>
                    <a:pt x="1" y="969"/>
                  </a:lnTo>
                  <a:cubicBezTo>
                    <a:pt x="1" y="2261"/>
                    <a:pt x="911" y="3303"/>
                    <a:pt x="1953" y="3303"/>
                  </a:cubicBezTo>
                  <a:lnTo>
                    <a:pt x="2805" y="330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5" name="Google Shape;8555;p73">
              <a:extLst>
                <a:ext uri="{FF2B5EF4-FFF2-40B4-BE49-F238E27FC236}">
                  <a16:creationId xmlns:a16="http://schemas.microsoft.com/office/drawing/2014/main" id="{6F50460C-A710-619A-0132-F9ECA2F8C503}"/>
                </a:ext>
              </a:extLst>
            </p:cNvPr>
            <p:cNvSpPr/>
            <p:nvPr/>
          </p:nvSpPr>
          <p:spPr>
            <a:xfrm>
              <a:off x="426400" y="2525875"/>
              <a:ext cx="68650" cy="84075"/>
            </a:xfrm>
            <a:custGeom>
              <a:avLst/>
              <a:gdLst/>
              <a:ahLst/>
              <a:cxnLst/>
              <a:rect l="l" t="t" r="r" b="b"/>
              <a:pathLst>
                <a:path w="2746" h="3363" extrusionOk="0">
                  <a:moveTo>
                    <a:pt x="2687" y="1"/>
                  </a:moveTo>
                  <a:lnTo>
                    <a:pt x="0" y="3363"/>
                  </a:lnTo>
                  <a:lnTo>
                    <a:pt x="793" y="3363"/>
                  </a:lnTo>
                  <a:cubicBezTo>
                    <a:pt x="1894" y="3363"/>
                    <a:pt x="2746" y="2262"/>
                    <a:pt x="2746" y="984"/>
                  </a:cubicBezTo>
                  <a:lnTo>
                    <a:pt x="2687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6" name="Google Shape;8556;p73">
              <a:extLst>
                <a:ext uri="{FF2B5EF4-FFF2-40B4-BE49-F238E27FC236}">
                  <a16:creationId xmlns:a16="http://schemas.microsoft.com/office/drawing/2014/main" id="{80A407C9-046F-F3E2-4267-D23580AB3688}"/>
                </a:ext>
              </a:extLst>
            </p:cNvPr>
            <p:cNvSpPr/>
            <p:nvPr/>
          </p:nvSpPr>
          <p:spPr>
            <a:xfrm>
              <a:off x="423100" y="2330250"/>
              <a:ext cx="70475" cy="84075"/>
            </a:xfrm>
            <a:custGeom>
              <a:avLst/>
              <a:gdLst/>
              <a:ahLst/>
              <a:cxnLst/>
              <a:rect l="l" t="t" r="r" b="b"/>
              <a:pathLst>
                <a:path w="2819" h="3363" extrusionOk="0">
                  <a:moveTo>
                    <a:pt x="2760" y="1"/>
                  </a:moveTo>
                  <a:lnTo>
                    <a:pt x="0" y="3363"/>
                  </a:lnTo>
                  <a:lnTo>
                    <a:pt x="866" y="3363"/>
                  </a:lnTo>
                  <a:cubicBezTo>
                    <a:pt x="1894" y="3363"/>
                    <a:pt x="2819" y="2262"/>
                    <a:pt x="2760" y="985"/>
                  </a:cubicBezTo>
                  <a:lnTo>
                    <a:pt x="2760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7" name="Google Shape;8557;p73">
              <a:extLst>
                <a:ext uri="{FF2B5EF4-FFF2-40B4-BE49-F238E27FC236}">
                  <a16:creationId xmlns:a16="http://schemas.microsoft.com/office/drawing/2014/main" id="{5C1B2668-EEE8-AE2D-A91A-838FEF2AB2DB}"/>
                </a:ext>
              </a:extLst>
            </p:cNvPr>
            <p:cNvSpPr/>
            <p:nvPr/>
          </p:nvSpPr>
          <p:spPr>
            <a:xfrm>
              <a:off x="311525" y="2616175"/>
              <a:ext cx="70475" cy="82600"/>
            </a:xfrm>
            <a:custGeom>
              <a:avLst/>
              <a:gdLst/>
              <a:ahLst/>
              <a:cxnLst/>
              <a:rect l="l" t="t" r="r" b="b"/>
              <a:pathLst>
                <a:path w="2819" h="3304" extrusionOk="0">
                  <a:moveTo>
                    <a:pt x="0" y="0"/>
                  </a:moveTo>
                  <a:lnTo>
                    <a:pt x="2819" y="3304"/>
                  </a:lnTo>
                  <a:lnTo>
                    <a:pt x="2819" y="2261"/>
                  </a:lnTo>
                  <a:cubicBezTo>
                    <a:pt x="2760" y="984"/>
                    <a:pt x="1894" y="0"/>
                    <a:pt x="852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8" name="Google Shape;8558;p73">
              <a:extLst>
                <a:ext uri="{FF2B5EF4-FFF2-40B4-BE49-F238E27FC236}">
                  <a16:creationId xmlns:a16="http://schemas.microsoft.com/office/drawing/2014/main" id="{662F2CD5-D22C-6A74-A9F8-65CA7C018C80}"/>
                </a:ext>
              </a:extLst>
            </p:cNvPr>
            <p:cNvSpPr/>
            <p:nvPr/>
          </p:nvSpPr>
          <p:spPr>
            <a:xfrm>
              <a:off x="424550" y="2428250"/>
              <a:ext cx="69025" cy="84075"/>
            </a:xfrm>
            <a:custGeom>
              <a:avLst/>
              <a:gdLst/>
              <a:ahLst/>
              <a:cxnLst/>
              <a:rect l="l" t="t" r="r" b="b"/>
              <a:pathLst>
                <a:path w="2761" h="3363" extrusionOk="0">
                  <a:moveTo>
                    <a:pt x="2761" y="1"/>
                  </a:moveTo>
                  <a:lnTo>
                    <a:pt x="1" y="3363"/>
                  </a:lnTo>
                  <a:lnTo>
                    <a:pt x="808" y="3363"/>
                  </a:lnTo>
                  <a:cubicBezTo>
                    <a:pt x="1909" y="3363"/>
                    <a:pt x="2761" y="2262"/>
                    <a:pt x="2761" y="970"/>
                  </a:cubicBezTo>
                  <a:lnTo>
                    <a:pt x="2761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9" name="Google Shape;8559;p73">
              <a:extLst>
                <a:ext uri="{FF2B5EF4-FFF2-40B4-BE49-F238E27FC236}">
                  <a16:creationId xmlns:a16="http://schemas.microsoft.com/office/drawing/2014/main" id="{FED78A06-672D-A7CA-C489-A8F91590DB91}"/>
                </a:ext>
              </a:extLst>
            </p:cNvPr>
            <p:cNvSpPr/>
            <p:nvPr/>
          </p:nvSpPr>
          <p:spPr>
            <a:xfrm>
              <a:off x="310050" y="2518175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0" y="1"/>
                  </a:moveTo>
                  <a:lnTo>
                    <a:pt x="2819" y="3304"/>
                  </a:lnTo>
                  <a:lnTo>
                    <a:pt x="2819" y="2276"/>
                  </a:lnTo>
                  <a:cubicBezTo>
                    <a:pt x="2819" y="984"/>
                    <a:pt x="1953" y="1"/>
                    <a:pt x="911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0" name="Google Shape;8560;p73">
              <a:extLst>
                <a:ext uri="{FF2B5EF4-FFF2-40B4-BE49-F238E27FC236}">
                  <a16:creationId xmlns:a16="http://schemas.microsoft.com/office/drawing/2014/main" id="{C26E00C9-64F5-9474-050C-A7774144007C}"/>
                </a:ext>
              </a:extLst>
            </p:cNvPr>
            <p:cNvSpPr/>
            <p:nvPr/>
          </p:nvSpPr>
          <p:spPr>
            <a:xfrm>
              <a:off x="307125" y="2522950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0" y="0"/>
                  </a:moveTo>
                  <a:lnTo>
                    <a:pt x="0" y="984"/>
                  </a:lnTo>
                  <a:cubicBezTo>
                    <a:pt x="0" y="2261"/>
                    <a:pt x="910" y="3304"/>
                    <a:pt x="2011" y="3304"/>
                  </a:cubicBezTo>
                  <a:lnTo>
                    <a:pt x="2804" y="33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1" name="Google Shape;8561;p73">
              <a:extLst>
                <a:ext uri="{FF2B5EF4-FFF2-40B4-BE49-F238E27FC236}">
                  <a16:creationId xmlns:a16="http://schemas.microsoft.com/office/drawing/2014/main" id="{FB5EA3D4-3CD8-2A8B-9E90-8AE5E161C4B9}"/>
                </a:ext>
              </a:extLst>
            </p:cNvPr>
            <p:cNvSpPr/>
            <p:nvPr/>
          </p:nvSpPr>
          <p:spPr>
            <a:xfrm>
              <a:off x="362175" y="2226400"/>
              <a:ext cx="33425" cy="117475"/>
            </a:xfrm>
            <a:custGeom>
              <a:avLst/>
              <a:gdLst/>
              <a:ahLst/>
              <a:cxnLst/>
              <a:rect l="l" t="t" r="r" b="b"/>
              <a:pathLst>
                <a:path w="1337" h="4699" extrusionOk="0">
                  <a:moveTo>
                    <a:pt x="1336" y="0"/>
                  </a:moveTo>
                  <a:lnTo>
                    <a:pt x="661" y="734"/>
                  </a:lnTo>
                  <a:cubicBezTo>
                    <a:pt x="0" y="1644"/>
                    <a:pt x="0" y="3054"/>
                    <a:pt x="734" y="3964"/>
                  </a:cubicBezTo>
                  <a:lnTo>
                    <a:pt x="1336" y="4698"/>
                  </a:lnTo>
                  <a:lnTo>
                    <a:pt x="133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2" name="Google Shape;8562;p73">
              <a:extLst>
                <a:ext uri="{FF2B5EF4-FFF2-40B4-BE49-F238E27FC236}">
                  <a16:creationId xmlns:a16="http://schemas.microsoft.com/office/drawing/2014/main" id="{DC5ACAC1-7007-5C1F-FD63-2B65389CBEE6}"/>
                </a:ext>
              </a:extLst>
            </p:cNvPr>
            <p:cNvSpPr/>
            <p:nvPr/>
          </p:nvSpPr>
          <p:spPr>
            <a:xfrm>
              <a:off x="305275" y="2327325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1" y="0"/>
                  </a:moveTo>
                  <a:lnTo>
                    <a:pt x="1" y="969"/>
                  </a:lnTo>
                  <a:cubicBezTo>
                    <a:pt x="1" y="2261"/>
                    <a:pt x="926" y="3304"/>
                    <a:pt x="1968" y="3304"/>
                  </a:cubicBezTo>
                  <a:lnTo>
                    <a:pt x="2819" y="3304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3" name="Google Shape;8563;p73">
              <a:extLst>
                <a:ext uri="{FF2B5EF4-FFF2-40B4-BE49-F238E27FC236}">
                  <a16:creationId xmlns:a16="http://schemas.microsoft.com/office/drawing/2014/main" id="{CF0022E5-AD73-B40B-2A7C-D994F1240954}"/>
                </a:ext>
              </a:extLst>
            </p:cNvPr>
            <p:cNvSpPr/>
            <p:nvPr/>
          </p:nvSpPr>
          <p:spPr>
            <a:xfrm>
              <a:off x="389700" y="2359250"/>
              <a:ext cx="24250" cy="544325"/>
            </a:xfrm>
            <a:custGeom>
              <a:avLst/>
              <a:gdLst/>
              <a:ahLst/>
              <a:cxnLst/>
              <a:rect l="l" t="t" r="r" b="b"/>
              <a:pathLst>
                <a:path w="970" h="21773" extrusionOk="0">
                  <a:moveTo>
                    <a:pt x="0" y="1"/>
                  </a:moveTo>
                  <a:lnTo>
                    <a:pt x="176" y="21772"/>
                  </a:lnTo>
                  <a:lnTo>
                    <a:pt x="969" y="21714"/>
                  </a:lnTo>
                  <a:lnTo>
                    <a:pt x="734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4" name="Google Shape;8564;p73">
              <a:extLst>
                <a:ext uri="{FF2B5EF4-FFF2-40B4-BE49-F238E27FC236}">
                  <a16:creationId xmlns:a16="http://schemas.microsoft.com/office/drawing/2014/main" id="{A0CF2E2E-3566-C574-947C-13574104DC7E}"/>
                </a:ext>
              </a:extLst>
            </p:cNvPr>
            <p:cNvSpPr/>
            <p:nvPr/>
          </p:nvSpPr>
          <p:spPr>
            <a:xfrm>
              <a:off x="420150" y="2327325"/>
              <a:ext cx="68675" cy="82600"/>
            </a:xfrm>
            <a:custGeom>
              <a:avLst/>
              <a:gdLst/>
              <a:ahLst/>
              <a:cxnLst/>
              <a:rect l="l" t="t" r="r" b="b"/>
              <a:pathLst>
                <a:path w="2747" h="3304" extrusionOk="0">
                  <a:moveTo>
                    <a:pt x="1836" y="0"/>
                  </a:moveTo>
                  <a:cubicBezTo>
                    <a:pt x="794" y="0"/>
                    <a:pt x="1" y="1028"/>
                    <a:pt x="1" y="2261"/>
                  </a:cubicBezTo>
                  <a:lnTo>
                    <a:pt x="1" y="3304"/>
                  </a:lnTo>
                  <a:lnTo>
                    <a:pt x="274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5" name="Google Shape;8565;p73">
              <a:extLst>
                <a:ext uri="{FF2B5EF4-FFF2-40B4-BE49-F238E27FC236}">
                  <a16:creationId xmlns:a16="http://schemas.microsoft.com/office/drawing/2014/main" id="{C20559F7-DBA5-A545-AE35-5E1359E17B87}"/>
                </a:ext>
              </a:extLst>
            </p:cNvPr>
            <p:cNvSpPr/>
            <p:nvPr/>
          </p:nvSpPr>
          <p:spPr>
            <a:xfrm>
              <a:off x="423100" y="2619100"/>
              <a:ext cx="69025" cy="84450"/>
            </a:xfrm>
            <a:custGeom>
              <a:avLst/>
              <a:gdLst/>
              <a:ahLst/>
              <a:cxnLst/>
              <a:rect l="l" t="t" r="r" b="b"/>
              <a:pathLst>
                <a:path w="2761" h="3378" extrusionOk="0">
                  <a:moveTo>
                    <a:pt x="2760" y="1"/>
                  </a:moveTo>
                  <a:lnTo>
                    <a:pt x="1835" y="74"/>
                  </a:lnTo>
                  <a:cubicBezTo>
                    <a:pt x="793" y="74"/>
                    <a:pt x="0" y="1102"/>
                    <a:pt x="0" y="2335"/>
                  </a:cubicBezTo>
                  <a:lnTo>
                    <a:pt x="0" y="3377"/>
                  </a:lnTo>
                  <a:lnTo>
                    <a:pt x="2760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6" name="Google Shape;8566;p73">
              <a:extLst>
                <a:ext uri="{FF2B5EF4-FFF2-40B4-BE49-F238E27FC236}">
                  <a16:creationId xmlns:a16="http://schemas.microsoft.com/office/drawing/2014/main" id="{3EEFC59A-CD66-83FB-B25B-D30944FD6604}"/>
                </a:ext>
              </a:extLst>
            </p:cNvPr>
            <p:cNvSpPr/>
            <p:nvPr/>
          </p:nvSpPr>
          <p:spPr>
            <a:xfrm>
              <a:off x="420150" y="2424950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1895" y="1"/>
                  </a:moveTo>
                  <a:cubicBezTo>
                    <a:pt x="852" y="1"/>
                    <a:pt x="1" y="1043"/>
                    <a:pt x="59" y="2261"/>
                  </a:cubicBezTo>
                  <a:lnTo>
                    <a:pt x="59" y="3304"/>
                  </a:lnTo>
                  <a:lnTo>
                    <a:pt x="2819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7" name="Google Shape;8567;p73">
              <a:extLst>
                <a:ext uri="{FF2B5EF4-FFF2-40B4-BE49-F238E27FC236}">
                  <a16:creationId xmlns:a16="http://schemas.microsoft.com/office/drawing/2014/main" id="{FABA8F97-E940-B83A-3DB9-A46E8C29C630}"/>
                </a:ext>
              </a:extLst>
            </p:cNvPr>
            <p:cNvSpPr/>
            <p:nvPr/>
          </p:nvSpPr>
          <p:spPr>
            <a:xfrm>
              <a:off x="421625" y="2521475"/>
              <a:ext cx="69025" cy="84075"/>
            </a:xfrm>
            <a:custGeom>
              <a:avLst/>
              <a:gdLst/>
              <a:ahLst/>
              <a:cxnLst/>
              <a:rect l="l" t="t" r="r" b="b"/>
              <a:pathLst>
                <a:path w="2761" h="3363" extrusionOk="0">
                  <a:moveTo>
                    <a:pt x="2760" y="1"/>
                  </a:moveTo>
                  <a:lnTo>
                    <a:pt x="1894" y="59"/>
                  </a:lnTo>
                  <a:cubicBezTo>
                    <a:pt x="852" y="59"/>
                    <a:pt x="0" y="1102"/>
                    <a:pt x="0" y="2320"/>
                  </a:cubicBezTo>
                  <a:lnTo>
                    <a:pt x="0" y="3363"/>
                  </a:lnTo>
                  <a:lnTo>
                    <a:pt x="2760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8" name="Google Shape;8568;p73">
              <a:extLst>
                <a:ext uri="{FF2B5EF4-FFF2-40B4-BE49-F238E27FC236}">
                  <a16:creationId xmlns:a16="http://schemas.microsoft.com/office/drawing/2014/main" id="{5524C64C-F286-9A2C-F1ED-B6465A530ECC}"/>
                </a:ext>
              </a:extLst>
            </p:cNvPr>
            <p:cNvSpPr/>
            <p:nvPr/>
          </p:nvSpPr>
          <p:spPr>
            <a:xfrm>
              <a:off x="545675" y="2412850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1" y="0"/>
                  </a:moveTo>
                  <a:lnTo>
                    <a:pt x="2805" y="3303"/>
                  </a:lnTo>
                  <a:lnTo>
                    <a:pt x="2805" y="3303"/>
                  </a:lnTo>
                  <a:lnTo>
                    <a:pt x="2746" y="2261"/>
                  </a:lnTo>
                  <a:cubicBezTo>
                    <a:pt x="2746" y="1042"/>
                    <a:pt x="1894" y="0"/>
                    <a:pt x="852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4" name="Google Shape;8569;p73">
              <a:extLst>
                <a:ext uri="{FF2B5EF4-FFF2-40B4-BE49-F238E27FC236}">
                  <a16:creationId xmlns:a16="http://schemas.microsoft.com/office/drawing/2014/main" id="{12A555B9-AFE5-418B-C2DE-7D003C48BBCA}"/>
                </a:ext>
              </a:extLst>
            </p:cNvPr>
            <p:cNvSpPr/>
            <p:nvPr/>
          </p:nvSpPr>
          <p:spPr>
            <a:xfrm>
              <a:off x="635600" y="2218675"/>
              <a:ext cx="33800" cy="117850"/>
            </a:xfrm>
            <a:custGeom>
              <a:avLst/>
              <a:gdLst/>
              <a:ahLst/>
              <a:cxnLst/>
              <a:rect l="l" t="t" r="r" b="b"/>
              <a:pathLst>
                <a:path w="1352" h="4714" extrusionOk="0">
                  <a:moveTo>
                    <a:pt x="0" y="1"/>
                  </a:moveTo>
                  <a:lnTo>
                    <a:pt x="0" y="4713"/>
                  </a:lnTo>
                  <a:lnTo>
                    <a:pt x="617" y="3979"/>
                  </a:lnTo>
                  <a:cubicBezTo>
                    <a:pt x="1351" y="3055"/>
                    <a:pt x="1351" y="1586"/>
                    <a:pt x="558" y="676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5" name="Google Shape;8570;p73">
              <a:extLst>
                <a:ext uri="{FF2B5EF4-FFF2-40B4-BE49-F238E27FC236}">
                  <a16:creationId xmlns:a16="http://schemas.microsoft.com/office/drawing/2014/main" id="{96287C78-BA58-957D-FD21-34B035CDF991}"/>
                </a:ext>
              </a:extLst>
            </p:cNvPr>
            <p:cNvSpPr/>
            <p:nvPr/>
          </p:nvSpPr>
          <p:spPr>
            <a:xfrm>
              <a:off x="661650" y="2616175"/>
              <a:ext cx="69025" cy="84075"/>
            </a:xfrm>
            <a:custGeom>
              <a:avLst/>
              <a:gdLst/>
              <a:ahLst/>
              <a:cxnLst/>
              <a:rect l="l" t="t" r="r" b="b"/>
              <a:pathLst>
                <a:path w="2761" h="3363" extrusionOk="0">
                  <a:moveTo>
                    <a:pt x="2761" y="0"/>
                  </a:moveTo>
                  <a:lnTo>
                    <a:pt x="1" y="3362"/>
                  </a:lnTo>
                  <a:lnTo>
                    <a:pt x="867" y="3362"/>
                  </a:lnTo>
                  <a:cubicBezTo>
                    <a:pt x="1895" y="3362"/>
                    <a:pt x="2761" y="2261"/>
                    <a:pt x="2761" y="984"/>
                  </a:cubicBezTo>
                  <a:lnTo>
                    <a:pt x="276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6" name="Google Shape;8571;p73">
              <a:extLst>
                <a:ext uri="{FF2B5EF4-FFF2-40B4-BE49-F238E27FC236}">
                  <a16:creationId xmlns:a16="http://schemas.microsoft.com/office/drawing/2014/main" id="{8F89ED29-8000-B1D0-6ADE-8249F5EEAA7B}"/>
                </a:ext>
              </a:extLst>
            </p:cNvPr>
            <p:cNvSpPr/>
            <p:nvPr/>
          </p:nvSpPr>
          <p:spPr>
            <a:xfrm>
              <a:off x="543850" y="2314850"/>
              <a:ext cx="70475" cy="82600"/>
            </a:xfrm>
            <a:custGeom>
              <a:avLst/>
              <a:gdLst/>
              <a:ahLst/>
              <a:cxnLst/>
              <a:rect l="l" t="t" r="r" b="b"/>
              <a:pathLst>
                <a:path w="2819" h="3304" extrusionOk="0">
                  <a:moveTo>
                    <a:pt x="0" y="0"/>
                  </a:moveTo>
                  <a:lnTo>
                    <a:pt x="2819" y="3303"/>
                  </a:lnTo>
                  <a:lnTo>
                    <a:pt x="2819" y="2261"/>
                  </a:lnTo>
                  <a:cubicBezTo>
                    <a:pt x="2819" y="1043"/>
                    <a:pt x="1909" y="0"/>
                    <a:pt x="866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7" name="Google Shape;8572;p73">
              <a:extLst>
                <a:ext uri="{FF2B5EF4-FFF2-40B4-BE49-F238E27FC236}">
                  <a16:creationId xmlns:a16="http://schemas.microsoft.com/office/drawing/2014/main" id="{50E6407B-1E00-A146-15F2-115A2FE225F9}"/>
                </a:ext>
              </a:extLst>
            </p:cNvPr>
            <p:cNvSpPr/>
            <p:nvPr/>
          </p:nvSpPr>
          <p:spPr>
            <a:xfrm>
              <a:off x="540900" y="2417250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1" y="0"/>
                  </a:moveTo>
                  <a:lnTo>
                    <a:pt x="60" y="984"/>
                  </a:lnTo>
                  <a:cubicBezTo>
                    <a:pt x="60" y="2276"/>
                    <a:pt x="926" y="3303"/>
                    <a:pt x="2027" y="3303"/>
                  </a:cubicBezTo>
                  <a:lnTo>
                    <a:pt x="2820" y="330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8" name="Google Shape;8573;p73">
              <a:extLst>
                <a:ext uri="{FF2B5EF4-FFF2-40B4-BE49-F238E27FC236}">
                  <a16:creationId xmlns:a16="http://schemas.microsoft.com/office/drawing/2014/main" id="{EECD0DA9-940F-43E9-2571-F9BC46BBCBD7}"/>
                </a:ext>
              </a:extLst>
            </p:cNvPr>
            <p:cNvSpPr/>
            <p:nvPr/>
          </p:nvSpPr>
          <p:spPr>
            <a:xfrm>
              <a:off x="543850" y="2613225"/>
              <a:ext cx="70475" cy="82625"/>
            </a:xfrm>
            <a:custGeom>
              <a:avLst/>
              <a:gdLst/>
              <a:ahLst/>
              <a:cxnLst/>
              <a:rect l="l" t="t" r="r" b="b"/>
              <a:pathLst>
                <a:path w="2819" h="3305" extrusionOk="0">
                  <a:moveTo>
                    <a:pt x="0" y="1"/>
                  </a:moveTo>
                  <a:lnTo>
                    <a:pt x="0" y="970"/>
                  </a:lnTo>
                  <a:cubicBezTo>
                    <a:pt x="0" y="2262"/>
                    <a:pt x="925" y="3304"/>
                    <a:pt x="1967" y="3304"/>
                  </a:cubicBezTo>
                  <a:lnTo>
                    <a:pt x="2819" y="3304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9" name="Google Shape;8574;p73">
              <a:extLst>
                <a:ext uri="{FF2B5EF4-FFF2-40B4-BE49-F238E27FC236}">
                  <a16:creationId xmlns:a16="http://schemas.microsoft.com/office/drawing/2014/main" id="{FF496138-61AB-5448-3A7D-E6BE49CD5EBA}"/>
                </a:ext>
              </a:extLst>
            </p:cNvPr>
            <p:cNvSpPr/>
            <p:nvPr/>
          </p:nvSpPr>
          <p:spPr>
            <a:xfrm>
              <a:off x="661650" y="2518175"/>
              <a:ext cx="69025" cy="84450"/>
            </a:xfrm>
            <a:custGeom>
              <a:avLst/>
              <a:gdLst/>
              <a:ahLst/>
              <a:cxnLst/>
              <a:rect l="l" t="t" r="r" b="b"/>
              <a:pathLst>
                <a:path w="2761" h="3378" extrusionOk="0">
                  <a:moveTo>
                    <a:pt x="2702" y="1"/>
                  </a:moveTo>
                  <a:lnTo>
                    <a:pt x="1" y="3377"/>
                  </a:lnTo>
                  <a:lnTo>
                    <a:pt x="794" y="3377"/>
                  </a:lnTo>
                  <a:cubicBezTo>
                    <a:pt x="1895" y="3377"/>
                    <a:pt x="2761" y="2276"/>
                    <a:pt x="2761" y="984"/>
                  </a:cubicBezTo>
                  <a:lnTo>
                    <a:pt x="2702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0" name="Google Shape;8575;p73">
              <a:extLst>
                <a:ext uri="{FF2B5EF4-FFF2-40B4-BE49-F238E27FC236}">
                  <a16:creationId xmlns:a16="http://schemas.microsoft.com/office/drawing/2014/main" id="{D202835D-2275-480C-7FFB-6CC788646CB5}"/>
                </a:ext>
              </a:extLst>
            </p:cNvPr>
            <p:cNvSpPr/>
            <p:nvPr/>
          </p:nvSpPr>
          <p:spPr>
            <a:xfrm>
              <a:off x="658725" y="2322550"/>
              <a:ext cx="70500" cy="84075"/>
            </a:xfrm>
            <a:custGeom>
              <a:avLst/>
              <a:gdLst/>
              <a:ahLst/>
              <a:cxnLst/>
              <a:rect l="l" t="t" r="r" b="b"/>
              <a:pathLst>
                <a:path w="2820" h="3363" extrusionOk="0">
                  <a:moveTo>
                    <a:pt x="2746" y="1"/>
                  </a:moveTo>
                  <a:lnTo>
                    <a:pt x="0" y="3363"/>
                  </a:lnTo>
                  <a:lnTo>
                    <a:pt x="852" y="3363"/>
                  </a:lnTo>
                  <a:cubicBezTo>
                    <a:pt x="1894" y="3363"/>
                    <a:pt x="2819" y="2261"/>
                    <a:pt x="2746" y="984"/>
                  </a:cubicBezTo>
                  <a:lnTo>
                    <a:pt x="2746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1" name="Google Shape;8576;p73">
              <a:extLst>
                <a:ext uri="{FF2B5EF4-FFF2-40B4-BE49-F238E27FC236}">
                  <a16:creationId xmlns:a16="http://schemas.microsoft.com/office/drawing/2014/main" id="{08694207-BC8B-0301-5538-DE0EAD671E32}"/>
                </a:ext>
              </a:extLst>
            </p:cNvPr>
            <p:cNvSpPr/>
            <p:nvPr/>
          </p:nvSpPr>
          <p:spPr>
            <a:xfrm>
              <a:off x="547150" y="2608475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0" y="0"/>
                  </a:moveTo>
                  <a:lnTo>
                    <a:pt x="2804" y="3303"/>
                  </a:lnTo>
                  <a:lnTo>
                    <a:pt x="2804" y="2261"/>
                  </a:lnTo>
                  <a:cubicBezTo>
                    <a:pt x="2746" y="984"/>
                    <a:pt x="1894" y="0"/>
                    <a:pt x="852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2" name="Google Shape;8577;p73">
              <a:extLst>
                <a:ext uri="{FF2B5EF4-FFF2-40B4-BE49-F238E27FC236}">
                  <a16:creationId xmlns:a16="http://schemas.microsoft.com/office/drawing/2014/main" id="{7401E8A4-2AEA-EA47-8EAB-C9F01C33DFC0}"/>
                </a:ext>
              </a:extLst>
            </p:cNvPr>
            <p:cNvSpPr/>
            <p:nvPr/>
          </p:nvSpPr>
          <p:spPr>
            <a:xfrm>
              <a:off x="660200" y="2420550"/>
              <a:ext cx="69025" cy="84075"/>
            </a:xfrm>
            <a:custGeom>
              <a:avLst/>
              <a:gdLst/>
              <a:ahLst/>
              <a:cxnLst/>
              <a:rect l="l" t="t" r="r" b="b"/>
              <a:pathLst>
                <a:path w="2761" h="3363" extrusionOk="0">
                  <a:moveTo>
                    <a:pt x="2760" y="0"/>
                  </a:moveTo>
                  <a:lnTo>
                    <a:pt x="0" y="3362"/>
                  </a:lnTo>
                  <a:lnTo>
                    <a:pt x="793" y="3362"/>
                  </a:lnTo>
                  <a:cubicBezTo>
                    <a:pt x="1894" y="3362"/>
                    <a:pt x="2760" y="2261"/>
                    <a:pt x="2760" y="969"/>
                  </a:cubicBezTo>
                  <a:lnTo>
                    <a:pt x="2760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3" name="Google Shape;8578;p73">
              <a:extLst>
                <a:ext uri="{FF2B5EF4-FFF2-40B4-BE49-F238E27FC236}">
                  <a16:creationId xmlns:a16="http://schemas.microsoft.com/office/drawing/2014/main" id="{77B539D6-50AF-B9DB-D0E5-8B9412F37DD5}"/>
                </a:ext>
              </a:extLst>
            </p:cNvPr>
            <p:cNvSpPr/>
            <p:nvPr/>
          </p:nvSpPr>
          <p:spPr>
            <a:xfrm>
              <a:off x="545675" y="2510825"/>
              <a:ext cx="70125" cy="82625"/>
            </a:xfrm>
            <a:custGeom>
              <a:avLst/>
              <a:gdLst/>
              <a:ahLst/>
              <a:cxnLst/>
              <a:rect l="l" t="t" r="r" b="b"/>
              <a:pathLst>
                <a:path w="2805" h="3305" extrusionOk="0">
                  <a:moveTo>
                    <a:pt x="1" y="1"/>
                  </a:moveTo>
                  <a:lnTo>
                    <a:pt x="2805" y="3304"/>
                  </a:lnTo>
                  <a:lnTo>
                    <a:pt x="2805" y="2262"/>
                  </a:lnTo>
                  <a:cubicBezTo>
                    <a:pt x="2805" y="970"/>
                    <a:pt x="1953" y="1"/>
                    <a:pt x="911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4" name="Google Shape;8579;p73">
              <a:extLst>
                <a:ext uri="{FF2B5EF4-FFF2-40B4-BE49-F238E27FC236}">
                  <a16:creationId xmlns:a16="http://schemas.microsoft.com/office/drawing/2014/main" id="{AAB311B5-9E76-0CD6-82E1-6D653ACFF5D0}"/>
                </a:ext>
              </a:extLst>
            </p:cNvPr>
            <p:cNvSpPr/>
            <p:nvPr/>
          </p:nvSpPr>
          <p:spPr>
            <a:xfrm>
              <a:off x="542375" y="2515250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1" y="0"/>
                  </a:moveTo>
                  <a:lnTo>
                    <a:pt x="1" y="984"/>
                  </a:lnTo>
                  <a:cubicBezTo>
                    <a:pt x="1" y="2261"/>
                    <a:pt x="925" y="3303"/>
                    <a:pt x="2026" y="3303"/>
                  </a:cubicBezTo>
                  <a:lnTo>
                    <a:pt x="2819" y="330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5" name="Google Shape;8580;p73">
              <a:extLst>
                <a:ext uri="{FF2B5EF4-FFF2-40B4-BE49-F238E27FC236}">
                  <a16:creationId xmlns:a16="http://schemas.microsoft.com/office/drawing/2014/main" id="{83963197-F06B-CBA1-7C79-AE825BECD0A1}"/>
                </a:ext>
              </a:extLst>
            </p:cNvPr>
            <p:cNvSpPr/>
            <p:nvPr/>
          </p:nvSpPr>
          <p:spPr>
            <a:xfrm>
              <a:off x="597425" y="2218675"/>
              <a:ext cx="33800" cy="117850"/>
            </a:xfrm>
            <a:custGeom>
              <a:avLst/>
              <a:gdLst/>
              <a:ahLst/>
              <a:cxnLst/>
              <a:rect l="l" t="t" r="r" b="b"/>
              <a:pathLst>
                <a:path w="1352" h="4714" extrusionOk="0">
                  <a:moveTo>
                    <a:pt x="1351" y="1"/>
                  </a:moveTo>
                  <a:lnTo>
                    <a:pt x="676" y="735"/>
                  </a:lnTo>
                  <a:cubicBezTo>
                    <a:pt x="1" y="1645"/>
                    <a:pt x="1" y="3055"/>
                    <a:pt x="735" y="3979"/>
                  </a:cubicBezTo>
                  <a:lnTo>
                    <a:pt x="1351" y="4713"/>
                  </a:lnTo>
                  <a:lnTo>
                    <a:pt x="1351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6" name="Google Shape;8581;p73">
              <a:extLst>
                <a:ext uri="{FF2B5EF4-FFF2-40B4-BE49-F238E27FC236}">
                  <a16:creationId xmlns:a16="http://schemas.microsoft.com/office/drawing/2014/main" id="{9A6D4A79-91F1-D074-118F-32BCE5633188}"/>
                </a:ext>
              </a:extLst>
            </p:cNvPr>
            <p:cNvSpPr/>
            <p:nvPr/>
          </p:nvSpPr>
          <p:spPr>
            <a:xfrm>
              <a:off x="540900" y="2319625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1" y="0"/>
                  </a:moveTo>
                  <a:lnTo>
                    <a:pt x="1" y="969"/>
                  </a:lnTo>
                  <a:cubicBezTo>
                    <a:pt x="1" y="2261"/>
                    <a:pt x="926" y="3303"/>
                    <a:pt x="1953" y="3303"/>
                  </a:cubicBezTo>
                  <a:lnTo>
                    <a:pt x="2820" y="330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7" name="Google Shape;8582;p73">
              <a:extLst>
                <a:ext uri="{FF2B5EF4-FFF2-40B4-BE49-F238E27FC236}">
                  <a16:creationId xmlns:a16="http://schemas.microsoft.com/office/drawing/2014/main" id="{822EF8C3-D169-F132-C43F-E28098D17354}"/>
                </a:ext>
              </a:extLst>
            </p:cNvPr>
            <p:cNvSpPr/>
            <p:nvPr/>
          </p:nvSpPr>
          <p:spPr>
            <a:xfrm>
              <a:off x="624950" y="2351550"/>
              <a:ext cx="24625" cy="544675"/>
            </a:xfrm>
            <a:custGeom>
              <a:avLst/>
              <a:gdLst/>
              <a:ahLst/>
              <a:cxnLst/>
              <a:rect l="l" t="t" r="r" b="b"/>
              <a:pathLst>
                <a:path w="985" h="21787" extrusionOk="0">
                  <a:moveTo>
                    <a:pt x="1" y="0"/>
                  </a:moveTo>
                  <a:lnTo>
                    <a:pt x="192" y="21787"/>
                  </a:lnTo>
                  <a:lnTo>
                    <a:pt x="984" y="21787"/>
                  </a:lnTo>
                  <a:lnTo>
                    <a:pt x="735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8" name="Google Shape;8583;p73">
              <a:extLst>
                <a:ext uri="{FF2B5EF4-FFF2-40B4-BE49-F238E27FC236}">
                  <a16:creationId xmlns:a16="http://schemas.microsoft.com/office/drawing/2014/main" id="{3CA1193A-75A3-E071-96F0-6C94956E9E28}"/>
                </a:ext>
              </a:extLst>
            </p:cNvPr>
            <p:cNvSpPr/>
            <p:nvPr/>
          </p:nvSpPr>
          <p:spPr>
            <a:xfrm>
              <a:off x="655775" y="2319625"/>
              <a:ext cx="68675" cy="82600"/>
            </a:xfrm>
            <a:custGeom>
              <a:avLst/>
              <a:gdLst/>
              <a:ahLst/>
              <a:cxnLst/>
              <a:rect l="l" t="t" r="r" b="b"/>
              <a:pathLst>
                <a:path w="2747" h="3304" extrusionOk="0">
                  <a:moveTo>
                    <a:pt x="1895" y="0"/>
                  </a:moveTo>
                  <a:cubicBezTo>
                    <a:pt x="794" y="0"/>
                    <a:pt x="1" y="1042"/>
                    <a:pt x="1" y="2261"/>
                  </a:cubicBezTo>
                  <a:lnTo>
                    <a:pt x="1" y="3303"/>
                  </a:lnTo>
                  <a:lnTo>
                    <a:pt x="274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9" name="Google Shape;8584;p73">
              <a:extLst>
                <a:ext uri="{FF2B5EF4-FFF2-40B4-BE49-F238E27FC236}">
                  <a16:creationId xmlns:a16="http://schemas.microsoft.com/office/drawing/2014/main" id="{8114844D-CA43-85C5-B192-5BECC9ED6C11}"/>
                </a:ext>
              </a:extLst>
            </p:cNvPr>
            <p:cNvSpPr/>
            <p:nvPr/>
          </p:nvSpPr>
          <p:spPr>
            <a:xfrm>
              <a:off x="658725" y="2611775"/>
              <a:ext cx="68650" cy="84075"/>
            </a:xfrm>
            <a:custGeom>
              <a:avLst/>
              <a:gdLst/>
              <a:ahLst/>
              <a:cxnLst/>
              <a:rect l="l" t="t" r="r" b="b"/>
              <a:pathLst>
                <a:path w="2746" h="3363" extrusionOk="0">
                  <a:moveTo>
                    <a:pt x="2746" y="0"/>
                  </a:moveTo>
                  <a:lnTo>
                    <a:pt x="1835" y="59"/>
                  </a:lnTo>
                  <a:cubicBezTo>
                    <a:pt x="793" y="59"/>
                    <a:pt x="0" y="1101"/>
                    <a:pt x="0" y="2320"/>
                  </a:cubicBezTo>
                  <a:lnTo>
                    <a:pt x="0" y="3362"/>
                  </a:lnTo>
                  <a:lnTo>
                    <a:pt x="274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0" name="Google Shape;8585;p73">
              <a:extLst>
                <a:ext uri="{FF2B5EF4-FFF2-40B4-BE49-F238E27FC236}">
                  <a16:creationId xmlns:a16="http://schemas.microsoft.com/office/drawing/2014/main" id="{47AA545A-C245-9318-1EE5-0EBBCEFD2077}"/>
                </a:ext>
              </a:extLst>
            </p:cNvPr>
            <p:cNvSpPr/>
            <p:nvPr/>
          </p:nvSpPr>
          <p:spPr>
            <a:xfrm>
              <a:off x="655775" y="2417250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1895" y="0"/>
                  </a:moveTo>
                  <a:cubicBezTo>
                    <a:pt x="852" y="0"/>
                    <a:pt x="1" y="1043"/>
                    <a:pt x="60" y="2276"/>
                  </a:cubicBezTo>
                  <a:lnTo>
                    <a:pt x="60" y="3303"/>
                  </a:lnTo>
                  <a:lnTo>
                    <a:pt x="2805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1" name="Google Shape;8586;p73">
              <a:extLst>
                <a:ext uri="{FF2B5EF4-FFF2-40B4-BE49-F238E27FC236}">
                  <a16:creationId xmlns:a16="http://schemas.microsoft.com/office/drawing/2014/main" id="{C64A1F6B-F3B3-4663-2595-08D165A45A64}"/>
                </a:ext>
              </a:extLst>
            </p:cNvPr>
            <p:cNvSpPr/>
            <p:nvPr/>
          </p:nvSpPr>
          <p:spPr>
            <a:xfrm>
              <a:off x="657250" y="2513775"/>
              <a:ext cx="68650" cy="84075"/>
            </a:xfrm>
            <a:custGeom>
              <a:avLst/>
              <a:gdLst/>
              <a:ahLst/>
              <a:cxnLst/>
              <a:rect l="l" t="t" r="r" b="b"/>
              <a:pathLst>
                <a:path w="2746" h="3363" extrusionOk="0">
                  <a:moveTo>
                    <a:pt x="2746" y="0"/>
                  </a:moveTo>
                  <a:lnTo>
                    <a:pt x="1894" y="59"/>
                  </a:lnTo>
                  <a:cubicBezTo>
                    <a:pt x="852" y="59"/>
                    <a:pt x="1" y="1101"/>
                    <a:pt x="1" y="2320"/>
                  </a:cubicBezTo>
                  <a:lnTo>
                    <a:pt x="1" y="3362"/>
                  </a:lnTo>
                  <a:lnTo>
                    <a:pt x="274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2" name="Google Shape;8587;p73">
              <a:extLst>
                <a:ext uri="{FF2B5EF4-FFF2-40B4-BE49-F238E27FC236}">
                  <a16:creationId xmlns:a16="http://schemas.microsoft.com/office/drawing/2014/main" id="{34C201E2-F33B-5015-E7D5-8BB9E2A5EBD3}"/>
                </a:ext>
              </a:extLst>
            </p:cNvPr>
            <p:cNvSpPr/>
            <p:nvPr/>
          </p:nvSpPr>
          <p:spPr>
            <a:xfrm>
              <a:off x="768825" y="2417250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1" y="0"/>
                  </a:moveTo>
                  <a:lnTo>
                    <a:pt x="2819" y="3303"/>
                  </a:lnTo>
                  <a:lnTo>
                    <a:pt x="2819" y="2276"/>
                  </a:lnTo>
                  <a:cubicBezTo>
                    <a:pt x="2819" y="984"/>
                    <a:pt x="1894" y="0"/>
                    <a:pt x="852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3" name="Google Shape;8588;p73">
              <a:extLst>
                <a:ext uri="{FF2B5EF4-FFF2-40B4-BE49-F238E27FC236}">
                  <a16:creationId xmlns:a16="http://schemas.microsoft.com/office/drawing/2014/main" id="{66EBF8F0-D772-C2D0-BDA2-EC599EDBFFCA}"/>
                </a:ext>
              </a:extLst>
            </p:cNvPr>
            <p:cNvSpPr/>
            <p:nvPr/>
          </p:nvSpPr>
          <p:spPr>
            <a:xfrm>
              <a:off x="859125" y="2223100"/>
              <a:ext cx="33425" cy="117825"/>
            </a:xfrm>
            <a:custGeom>
              <a:avLst/>
              <a:gdLst/>
              <a:ahLst/>
              <a:cxnLst/>
              <a:rect l="l" t="t" r="r" b="b"/>
              <a:pathLst>
                <a:path w="1337" h="4713" extrusionOk="0">
                  <a:moveTo>
                    <a:pt x="0" y="0"/>
                  </a:moveTo>
                  <a:lnTo>
                    <a:pt x="59" y="4713"/>
                  </a:lnTo>
                  <a:lnTo>
                    <a:pt x="602" y="3979"/>
                  </a:lnTo>
                  <a:cubicBezTo>
                    <a:pt x="1336" y="3068"/>
                    <a:pt x="1336" y="1600"/>
                    <a:pt x="602" y="67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4" name="Google Shape;8589;p73">
              <a:extLst>
                <a:ext uri="{FF2B5EF4-FFF2-40B4-BE49-F238E27FC236}">
                  <a16:creationId xmlns:a16="http://schemas.microsoft.com/office/drawing/2014/main" id="{9C75FE16-C088-F372-C190-ADFCBB72ACB0}"/>
                </a:ext>
              </a:extLst>
            </p:cNvPr>
            <p:cNvSpPr/>
            <p:nvPr/>
          </p:nvSpPr>
          <p:spPr>
            <a:xfrm>
              <a:off x="886650" y="2620950"/>
              <a:ext cx="68650" cy="84075"/>
            </a:xfrm>
            <a:custGeom>
              <a:avLst/>
              <a:gdLst/>
              <a:ahLst/>
              <a:cxnLst/>
              <a:rect l="l" t="t" r="r" b="b"/>
              <a:pathLst>
                <a:path w="2746" h="3363" extrusionOk="0">
                  <a:moveTo>
                    <a:pt x="2687" y="0"/>
                  </a:moveTo>
                  <a:lnTo>
                    <a:pt x="0" y="3362"/>
                  </a:lnTo>
                  <a:lnTo>
                    <a:pt x="793" y="3362"/>
                  </a:lnTo>
                  <a:cubicBezTo>
                    <a:pt x="1894" y="3303"/>
                    <a:pt x="2746" y="2261"/>
                    <a:pt x="2746" y="969"/>
                  </a:cubicBezTo>
                  <a:lnTo>
                    <a:pt x="2687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5" name="Google Shape;8590;p73">
              <a:extLst>
                <a:ext uri="{FF2B5EF4-FFF2-40B4-BE49-F238E27FC236}">
                  <a16:creationId xmlns:a16="http://schemas.microsoft.com/office/drawing/2014/main" id="{917892BA-DE5C-9A25-EBBA-5D35495276D5}"/>
                </a:ext>
              </a:extLst>
            </p:cNvPr>
            <p:cNvSpPr/>
            <p:nvPr/>
          </p:nvSpPr>
          <p:spPr>
            <a:xfrm>
              <a:off x="767350" y="2319625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1" y="0"/>
                  </a:moveTo>
                  <a:lnTo>
                    <a:pt x="2805" y="3303"/>
                  </a:lnTo>
                  <a:lnTo>
                    <a:pt x="2805" y="2261"/>
                  </a:lnTo>
                  <a:cubicBezTo>
                    <a:pt x="2805" y="1042"/>
                    <a:pt x="1953" y="0"/>
                    <a:pt x="91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6" name="Google Shape;8591;p73">
              <a:extLst>
                <a:ext uri="{FF2B5EF4-FFF2-40B4-BE49-F238E27FC236}">
                  <a16:creationId xmlns:a16="http://schemas.microsoft.com/office/drawing/2014/main" id="{0241CAC8-4CBC-AD4D-4E6A-1263F64CBFE9}"/>
                </a:ext>
              </a:extLst>
            </p:cNvPr>
            <p:cNvSpPr/>
            <p:nvPr/>
          </p:nvSpPr>
          <p:spPr>
            <a:xfrm>
              <a:off x="765900" y="2422025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0" y="0"/>
                  </a:moveTo>
                  <a:lnTo>
                    <a:pt x="0" y="984"/>
                  </a:lnTo>
                  <a:cubicBezTo>
                    <a:pt x="0" y="2261"/>
                    <a:pt x="910" y="3303"/>
                    <a:pt x="1953" y="3303"/>
                  </a:cubicBezTo>
                  <a:lnTo>
                    <a:pt x="2804" y="33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7" name="Google Shape;8592;p73">
              <a:extLst>
                <a:ext uri="{FF2B5EF4-FFF2-40B4-BE49-F238E27FC236}">
                  <a16:creationId xmlns:a16="http://schemas.microsoft.com/office/drawing/2014/main" id="{A484DEAB-0F52-EE49-29DC-E7739A908373}"/>
                </a:ext>
              </a:extLst>
            </p:cNvPr>
            <p:cNvSpPr/>
            <p:nvPr/>
          </p:nvSpPr>
          <p:spPr>
            <a:xfrm>
              <a:off x="767350" y="2617650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1" y="0"/>
                  </a:moveTo>
                  <a:lnTo>
                    <a:pt x="1" y="984"/>
                  </a:lnTo>
                  <a:cubicBezTo>
                    <a:pt x="1" y="2261"/>
                    <a:pt x="911" y="3303"/>
                    <a:pt x="2012" y="3303"/>
                  </a:cubicBezTo>
                  <a:lnTo>
                    <a:pt x="2805" y="330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8" name="Google Shape;8593;p73">
              <a:extLst>
                <a:ext uri="{FF2B5EF4-FFF2-40B4-BE49-F238E27FC236}">
                  <a16:creationId xmlns:a16="http://schemas.microsoft.com/office/drawing/2014/main" id="{027EACAB-A9A1-F43E-C543-71A489658D5F}"/>
                </a:ext>
              </a:extLst>
            </p:cNvPr>
            <p:cNvSpPr/>
            <p:nvPr/>
          </p:nvSpPr>
          <p:spPr>
            <a:xfrm>
              <a:off x="885175" y="2522950"/>
              <a:ext cx="68650" cy="84075"/>
            </a:xfrm>
            <a:custGeom>
              <a:avLst/>
              <a:gdLst/>
              <a:ahLst/>
              <a:cxnLst/>
              <a:rect l="l" t="t" r="r" b="b"/>
              <a:pathLst>
                <a:path w="2746" h="3363" extrusionOk="0">
                  <a:moveTo>
                    <a:pt x="2746" y="0"/>
                  </a:moveTo>
                  <a:lnTo>
                    <a:pt x="1" y="3362"/>
                  </a:lnTo>
                  <a:lnTo>
                    <a:pt x="793" y="3362"/>
                  </a:lnTo>
                  <a:cubicBezTo>
                    <a:pt x="1894" y="3304"/>
                    <a:pt x="2746" y="2261"/>
                    <a:pt x="2746" y="984"/>
                  </a:cubicBezTo>
                  <a:lnTo>
                    <a:pt x="274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9" name="Google Shape;8594;p73">
              <a:extLst>
                <a:ext uri="{FF2B5EF4-FFF2-40B4-BE49-F238E27FC236}">
                  <a16:creationId xmlns:a16="http://schemas.microsoft.com/office/drawing/2014/main" id="{CF8AFD75-B138-B102-1FDF-026F3517285F}"/>
                </a:ext>
              </a:extLst>
            </p:cNvPr>
            <p:cNvSpPr/>
            <p:nvPr/>
          </p:nvSpPr>
          <p:spPr>
            <a:xfrm>
              <a:off x="883350" y="2327325"/>
              <a:ext cx="69025" cy="84075"/>
            </a:xfrm>
            <a:custGeom>
              <a:avLst/>
              <a:gdLst/>
              <a:ahLst/>
              <a:cxnLst/>
              <a:rect l="l" t="t" r="r" b="b"/>
              <a:pathLst>
                <a:path w="2761" h="3363" extrusionOk="0">
                  <a:moveTo>
                    <a:pt x="2760" y="0"/>
                  </a:moveTo>
                  <a:lnTo>
                    <a:pt x="0" y="3362"/>
                  </a:lnTo>
                  <a:lnTo>
                    <a:pt x="808" y="3362"/>
                  </a:lnTo>
                  <a:cubicBezTo>
                    <a:pt x="1909" y="3362"/>
                    <a:pt x="2760" y="2261"/>
                    <a:pt x="2760" y="969"/>
                  </a:cubicBezTo>
                  <a:lnTo>
                    <a:pt x="2760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0" name="Google Shape;8595;p73">
              <a:extLst>
                <a:ext uri="{FF2B5EF4-FFF2-40B4-BE49-F238E27FC236}">
                  <a16:creationId xmlns:a16="http://schemas.microsoft.com/office/drawing/2014/main" id="{DBBA15DB-3A3B-7451-8E15-ACE3EA415C1B}"/>
                </a:ext>
              </a:extLst>
            </p:cNvPr>
            <p:cNvSpPr/>
            <p:nvPr/>
          </p:nvSpPr>
          <p:spPr>
            <a:xfrm>
              <a:off x="770300" y="2613225"/>
              <a:ext cx="70500" cy="82625"/>
            </a:xfrm>
            <a:custGeom>
              <a:avLst/>
              <a:gdLst/>
              <a:ahLst/>
              <a:cxnLst/>
              <a:rect l="l" t="t" r="r" b="b"/>
              <a:pathLst>
                <a:path w="2820" h="3305" extrusionOk="0">
                  <a:moveTo>
                    <a:pt x="0" y="1"/>
                  </a:moveTo>
                  <a:lnTo>
                    <a:pt x="2819" y="3304"/>
                  </a:lnTo>
                  <a:lnTo>
                    <a:pt x="2819" y="2262"/>
                  </a:lnTo>
                  <a:cubicBezTo>
                    <a:pt x="2819" y="970"/>
                    <a:pt x="1953" y="1"/>
                    <a:pt x="925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1" name="Google Shape;8596;p73">
              <a:extLst>
                <a:ext uri="{FF2B5EF4-FFF2-40B4-BE49-F238E27FC236}">
                  <a16:creationId xmlns:a16="http://schemas.microsoft.com/office/drawing/2014/main" id="{67CC9850-7118-D964-34B7-EAFBF7C3E367}"/>
                </a:ext>
              </a:extLst>
            </p:cNvPr>
            <p:cNvSpPr/>
            <p:nvPr/>
          </p:nvSpPr>
          <p:spPr>
            <a:xfrm>
              <a:off x="883350" y="2424950"/>
              <a:ext cx="70475" cy="84075"/>
            </a:xfrm>
            <a:custGeom>
              <a:avLst/>
              <a:gdLst/>
              <a:ahLst/>
              <a:cxnLst/>
              <a:rect l="l" t="t" r="r" b="b"/>
              <a:pathLst>
                <a:path w="2819" h="3363" extrusionOk="0">
                  <a:moveTo>
                    <a:pt x="2760" y="1"/>
                  </a:moveTo>
                  <a:lnTo>
                    <a:pt x="0" y="3362"/>
                  </a:lnTo>
                  <a:lnTo>
                    <a:pt x="866" y="3362"/>
                  </a:lnTo>
                  <a:cubicBezTo>
                    <a:pt x="1909" y="3362"/>
                    <a:pt x="2819" y="2261"/>
                    <a:pt x="2760" y="984"/>
                  </a:cubicBezTo>
                  <a:lnTo>
                    <a:pt x="2760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2" name="Google Shape;8597;p73">
              <a:extLst>
                <a:ext uri="{FF2B5EF4-FFF2-40B4-BE49-F238E27FC236}">
                  <a16:creationId xmlns:a16="http://schemas.microsoft.com/office/drawing/2014/main" id="{189817DD-D629-F359-5832-D2C6C8584245}"/>
                </a:ext>
              </a:extLst>
            </p:cNvPr>
            <p:cNvSpPr/>
            <p:nvPr/>
          </p:nvSpPr>
          <p:spPr>
            <a:xfrm>
              <a:off x="770300" y="2515250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0" y="0"/>
                  </a:moveTo>
                  <a:lnTo>
                    <a:pt x="2819" y="3303"/>
                  </a:lnTo>
                  <a:lnTo>
                    <a:pt x="2760" y="2261"/>
                  </a:lnTo>
                  <a:cubicBezTo>
                    <a:pt x="2760" y="984"/>
                    <a:pt x="1894" y="0"/>
                    <a:pt x="852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3" name="Google Shape;8598;p73">
              <a:extLst>
                <a:ext uri="{FF2B5EF4-FFF2-40B4-BE49-F238E27FC236}">
                  <a16:creationId xmlns:a16="http://schemas.microsoft.com/office/drawing/2014/main" id="{588151A0-1DF3-71FC-AC3C-FC889CBD4D69}"/>
                </a:ext>
              </a:extLst>
            </p:cNvPr>
            <p:cNvSpPr/>
            <p:nvPr/>
          </p:nvSpPr>
          <p:spPr>
            <a:xfrm>
              <a:off x="765900" y="2520000"/>
              <a:ext cx="70125" cy="82625"/>
            </a:xfrm>
            <a:custGeom>
              <a:avLst/>
              <a:gdLst/>
              <a:ahLst/>
              <a:cxnLst/>
              <a:rect l="l" t="t" r="r" b="b"/>
              <a:pathLst>
                <a:path w="2805" h="3305" extrusionOk="0">
                  <a:moveTo>
                    <a:pt x="0" y="1"/>
                  </a:moveTo>
                  <a:lnTo>
                    <a:pt x="59" y="970"/>
                  </a:lnTo>
                  <a:cubicBezTo>
                    <a:pt x="59" y="2262"/>
                    <a:pt x="910" y="3304"/>
                    <a:pt x="2011" y="3304"/>
                  </a:cubicBezTo>
                  <a:lnTo>
                    <a:pt x="2804" y="3304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4" name="Google Shape;8599;p73">
              <a:extLst>
                <a:ext uri="{FF2B5EF4-FFF2-40B4-BE49-F238E27FC236}">
                  <a16:creationId xmlns:a16="http://schemas.microsoft.com/office/drawing/2014/main" id="{8BA40A82-98F9-3521-4A85-39A85AC662EA}"/>
                </a:ext>
              </a:extLst>
            </p:cNvPr>
            <p:cNvSpPr/>
            <p:nvPr/>
          </p:nvSpPr>
          <p:spPr>
            <a:xfrm>
              <a:off x="820950" y="2223100"/>
              <a:ext cx="34900" cy="117825"/>
            </a:xfrm>
            <a:custGeom>
              <a:avLst/>
              <a:gdLst/>
              <a:ahLst/>
              <a:cxnLst/>
              <a:rect l="l" t="t" r="r" b="b"/>
              <a:pathLst>
                <a:path w="1396" h="4713" extrusionOk="0">
                  <a:moveTo>
                    <a:pt x="1336" y="0"/>
                  </a:moveTo>
                  <a:lnTo>
                    <a:pt x="734" y="734"/>
                  </a:lnTo>
                  <a:cubicBezTo>
                    <a:pt x="0" y="1659"/>
                    <a:pt x="0" y="3068"/>
                    <a:pt x="734" y="3920"/>
                  </a:cubicBezTo>
                  <a:lnTo>
                    <a:pt x="1395" y="4713"/>
                  </a:lnTo>
                  <a:lnTo>
                    <a:pt x="133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5" name="Google Shape;8600;p73">
              <a:extLst>
                <a:ext uri="{FF2B5EF4-FFF2-40B4-BE49-F238E27FC236}">
                  <a16:creationId xmlns:a16="http://schemas.microsoft.com/office/drawing/2014/main" id="{5C5B024F-651F-859B-D9E9-037A993819F1}"/>
                </a:ext>
              </a:extLst>
            </p:cNvPr>
            <p:cNvSpPr/>
            <p:nvPr/>
          </p:nvSpPr>
          <p:spPr>
            <a:xfrm>
              <a:off x="764050" y="2324025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1" y="0"/>
                  </a:moveTo>
                  <a:lnTo>
                    <a:pt x="1" y="984"/>
                  </a:lnTo>
                  <a:cubicBezTo>
                    <a:pt x="74" y="2261"/>
                    <a:pt x="926" y="3304"/>
                    <a:pt x="2027" y="3304"/>
                  </a:cubicBezTo>
                  <a:lnTo>
                    <a:pt x="2820" y="3304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6" name="Google Shape;8601;p73">
              <a:extLst>
                <a:ext uri="{FF2B5EF4-FFF2-40B4-BE49-F238E27FC236}">
                  <a16:creationId xmlns:a16="http://schemas.microsoft.com/office/drawing/2014/main" id="{3B92F050-8BED-3AA7-CA3B-421A51CF329D}"/>
                </a:ext>
              </a:extLst>
            </p:cNvPr>
            <p:cNvSpPr/>
            <p:nvPr/>
          </p:nvSpPr>
          <p:spPr>
            <a:xfrm>
              <a:off x="848475" y="2356325"/>
              <a:ext cx="24250" cy="544325"/>
            </a:xfrm>
            <a:custGeom>
              <a:avLst/>
              <a:gdLst/>
              <a:ahLst/>
              <a:cxnLst/>
              <a:rect l="l" t="t" r="r" b="b"/>
              <a:pathLst>
                <a:path w="970" h="21773" extrusionOk="0">
                  <a:moveTo>
                    <a:pt x="0" y="0"/>
                  </a:moveTo>
                  <a:lnTo>
                    <a:pt x="177" y="21772"/>
                  </a:lnTo>
                  <a:lnTo>
                    <a:pt x="969" y="21713"/>
                  </a:lnTo>
                  <a:lnTo>
                    <a:pt x="734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7" name="Google Shape;8602;p73">
              <a:extLst>
                <a:ext uri="{FF2B5EF4-FFF2-40B4-BE49-F238E27FC236}">
                  <a16:creationId xmlns:a16="http://schemas.microsoft.com/office/drawing/2014/main" id="{53473CD0-EF79-CA2A-E50F-D3543EA82E00}"/>
                </a:ext>
              </a:extLst>
            </p:cNvPr>
            <p:cNvSpPr/>
            <p:nvPr/>
          </p:nvSpPr>
          <p:spPr>
            <a:xfrm>
              <a:off x="878925" y="2324025"/>
              <a:ext cx="68675" cy="82600"/>
            </a:xfrm>
            <a:custGeom>
              <a:avLst/>
              <a:gdLst/>
              <a:ahLst/>
              <a:cxnLst/>
              <a:rect l="l" t="t" r="r" b="b"/>
              <a:pathLst>
                <a:path w="2747" h="3304" extrusionOk="0">
                  <a:moveTo>
                    <a:pt x="1895" y="0"/>
                  </a:moveTo>
                  <a:cubicBezTo>
                    <a:pt x="852" y="0"/>
                    <a:pt x="1" y="1043"/>
                    <a:pt x="1" y="2261"/>
                  </a:cubicBezTo>
                  <a:lnTo>
                    <a:pt x="1" y="3304"/>
                  </a:lnTo>
                  <a:lnTo>
                    <a:pt x="274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8" name="Google Shape;8603;p73">
              <a:extLst>
                <a:ext uri="{FF2B5EF4-FFF2-40B4-BE49-F238E27FC236}">
                  <a16:creationId xmlns:a16="http://schemas.microsoft.com/office/drawing/2014/main" id="{50342697-15C1-588D-C55F-6D440A3EE86C}"/>
                </a:ext>
              </a:extLst>
            </p:cNvPr>
            <p:cNvSpPr/>
            <p:nvPr/>
          </p:nvSpPr>
          <p:spPr>
            <a:xfrm>
              <a:off x="881875" y="2616175"/>
              <a:ext cx="69025" cy="84075"/>
            </a:xfrm>
            <a:custGeom>
              <a:avLst/>
              <a:gdLst/>
              <a:ahLst/>
              <a:cxnLst/>
              <a:rect l="l" t="t" r="r" b="b"/>
              <a:pathLst>
                <a:path w="2761" h="3363" extrusionOk="0">
                  <a:moveTo>
                    <a:pt x="1894" y="0"/>
                  </a:moveTo>
                  <a:cubicBezTo>
                    <a:pt x="867" y="59"/>
                    <a:pt x="0" y="1043"/>
                    <a:pt x="0" y="2320"/>
                  </a:cubicBezTo>
                  <a:lnTo>
                    <a:pt x="0" y="3362"/>
                  </a:lnTo>
                  <a:lnTo>
                    <a:pt x="2760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9" name="Google Shape;8604;p73">
              <a:extLst>
                <a:ext uri="{FF2B5EF4-FFF2-40B4-BE49-F238E27FC236}">
                  <a16:creationId xmlns:a16="http://schemas.microsoft.com/office/drawing/2014/main" id="{E1B5312F-2D25-869C-9735-E16174ED5E4D}"/>
                </a:ext>
              </a:extLst>
            </p:cNvPr>
            <p:cNvSpPr/>
            <p:nvPr/>
          </p:nvSpPr>
          <p:spPr>
            <a:xfrm>
              <a:off x="880400" y="2422025"/>
              <a:ext cx="69025" cy="82600"/>
            </a:xfrm>
            <a:custGeom>
              <a:avLst/>
              <a:gdLst/>
              <a:ahLst/>
              <a:cxnLst/>
              <a:rect l="l" t="t" r="r" b="b"/>
              <a:pathLst>
                <a:path w="2761" h="3304" extrusionOk="0">
                  <a:moveTo>
                    <a:pt x="1895" y="0"/>
                  </a:moveTo>
                  <a:cubicBezTo>
                    <a:pt x="852" y="0"/>
                    <a:pt x="1" y="1042"/>
                    <a:pt x="1" y="2261"/>
                  </a:cubicBezTo>
                  <a:lnTo>
                    <a:pt x="1" y="3303"/>
                  </a:lnTo>
                  <a:lnTo>
                    <a:pt x="276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0" name="Google Shape;8605;p73">
              <a:extLst>
                <a:ext uri="{FF2B5EF4-FFF2-40B4-BE49-F238E27FC236}">
                  <a16:creationId xmlns:a16="http://schemas.microsoft.com/office/drawing/2014/main" id="{BD92AE87-A789-9BE1-DA4A-41AB894ACB41}"/>
                </a:ext>
              </a:extLst>
            </p:cNvPr>
            <p:cNvSpPr/>
            <p:nvPr/>
          </p:nvSpPr>
          <p:spPr>
            <a:xfrm>
              <a:off x="880400" y="2518175"/>
              <a:ext cx="70500" cy="84450"/>
            </a:xfrm>
            <a:custGeom>
              <a:avLst/>
              <a:gdLst/>
              <a:ahLst/>
              <a:cxnLst/>
              <a:rect l="l" t="t" r="r" b="b"/>
              <a:pathLst>
                <a:path w="2820" h="3378" extrusionOk="0">
                  <a:moveTo>
                    <a:pt x="2819" y="1"/>
                  </a:moveTo>
                  <a:lnTo>
                    <a:pt x="1895" y="74"/>
                  </a:lnTo>
                  <a:cubicBezTo>
                    <a:pt x="852" y="74"/>
                    <a:pt x="1" y="1102"/>
                    <a:pt x="59" y="2335"/>
                  </a:cubicBezTo>
                  <a:lnTo>
                    <a:pt x="59" y="3377"/>
                  </a:lnTo>
                  <a:lnTo>
                    <a:pt x="2819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1" name="Google Shape;8606;p73">
              <a:extLst>
                <a:ext uri="{FF2B5EF4-FFF2-40B4-BE49-F238E27FC236}">
                  <a16:creationId xmlns:a16="http://schemas.microsoft.com/office/drawing/2014/main" id="{36A3BE60-9E19-B9A3-64CC-0D68271BD2A4}"/>
                </a:ext>
              </a:extLst>
            </p:cNvPr>
            <p:cNvSpPr/>
            <p:nvPr/>
          </p:nvSpPr>
          <p:spPr>
            <a:xfrm>
              <a:off x="996750" y="2417250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1" y="0"/>
                  </a:moveTo>
                  <a:lnTo>
                    <a:pt x="2805" y="3303"/>
                  </a:lnTo>
                  <a:lnTo>
                    <a:pt x="2805" y="2276"/>
                  </a:lnTo>
                  <a:cubicBezTo>
                    <a:pt x="2805" y="1043"/>
                    <a:pt x="1953" y="0"/>
                    <a:pt x="91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2" name="Google Shape;8607;p73">
              <a:extLst>
                <a:ext uri="{FF2B5EF4-FFF2-40B4-BE49-F238E27FC236}">
                  <a16:creationId xmlns:a16="http://schemas.microsoft.com/office/drawing/2014/main" id="{046FF030-26B6-1AD3-F1B2-29707A63411C}"/>
                </a:ext>
              </a:extLst>
            </p:cNvPr>
            <p:cNvSpPr/>
            <p:nvPr/>
          </p:nvSpPr>
          <p:spPr>
            <a:xfrm>
              <a:off x="1087050" y="2223100"/>
              <a:ext cx="34875" cy="117825"/>
            </a:xfrm>
            <a:custGeom>
              <a:avLst/>
              <a:gdLst/>
              <a:ahLst/>
              <a:cxnLst/>
              <a:rect l="l" t="t" r="r" b="b"/>
              <a:pathLst>
                <a:path w="1395" h="4713" extrusionOk="0">
                  <a:moveTo>
                    <a:pt x="0" y="0"/>
                  </a:moveTo>
                  <a:lnTo>
                    <a:pt x="59" y="4713"/>
                  </a:lnTo>
                  <a:lnTo>
                    <a:pt x="602" y="3979"/>
                  </a:lnTo>
                  <a:cubicBezTo>
                    <a:pt x="1395" y="3068"/>
                    <a:pt x="1395" y="1600"/>
                    <a:pt x="602" y="67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3" name="Google Shape;8608;p73">
              <a:extLst>
                <a:ext uri="{FF2B5EF4-FFF2-40B4-BE49-F238E27FC236}">
                  <a16:creationId xmlns:a16="http://schemas.microsoft.com/office/drawing/2014/main" id="{93CE3838-4802-D6FA-E09D-321F23937A39}"/>
                </a:ext>
              </a:extLst>
            </p:cNvPr>
            <p:cNvSpPr/>
            <p:nvPr/>
          </p:nvSpPr>
          <p:spPr>
            <a:xfrm>
              <a:off x="1114575" y="2620950"/>
              <a:ext cx="68650" cy="84075"/>
            </a:xfrm>
            <a:custGeom>
              <a:avLst/>
              <a:gdLst/>
              <a:ahLst/>
              <a:cxnLst/>
              <a:rect l="l" t="t" r="r" b="b"/>
              <a:pathLst>
                <a:path w="2746" h="3363" extrusionOk="0">
                  <a:moveTo>
                    <a:pt x="2745" y="0"/>
                  </a:moveTo>
                  <a:lnTo>
                    <a:pt x="0" y="3362"/>
                  </a:lnTo>
                  <a:lnTo>
                    <a:pt x="793" y="3362"/>
                  </a:lnTo>
                  <a:cubicBezTo>
                    <a:pt x="1894" y="3362"/>
                    <a:pt x="2745" y="2261"/>
                    <a:pt x="2745" y="969"/>
                  </a:cubicBezTo>
                  <a:lnTo>
                    <a:pt x="2745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4" name="Google Shape;8609;p73">
              <a:extLst>
                <a:ext uri="{FF2B5EF4-FFF2-40B4-BE49-F238E27FC236}">
                  <a16:creationId xmlns:a16="http://schemas.microsoft.com/office/drawing/2014/main" id="{C99C6BF3-AE0D-2BB2-978C-77857F9E0C99}"/>
                </a:ext>
              </a:extLst>
            </p:cNvPr>
            <p:cNvSpPr/>
            <p:nvPr/>
          </p:nvSpPr>
          <p:spPr>
            <a:xfrm>
              <a:off x="996750" y="2319625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852" y="0"/>
                  </a:moveTo>
                  <a:lnTo>
                    <a:pt x="1" y="59"/>
                  </a:lnTo>
                  <a:lnTo>
                    <a:pt x="2805" y="3303"/>
                  </a:lnTo>
                  <a:lnTo>
                    <a:pt x="2746" y="2261"/>
                  </a:lnTo>
                  <a:cubicBezTo>
                    <a:pt x="2746" y="1042"/>
                    <a:pt x="1894" y="0"/>
                    <a:pt x="852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5" name="Google Shape;8610;p73">
              <a:extLst>
                <a:ext uri="{FF2B5EF4-FFF2-40B4-BE49-F238E27FC236}">
                  <a16:creationId xmlns:a16="http://schemas.microsoft.com/office/drawing/2014/main" id="{0EB23F9E-FBC9-DE7D-B7B2-178840567AA1}"/>
                </a:ext>
              </a:extLst>
            </p:cNvPr>
            <p:cNvSpPr/>
            <p:nvPr/>
          </p:nvSpPr>
          <p:spPr>
            <a:xfrm>
              <a:off x="993450" y="2422025"/>
              <a:ext cx="70500" cy="82600"/>
            </a:xfrm>
            <a:custGeom>
              <a:avLst/>
              <a:gdLst/>
              <a:ahLst/>
              <a:cxnLst/>
              <a:rect l="l" t="t" r="r" b="b"/>
              <a:pathLst>
                <a:path w="2820" h="3304" extrusionOk="0">
                  <a:moveTo>
                    <a:pt x="0" y="0"/>
                  </a:moveTo>
                  <a:lnTo>
                    <a:pt x="0" y="984"/>
                  </a:lnTo>
                  <a:cubicBezTo>
                    <a:pt x="74" y="2261"/>
                    <a:pt x="925" y="3303"/>
                    <a:pt x="2026" y="3303"/>
                  </a:cubicBezTo>
                  <a:lnTo>
                    <a:pt x="2819" y="33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6" name="Google Shape;8611;p73">
              <a:extLst>
                <a:ext uri="{FF2B5EF4-FFF2-40B4-BE49-F238E27FC236}">
                  <a16:creationId xmlns:a16="http://schemas.microsoft.com/office/drawing/2014/main" id="{4DB4A3E1-F1F7-C05A-274A-A304DCE46406}"/>
                </a:ext>
              </a:extLst>
            </p:cNvPr>
            <p:cNvSpPr/>
            <p:nvPr/>
          </p:nvSpPr>
          <p:spPr>
            <a:xfrm>
              <a:off x="995275" y="2617650"/>
              <a:ext cx="70125" cy="82600"/>
            </a:xfrm>
            <a:custGeom>
              <a:avLst/>
              <a:gdLst/>
              <a:ahLst/>
              <a:cxnLst/>
              <a:rect l="l" t="t" r="r" b="b"/>
              <a:pathLst>
                <a:path w="2805" h="3304" extrusionOk="0">
                  <a:moveTo>
                    <a:pt x="1" y="0"/>
                  </a:moveTo>
                  <a:lnTo>
                    <a:pt x="60" y="984"/>
                  </a:lnTo>
                  <a:cubicBezTo>
                    <a:pt x="60" y="2261"/>
                    <a:pt x="911" y="3303"/>
                    <a:pt x="2012" y="3303"/>
                  </a:cubicBezTo>
                  <a:lnTo>
                    <a:pt x="2805" y="330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7" name="Google Shape;8612;p73">
              <a:extLst>
                <a:ext uri="{FF2B5EF4-FFF2-40B4-BE49-F238E27FC236}">
                  <a16:creationId xmlns:a16="http://schemas.microsoft.com/office/drawing/2014/main" id="{A4BB28F9-5E32-BD4D-D99A-0CE3706B22D4}"/>
                </a:ext>
              </a:extLst>
            </p:cNvPr>
            <p:cNvSpPr/>
            <p:nvPr/>
          </p:nvSpPr>
          <p:spPr>
            <a:xfrm>
              <a:off x="1112725" y="2522950"/>
              <a:ext cx="70500" cy="84075"/>
            </a:xfrm>
            <a:custGeom>
              <a:avLst/>
              <a:gdLst/>
              <a:ahLst/>
              <a:cxnLst/>
              <a:rect l="l" t="t" r="r" b="b"/>
              <a:pathLst>
                <a:path w="2820" h="3363" extrusionOk="0">
                  <a:moveTo>
                    <a:pt x="2761" y="0"/>
                  </a:moveTo>
                  <a:lnTo>
                    <a:pt x="1" y="3362"/>
                  </a:lnTo>
                  <a:lnTo>
                    <a:pt x="867" y="3362"/>
                  </a:lnTo>
                  <a:cubicBezTo>
                    <a:pt x="1909" y="3362"/>
                    <a:pt x="2819" y="2261"/>
                    <a:pt x="2761" y="984"/>
                  </a:cubicBezTo>
                  <a:lnTo>
                    <a:pt x="276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8" name="Google Shape;8613;p73">
              <a:extLst>
                <a:ext uri="{FF2B5EF4-FFF2-40B4-BE49-F238E27FC236}">
                  <a16:creationId xmlns:a16="http://schemas.microsoft.com/office/drawing/2014/main" id="{3167ACCA-BBEE-7542-9F96-27E1E9D97734}"/>
                </a:ext>
              </a:extLst>
            </p:cNvPr>
            <p:cNvSpPr/>
            <p:nvPr/>
          </p:nvSpPr>
          <p:spPr>
            <a:xfrm>
              <a:off x="1111250" y="2327325"/>
              <a:ext cx="69025" cy="84075"/>
            </a:xfrm>
            <a:custGeom>
              <a:avLst/>
              <a:gdLst/>
              <a:ahLst/>
              <a:cxnLst/>
              <a:rect l="l" t="t" r="r" b="b"/>
              <a:pathLst>
                <a:path w="2761" h="3363" extrusionOk="0">
                  <a:moveTo>
                    <a:pt x="2761" y="0"/>
                  </a:moveTo>
                  <a:lnTo>
                    <a:pt x="1" y="3362"/>
                  </a:lnTo>
                  <a:lnTo>
                    <a:pt x="794" y="3362"/>
                  </a:lnTo>
                  <a:cubicBezTo>
                    <a:pt x="1895" y="3362"/>
                    <a:pt x="2761" y="2261"/>
                    <a:pt x="2761" y="969"/>
                  </a:cubicBezTo>
                  <a:lnTo>
                    <a:pt x="276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9" name="Google Shape;8614;p73">
              <a:extLst>
                <a:ext uri="{FF2B5EF4-FFF2-40B4-BE49-F238E27FC236}">
                  <a16:creationId xmlns:a16="http://schemas.microsoft.com/office/drawing/2014/main" id="{4765F6F5-7115-F555-DC16-2BAF17937FDD}"/>
                </a:ext>
              </a:extLst>
            </p:cNvPr>
            <p:cNvSpPr/>
            <p:nvPr/>
          </p:nvSpPr>
          <p:spPr>
            <a:xfrm>
              <a:off x="999675" y="2613225"/>
              <a:ext cx="70500" cy="82625"/>
            </a:xfrm>
            <a:custGeom>
              <a:avLst/>
              <a:gdLst/>
              <a:ahLst/>
              <a:cxnLst/>
              <a:rect l="l" t="t" r="r" b="b"/>
              <a:pathLst>
                <a:path w="2820" h="3305" extrusionOk="0">
                  <a:moveTo>
                    <a:pt x="1" y="1"/>
                  </a:moveTo>
                  <a:lnTo>
                    <a:pt x="2820" y="3304"/>
                  </a:lnTo>
                  <a:lnTo>
                    <a:pt x="2820" y="3304"/>
                  </a:lnTo>
                  <a:lnTo>
                    <a:pt x="2761" y="2262"/>
                  </a:lnTo>
                  <a:cubicBezTo>
                    <a:pt x="2761" y="970"/>
                    <a:pt x="1895" y="1"/>
                    <a:pt x="852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0" name="Google Shape;8615;p73">
              <a:extLst>
                <a:ext uri="{FF2B5EF4-FFF2-40B4-BE49-F238E27FC236}">
                  <a16:creationId xmlns:a16="http://schemas.microsoft.com/office/drawing/2014/main" id="{96350466-28FC-A471-E3AF-C1D14323A21E}"/>
                </a:ext>
              </a:extLst>
            </p:cNvPr>
            <p:cNvSpPr/>
            <p:nvPr/>
          </p:nvSpPr>
          <p:spPr>
            <a:xfrm>
              <a:off x="1112725" y="2424950"/>
              <a:ext cx="69025" cy="84075"/>
            </a:xfrm>
            <a:custGeom>
              <a:avLst/>
              <a:gdLst/>
              <a:ahLst/>
              <a:cxnLst/>
              <a:rect l="l" t="t" r="r" b="b"/>
              <a:pathLst>
                <a:path w="2761" h="3363" extrusionOk="0">
                  <a:moveTo>
                    <a:pt x="2761" y="1"/>
                  </a:moveTo>
                  <a:lnTo>
                    <a:pt x="1" y="3362"/>
                  </a:lnTo>
                  <a:lnTo>
                    <a:pt x="808" y="3362"/>
                  </a:lnTo>
                  <a:cubicBezTo>
                    <a:pt x="1909" y="3362"/>
                    <a:pt x="2761" y="2261"/>
                    <a:pt x="2761" y="984"/>
                  </a:cubicBezTo>
                  <a:lnTo>
                    <a:pt x="2761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1" name="Google Shape;8616;p73">
              <a:extLst>
                <a:ext uri="{FF2B5EF4-FFF2-40B4-BE49-F238E27FC236}">
                  <a16:creationId xmlns:a16="http://schemas.microsoft.com/office/drawing/2014/main" id="{EDA51773-BF0E-7153-C174-B884CCDAD01C}"/>
                </a:ext>
              </a:extLst>
            </p:cNvPr>
            <p:cNvSpPr/>
            <p:nvPr/>
          </p:nvSpPr>
          <p:spPr>
            <a:xfrm>
              <a:off x="998225" y="2515250"/>
              <a:ext cx="70475" cy="82600"/>
            </a:xfrm>
            <a:custGeom>
              <a:avLst/>
              <a:gdLst/>
              <a:ahLst/>
              <a:cxnLst/>
              <a:rect l="l" t="t" r="r" b="b"/>
              <a:pathLst>
                <a:path w="2819" h="3304" extrusionOk="0">
                  <a:moveTo>
                    <a:pt x="0" y="0"/>
                  </a:moveTo>
                  <a:lnTo>
                    <a:pt x="2819" y="3303"/>
                  </a:lnTo>
                  <a:lnTo>
                    <a:pt x="2819" y="2261"/>
                  </a:lnTo>
                  <a:cubicBezTo>
                    <a:pt x="2819" y="1042"/>
                    <a:pt x="1894" y="0"/>
                    <a:pt x="852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2" name="Google Shape;8617;p73">
              <a:extLst>
                <a:ext uri="{FF2B5EF4-FFF2-40B4-BE49-F238E27FC236}">
                  <a16:creationId xmlns:a16="http://schemas.microsoft.com/office/drawing/2014/main" id="{3BF25E37-7F2A-AC52-6654-77FF2DEF6D01}"/>
                </a:ext>
              </a:extLst>
            </p:cNvPr>
            <p:cNvSpPr/>
            <p:nvPr/>
          </p:nvSpPr>
          <p:spPr>
            <a:xfrm>
              <a:off x="995275" y="2520000"/>
              <a:ext cx="70125" cy="82625"/>
            </a:xfrm>
            <a:custGeom>
              <a:avLst/>
              <a:gdLst/>
              <a:ahLst/>
              <a:cxnLst/>
              <a:rect l="l" t="t" r="r" b="b"/>
              <a:pathLst>
                <a:path w="2805" h="3305" extrusionOk="0">
                  <a:moveTo>
                    <a:pt x="1" y="1"/>
                  </a:moveTo>
                  <a:lnTo>
                    <a:pt x="1" y="970"/>
                  </a:lnTo>
                  <a:cubicBezTo>
                    <a:pt x="1" y="2262"/>
                    <a:pt x="911" y="3304"/>
                    <a:pt x="1953" y="3304"/>
                  </a:cubicBezTo>
                  <a:lnTo>
                    <a:pt x="2805" y="330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3" name="Google Shape;8618;p73">
              <a:extLst>
                <a:ext uri="{FF2B5EF4-FFF2-40B4-BE49-F238E27FC236}">
                  <a16:creationId xmlns:a16="http://schemas.microsoft.com/office/drawing/2014/main" id="{155E3E62-6E97-8E67-B361-598C9393ACA8}"/>
                </a:ext>
              </a:extLst>
            </p:cNvPr>
            <p:cNvSpPr/>
            <p:nvPr/>
          </p:nvSpPr>
          <p:spPr>
            <a:xfrm>
              <a:off x="1048500" y="2223100"/>
              <a:ext cx="35250" cy="117825"/>
            </a:xfrm>
            <a:custGeom>
              <a:avLst/>
              <a:gdLst/>
              <a:ahLst/>
              <a:cxnLst/>
              <a:rect l="l" t="t" r="r" b="b"/>
              <a:pathLst>
                <a:path w="1410" h="4713" extrusionOk="0">
                  <a:moveTo>
                    <a:pt x="1351" y="0"/>
                  </a:moveTo>
                  <a:lnTo>
                    <a:pt x="735" y="734"/>
                  </a:lnTo>
                  <a:cubicBezTo>
                    <a:pt x="1" y="1659"/>
                    <a:pt x="74" y="3068"/>
                    <a:pt x="808" y="3979"/>
                  </a:cubicBezTo>
                  <a:lnTo>
                    <a:pt x="1410" y="4713"/>
                  </a:lnTo>
                  <a:lnTo>
                    <a:pt x="1351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4" name="Google Shape;8619;p73">
              <a:extLst>
                <a:ext uri="{FF2B5EF4-FFF2-40B4-BE49-F238E27FC236}">
                  <a16:creationId xmlns:a16="http://schemas.microsoft.com/office/drawing/2014/main" id="{8049EFED-BDA5-0640-8C29-B59059582EC6}"/>
                </a:ext>
              </a:extLst>
            </p:cNvPr>
            <p:cNvSpPr/>
            <p:nvPr/>
          </p:nvSpPr>
          <p:spPr>
            <a:xfrm>
              <a:off x="993450" y="2324025"/>
              <a:ext cx="69025" cy="82600"/>
            </a:xfrm>
            <a:custGeom>
              <a:avLst/>
              <a:gdLst/>
              <a:ahLst/>
              <a:cxnLst/>
              <a:rect l="l" t="t" r="r" b="b"/>
              <a:pathLst>
                <a:path w="2761" h="3304" extrusionOk="0">
                  <a:moveTo>
                    <a:pt x="0" y="0"/>
                  </a:moveTo>
                  <a:lnTo>
                    <a:pt x="0" y="984"/>
                  </a:lnTo>
                  <a:cubicBezTo>
                    <a:pt x="0" y="2261"/>
                    <a:pt x="925" y="3304"/>
                    <a:pt x="1968" y="3304"/>
                  </a:cubicBezTo>
                  <a:lnTo>
                    <a:pt x="2760" y="33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5" name="Google Shape;8620;p73">
              <a:extLst>
                <a:ext uri="{FF2B5EF4-FFF2-40B4-BE49-F238E27FC236}">
                  <a16:creationId xmlns:a16="http://schemas.microsoft.com/office/drawing/2014/main" id="{7245AE10-2725-3B2E-822F-760A40BA18AF}"/>
                </a:ext>
              </a:extLst>
            </p:cNvPr>
            <p:cNvSpPr/>
            <p:nvPr/>
          </p:nvSpPr>
          <p:spPr>
            <a:xfrm>
              <a:off x="1076025" y="2356325"/>
              <a:ext cx="24625" cy="544325"/>
            </a:xfrm>
            <a:custGeom>
              <a:avLst/>
              <a:gdLst/>
              <a:ahLst/>
              <a:cxnLst/>
              <a:rect l="l" t="t" r="r" b="b"/>
              <a:pathLst>
                <a:path w="985" h="21773" extrusionOk="0">
                  <a:moveTo>
                    <a:pt x="1" y="0"/>
                  </a:moveTo>
                  <a:lnTo>
                    <a:pt x="250" y="21772"/>
                  </a:lnTo>
                  <a:lnTo>
                    <a:pt x="984" y="21772"/>
                  </a:lnTo>
                  <a:lnTo>
                    <a:pt x="808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6" name="Google Shape;8621;p73">
              <a:extLst>
                <a:ext uri="{FF2B5EF4-FFF2-40B4-BE49-F238E27FC236}">
                  <a16:creationId xmlns:a16="http://schemas.microsoft.com/office/drawing/2014/main" id="{3EAAE5C7-0284-977F-9CAF-5DE26356B9D8}"/>
                </a:ext>
              </a:extLst>
            </p:cNvPr>
            <p:cNvSpPr/>
            <p:nvPr/>
          </p:nvSpPr>
          <p:spPr>
            <a:xfrm>
              <a:off x="1106850" y="2324025"/>
              <a:ext cx="70125" cy="84075"/>
            </a:xfrm>
            <a:custGeom>
              <a:avLst/>
              <a:gdLst/>
              <a:ahLst/>
              <a:cxnLst/>
              <a:rect l="l" t="t" r="r" b="b"/>
              <a:pathLst>
                <a:path w="2805" h="3363" extrusionOk="0">
                  <a:moveTo>
                    <a:pt x="1895" y="0"/>
                  </a:moveTo>
                  <a:cubicBezTo>
                    <a:pt x="852" y="0"/>
                    <a:pt x="1" y="1043"/>
                    <a:pt x="60" y="2261"/>
                  </a:cubicBezTo>
                  <a:lnTo>
                    <a:pt x="60" y="3362"/>
                  </a:lnTo>
                  <a:lnTo>
                    <a:pt x="2805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7" name="Google Shape;8622;p73">
              <a:extLst>
                <a:ext uri="{FF2B5EF4-FFF2-40B4-BE49-F238E27FC236}">
                  <a16:creationId xmlns:a16="http://schemas.microsoft.com/office/drawing/2014/main" id="{777B4903-BA6D-8BEF-3C8A-DEF60295A88A}"/>
                </a:ext>
              </a:extLst>
            </p:cNvPr>
            <p:cNvSpPr/>
            <p:nvPr/>
          </p:nvSpPr>
          <p:spPr>
            <a:xfrm>
              <a:off x="1109800" y="2617650"/>
              <a:ext cx="70475" cy="82600"/>
            </a:xfrm>
            <a:custGeom>
              <a:avLst/>
              <a:gdLst/>
              <a:ahLst/>
              <a:cxnLst/>
              <a:rect l="l" t="t" r="r" b="b"/>
              <a:pathLst>
                <a:path w="2819" h="3304" extrusionOk="0">
                  <a:moveTo>
                    <a:pt x="1894" y="0"/>
                  </a:moveTo>
                  <a:cubicBezTo>
                    <a:pt x="852" y="0"/>
                    <a:pt x="0" y="1042"/>
                    <a:pt x="59" y="2261"/>
                  </a:cubicBezTo>
                  <a:lnTo>
                    <a:pt x="59" y="3303"/>
                  </a:lnTo>
                  <a:lnTo>
                    <a:pt x="2819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8" name="Google Shape;8623;p73">
              <a:extLst>
                <a:ext uri="{FF2B5EF4-FFF2-40B4-BE49-F238E27FC236}">
                  <a16:creationId xmlns:a16="http://schemas.microsoft.com/office/drawing/2014/main" id="{ABF3B351-7ECE-6F89-AA1B-6DBDCC8B0B1C}"/>
                </a:ext>
              </a:extLst>
            </p:cNvPr>
            <p:cNvSpPr/>
            <p:nvPr/>
          </p:nvSpPr>
          <p:spPr>
            <a:xfrm>
              <a:off x="1108325" y="2422025"/>
              <a:ext cx="68650" cy="84075"/>
            </a:xfrm>
            <a:custGeom>
              <a:avLst/>
              <a:gdLst/>
              <a:ahLst/>
              <a:cxnLst/>
              <a:rect l="l" t="t" r="r" b="b"/>
              <a:pathLst>
                <a:path w="2746" h="3363" extrusionOk="0">
                  <a:moveTo>
                    <a:pt x="1894" y="0"/>
                  </a:moveTo>
                  <a:cubicBezTo>
                    <a:pt x="852" y="0"/>
                    <a:pt x="1" y="1042"/>
                    <a:pt x="1" y="2261"/>
                  </a:cubicBezTo>
                  <a:lnTo>
                    <a:pt x="59" y="3362"/>
                  </a:lnTo>
                  <a:lnTo>
                    <a:pt x="2746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9" name="Google Shape;8624;p73">
              <a:extLst>
                <a:ext uri="{FF2B5EF4-FFF2-40B4-BE49-F238E27FC236}">
                  <a16:creationId xmlns:a16="http://schemas.microsoft.com/office/drawing/2014/main" id="{C576B25C-15F8-EAE8-3899-841CF1A82961}"/>
                </a:ext>
              </a:extLst>
            </p:cNvPr>
            <p:cNvSpPr/>
            <p:nvPr/>
          </p:nvSpPr>
          <p:spPr>
            <a:xfrm>
              <a:off x="1109800" y="2520000"/>
              <a:ext cx="69025" cy="82625"/>
            </a:xfrm>
            <a:custGeom>
              <a:avLst/>
              <a:gdLst/>
              <a:ahLst/>
              <a:cxnLst/>
              <a:rect l="l" t="t" r="r" b="b"/>
              <a:pathLst>
                <a:path w="2761" h="3305" extrusionOk="0">
                  <a:moveTo>
                    <a:pt x="1894" y="1"/>
                  </a:moveTo>
                  <a:cubicBezTo>
                    <a:pt x="852" y="1"/>
                    <a:pt x="0" y="1029"/>
                    <a:pt x="0" y="2262"/>
                  </a:cubicBezTo>
                  <a:lnTo>
                    <a:pt x="0" y="3304"/>
                  </a:lnTo>
                  <a:lnTo>
                    <a:pt x="2760" y="1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0" name="Google Shape;8625;p73">
              <a:extLst>
                <a:ext uri="{FF2B5EF4-FFF2-40B4-BE49-F238E27FC236}">
                  <a16:creationId xmlns:a16="http://schemas.microsoft.com/office/drawing/2014/main" id="{FEEC501D-1563-0D55-A7D4-7632021F9968}"/>
                </a:ext>
              </a:extLst>
            </p:cNvPr>
            <p:cNvSpPr/>
            <p:nvPr/>
          </p:nvSpPr>
          <p:spPr>
            <a:xfrm>
              <a:off x="296100" y="2949425"/>
              <a:ext cx="1965450" cy="15450"/>
            </a:xfrm>
            <a:custGeom>
              <a:avLst/>
              <a:gdLst/>
              <a:ahLst/>
              <a:cxnLst/>
              <a:rect l="l" t="t" r="r" b="b"/>
              <a:pathLst>
                <a:path w="78618" h="618" extrusionOk="0">
                  <a:moveTo>
                    <a:pt x="1" y="1"/>
                  </a:moveTo>
                  <a:lnTo>
                    <a:pt x="1" y="617"/>
                  </a:lnTo>
                  <a:lnTo>
                    <a:pt x="78617" y="617"/>
                  </a:lnTo>
                  <a:lnTo>
                    <a:pt x="7861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1" name="Google Shape;8626;p73">
              <a:extLst>
                <a:ext uri="{FF2B5EF4-FFF2-40B4-BE49-F238E27FC236}">
                  <a16:creationId xmlns:a16="http://schemas.microsoft.com/office/drawing/2014/main" id="{3CDEBB93-AC5D-72B1-B00F-D52DFA83C39D}"/>
                </a:ext>
              </a:extLst>
            </p:cNvPr>
            <p:cNvSpPr/>
            <p:nvPr/>
          </p:nvSpPr>
          <p:spPr>
            <a:xfrm>
              <a:off x="236650" y="3975625"/>
              <a:ext cx="2329150" cy="15425"/>
            </a:xfrm>
            <a:custGeom>
              <a:avLst/>
              <a:gdLst/>
              <a:ahLst/>
              <a:cxnLst/>
              <a:rect l="l" t="t" r="r" b="b"/>
              <a:pathLst>
                <a:path w="93166" h="617" extrusionOk="0">
                  <a:moveTo>
                    <a:pt x="0" y="0"/>
                  </a:moveTo>
                  <a:lnTo>
                    <a:pt x="0" y="617"/>
                  </a:lnTo>
                  <a:lnTo>
                    <a:pt x="93166" y="617"/>
                  </a:lnTo>
                  <a:lnTo>
                    <a:pt x="9316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2" name="Google Shape;8627;p73">
              <a:extLst>
                <a:ext uri="{FF2B5EF4-FFF2-40B4-BE49-F238E27FC236}">
                  <a16:creationId xmlns:a16="http://schemas.microsoft.com/office/drawing/2014/main" id="{73ED6C6A-573C-8738-1956-6CCF7EE75E10}"/>
                </a:ext>
              </a:extLst>
            </p:cNvPr>
            <p:cNvSpPr/>
            <p:nvPr/>
          </p:nvSpPr>
          <p:spPr>
            <a:xfrm>
              <a:off x="6095075" y="993575"/>
              <a:ext cx="148675" cy="339700"/>
            </a:xfrm>
            <a:custGeom>
              <a:avLst/>
              <a:gdLst/>
              <a:ahLst/>
              <a:cxnLst/>
              <a:rect l="l" t="t" r="r" b="b"/>
              <a:pathLst>
                <a:path w="5947" h="13588" extrusionOk="0">
                  <a:moveTo>
                    <a:pt x="617" y="0"/>
                  </a:moveTo>
                  <a:cubicBezTo>
                    <a:pt x="309" y="0"/>
                    <a:pt x="74" y="250"/>
                    <a:pt x="74" y="558"/>
                  </a:cubicBezTo>
                  <a:lnTo>
                    <a:pt x="1" y="5388"/>
                  </a:lnTo>
                  <a:cubicBezTo>
                    <a:pt x="1" y="5665"/>
                    <a:pt x="250" y="5942"/>
                    <a:pt x="566" y="5942"/>
                  </a:cubicBezTo>
                  <a:cubicBezTo>
                    <a:pt x="602" y="5942"/>
                    <a:pt x="639" y="5939"/>
                    <a:pt x="676" y="5931"/>
                  </a:cubicBezTo>
                  <a:cubicBezTo>
                    <a:pt x="925" y="5872"/>
                    <a:pt x="1102" y="5638"/>
                    <a:pt x="1102" y="5329"/>
                  </a:cubicBezTo>
                  <a:lnTo>
                    <a:pt x="1175" y="1659"/>
                  </a:lnTo>
                  <a:cubicBezTo>
                    <a:pt x="1175" y="1600"/>
                    <a:pt x="1234" y="1468"/>
                    <a:pt x="1351" y="1468"/>
                  </a:cubicBezTo>
                  <a:cubicBezTo>
                    <a:pt x="1410" y="1468"/>
                    <a:pt x="1469" y="1600"/>
                    <a:pt x="1469" y="1659"/>
                  </a:cubicBezTo>
                  <a:lnTo>
                    <a:pt x="1410" y="13037"/>
                  </a:lnTo>
                  <a:cubicBezTo>
                    <a:pt x="1410" y="13318"/>
                    <a:pt x="1667" y="13587"/>
                    <a:pt x="1991" y="13587"/>
                  </a:cubicBezTo>
                  <a:cubicBezTo>
                    <a:pt x="2022" y="13587"/>
                    <a:pt x="2053" y="13585"/>
                    <a:pt x="2085" y="13580"/>
                  </a:cubicBezTo>
                  <a:cubicBezTo>
                    <a:pt x="2335" y="13521"/>
                    <a:pt x="2511" y="13272"/>
                    <a:pt x="2511" y="12978"/>
                  </a:cubicBezTo>
                  <a:lnTo>
                    <a:pt x="2643" y="6489"/>
                  </a:lnTo>
                  <a:cubicBezTo>
                    <a:pt x="2643" y="6430"/>
                    <a:pt x="2702" y="6372"/>
                    <a:pt x="2761" y="6372"/>
                  </a:cubicBezTo>
                  <a:lnTo>
                    <a:pt x="3245" y="6372"/>
                  </a:lnTo>
                  <a:cubicBezTo>
                    <a:pt x="3304" y="6372"/>
                    <a:pt x="3377" y="6372"/>
                    <a:pt x="3377" y="6430"/>
                  </a:cubicBezTo>
                  <a:lnTo>
                    <a:pt x="3495" y="13037"/>
                  </a:lnTo>
                  <a:cubicBezTo>
                    <a:pt x="3495" y="13318"/>
                    <a:pt x="3752" y="13587"/>
                    <a:pt x="4076" y="13587"/>
                  </a:cubicBezTo>
                  <a:cubicBezTo>
                    <a:pt x="4107" y="13587"/>
                    <a:pt x="4138" y="13585"/>
                    <a:pt x="4170" y="13580"/>
                  </a:cubicBezTo>
                  <a:cubicBezTo>
                    <a:pt x="4405" y="13521"/>
                    <a:pt x="4596" y="13272"/>
                    <a:pt x="4596" y="12978"/>
                  </a:cubicBezTo>
                  <a:lnTo>
                    <a:pt x="4478" y="1659"/>
                  </a:lnTo>
                  <a:cubicBezTo>
                    <a:pt x="4478" y="1600"/>
                    <a:pt x="4537" y="1468"/>
                    <a:pt x="4654" y="1468"/>
                  </a:cubicBezTo>
                  <a:cubicBezTo>
                    <a:pt x="4713" y="1468"/>
                    <a:pt x="4772" y="1527"/>
                    <a:pt x="4772" y="1659"/>
                  </a:cubicBezTo>
                  <a:lnTo>
                    <a:pt x="4845" y="5329"/>
                  </a:lnTo>
                  <a:cubicBezTo>
                    <a:pt x="4845" y="5638"/>
                    <a:pt x="5021" y="5872"/>
                    <a:pt x="5271" y="5931"/>
                  </a:cubicBezTo>
                  <a:cubicBezTo>
                    <a:pt x="5308" y="5939"/>
                    <a:pt x="5345" y="5942"/>
                    <a:pt x="5381" y="5942"/>
                  </a:cubicBezTo>
                  <a:cubicBezTo>
                    <a:pt x="5697" y="5942"/>
                    <a:pt x="5946" y="5665"/>
                    <a:pt x="5946" y="5388"/>
                  </a:cubicBezTo>
                  <a:lnTo>
                    <a:pt x="5946" y="558"/>
                  </a:lnTo>
                  <a:cubicBezTo>
                    <a:pt x="5946" y="367"/>
                    <a:pt x="5873" y="250"/>
                    <a:pt x="5756" y="132"/>
                  </a:cubicBezTo>
                  <a:cubicBezTo>
                    <a:pt x="5638" y="59"/>
                    <a:pt x="5506" y="0"/>
                    <a:pt x="5330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3" name="Google Shape;8628;p73">
              <a:extLst>
                <a:ext uri="{FF2B5EF4-FFF2-40B4-BE49-F238E27FC236}">
                  <a16:creationId xmlns:a16="http://schemas.microsoft.com/office/drawing/2014/main" id="{B3A40F53-F60E-6F6E-E8CC-661609E51907}"/>
                </a:ext>
              </a:extLst>
            </p:cNvPr>
            <p:cNvSpPr/>
            <p:nvPr/>
          </p:nvSpPr>
          <p:spPr>
            <a:xfrm>
              <a:off x="6127550" y="900075"/>
              <a:ext cx="85175" cy="80200"/>
            </a:xfrm>
            <a:custGeom>
              <a:avLst/>
              <a:gdLst/>
              <a:ahLst/>
              <a:cxnLst/>
              <a:rect l="l" t="t" r="r" b="b"/>
              <a:pathLst>
                <a:path w="3407" h="3208" extrusionOk="0">
                  <a:moveTo>
                    <a:pt x="1695" y="0"/>
                  </a:moveTo>
                  <a:cubicBezTo>
                    <a:pt x="743" y="0"/>
                    <a:pt x="1" y="810"/>
                    <a:pt x="111" y="1787"/>
                  </a:cubicBezTo>
                  <a:cubicBezTo>
                    <a:pt x="170" y="2522"/>
                    <a:pt x="786" y="3065"/>
                    <a:pt x="1462" y="3197"/>
                  </a:cubicBezTo>
                  <a:cubicBezTo>
                    <a:pt x="1530" y="3204"/>
                    <a:pt x="1598" y="3208"/>
                    <a:pt x="1664" y="3208"/>
                  </a:cubicBezTo>
                  <a:cubicBezTo>
                    <a:pt x="2665" y="3208"/>
                    <a:pt x="3407" y="2398"/>
                    <a:pt x="3297" y="1420"/>
                  </a:cubicBezTo>
                  <a:cubicBezTo>
                    <a:pt x="3179" y="686"/>
                    <a:pt x="2621" y="70"/>
                    <a:pt x="1887" y="11"/>
                  </a:cubicBezTo>
                  <a:cubicBezTo>
                    <a:pt x="1823" y="4"/>
                    <a:pt x="1759" y="0"/>
                    <a:pt x="1695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4" name="Google Shape;8629;p73">
              <a:extLst>
                <a:ext uri="{FF2B5EF4-FFF2-40B4-BE49-F238E27FC236}">
                  <a16:creationId xmlns:a16="http://schemas.microsoft.com/office/drawing/2014/main" id="{3B810A01-AE0F-3C0F-DAAB-32C34A6952F0}"/>
                </a:ext>
              </a:extLst>
            </p:cNvPr>
            <p:cNvSpPr/>
            <p:nvPr/>
          </p:nvSpPr>
          <p:spPr>
            <a:xfrm>
              <a:off x="6296950" y="993575"/>
              <a:ext cx="150125" cy="339700"/>
            </a:xfrm>
            <a:custGeom>
              <a:avLst/>
              <a:gdLst/>
              <a:ahLst/>
              <a:cxnLst/>
              <a:rect l="l" t="t" r="r" b="b"/>
              <a:pathLst>
                <a:path w="6005" h="13588" extrusionOk="0">
                  <a:moveTo>
                    <a:pt x="675" y="0"/>
                  </a:moveTo>
                  <a:cubicBezTo>
                    <a:pt x="308" y="0"/>
                    <a:pt x="74" y="250"/>
                    <a:pt x="74" y="558"/>
                  </a:cubicBezTo>
                  <a:lnTo>
                    <a:pt x="0" y="5388"/>
                  </a:lnTo>
                  <a:cubicBezTo>
                    <a:pt x="0" y="5665"/>
                    <a:pt x="297" y="5942"/>
                    <a:pt x="580" y="5942"/>
                  </a:cubicBezTo>
                  <a:cubicBezTo>
                    <a:pt x="612" y="5942"/>
                    <a:pt x="644" y="5939"/>
                    <a:pt x="675" y="5931"/>
                  </a:cubicBezTo>
                  <a:cubicBezTo>
                    <a:pt x="984" y="5872"/>
                    <a:pt x="1175" y="5638"/>
                    <a:pt x="1175" y="5329"/>
                  </a:cubicBezTo>
                  <a:lnTo>
                    <a:pt x="1233" y="1659"/>
                  </a:lnTo>
                  <a:cubicBezTo>
                    <a:pt x="1233" y="1600"/>
                    <a:pt x="1292" y="1468"/>
                    <a:pt x="1351" y="1468"/>
                  </a:cubicBezTo>
                  <a:cubicBezTo>
                    <a:pt x="1468" y="1468"/>
                    <a:pt x="1542" y="1600"/>
                    <a:pt x="1542" y="1659"/>
                  </a:cubicBezTo>
                  <a:lnTo>
                    <a:pt x="1409" y="13037"/>
                  </a:lnTo>
                  <a:cubicBezTo>
                    <a:pt x="1409" y="13318"/>
                    <a:pt x="1667" y="13587"/>
                    <a:pt x="1991" y="13587"/>
                  </a:cubicBezTo>
                  <a:cubicBezTo>
                    <a:pt x="2021" y="13587"/>
                    <a:pt x="2053" y="13585"/>
                    <a:pt x="2085" y="13580"/>
                  </a:cubicBezTo>
                  <a:cubicBezTo>
                    <a:pt x="2334" y="13521"/>
                    <a:pt x="2511" y="13272"/>
                    <a:pt x="2511" y="12978"/>
                  </a:cubicBezTo>
                  <a:lnTo>
                    <a:pt x="2643" y="6489"/>
                  </a:lnTo>
                  <a:cubicBezTo>
                    <a:pt x="2643" y="6430"/>
                    <a:pt x="2701" y="6372"/>
                    <a:pt x="2760" y="6372"/>
                  </a:cubicBezTo>
                  <a:lnTo>
                    <a:pt x="3303" y="6372"/>
                  </a:lnTo>
                  <a:cubicBezTo>
                    <a:pt x="3377" y="6372"/>
                    <a:pt x="3377" y="6372"/>
                    <a:pt x="3377" y="6430"/>
                  </a:cubicBezTo>
                  <a:lnTo>
                    <a:pt x="3494" y="13037"/>
                  </a:lnTo>
                  <a:cubicBezTo>
                    <a:pt x="3494" y="13318"/>
                    <a:pt x="3751" y="13587"/>
                    <a:pt x="4075" y="13587"/>
                  </a:cubicBezTo>
                  <a:cubicBezTo>
                    <a:pt x="4106" y="13587"/>
                    <a:pt x="4138" y="13585"/>
                    <a:pt x="4170" y="13580"/>
                  </a:cubicBezTo>
                  <a:cubicBezTo>
                    <a:pt x="4478" y="13521"/>
                    <a:pt x="4595" y="13272"/>
                    <a:pt x="4595" y="12978"/>
                  </a:cubicBezTo>
                  <a:lnTo>
                    <a:pt x="4537" y="1659"/>
                  </a:lnTo>
                  <a:cubicBezTo>
                    <a:pt x="4537" y="1600"/>
                    <a:pt x="4595" y="1468"/>
                    <a:pt x="4654" y="1468"/>
                  </a:cubicBezTo>
                  <a:cubicBezTo>
                    <a:pt x="4771" y="1468"/>
                    <a:pt x="4845" y="1527"/>
                    <a:pt x="4845" y="1659"/>
                  </a:cubicBezTo>
                  <a:lnTo>
                    <a:pt x="4904" y="5329"/>
                  </a:lnTo>
                  <a:cubicBezTo>
                    <a:pt x="4904" y="5638"/>
                    <a:pt x="5021" y="5872"/>
                    <a:pt x="5329" y="5931"/>
                  </a:cubicBezTo>
                  <a:cubicBezTo>
                    <a:pt x="5366" y="5939"/>
                    <a:pt x="5403" y="5942"/>
                    <a:pt x="5439" y="5942"/>
                  </a:cubicBezTo>
                  <a:cubicBezTo>
                    <a:pt x="5756" y="5942"/>
                    <a:pt x="6005" y="5665"/>
                    <a:pt x="6005" y="5388"/>
                  </a:cubicBezTo>
                  <a:lnTo>
                    <a:pt x="5946" y="558"/>
                  </a:lnTo>
                  <a:cubicBezTo>
                    <a:pt x="5946" y="367"/>
                    <a:pt x="5873" y="250"/>
                    <a:pt x="5755" y="132"/>
                  </a:cubicBezTo>
                  <a:cubicBezTo>
                    <a:pt x="5696" y="59"/>
                    <a:pt x="5505" y="0"/>
                    <a:pt x="5388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5" name="Google Shape;8630;p73">
              <a:extLst>
                <a:ext uri="{FF2B5EF4-FFF2-40B4-BE49-F238E27FC236}">
                  <a16:creationId xmlns:a16="http://schemas.microsoft.com/office/drawing/2014/main" id="{4778A1ED-DE5B-78C2-6517-19B48576E4C2}"/>
                </a:ext>
              </a:extLst>
            </p:cNvPr>
            <p:cNvSpPr/>
            <p:nvPr/>
          </p:nvSpPr>
          <p:spPr>
            <a:xfrm>
              <a:off x="6329425" y="900075"/>
              <a:ext cx="85175" cy="80200"/>
            </a:xfrm>
            <a:custGeom>
              <a:avLst/>
              <a:gdLst/>
              <a:ahLst/>
              <a:cxnLst/>
              <a:rect l="l" t="t" r="r" b="b"/>
              <a:pathLst>
                <a:path w="3407" h="3208" extrusionOk="0">
                  <a:moveTo>
                    <a:pt x="1743" y="0"/>
                  </a:moveTo>
                  <a:cubicBezTo>
                    <a:pt x="742" y="0"/>
                    <a:pt x="0" y="810"/>
                    <a:pt x="110" y="1787"/>
                  </a:cubicBezTo>
                  <a:cubicBezTo>
                    <a:pt x="243" y="2522"/>
                    <a:pt x="786" y="3065"/>
                    <a:pt x="1520" y="3197"/>
                  </a:cubicBezTo>
                  <a:cubicBezTo>
                    <a:pt x="1585" y="3204"/>
                    <a:pt x="1649" y="3208"/>
                    <a:pt x="1712" y="3208"/>
                  </a:cubicBezTo>
                  <a:cubicBezTo>
                    <a:pt x="2664" y="3208"/>
                    <a:pt x="3406" y="2398"/>
                    <a:pt x="3296" y="1420"/>
                  </a:cubicBezTo>
                  <a:cubicBezTo>
                    <a:pt x="3238" y="686"/>
                    <a:pt x="2621" y="70"/>
                    <a:pt x="1946" y="11"/>
                  </a:cubicBezTo>
                  <a:cubicBezTo>
                    <a:pt x="1877" y="4"/>
                    <a:pt x="1810" y="0"/>
                    <a:pt x="1743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6" name="Google Shape;8631;p73">
              <a:extLst>
                <a:ext uri="{FF2B5EF4-FFF2-40B4-BE49-F238E27FC236}">
                  <a16:creationId xmlns:a16="http://schemas.microsoft.com/office/drawing/2014/main" id="{57411323-83EC-FD00-F67F-5C63757D5905}"/>
                </a:ext>
              </a:extLst>
            </p:cNvPr>
            <p:cNvSpPr/>
            <p:nvPr/>
          </p:nvSpPr>
          <p:spPr>
            <a:xfrm>
              <a:off x="6494400" y="993575"/>
              <a:ext cx="149775" cy="339700"/>
            </a:xfrm>
            <a:custGeom>
              <a:avLst/>
              <a:gdLst/>
              <a:ahLst/>
              <a:cxnLst/>
              <a:rect l="l" t="t" r="r" b="b"/>
              <a:pathLst>
                <a:path w="5991" h="13588" extrusionOk="0">
                  <a:moveTo>
                    <a:pt x="617" y="0"/>
                  </a:moveTo>
                  <a:cubicBezTo>
                    <a:pt x="309" y="0"/>
                    <a:pt x="59" y="250"/>
                    <a:pt x="59" y="558"/>
                  </a:cubicBezTo>
                  <a:lnTo>
                    <a:pt x="0" y="5388"/>
                  </a:lnTo>
                  <a:cubicBezTo>
                    <a:pt x="0" y="5665"/>
                    <a:pt x="249" y="5942"/>
                    <a:pt x="566" y="5942"/>
                  </a:cubicBezTo>
                  <a:cubicBezTo>
                    <a:pt x="602" y="5942"/>
                    <a:pt x="639" y="5939"/>
                    <a:pt x="676" y="5931"/>
                  </a:cubicBezTo>
                  <a:cubicBezTo>
                    <a:pt x="911" y="5872"/>
                    <a:pt x="1102" y="5638"/>
                    <a:pt x="1102" y="5329"/>
                  </a:cubicBezTo>
                  <a:lnTo>
                    <a:pt x="1160" y="1659"/>
                  </a:lnTo>
                  <a:cubicBezTo>
                    <a:pt x="1160" y="1600"/>
                    <a:pt x="1278" y="1468"/>
                    <a:pt x="1351" y="1468"/>
                  </a:cubicBezTo>
                  <a:cubicBezTo>
                    <a:pt x="1410" y="1468"/>
                    <a:pt x="1527" y="1600"/>
                    <a:pt x="1527" y="1659"/>
                  </a:cubicBezTo>
                  <a:lnTo>
                    <a:pt x="1410" y="13037"/>
                  </a:lnTo>
                  <a:cubicBezTo>
                    <a:pt x="1410" y="13318"/>
                    <a:pt x="1667" y="13587"/>
                    <a:pt x="1991" y="13587"/>
                  </a:cubicBezTo>
                  <a:cubicBezTo>
                    <a:pt x="2022" y="13587"/>
                    <a:pt x="2053" y="13585"/>
                    <a:pt x="2085" y="13580"/>
                  </a:cubicBezTo>
                  <a:cubicBezTo>
                    <a:pt x="2320" y="13521"/>
                    <a:pt x="2511" y="13272"/>
                    <a:pt x="2511" y="12978"/>
                  </a:cubicBezTo>
                  <a:lnTo>
                    <a:pt x="2628" y="6489"/>
                  </a:lnTo>
                  <a:cubicBezTo>
                    <a:pt x="2628" y="6430"/>
                    <a:pt x="2687" y="6372"/>
                    <a:pt x="2746" y="6372"/>
                  </a:cubicBezTo>
                  <a:lnTo>
                    <a:pt x="3245" y="6372"/>
                  </a:lnTo>
                  <a:cubicBezTo>
                    <a:pt x="3304" y="6372"/>
                    <a:pt x="3362" y="6372"/>
                    <a:pt x="3362" y="6430"/>
                  </a:cubicBezTo>
                  <a:lnTo>
                    <a:pt x="3480" y="13037"/>
                  </a:lnTo>
                  <a:cubicBezTo>
                    <a:pt x="3480" y="13318"/>
                    <a:pt x="3737" y="13587"/>
                    <a:pt x="4061" y="13587"/>
                  </a:cubicBezTo>
                  <a:cubicBezTo>
                    <a:pt x="4092" y="13587"/>
                    <a:pt x="4123" y="13585"/>
                    <a:pt x="4155" y="13580"/>
                  </a:cubicBezTo>
                  <a:cubicBezTo>
                    <a:pt x="4405" y="13521"/>
                    <a:pt x="4581" y="13272"/>
                    <a:pt x="4581" y="12978"/>
                  </a:cubicBezTo>
                  <a:lnTo>
                    <a:pt x="4463" y="1659"/>
                  </a:lnTo>
                  <a:cubicBezTo>
                    <a:pt x="4463" y="1600"/>
                    <a:pt x="4581" y="1468"/>
                    <a:pt x="4654" y="1468"/>
                  </a:cubicBezTo>
                  <a:cubicBezTo>
                    <a:pt x="4713" y="1468"/>
                    <a:pt x="4772" y="1527"/>
                    <a:pt x="4772" y="1659"/>
                  </a:cubicBezTo>
                  <a:lnTo>
                    <a:pt x="4831" y="5329"/>
                  </a:lnTo>
                  <a:cubicBezTo>
                    <a:pt x="4831" y="5638"/>
                    <a:pt x="5021" y="5872"/>
                    <a:pt x="5256" y="5931"/>
                  </a:cubicBezTo>
                  <a:cubicBezTo>
                    <a:pt x="5293" y="5939"/>
                    <a:pt x="5331" y="5942"/>
                    <a:pt x="5367" y="5942"/>
                  </a:cubicBezTo>
                  <a:cubicBezTo>
                    <a:pt x="5694" y="5942"/>
                    <a:pt x="5990" y="5665"/>
                    <a:pt x="5990" y="5388"/>
                  </a:cubicBezTo>
                  <a:lnTo>
                    <a:pt x="5932" y="558"/>
                  </a:lnTo>
                  <a:cubicBezTo>
                    <a:pt x="5932" y="367"/>
                    <a:pt x="5873" y="250"/>
                    <a:pt x="5755" y="132"/>
                  </a:cubicBezTo>
                  <a:cubicBezTo>
                    <a:pt x="5623" y="59"/>
                    <a:pt x="5506" y="0"/>
                    <a:pt x="5388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7" name="Google Shape;8632;p73">
              <a:extLst>
                <a:ext uri="{FF2B5EF4-FFF2-40B4-BE49-F238E27FC236}">
                  <a16:creationId xmlns:a16="http://schemas.microsoft.com/office/drawing/2014/main" id="{79F5D67A-DEE3-608A-2BA2-E644EA199E6C}"/>
                </a:ext>
              </a:extLst>
            </p:cNvPr>
            <p:cNvSpPr/>
            <p:nvPr/>
          </p:nvSpPr>
          <p:spPr>
            <a:xfrm>
              <a:off x="6526525" y="900075"/>
              <a:ext cx="85500" cy="80200"/>
            </a:xfrm>
            <a:custGeom>
              <a:avLst/>
              <a:gdLst/>
              <a:ahLst/>
              <a:cxnLst/>
              <a:rect l="l" t="t" r="r" b="b"/>
              <a:pathLst>
                <a:path w="3420" h="3208" extrusionOk="0">
                  <a:moveTo>
                    <a:pt x="1709" y="0"/>
                  </a:moveTo>
                  <a:cubicBezTo>
                    <a:pt x="755" y="0"/>
                    <a:pt x="1" y="810"/>
                    <a:pt x="125" y="1787"/>
                  </a:cubicBezTo>
                  <a:cubicBezTo>
                    <a:pt x="184" y="2522"/>
                    <a:pt x="800" y="3065"/>
                    <a:pt x="1534" y="3197"/>
                  </a:cubicBezTo>
                  <a:cubicBezTo>
                    <a:pt x="1598" y="3204"/>
                    <a:pt x="1661" y="3208"/>
                    <a:pt x="1724" y="3208"/>
                  </a:cubicBezTo>
                  <a:cubicBezTo>
                    <a:pt x="2666" y="3208"/>
                    <a:pt x="3420" y="2398"/>
                    <a:pt x="3296" y="1420"/>
                  </a:cubicBezTo>
                  <a:cubicBezTo>
                    <a:pt x="3178" y="686"/>
                    <a:pt x="2635" y="70"/>
                    <a:pt x="1901" y="11"/>
                  </a:cubicBezTo>
                  <a:cubicBezTo>
                    <a:pt x="1836" y="4"/>
                    <a:pt x="1772" y="0"/>
                    <a:pt x="1709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8" name="Google Shape;8633;p73">
              <a:extLst>
                <a:ext uri="{FF2B5EF4-FFF2-40B4-BE49-F238E27FC236}">
                  <a16:creationId xmlns:a16="http://schemas.microsoft.com/office/drawing/2014/main" id="{21236CB3-F993-28BB-803D-03262CF91F9C}"/>
                </a:ext>
              </a:extLst>
            </p:cNvPr>
            <p:cNvSpPr/>
            <p:nvPr/>
          </p:nvSpPr>
          <p:spPr>
            <a:xfrm>
              <a:off x="6696275" y="993575"/>
              <a:ext cx="149750" cy="339700"/>
            </a:xfrm>
            <a:custGeom>
              <a:avLst/>
              <a:gdLst/>
              <a:ahLst/>
              <a:cxnLst/>
              <a:rect l="l" t="t" r="r" b="b"/>
              <a:pathLst>
                <a:path w="5990" h="13588" extrusionOk="0">
                  <a:moveTo>
                    <a:pt x="675" y="0"/>
                  </a:moveTo>
                  <a:cubicBezTo>
                    <a:pt x="367" y="0"/>
                    <a:pt x="117" y="250"/>
                    <a:pt x="117" y="558"/>
                  </a:cubicBezTo>
                  <a:lnTo>
                    <a:pt x="0" y="5388"/>
                  </a:lnTo>
                  <a:cubicBezTo>
                    <a:pt x="0" y="5665"/>
                    <a:pt x="296" y="5942"/>
                    <a:pt x="623" y="5942"/>
                  </a:cubicBezTo>
                  <a:cubicBezTo>
                    <a:pt x="660" y="5942"/>
                    <a:pt x="697" y="5939"/>
                    <a:pt x="734" y="5931"/>
                  </a:cubicBezTo>
                  <a:cubicBezTo>
                    <a:pt x="984" y="5872"/>
                    <a:pt x="1160" y="5638"/>
                    <a:pt x="1160" y="5329"/>
                  </a:cubicBezTo>
                  <a:lnTo>
                    <a:pt x="1219" y="1659"/>
                  </a:lnTo>
                  <a:cubicBezTo>
                    <a:pt x="1219" y="1600"/>
                    <a:pt x="1277" y="1468"/>
                    <a:pt x="1351" y="1468"/>
                  </a:cubicBezTo>
                  <a:cubicBezTo>
                    <a:pt x="1468" y="1468"/>
                    <a:pt x="1527" y="1600"/>
                    <a:pt x="1527" y="1659"/>
                  </a:cubicBezTo>
                  <a:lnTo>
                    <a:pt x="1409" y="13037"/>
                  </a:lnTo>
                  <a:cubicBezTo>
                    <a:pt x="1409" y="13318"/>
                    <a:pt x="1666" y="13587"/>
                    <a:pt x="1990" y="13587"/>
                  </a:cubicBezTo>
                  <a:cubicBezTo>
                    <a:pt x="2021" y="13587"/>
                    <a:pt x="2053" y="13585"/>
                    <a:pt x="2085" y="13580"/>
                  </a:cubicBezTo>
                  <a:cubicBezTo>
                    <a:pt x="2378" y="13521"/>
                    <a:pt x="2510" y="13272"/>
                    <a:pt x="2510" y="12978"/>
                  </a:cubicBezTo>
                  <a:lnTo>
                    <a:pt x="2628" y="6489"/>
                  </a:lnTo>
                  <a:cubicBezTo>
                    <a:pt x="2628" y="6430"/>
                    <a:pt x="2687" y="6372"/>
                    <a:pt x="2745" y="6372"/>
                  </a:cubicBezTo>
                  <a:lnTo>
                    <a:pt x="3303" y="6372"/>
                  </a:lnTo>
                  <a:cubicBezTo>
                    <a:pt x="3362" y="6372"/>
                    <a:pt x="3362" y="6372"/>
                    <a:pt x="3362" y="6430"/>
                  </a:cubicBezTo>
                  <a:lnTo>
                    <a:pt x="3479" y="13037"/>
                  </a:lnTo>
                  <a:cubicBezTo>
                    <a:pt x="3479" y="13318"/>
                    <a:pt x="3785" y="13587"/>
                    <a:pt x="4073" y="13587"/>
                  </a:cubicBezTo>
                  <a:cubicBezTo>
                    <a:pt x="4101" y="13587"/>
                    <a:pt x="4128" y="13585"/>
                    <a:pt x="4155" y="13580"/>
                  </a:cubicBezTo>
                  <a:cubicBezTo>
                    <a:pt x="4463" y="13521"/>
                    <a:pt x="4654" y="13272"/>
                    <a:pt x="4654" y="12978"/>
                  </a:cubicBezTo>
                  <a:lnTo>
                    <a:pt x="4522" y="1659"/>
                  </a:lnTo>
                  <a:cubicBezTo>
                    <a:pt x="4522" y="1600"/>
                    <a:pt x="4580" y="1468"/>
                    <a:pt x="4654" y="1468"/>
                  </a:cubicBezTo>
                  <a:lnTo>
                    <a:pt x="4713" y="1468"/>
                  </a:lnTo>
                  <a:cubicBezTo>
                    <a:pt x="4771" y="1468"/>
                    <a:pt x="4830" y="1527"/>
                    <a:pt x="4830" y="1659"/>
                  </a:cubicBezTo>
                  <a:lnTo>
                    <a:pt x="4889" y="5329"/>
                  </a:lnTo>
                  <a:cubicBezTo>
                    <a:pt x="4889" y="5638"/>
                    <a:pt x="5080" y="5872"/>
                    <a:pt x="5315" y="5931"/>
                  </a:cubicBezTo>
                  <a:cubicBezTo>
                    <a:pt x="5352" y="5939"/>
                    <a:pt x="5388" y="5942"/>
                    <a:pt x="5424" y="5942"/>
                  </a:cubicBezTo>
                  <a:cubicBezTo>
                    <a:pt x="5741" y="5942"/>
                    <a:pt x="5990" y="5665"/>
                    <a:pt x="5990" y="5388"/>
                  </a:cubicBezTo>
                  <a:lnTo>
                    <a:pt x="5931" y="558"/>
                  </a:lnTo>
                  <a:cubicBezTo>
                    <a:pt x="5931" y="367"/>
                    <a:pt x="5872" y="250"/>
                    <a:pt x="5755" y="132"/>
                  </a:cubicBezTo>
                  <a:cubicBezTo>
                    <a:pt x="5682" y="59"/>
                    <a:pt x="5564" y="0"/>
                    <a:pt x="5388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9" name="Google Shape;8634;p73">
              <a:extLst>
                <a:ext uri="{FF2B5EF4-FFF2-40B4-BE49-F238E27FC236}">
                  <a16:creationId xmlns:a16="http://schemas.microsoft.com/office/drawing/2014/main" id="{83054CF7-5914-0963-4731-F071377D7ECE}"/>
                </a:ext>
              </a:extLst>
            </p:cNvPr>
            <p:cNvSpPr/>
            <p:nvPr/>
          </p:nvSpPr>
          <p:spPr>
            <a:xfrm>
              <a:off x="6728400" y="900075"/>
              <a:ext cx="86875" cy="80200"/>
            </a:xfrm>
            <a:custGeom>
              <a:avLst/>
              <a:gdLst/>
              <a:ahLst/>
              <a:cxnLst/>
              <a:rect l="l" t="t" r="r" b="b"/>
              <a:pathLst>
                <a:path w="3475" h="3208" extrusionOk="0">
                  <a:moveTo>
                    <a:pt x="1767" y="0"/>
                  </a:moveTo>
                  <a:cubicBezTo>
                    <a:pt x="806" y="0"/>
                    <a:pt x="0" y="810"/>
                    <a:pt x="124" y="1787"/>
                  </a:cubicBezTo>
                  <a:cubicBezTo>
                    <a:pt x="242" y="2522"/>
                    <a:pt x="800" y="3065"/>
                    <a:pt x="1534" y="3197"/>
                  </a:cubicBezTo>
                  <a:cubicBezTo>
                    <a:pt x="1598" y="3204"/>
                    <a:pt x="1661" y="3208"/>
                    <a:pt x="1724" y="3208"/>
                  </a:cubicBezTo>
                  <a:cubicBezTo>
                    <a:pt x="2672" y="3208"/>
                    <a:pt x="3474" y="2398"/>
                    <a:pt x="3295" y="1420"/>
                  </a:cubicBezTo>
                  <a:cubicBezTo>
                    <a:pt x="3237" y="686"/>
                    <a:pt x="2635" y="70"/>
                    <a:pt x="1959" y="11"/>
                  </a:cubicBezTo>
                  <a:cubicBezTo>
                    <a:pt x="1895" y="4"/>
                    <a:pt x="1830" y="0"/>
                    <a:pt x="1767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0" name="Google Shape;8635;p73">
              <a:extLst>
                <a:ext uri="{FF2B5EF4-FFF2-40B4-BE49-F238E27FC236}">
                  <a16:creationId xmlns:a16="http://schemas.microsoft.com/office/drawing/2014/main" id="{FA0733A9-6111-E1D9-DACD-1BCE60A41F35}"/>
                </a:ext>
              </a:extLst>
            </p:cNvPr>
            <p:cNvSpPr/>
            <p:nvPr/>
          </p:nvSpPr>
          <p:spPr>
            <a:xfrm>
              <a:off x="6890425" y="993575"/>
              <a:ext cx="148300" cy="339700"/>
            </a:xfrm>
            <a:custGeom>
              <a:avLst/>
              <a:gdLst/>
              <a:ahLst/>
              <a:cxnLst/>
              <a:rect l="l" t="t" r="r" b="b"/>
              <a:pathLst>
                <a:path w="5932" h="13588" extrusionOk="0">
                  <a:moveTo>
                    <a:pt x="617" y="0"/>
                  </a:moveTo>
                  <a:cubicBezTo>
                    <a:pt x="309" y="0"/>
                    <a:pt x="59" y="250"/>
                    <a:pt x="59" y="558"/>
                  </a:cubicBezTo>
                  <a:lnTo>
                    <a:pt x="0" y="5388"/>
                  </a:lnTo>
                  <a:cubicBezTo>
                    <a:pt x="0" y="5665"/>
                    <a:pt x="249" y="5942"/>
                    <a:pt x="566" y="5942"/>
                  </a:cubicBezTo>
                  <a:cubicBezTo>
                    <a:pt x="602" y="5942"/>
                    <a:pt x="638" y="5939"/>
                    <a:pt x="676" y="5931"/>
                  </a:cubicBezTo>
                  <a:cubicBezTo>
                    <a:pt x="925" y="5872"/>
                    <a:pt x="1101" y="5638"/>
                    <a:pt x="1101" y="5329"/>
                  </a:cubicBezTo>
                  <a:lnTo>
                    <a:pt x="1160" y="1659"/>
                  </a:lnTo>
                  <a:cubicBezTo>
                    <a:pt x="1160" y="1600"/>
                    <a:pt x="1219" y="1468"/>
                    <a:pt x="1351" y="1468"/>
                  </a:cubicBezTo>
                  <a:cubicBezTo>
                    <a:pt x="1410" y="1468"/>
                    <a:pt x="1468" y="1600"/>
                    <a:pt x="1468" y="1659"/>
                  </a:cubicBezTo>
                  <a:lnTo>
                    <a:pt x="1410" y="13037"/>
                  </a:lnTo>
                  <a:cubicBezTo>
                    <a:pt x="1410" y="13318"/>
                    <a:pt x="1667" y="13587"/>
                    <a:pt x="1991" y="13587"/>
                  </a:cubicBezTo>
                  <a:cubicBezTo>
                    <a:pt x="2022" y="13587"/>
                    <a:pt x="2053" y="13585"/>
                    <a:pt x="2085" y="13580"/>
                  </a:cubicBezTo>
                  <a:cubicBezTo>
                    <a:pt x="2320" y="13521"/>
                    <a:pt x="2511" y="13272"/>
                    <a:pt x="2511" y="12978"/>
                  </a:cubicBezTo>
                  <a:lnTo>
                    <a:pt x="2628" y="6489"/>
                  </a:lnTo>
                  <a:cubicBezTo>
                    <a:pt x="2628" y="6430"/>
                    <a:pt x="2687" y="6372"/>
                    <a:pt x="2760" y="6372"/>
                  </a:cubicBezTo>
                  <a:lnTo>
                    <a:pt x="3245" y="6372"/>
                  </a:lnTo>
                  <a:cubicBezTo>
                    <a:pt x="3303" y="6372"/>
                    <a:pt x="3362" y="6372"/>
                    <a:pt x="3362" y="6430"/>
                  </a:cubicBezTo>
                  <a:lnTo>
                    <a:pt x="3494" y="13037"/>
                  </a:lnTo>
                  <a:cubicBezTo>
                    <a:pt x="3494" y="13318"/>
                    <a:pt x="3739" y="13587"/>
                    <a:pt x="4061" y="13587"/>
                  </a:cubicBezTo>
                  <a:cubicBezTo>
                    <a:pt x="4092" y="13587"/>
                    <a:pt x="4123" y="13585"/>
                    <a:pt x="4155" y="13580"/>
                  </a:cubicBezTo>
                  <a:cubicBezTo>
                    <a:pt x="4405" y="13521"/>
                    <a:pt x="4595" y="13272"/>
                    <a:pt x="4595" y="12978"/>
                  </a:cubicBezTo>
                  <a:lnTo>
                    <a:pt x="4463" y="1659"/>
                  </a:lnTo>
                  <a:cubicBezTo>
                    <a:pt x="4463" y="1600"/>
                    <a:pt x="4522" y="1468"/>
                    <a:pt x="4654" y="1468"/>
                  </a:cubicBezTo>
                  <a:cubicBezTo>
                    <a:pt x="4713" y="1468"/>
                    <a:pt x="4772" y="1527"/>
                    <a:pt x="4772" y="1659"/>
                  </a:cubicBezTo>
                  <a:lnTo>
                    <a:pt x="4830" y="5329"/>
                  </a:lnTo>
                  <a:cubicBezTo>
                    <a:pt x="4830" y="5638"/>
                    <a:pt x="5021" y="5872"/>
                    <a:pt x="5256" y="5931"/>
                  </a:cubicBezTo>
                  <a:cubicBezTo>
                    <a:pt x="5293" y="5939"/>
                    <a:pt x="5330" y="5942"/>
                    <a:pt x="5365" y="5942"/>
                  </a:cubicBezTo>
                  <a:cubicBezTo>
                    <a:pt x="5682" y="5942"/>
                    <a:pt x="5931" y="5665"/>
                    <a:pt x="5931" y="5388"/>
                  </a:cubicBezTo>
                  <a:lnTo>
                    <a:pt x="5931" y="558"/>
                  </a:lnTo>
                  <a:cubicBezTo>
                    <a:pt x="5931" y="367"/>
                    <a:pt x="5873" y="250"/>
                    <a:pt x="5755" y="132"/>
                  </a:cubicBezTo>
                  <a:cubicBezTo>
                    <a:pt x="5623" y="59"/>
                    <a:pt x="5506" y="0"/>
                    <a:pt x="5329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1" name="Google Shape;8636;p73">
              <a:extLst>
                <a:ext uri="{FF2B5EF4-FFF2-40B4-BE49-F238E27FC236}">
                  <a16:creationId xmlns:a16="http://schemas.microsoft.com/office/drawing/2014/main" id="{B106F66E-CC69-7348-BF02-9C5A58BAD368}"/>
                </a:ext>
              </a:extLst>
            </p:cNvPr>
            <p:cNvSpPr/>
            <p:nvPr/>
          </p:nvSpPr>
          <p:spPr>
            <a:xfrm>
              <a:off x="6922900" y="900075"/>
              <a:ext cx="85175" cy="80200"/>
            </a:xfrm>
            <a:custGeom>
              <a:avLst/>
              <a:gdLst/>
              <a:ahLst/>
              <a:cxnLst/>
              <a:rect l="l" t="t" r="r" b="b"/>
              <a:pathLst>
                <a:path w="3407" h="3208" extrusionOk="0">
                  <a:moveTo>
                    <a:pt x="1695" y="0"/>
                  </a:moveTo>
                  <a:cubicBezTo>
                    <a:pt x="743" y="0"/>
                    <a:pt x="0" y="810"/>
                    <a:pt x="111" y="1787"/>
                  </a:cubicBezTo>
                  <a:cubicBezTo>
                    <a:pt x="169" y="2522"/>
                    <a:pt x="786" y="3065"/>
                    <a:pt x="1461" y="3197"/>
                  </a:cubicBezTo>
                  <a:cubicBezTo>
                    <a:pt x="1525" y="3204"/>
                    <a:pt x="1589" y="3208"/>
                    <a:pt x="1651" y="3208"/>
                  </a:cubicBezTo>
                  <a:cubicBezTo>
                    <a:pt x="2600" y="3208"/>
                    <a:pt x="3407" y="2398"/>
                    <a:pt x="3296" y="1420"/>
                  </a:cubicBezTo>
                  <a:cubicBezTo>
                    <a:pt x="3164" y="686"/>
                    <a:pt x="2621" y="70"/>
                    <a:pt x="1887" y="11"/>
                  </a:cubicBezTo>
                  <a:cubicBezTo>
                    <a:pt x="1822" y="4"/>
                    <a:pt x="1758" y="0"/>
                    <a:pt x="1695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2" name="Google Shape;8637;p73">
              <a:extLst>
                <a:ext uri="{FF2B5EF4-FFF2-40B4-BE49-F238E27FC236}">
                  <a16:creationId xmlns:a16="http://schemas.microsoft.com/office/drawing/2014/main" id="{5AAF4A18-702B-552C-10B8-E47C8C77BC6B}"/>
                </a:ext>
              </a:extLst>
            </p:cNvPr>
            <p:cNvSpPr/>
            <p:nvPr/>
          </p:nvSpPr>
          <p:spPr>
            <a:xfrm>
              <a:off x="7092275" y="993575"/>
              <a:ext cx="149775" cy="339700"/>
            </a:xfrm>
            <a:custGeom>
              <a:avLst/>
              <a:gdLst/>
              <a:ahLst/>
              <a:cxnLst/>
              <a:rect l="l" t="t" r="r" b="b"/>
              <a:pathLst>
                <a:path w="5991" h="13588" extrusionOk="0">
                  <a:moveTo>
                    <a:pt x="617" y="0"/>
                  </a:moveTo>
                  <a:cubicBezTo>
                    <a:pt x="309" y="0"/>
                    <a:pt x="59" y="250"/>
                    <a:pt x="59" y="558"/>
                  </a:cubicBezTo>
                  <a:lnTo>
                    <a:pt x="1" y="5388"/>
                  </a:lnTo>
                  <a:cubicBezTo>
                    <a:pt x="1" y="5665"/>
                    <a:pt x="297" y="5942"/>
                    <a:pt x="581" y="5942"/>
                  </a:cubicBezTo>
                  <a:cubicBezTo>
                    <a:pt x="613" y="5942"/>
                    <a:pt x="645" y="5939"/>
                    <a:pt x="676" y="5931"/>
                  </a:cubicBezTo>
                  <a:cubicBezTo>
                    <a:pt x="984" y="5872"/>
                    <a:pt x="1161" y="5638"/>
                    <a:pt x="1161" y="5329"/>
                  </a:cubicBezTo>
                  <a:lnTo>
                    <a:pt x="1219" y="1659"/>
                  </a:lnTo>
                  <a:cubicBezTo>
                    <a:pt x="1219" y="1600"/>
                    <a:pt x="1293" y="1468"/>
                    <a:pt x="1351" y="1468"/>
                  </a:cubicBezTo>
                  <a:cubicBezTo>
                    <a:pt x="1469" y="1468"/>
                    <a:pt x="1528" y="1600"/>
                    <a:pt x="1528" y="1659"/>
                  </a:cubicBezTo>
                  <a:lnTo>
                    <a:pt x="1410" y="13037"/>
                  </a:lnTo>
                  <a:cubicBezTo>
                    <a:pt x="1410" y="13318"/>
                    <a:pt x="1667" y="13587"/>
                    <a:pt x="1991" y="13587"/>
                  </a:cubicBezTo>
                  <a:cubicBezTo>
                    <a:pt x="2022" y="13587"/>
                    <a:pt x="2054" y="13585"/>
                    <a:pt x="2085" y="13580"/>
                  </a:cubicBezTo>
                  <a:cubicBezTo>
                    <a:pt x="2320" y="13521"/>
                    <a:pt x="2511" y="13272"/>
                    <a:pt x="2511" y="12978"/>
                  </a:cubicBezTo>
                  <a:lnTo>
                    <a:pt x="2629" y="6489"/>
                  </a:lnTo>
                  <a:cubicBezTo>
                    <a:pt x="2629" y="6430"/>
                    <a:pt x="2687" y="6372"/>
                    <a:pt x="2761" y="6372"/>
                  </a:cubicBezTo>
                  <a:lnTo>
                    <a:pt x="3245" y="6372"/>
                  </a:lnTo>
                  <a:cubicBezTo>
                    <a:pt x="3304" y="6372"/>
                    <a:pt x="3363" y="6372"/>
                    <a:pt x="3363" y="6430"/>
                  </a:cubicBezTo>
                  <a:lnTo>
                    <a:pt x="3495" y="13037"/>
                  </a:lnTo>
                  <a:cubicBezTo>
                    <a:pt x="3495" y="13318"/>
                    <a:pt x="3740" y="13587"/>
                    <a:pt x="4062" y="13587"/>
                  </a:cubicBezTo>
                  <a:cubicBezTo>
                    <a:pt x="4092" y="13587"/>
                    <a:pt x="4124" y="13585"/>
                    <a:pt x="4155" y="13580"/>
                  </a:cubicBezTo>
                  <a:cubicBezTo>
                    <a:pt x="4405" y="13521"/>
                    <a:pt x="4596" y="13272"/>
                    <a:pt x="4596" y="12978"/>
                  </a:cubicBezTo>
                  <a:lnTo>
                    <a:pt x="4522" y="1659"/>
                  </a:lnTo>
                  <a:cubicBezTo>
                    <a:pt x="4522" y="1600"/>
                    <a:pt x="4596" y="1468"/>
                    <a:pt x="4655" y="1468"/>
                  </a:cubicBezTo>
                  <a:cubicBezTo>
                    <a:pt x="4772" y="1468"/>
                    <a:pt x="4831" y="1527"/>
                    <a:pt x="4831" y="1659"/>
                  </a:cubicBezTo>
                  <a:lnTo>
                    <a:pt x="4890" y="5329"/>
                  </a:lnTo>
                  <a:cubicBezTo>
                    <a:pt x="4890" y="5638"/>
                    <a:pt x="5022" y="5872"/>
                    <a:pt x="5330" y="5931"/>
                  </a:cubicBezTo>
                  <a:cubicBezTo>
                    <a:pt x="5367" y="5939"/>
                    <a:pt x="5404" y="5942"/>
                    <a:pt x="5439" y="5942"/>
                  </a:cubicBezTo>
                  <a:cubicBezTo>
                    <a:pt x="5753" y="5942"/>
                    <a:pt x="5991" y="5665"/>
                    <a:pt x="5991" y="5388"/>
                  </a:cubicBezTo>
                  <a:lnTo>
                    <a:pt x="5932" y="558"/>
                  </a:lnTo>
                  <a:cubicBezTo>
                    <a:pt x="5932" y="367"/>
                    <a:pt x="5873" y="250"/>
                    <a:pt x="5756" y="132"/>
                  </a:cubicBezTo>
                  <a:cubicBezTo>
                    <a:pt x="5697" y="59"/>
                    <a:pt x="5506" y="0"/>
                    <a:pt x="5389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3" name="Google Shape;8638;p73">
              <a:extLst>
                <a:ext uri="{FF2B5EF4-FFF2-40B4-BE49-F238E27FC236}">
                  <a16:creationId xmlns:a16="http://schemas.microsoft.com/office/drawing/2014/main" id="{069EF27C-6089-E4AE-5F80-53E3733D507A}"/>
                </a:ext>
              </a:extLst>
            </p:cNvPr>
            <p:cNvSpPr/>
            <p:nvPr/>
          </p:nvSpPr>
          <p:spPr>
            <a:xfrm>
              <a:off x="7124750" y="900075"/>
              <a:ext cx="85175" cy="80200"/>
            </a:xfrm>
            <a:custGeom>
              <a:avLst/>
              <a:gdLst/>
              <a:ahLst/>
              <a:cxnLst/>
              <a:rect l="l" t="t" r="r" b="b"/>
              <a:pathLst>
                <a:path w="3407" h="3208" extrusionOk="0">
                  <a:moveTo>
                    <a:pt x="1744" y="0"/>
                  </a:moveTo>
                  <a:cubicBezTo>
                    <a:pt x="743" y="0"/>
                    <a:pt x="1" y="810"/>
                    <a:pt x="111" y="1787"/>
                  </a:cubicBezTo>
                  <a:cubicBezTo>
                    <a:pt x="229" y="2522"/>
                    <a:pt x="786" y="3065"/>
                    <a:pt x="1520" y="3197"/>
                  </a:cubicBezTo>
                  <a:cubicBezTo>
                    <a:pt x="1585" y="3204"/>
                    <a:pt x="1649" y="3208"/>
                    <a:pt x="1712" y="3208"/>
                  </a:cubicBezTo>
                  <a:cubicBezTo>
                    <a:pt x="2665" y="3208"/>
                    <a:pt x="3407" y="2398"/>
                    <a:pt x="3297" y="1420"/>
                  </a:cubicBezTo>
                  <a:cubicBezTo>
                    <a:pt x="3223" y="686"/>
                    <a:pt x="2622" y="70"/>
                    <a:pt x="1946" y="11"/>
                  </a:cubicBezTo>
                  <a:cubicBezTo>
                    <a:pt x="1878" y="4"/>
                    <a:pt x="1810" y="0"/>
                    <a:pt x="1744" y="0"/>
                  </a:cubicBezTo>
                  <a:close/>
                </a:path>
              </a:pathLst>
            </a:custGeom>
            <a:solidFill>
              <a:srgbClr val="00B44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4" name="Google Shape;8639;p73">
              <a:extLst>
                <a:ext uri="{FF2B5EF4-FFF2-40B4-BE49-F238E27FC236}">
                  <a16:creationId xmlns:a16="http://schemas.microsoft.com/office/drawing/2014/main" id="{4CC080DC-AC84-1464-AC77-1895A313F44A}"/>
                </a:ext>
              </a:extLst>
            </p:cNvPr>
            <p:cNvSpPr/>
            <p:nvPr/>
          </p:nvSpPr>
          <p:spPr>
            <a:xfrm>
              <a:off x="5524725" y="1402050"/>
              <a:ext cx="1842850" cy="723425"/>
            </a:xfrm>
            <a:custGeom>
              <a:avLst/>
              <a:gdLst/>
              <a:ahLst/>
              <a:cxnLst/>
              <a:rect l="l" t="t" r="r" b="b"/>
              <a:pathLst>
                <a:path w="73714" h="28937" extrusionOk="0">
                  <a:moveTo>
                    <a:pt x="18293" y="1"/>
                  </a:moveTo>
                  <a:lnTo>
                    <a:pt x="0" y="28629"/>
                  </a:lnTo>
                  <a:lnTo>
                    <a:pt x="500" y="28937"/>
                  </a:lnTo>
                  <a:lnTo>
                    <a:pt x="18601" y="603"/>
                  </a:lnTo>
                  <a:lnTo>
                    <a:pt x="73713" y="603"/>
                  </a:lnTo>
                  <a:lnTo>
                    <a:pt x="7371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5" name="Google Shape;8640;p73">
              <a:extLst>
                <a:ext uri="{FF2B5EF4-FFF2-40B4-BE49-F238E27FC236}">
                  <a16:creationId xmlns:a16="http://schemas.microsoft.com/office/drawing/2014/main" id="{B94D838B-5CA4-6730-216D-40960BD11578}"/>
                </a:ext>
              </a:extLst>
            </p:cNvPr>
            <p:cNvSpPr/>
            <p:nvPr/>
          </p:nvSpPr>
          <p:spPr>
            <a:xfrm>
              <a:off x="4965000" y="3568950"/>
              <a:ext cx="1842850" cy="668375"/>
            </a:xfrm>
            <a:custGeom>
              <a:avLst/>
              <a:gdLst/>
              <a:ahLst/>
              <a:cxnLst/>
              <a:rect l="l" t="t" r="r" b="b"/>
              <a:pathLst>
                <a:path w="73714" h="26735" extrusionOk="0">
                  <a:moveTo>
                    <a:pt x="500" y="1"/>
                  </a:moveTo>
                  <a:lnTo>
                    <a:pt x="1" y="368"/>
                  </a:lnTo>
                  <a:lnTo>
                    <a:pt x="18293" y="26735"/>
                  </a:lnTo>
                  <a:lnTo>
                    <a:pt x="73714" y="26735"/>
                  </a:lnTo>
                  <a:lnTo>
                    <a:pt x="73714" y="26118"/>
                  </a:lnTo>
                  <a:lnTo>
                    <a:pt x="18602" y="26118"/>
                  </a:lnTo>
                  <a:lnTo>
                    <a:pt x="500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6" name="Google Shape;8641;p73">
              <a:extLst>
                <a:ext uri="{FF2B5EF4-FFF2-40B4-BE49-F238E27FC236}">
                  <a16:creationId xmlns:a16="http://schemas.microsoft.com/office/drawing/2014/main" id="{42AB4888-A7E8-AA0B-BCE3-C554D11C812B}"/>
                </a:ext>
              </a:extLst>
            </p:cNvPr>
            <p:cNvSpPr/>
            <p:nvPr/>
          </p:nvSpPr>
          <p:spPr>
            <a:xfrm>
              <a:off x="317750" y="3272400"/>
              <a:ext cx="1142200" cy="458800"/>
            </a:xfrm>
            <a:custGeom>
              <a:avLst/>
              <a:gdLst/>
              <a:ahLst/>
              <a:cxnLst/>
              <a:rect l="l" t="t" r="r" b="b"/>
              <a:pathLst>
                <a:path w="45688" h="18352" extrusionOk="0">
                  <a:moveTo>
                    <a:pt x="25325" y="911"/>
                  </a:moveTo>
                  <a:lnTo>
                    <a:pt x="21714" y="4522"/>
                  </a:lnTo>
                  <a:lnTo>
                    <a:pt x="20187" y="911"/>
                  </a:lnTo>
                  <a:close/>
                  <a:moveTo>
                    <a:pt x="16693" y="911"/>
                  </a:moveTo>
                  <a:lnTo>
                    <a:pt x="10703" y="6901"/>
                  </a:lnTo>
                  <a:lnTo>
                    <a:pt x="13214" y="911"/>
                  </a:lnTo>
                  <a:close/>
                  <a:moveTo>
                    <a:pt x="20128" y="2438"/>
                  </a:moveTo>
                  <a:lnTo>
                    <a:pt x="22389" y="7708"/>
                  </a:lnTo>
                  <a:lnTo>
                    <a:pt x="14917" y="7708"/>
                  </a:lnTo>
                  <a:lnTo>
                    <a:pt x="20128" y="2438"/>
                  </a:lnTo>
                  <a:close/>
                  <a:moveTo>
                    <a:pt x="31991" y="911"/>
                  </a:moveTo>
                  <a:lnTo>
                    <a:pt x="33459" y="2805"/>
                  </a:lnTo>
                  <a:lnTo>
                    <a:pt x="28629" y="7708"/>
                  </a:lnTo>
                  <a:lnTo>
                    <a:pt x="23725" y="7708"/>
                  </a:lnTo>
                  <a:lnTo>
                    <a:pt x="30522" y="911"/>
                  </a:lnTo>
                  <a:close/>
                  <a:moveTo>
                    <a:pt x="34560" y="4273"/>
                  </a:moveTo>
                  <a:lnTo>
                    <a:pt x="37188" y="7708"/>
                  </a:lnTo>
                  <a:lnTo>
                    <a:pt x="31198" y="7708"/>
                  </a:lnTo>
                  <a:lnTo>
                    <a:pt x="34560" y="4273"/>
                  </a:lnTo>
                  <a:close/>
                  <a:moveTo>
                    <a:pt x="13023" y="1"/>
                  </a:moveTo>
                  <a:lnTo>
                    <a:pt x="9411" y="7943"/>
                  </a:lnTo>
                  <a:lnTo>
                    <a:pt x="1" y="11188"/>
                  </a:lnTo>
                  <a:lnTo>
                    <a:pt x="1704" y="18352"/>
                  </a:lnTo>
                  <a:lnTo>
                    <a:pt x="10762" y="18352"/>
                  </a:lnTo>
                  <a:cubicBezTo>
                    <a:pt x="10762" y="15651"/>
                    <a:pt x="12905" y="13448"/>
                    <a:pt x="15592" y="13448"/>
                  </a:cubicBezTo>
                  <a:cubicBezTo>
                    <a:pt x="18293" y="13448"/>
                    <a:pt x="20422" y="15651"/>
                    <a:pt x="20422" y="18352"/>
                  </a:cubicBezTo>
                  <a:lnTo>
                    <a:pt x="27395" y="18352"/>
                  </a:lnTo>
                  <a:cubicBezTo>
                    <a:pt x="27395" y="15651"/>
                    <a:pt x="29598" y="13448"/>
                    <a:pt x="32240" y="13448"/>
                  </a:cubicBezTo>
                  <a:cubicBezTo>
                    <a:pt x="34927" y="13448"/>
                    <a:pt x="37070" y="15651"/>
                    <a:pt x="37070" y="18352"/>
                  </a:cubicBezTo>
                  <a:lnTo>
                    <a:pt x="45688" y="18352"/>
                  </a:lnTo>
                  <a:lnTo>
                    <a:pt x="45380" y="11378"/>
                  </a:lnTo>
                  <a:lnTo>
                    <a:pt x="38289" y="6842"/>
                  </a:lnTo>
                  <a:lnTo>
                    <a:pt x="35470" y="3421"/>
                  </a:lnTo>
                  <a:lnTo>
                    <a:pt x="32725" y="1"/>
                  </a:lnTo>
                  <a:close/>
                </a:path>
              </a:pathLst>
            </a:custGeom>
            <a:solidFill>
              <a:srgbClr val="AAAC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7" name="Google Shape;8642;p73">
              <a:extLst>
                <a:ext uri="{FF2B5EF4-FFF2-40B4-BE49-F238E27FC236}">
                  <a16:creationId xmlns:a16="http://schemas.microsoft.com/office/drawing/2014/main" id="{61E1173F-1940-0B23-5E51-1B87AD39D0D0}"/>
                </a:ext>
              </a:extLst>
            </p:cNvPr>
            <p:cNvSpPr/>
            <p:nvPr/>
          </p:nvSpPr>
          <p:spPr>
            <a:xfrm>
              <a:off x="611375" y="3611900"/>
              <a:ext cx="192725" cy="192725"/>
            </a:xfrm>
            <a:custGeom>
              <a:avLst/>
              <a:gdLst/>
              <a:ahLst/>
              <a:cxnLst/>
              <a:rect l="l" t="t" r="r" b="b"/>
              <a:pathLst>
                <a:path w="7709" h="7709" extrusionOk="0">
                  <a:moveTo>
                    <a:pt x="3847" y="1"/>
                  </a:moveTo>
                  <a:cubicBezTo>
                    <a:pt x="1704" y="1"/>
                    <a:pt x="1" y="1704"/>
                    <a:pt x="1" y="3847"/>
                  </a:cubicBezTo>
                  <a:cubicBezTo>
                    <a:pt x="1" y="5990"/>
                    <a:pt x="1704" y="7708"/>
                    <a:pt x="3847" y="7708"/>
                  </a:cubicBezTo>
                  <a:cubicBezTo>
                    <a:pt x="5990" y="7708"/>
                    <a:pt x="7708" y="5990"/>
                    <a:pt x="7708" y="3847"/>
                  </a:cubicBezTo>
                  <a:cubicBezTo>
                    <a:pt x="7708" y="1704"/>
                    <a:pt x="5990" y="1"/>
                    <a:pt x="3847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8" name="Google Shape;8643;p73">
              <a:extLst>
                <a:ext uri="{FF2B5EF4-FFF2-40B4-BE49-F238E27FC236}">
                  <a16:creationId xmlns:a16="http://schemas.microsoft.com/office/drawing/2014/main" id="{A33DACE1-56EA-D01C-50C6-E74F95FD284B}"/>
                </a:ext>
              </a:extLst>
            </p:cNvPr>
            <p:cNvSpPr/>
            <p:nvPr/>
          </p:nvSpPr>
          <p:spPr>
            <a:xfrm>
              <a:off x="1027225" y="3611900"/>
              <a:ext cx="194175" cy="192725"/>
            </a:xfrm>
            <a:custGeom>
              <a:avLst/>
              <a:gdLst/>
              <a:ahLst/>
              <a:cxnLst/>
              <a:rect l="l" t="t" r="r" b="b"/>
              <a:pathLst>
                <a:path w="7767" h="7709" extrusionOk="0">
                  <a:moveTo>
                    <a:pt x="3861" y="1"/>
                  </a:moveTo>
                  <a:cubicBezTo>
                    <a:pt x="1718" y="1"/>
                    <a:pt x="0" y="1704"/>
                    <a:pt x="0" y="3847"/>
                  </a:cubicBezTo>
                  <a:cubicBezTo>
                    <a:pt x="0" y="5990"/>
                    <a:pt x="1718" y="7708"/>
                    <a:pt x="3861" y="7708"/>
                  </a:cubicBezTo>
                  <a:cubicBezTo>
                    <a:pt x="5990" y="7708"/>
                    <a:pt x="7766" y="5990"/>
                    <a:pt x="7766" y="3847"/>
                  </a:cubicBezTo>
                  <a:cubicBezTo>
                    <a:pt x="7766" y="1704"/>
                    <a:pt x="5990" y="1"/>
                    <a:pt x="3861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9" name="Google Shape;8644;p73">
              <a:extLst>
                <a:ext uri="{FF2B5EF4-FFF2-40B4-BE49-F238E27FC236}">
                  <a16:creationId xmlns:a16="http://schemas.microsoft.com/office/drawing/2014/main" id="{6CD494D2-5356-366C-9D3E-380518390065}"/>
                </a:ext>
              </a:extLst>
            </p:cNvPr>
            <p:cNvSpPr/>
            <p:nvPr/>
          </p:nvSpPr>
          <p:spPr>
            <a:xfrm>
              <a:off x="652475" y="3653000"/>
              <a:ext cx="108675" cy="110150"/>
            </a:xfrm>
            <a:custGeom>
              <a:avLst/>
              <a:gdLst/>
              <a:ahLst/>
              <a:cxnLst/>
              <a:rect l="l" t="t" r="r" b="b"/>
              <a:pathLst>
                <a:path w="4347" h="4406" extrusionOk="0">
                  <a:moveTo>
                    <a:pt x="2144" y="1"/>
                  </a:moveTo>
                  <a:cubicBezTo>
                    <a:pt x="984" y="1"/>
                    <a:pt x="1" y="984"/>
                    <a:pt x="1" y="2203"/>
                  </a:cubicBezTo>
                  <a:cubicBezTo>
                    <a:pt x="1" y="3422"/>
                    <a:pt x="984" y="4405"/>
                    <a:pt x="2144" y="4405"/>
                  </a:cubicBezTo>
                  <a:cubicBezTo>
                    <a:pt x="3363" y="4405"/>
                    <a:pt x="4346" y="3422"/>
                    <a:pt x="4346" y="2203"/>
                  </a:cubicBezTo>
                  <a:cubicBezTo>
                    <a:pt x="4346" y="984"/>
                    <a:pt x="3363" y="1"/>
                    <a:pt x="2144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0" name="Google Shape;8645;p73">
              <a:extLst>
                <a:ext uri="{FF2B5EF4-FFF2-40B4-BE49-F238E27FC236}">
                  <a16:creationId xmlns:a16="http://schemas.microsoft.com/office/drawing/2014/main" id="{05B9BFB2-51BE-06A2-E1FE-EB31E6E8E443}"/>
                </a:ext>
              </a:extLst>
            </p:cNvPr>
            <p:cNvSpPr/>
            <p:nvPr/>
          </p:nvSpPr>
          <p:spPr>
            <a:xfrm>
              <a:off x="1070150" y="3653000"/>
              <a:ext cx="108675" cy="110150"/>
            </a:xfrm>
            <a:custGeom>
              <a:avLst/>
              <a:gdLst/>
              <a:ahLst/>
              <a:cxnLst/>
              <a:rect l="l" t="t" r="r" b="b"/>
              <a:pathLst>
                <a:path w="4347" h="4406" extrusionOk="0">
                  <a:moveTo>
                    <a:pt x="2144" y="1"/>
                  </a:moveTo>
                  <a:cubicBezTo>
                    <a:pt x="970" y="1"/>
                    <a:pt x="1" y="984"/>
                    <a:pt x="1" y="2203"/>
                  </a:cubicBezTo>
                  <a:cubicBezTo>
                    <a:pt x="1" y="3422"/>
                    <a:pt x="970" y="4405"/>
                    <a:pt x="2144" y="4405"/>
                  </a:cubicBezTo>
                  <a:cubicBezTo>
                    <a:pt x="3363" y="4405"/>
                    <a:pt x="4346" y="3422"/>
                    <a:pt x="4346" y="2203"/>
                  </a:cubicBezTo>
                  <a:cubicBezTo>
                    <a:pt x="4346" y="984"/>
                    <a:pt x="3363" y="1"/>
                    <a:pt x="2144" y="1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1" name="Google Shape;8646;p73">
              <a:extLst>
                <a:ext uri="{FF2B5EF4-FFF2-40B4-BE49-F238E27FC236}">
                  <a16:creationId xmlns:a16="http://schemas.microsoft.com/office/drawing/2014/main" id="{4F5BDA0C-14C9-9B87-C15F-041BC174839A}"/>
                </a:ext>
              </a:extLst>
            </p:cNvPr>
            <p:cNvSpPr/>
            <p:nvPr/>
          </p:nvSpPr>
          <p:spPr>
            <a:xfrm>
              <a:off x="576150" y="3295150"/>
              <a:ext cx="244825" cy="169975"/>
            </a:xfrm>
            <a:custGeom>
              <a:avLst/>
              <a:gdLst/>
              <a:ahLst/>
              <a:cxnLst/>
              <a:rect l="l" t="t" r="r" b="b"/>
              <a:pathLst>
                <a:path w="9793" h="6799" extrusionOk="0">
                  <a:moveTo>
                    <a:pt x="6357" y="1"/>
                  </a:moveTo>
                  <a:lnTo>
                    <a:pt x="367" y="5991"/>
                  </a:lnTo>
                  <a:lnTo>
                    <a:pt x="0" y="6798"/>
                  </a:lnTo>
                  <a:lnTo>
                    <a:pt x="4581" y="6798"/>
                  </a:lnTo>
                  <a:lnTo>
                    <a:pt x="9792" y="1528"/>
                  </a:lnTo>
                  <a:lnTo>
                    <a:pt x="9117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2" name="Google Shape;8647;p73">
              <a:extLst>
                <a:ext uri="{FF2B5EF4-FFF2-40B4-BE49-F238E27FC236}">
                  <a16:creationId xmlns:a16="http://schemas.microsoft.com/office/drawing/2014/main" id="{F10277EE-9886-03EC-B2CF-247D446A97F2}"/>
                </a:ext>
              </a:extLst>
            </p:cNvPr>
            <p:cNvSpPr/>
            <p:nvPr/>
          </p:nvSpPr>
          <p:spPr>
            <a:xfrm>
              <a:off x="860575" y="3295150"/>
              <a:ext cx="220250" cy="169975"/>
            </a:xfrm>
            <a:custGeom>
              <a:avLst/>
              <a:gdLst/>
              <a:ahLst/>
              <a:cxnLst/>
              <a:rect l="l" t="t" r="r" b="b"/>
              <a:pathLst>
                <a:path w="8810" h="6799" extrusionOk="0">
                  <a:moveTo>
                    <a:pt x="3612" y="1"/>
                  </a:moveTo>
                  <a:lnTo>
                    <a:pt x="1" y="3612"/>
                  </a:lnTo>
                  <a:lnTo>
                    <a:pt x="1352" y="6798"/>
                  </a:lnTo>
                  <a:lnTo>
                    <a:pt x="2012" y="6798"/>
                  </a:lnTo>
                  <a:lnTo>
                    <a:pt x="8809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3" name="Google Shape;8648;p73">
              <a:extLst>
                <a:ext uri="{FF2B5EF4-FFF2-40B4-BE49-F238E27FC236}">
                  <a16:creationId xmlns:a16="http://schemas.microsoft.com/office/drawing/2014/main" id="{14A91638-E4F0-B3BF-C17B-4832B1204CB1}"/>
                </a:ext>
              </a:extLst>
            </p:cNvPr>
            <p:cNvSpPr/>
            <p:nvPr/>
          </p:nvSpPr>
          <p:spPr>
            <a:xfrm>
              <a:off x="1033450" y="3342500"/>
              <a:ext cx="148300" cy="122625"/>
            </a:xfrm>
            <a:custGeom>
              <a:avLst/>
              <a:gdLst/>
              <a:ahLst/>
              <a:cxnLst/>
              <a:rect l="l" t="t" r="r" b="b"/>
              <a:pathLst>
                <a:path w="5932" h="4905" extrusionOk="0">
                  <a:moveTo>
                    <a:pt x="4831" y="1"/>
                  </a:moveTo>
                  <a:lnTo>
                    <a:pt x="1" y="4904"/>
                  </a:lnTo>
                  <a:lnTo>
                    <a:pt x="2570" y="4904"/>
                  </a:lnTo>
                  <a:lnTo>
                    <a:pt x="5932" y="1469"/>
                  </a:lnTo>
                  <a:lnTo>
                    <a:pt x="4831" y="1"/>
                  </a:ln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4" name="Google Shape;8649;p73">
              <a:extLst>
                <a:ext uri="{FF2B5EF4-FFF2-40B4-BE49-F238E27FC236}">
                  <a16:creationId xmlns:a16="http://schemas.microsoft.com/office/drawing/2014/main" id="{6FC16778-0A83-2FEE-1ADC-2647C7B5C207}"/>
                </a:ext>
              </a:extLst>
            </p:cNvPr>
            <p:cNvSpPr/>
            <p:nvPr/>
          </p:nvSpPr>
          <p:spPr>
            <a:xfrm>
              <a:off x="341975" y="3566025"/>
              <a:ext cx="99500" cy="58025"/>
            </a:xfrm>
            <a:custGeom>
              <a:avLst/>
              <a:gdLst/>
              <a:ahLst/>
              <a:cxnLst/>
              <a:rect l="l" t="t" r="r" b="b"/>
              <a:pathLst>
                <a:path w="3980" h="2321" extrusionOk="0">
                  <a:moveTo>
                    <a:pt x="1" y="0"/>
                  </a:moveTo>
                  <a:lnTo>
                    <a:pt x="617" y="2320"/>
                  </a:lnTo>
                  <a:cubicBezTo>
                    <a:pt x="617" y="2320"/>
                    <a:pt x="3436" y="1953"/>
                    <a:pt x="39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5" name="Google Shape;8650;p73">
              <a:extLst>
                <a:ext uri="{FF2B5EF4-FFF2-40B4-BE49-F238E27FC236}">
                  <a16:creationId xmlns:a16="http://schemas.microsoft.com/office/drawing/2014/main" id="{F6B541D5-6ED1-139B-472B-5303E7284EBF}"/>
                </a:ext>
              </a:extLst>
            </p:cNvPr>
            <p:cNvSpPr/>
            <p:nvPr/>
          </p:nvSpPr>
          <p:spPr>
            <a:xfrm>
              <a:off x="991975" y="3599425"/>
              <a:ext cx="264650" cy="142425"/>
            </a:xfrm>
            <a:custGeom>
              <a:avLst/>
              <a:gdLst/>
              <a:ahLst/>
              <a:cxnLst/>
              <a:rect l="l" t="t" r="r" b="b"/>
              <a:pathLst>
                <a:path w="10586" h="5697" extrusionOk="0">
                  <a:moveTo>
                    <a:pt x="5271" y="0"/>
                  </a:moveTo>
                  <a:cubicBezTo>
                    <a:pt x="250" y="0"/>
                    <a:pt x="1" y="5139"/>
                    <a:pt x="1" y="5197"/>
                  </a:cubicBezTo>
                  <a:cubicBezTo>
                    <a:pt x="1" y="5447"/>
                    <a:pt x="192" y="5697"/>
                    <a:pt x="426" y="5697"/>
                  </a:cubicBezTo>
                  <a:cubicBezTo>
                    <a:pt x="676" y="5697"/>
                    <a:pt x="867" y="5506"/>
                    <a:pt x="867" y="5271"/>
                  </a:cubicBezTo>
                  <a:cubicBezTo>
                    <a:pt x="926" y="5080"/>
                    <a:pt x="1102" y="925"/>
                    <a:pt x="5271" y="925"/>
                  </a:cubicBezTo>
                  <a:cubicBezTo>
                    <a:pt x="9426" y="925"/>
                    <a:pt x="9675" y="5080"/>
                    <a:pt x="9675" y="5271"/>
                  </a:cubicBezTo>
                  <a:cubicBezTo>
                    <a:pt x="9675" y="5506"/>
                    <a:pt x="9910" y="5697"/>
                    <a:pt x="10160" y="5697"/>
                  </a:cubicBezTo>
                  <a:cubicBezTo>
                    <a:pt x="10409" y="5697"/>
                    <a:pt x="10586" y="5447"/>
                    <a:pt x="10586" y="5197"/>
                  </a:cubicBezTo>
                  <a:cubicBezTo>
                    <a:pt x="10586" y="5139"/>
                    <a:pt x="10277" y="0"/>
                    <a:pt x="5271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6" name="Google Shape;8651;p73">
              <a:extLst>
                <a:ext uri="{FF2B5EF4-FFF2-40B4-BE49-F238E27FC236}">
                  <a16:creationId xmlns:a16="http://schemas.microsoft.com/office/drawing/2014/main" id="{E67ED01A-D756-084D-1D9F-60E0AADEEA56}"/>
                </a:ext>
              </a:extLst>
            </p:cNvPr>
            <p:cNvSpPr/>
            <p:nvPr/>
          </p:nvSpPr>
          <p:spPr>
            <a:xfrm>
              <a:off x="580550" y="3596500"/>
              <a:ext cx="264650" cy="140575"/>
            </a:xfrm>
            <a:custGeom>
              <a:avLst/>
              <a:gdLst/>
              <a:ahLst/>
              <a:cxnLst/>
              <a:rect l="l" t="t" r="r" b="b"/>
              <a:pathLst>
                <a:path w="10586" h="5623" extrusionOk="0">
                  <a:moveTo>
                    <a:pt x="5330" y="0"/>
                  </a:moveTo>
                  <a:cubicBezTo>
                    <a:pt x="250" y="0"/>
                    <a:pt x="0" y="5138"/>
                    <a:pt x="0" y="5197"/>
                  </a:cubicBezTo>
                  <a:cubicBezTo>
                    <a:pt x="0" y="5447"/>
                    <a:pt x="191" y="5623"/>
                    <a:pt x="441" y="5623"/>
                  </a:cubicBezTo>
                  <a:cubicBezTo>
                    <a:pt x="676" y="5623"/>
                    <a:pt x="925" y="5447"/>
                    <a:pt x="925" y="5197"/>
                  </a:cubicBezTo>
                  <a:cubicBezTo>
                    <a:pt x="925" y="5021"/>
                    <a:pt x="1101" y="851"/>
                    <a:pt x="5330" y="851"/>
                  </a:cubicBezTo>
                  <a:cubicBezTo>
                    <a:pt x="9425" y="851"/>
                    <a:pt x="9675" y="5021"/>
                    <a:pt x="9675" y="5197"/>
                  </a:cubicBezTo>
                  <a:cubicBezTo>
                    <a:pt x="9734" y="5447"/>
                    <a:pt x="9910" y="5623"/>
                    <a:pt x="10160" y="5623"/>
                  </a:cubicBezTo>
                  <a:cubicBezTo>
                    <a:pt x="10409" y="5623"/>
                    <a:pt x="10585" y="5447"/>
                    <a:pt x="10585" y="5197"/>
                  </a:cubicBezTo>
                  <a:cubicBezTo>
                    <a:pt x="10585" y="5138"/>
                    <a:pt x="10350" y="0"/>
                    <a:pt x="5330" y="0"/>
                  </a:cubicBezTo>
                  <a:close/>
                </a:path>
              </a:pathLst>
            </a:custGeom>
            <a:solidFill>
              <a:srgbClr val="A1E1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7" name="Google Shape;8652;p73">
              <a:extLst>
                <a:ext uri="{FF2B5EF4-FFF2-40B4-BE49-F238E27FC236}">
                  <a16:creationId xmlns:a16="http://schemas.microsoft.com/office/drawing/2014/main" id="{39AF0C1A-5F10-E8E9-FEE9-445E4222AD2C}"/>
                </a:ext>
              </a:extLst>
            </p:cNvPr>
            <p:cNvSpPr/>
            <p:nvPr/>
          </p:nvSpPr>
          <p:spPr>
            <a:xfrm>
              <a:off x="1386525" y="3584375"/>
              <a:ext cx="52150" cy="33425"/>
            </a:xfrm>
            <a:custGeom>
              <a:avLst/>
              <a:gdLst/>
              <a:ahLst/>
              <a:cxnLst/>
              <a:rect l="l" t="t" r="r" b="b"/>
              <a:pathLst>
                <a:path w="2086" h="1337" extrusionOk="0">
                  <a:moveTo>
                    <a:pt x="1" y="1"/>
                  </a:moveTo>
                  <a:cubicBezTo>
                    <a:pt x="1" y="1"/>
                    <a:pt x="1293" y="1336"/>
                    <a:pt x="2085" y="1336"/>
                  </a:cubicBezTo>
                  <a:lnTo>
                    <a:pt x="2085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8" name="Google Shape;8653;p73">
              <a:extLst>
                <a:ext uri="{FF2B5EF4-FFF2-40B4-BE49-F238E27FC236}">
                  <a16:creationId xmlns:a16="http://schemas.microsoft.com/office/drawing/2014/main" id="{AC6D4A3F-48CB-1423-464F-00113D6EE7C7}"/>
                </a:ext>
              </a:extLst>
            </p:cNvPr>
            <p:cNvSpPr/>
            <p:nvPr/>
          </p:nvSpPr>
          <p:spPr>
            <a:xfrm>
              <a:off x="973625" y="3518300"/>
              <a:ext cx="56550" cy="15450"/>
            </a:xfrm>
            <a:custGeom>
              <a:avLst/>
              <a:gdLst/>
              <a:ahLst/>
              <a:cxnLst/>
              <a:rect l="l" t="t" r="r" b="b"/>
              <a:pathLst>
                <a:path w="2262" h="618" extrusionOk="0">
                  <a:moveTo>
                    <a:pt x="133" y="1"/>
                  </a:moveTo>
                  <a:cubicBezTo>
                    <a:pt x="59" y="1"/>
                    <a:pt x="1" y="74"/>
                    <a:pt x="1" y="133"/>
                  </a:cubicBezTo>
                  <a:lnTo>
                    <a:pt x="1" y="500"/>
                  </a:lnTo>
                  <a:cubicBezTo>
                    <a:pt x="1" y="559"/>
                    <a:pt x="59" y="618"/>
                    <a:pt x="133" y="618"/>
                  </a:cubicBezTo>
                  <a:lnTo>
                    <a:pt x="2144" y="618"/>
                  </a:lnTo>
                  <a:cubicBezTo>
                    <a:pt x="2203" y="618"/>
                    <a:pt x="2261" y="559"/>
                    <a:pt x="2261" y="500"/>
                  </a:cubicBezTo>
                  <a:lnTo>
                    <a:pt x="2261" y="133"/>
                  </a:lnTo>
                  <a:cubicBezTo>
                    <a:pt x="2261" y="74"/>
                    <a:pt x="2203" y="1"/>
                    <a:pt x="2144" y="1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9" name="Google Shape;8654;p73">
              <a:extLst>
                <a:ext uri="{FF2B5EF4-FFF2-40B4-BE49-F238E27FC236}">
                  <a16:creationId xmlns:a16="http://schemas.microsoft.com/office/drawing/2014/main" id="{C8AEE585-62F7-1D9A-4CB1-1631FF0AC0E8}"/>
                </a:ext>
              </a:extLst>
            </p:cNvPr>
            <p:cNvSpPr/>
            <p:nvPr/>
          </p:nvSpPr>
          <p:spPr>
            <a:xfrm>
              <a:off x="877475" y="3520150"/>
              <a:ext cx="56550" cy="15075"/>
            </a:xfrm>
            <a:custGeom>
              <a:avLst/>
              <a:gdLst/>
              <a:ahLst/>
              <a:cxnLst/>
              <a:rect l="l" t="t" r="r" b="b"/>
              <a:pathLst>
                <a:path w="2262" h="603" extrusionOk="0">
                  <a:moveTo>
                    <a:pt x="118" y="0"/>
                  </a:moveTo>
                  <a:cubicBezTo>
                    <a:pt x="59" y="0"/>
                    <a:pt x="0" y="59"/>
                    <a:pt x="0" y="118"/>
                  </a:cubicBezTo>
                  <a:lnTo>
                    <a:pt x="0" y="485"/>
                  </a:lnTo>
                  <a:cubicBezTo>
                    <a:pt x="0" y="544"/>
                    <a:pt x="59" y="602"/>
                    <a:pt x="118" y="602"/>
                  </a:cubicBezTo>
                  <a:lnTo>
                    <a:pt x="2144" y="602"/>
                  </a:lnTo>
                  <a:cubicBezTo>
                    <a:pt x="2202" y="602"/>
                    <a:pt x="2261" y="544"/>
                    <a:pt x="2261" y="485"/>
                  </a:cubicBezTo>
                  <a:lnTo>
                    <a:pt x="2261" y="118"/>
                  </a:lnTo>
                  <a:cubicBezTo>
                    <a:pt x="2261" y="59"/>
                    <a:pt x="2202" y="0"/>
                    <a:pt x="2144" y="0"/>
                  </a:cubicBez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0" name="Google Shape;8655;p73">
              <a:extLst>
                <a:ext uri="{FF2B5EF4-FFF2-40B4-BE49-F238E27FC236}">
                  <a16:creationId xmlns:a16="http://schemas.microsoft.com/office/drawing/2014/main" id="{9B5662D9-BB7F-D5D1-9568-D4F623EF92E8}"/>
                </a:ext>
              </a:extLst>
            </p:cNvPr>
            <p:cNvSpPr/>
            <p:nvPr/>
          </p:nvSpPr>
          <p:spPr>
            <a:xfrm>
              <a:off x="336100" y="3691175"/>
              <a:ext cx="123725" cy="50675"/>
            </a:xfrm>
            <a:custGeom>
              <a:avLst/>
              <a:gdLst/>
              <a:ahLst/>
              <a:cxnLst/>
              <a:rect l="l" t="t" r="r" b="b"/>
              <a:pathLst>
                <a:path w="4949" h="2027" extrusionOk="0">
                  <a:moveTo>
                    <a:pt x="1" y="1"/>
                  </a:moveTo>
                  <a:lnTo>
                    <a:pt x="911" y="2027"/>
                  </a:lnTo>
                  <a:lnTo>
                    <a:pt x="4948" y="2027"/>
                  </a:lnTo>
                  <a:lnTo>
                    <a:pt x="4346" y="617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E52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1" name="Google Shape;8656;p73">
              <a:extLst>
                <a:ext uri="{FF2B5EF4-FFF2-40B4-BE49-F238E27FC236}">
                  <a16:creationId xmlns:a16="http://schemas.microsoft.com/office/drawing/2014/main" id="{622C5938-3DAE-48C9-6950-C420EBC62008}"/>
                </a:ext>
              </a:extLst>
            </p:cNvPr>
            <p:cNvSpPr/>
            <p:nvPr/>
          </p:nvSpPr>
          <p:spPr>
            <a:xfrm>
              <a:off x="802600" y="1529050"/>
              <a:ext cx="111600" cy="24250"/>
            </a:xfrm>
            <a:custGeom>
              <a:avLst/>
              <a:gdLst/>
              <a:ahLst/>
              <a:cxnLst/>
              <a:rect l="l" t="t" r="r" b="b"/>
              <a:pathLst>
                <a:path w="4464" h="970" extrusionOk="0">
                  <a:moveTo>
                    <a:pt x="0" y="0"/>
                  </a:moveTo>
                  <a:lnTo>
                    <a:pt x="0" y="969"/>
                  </a:lnTo>
                  <a:lnTo>
                    <a:pt x="4463" y="969"/>
                  </a:lnTo>
                  <a:lnTo>
                    <a:pt x="4463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2" name="Google Shape;8657;p73">
              <a:extLst>
                <a:ext uri="{FF2B5EF4-FFF2-40B4-BE49-F238E27FC236}">
                  <a16:creationId xmlns:a16="http://schemas.microsoft.com/office/drawing/2014/main" id="{CA4B6FF4-2360-02A4-EA90-2479779D902E}"/>
                </a:ext>
              </a:extLst>
            </p:cNvPr>
            <p:cNvSpPr/>
            <p:nvPr/>
          </p:nvSpPr>
          <p:spPr>
            <a:xfrm>
              <a:off x="814700" y="1558050"/>
              <a:ext cx="90325" cy="15075"/>
            </a:xfrm>
            <a:custGeom>
              <a:avLst/>
              <a:gdLst/>
              <a:ahLst/>
              <a:cxnLst/>
              <a:rect l="l" t="t" r="r" b="b"/>
              <a:pathLst>
                <a:path w="3613" h="603" extrusionOk="0">
                  <a:moveTo>
                    <a:pt x="1" y="0"/>
                  </a:moveTo>
                  <a:lnTo>
                    <a:pt x="1" y="602"/>
                  </a:lnTo>
                  <a:lnTo>
                    <a:pt x="3612" y="602"/>
                  </a:lnTo>
                  <a:lnTo>
                    <a:pt x="3612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3" name="Google Shape;8658;p73">
              <a:extLst>
                <a:ext uri="{FF2B5EF4-FFF2-40B4-BE49-F238E27FC236}">
                  <a16:creationId xmlns:a16="http://schemas.microsoft.com/office/drawing/2014/main" id="{7B5FF695-AA2C-AFCF-C4F4-E4A0AF32BD16}"/>
                </a:ext>
              </a:extLst>
            </p:cNvPr>
            <p:cNvSpPr/>
            <p:nvPr/>
          </p:nvSpPr>
          <p:spPr>
            <a:xfrm>
              <a:off x="814700" y="1577875"/>
              <a:ext cx="90325" cy="27550"/>
            </a:xfrm>
            <a:custGeom>
              <a:avLst/>
              <a:gdLst/>
              <a:ahLst/>
              <a:cxnLst/>
              <a:rect l="l" t="t" r="r" b="b"/>
              <a:pathLst>
                <a:path w="3613" h="1102" extrusionOk="0">
                  <a:moveTo>
                    <a:pt x="1" y="0"/>
                  </a:moveTo>
                  <a:cubicBezTo>
                    <a:pt x="1" y="0"/>
                    <a:pt x="177" y="1101"/>
                    <a:pt x="1777" y="1101"/>
                  </a:cubicBezTo>
                  <a:cubicBezTo>
                    <a:pt x="3421" y="1101"/>
                    <a:pt x="3612" y="0"/>
                    <a:pt x="3612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4" name="Google Shape;8659;p73">
              <a:extLst>
                <a:ext uri="{FF2B5EF4-FFF2-40B4-BE49-F238E27FC236}">
                  <a16:creationId xmlns:a16="http://schemas.microsoft.com/office/drawing/2014/main" id="{85FABBAF-5410-9C45-1A9B-D21F1B3BD4E1}"/>
                </a:ext>
              </a:extLst>
            </p:cNvPr>
            <p:cNvSpPr/>
            <p:nvPr/>
          </p:nvSpPr>
          <p:spPr>
            <a:xfrm>
              <a:off x="834525" y="1421875"/>
              <a:ext cx="47375" cy="94725"/>
            </a:xfrm>
            <a:custGeom>
              <a:avLst/>
              <a:gdLst/>
              <a:ahLst/>
              <a:cxnLst/>
              <a:rect l="l" t="t" r="r" b="b"/>
              <a:pathLst>
                <a:path w="1895" h="3789" extrusionOk="0">
                  <a:moveTo>
                    <a:pt x="309" y="1"/>
                  </a:moveTo>
                  <a:cubicBezTo>
                    <a:pt x="118" y="1"/>
                    <a:pt x="1" y="118"/>
                    <a:pt x="1" y="309"/>
                  </a:cubicBezTo>
                  <a:lnTo>
                    <a:pt x="1" y="3480"/>
                  </a:lnTo>
                  <a:cubicBezTo>
                    <a:pt x="1" y="3671"/>
                    <a:pt x="118" y="3788"/>
                    <a:pt x="309" y="3788"/>
                  </a:cubicBezTo>
                  <a:lnTo>
                    <a:pt x="1586" y="3788"/>
                  </a:lnTo>
                  <a:cubicBezTo>
                    <a:pt x="1777" y="3788"/>
                    <a:pt x="1894" y="3671"/>
                    <a:pt x="1894" y="3480"/>
                  </a:cubicBezTo>
                  <a:lnTo>
                    <a:pt x="1894" y="309"/>
                  </a:lnTo>
                  <a:cubicBezTo>
                    <a:pt x="1894" y="118"/>
                    <a:pt x="1777" y="1"/>
                    <a:pt x="1586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5" name="Google Shape;8660;p73">
              <a:extLst>
                <a:ext uri="{FF2B5EF4-FFF2-40B4-BE49-F238E27FC236}">
                  <a16:creationId xmlns:a16="http://schemas.microsoft.com/office/drawing/2014/main" id="{07814E4D-96A6-65BA-0619-C0432E0953DB}"/>
                </a:ext>
              </a:extLst>
            </p:cNvPr>
            <p:cNvSpPr/>
            <p:nvPr/>
          </p:nvSpPr>
          <p:spPr>
            <a:xfrm>
              <a:off x="745700" y="1367900"/>
              <a:ext cx="211075" cy="115850"/>
            </a:xfrm>
            <a:custGeom>
              <a:avLst/>
              <a:gdLst/>
              <a:ahLst/>
              <a:cxnLst/>
              <a:rect l="l" t="t" r="r" b="b"/>
              <a:pathLst>
                <a:path w="8443" h="4634" extrusionOk="0">
                  <a:moveTo>
                    <a:pt x="7570" y="1"/>
                  </a:moveTo>
                  <a:cubicBezTo>
                    <a:pt x="7538" y="1"/>
                    <a:pt x="7505" y="6"/>
                    <a:pt x="7473" y="16"/>
                  </a:cubicBezTo>
                  <a:lnTo>
                    <a:pt x="250" y="2703"/>
                  </a:lnTo>
                  <a:cubicBezTo>
                    <a:pt x="74" y="2776"/>
                    <a:pt x="1" y="2952"/>
                    <a:pt x="74" y="3143"/>
                  </a:cubicBezTo>
                  <a:lnTo>
                    <a:pt x="559" y="4421"/>
                  </a:lnTo>
                  <a:cubicBezTo>
                    <a:pt x="603" y="4564"/>
                    <a:pt x="722" y="4633"/>
                    <a:pt x="829" y="4633"/>
                  </a:cubicBezTo>
                  <a:cubicBezTo>
                    <a:pt x="863" y="4633"/>
                    <a:pt x="897" y="4626"/>
                    <a:pt x="926" y="4611"/>
                  </a:cubicBezTo>
                  <a:lnTo>
                    <a:pt x="8207" y="1910"/>
                  </a:lnTo>
                  <a:cubicBezTo>
                    <a:pt x="8325" y="1851"/>
                    <a:pt x="8442" y="1675"/>
                    <a:pt x="8384" y="1484"/>
                  </a:cubicBezTo>
                  <a:lnTo>
                    <a:pt x="7899" y="207"/>
                  </a:lnTo>
                  <a:cubicBezTo>
                    <a:pt x="7851" y="99"/>
                    <a:pt x="7715" y="1"/>
                    <a:pt x="7570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6" name="Google Shape;8661;p73">
              <a:extLst>
                <a:ext uri="{FF2B5EF4-FFF2-40B4-BE49-F238E27FC236}">
                  <a16:creationId xmlns:a16="http://schemas.microsoft.com/office/drawing/2014/main" id="{BB68BED6-20C6-DBDF-6D06-B07F9514769A}"/>
                </a:ext>
              </a:extLst>
            </p:cNvPr>
            <p:cNvSpPr/>
            <p:nvPr/>
          </p:nvSpPr>
          <p:spPr>
            <a:xfrm>
              <a:off x="753425" y="1273225"/>
              <a:ext cx="211050" cy="116250"/>
            </a:xfrm>
            <a:custGeom>
              <a:avLst/>
              <a:gdLst/>
              <a:ahLst/>
              <a:cxnLst/>
              <a:rect l="l" t="t" r="r" b="b"/>
              <a:pathLst>
                <a:path w="8442" h="4650" extrusionOk="0">
                  <a:moveTo>
                    <a:pt x="7600" y="0"/>
                  </a:moveTo>
                  <a:cubicBezTo>
                    <a:pt x="7575" y="0"/>
                    <a:pt x="7552" y="5"/>
                    <a:pt x="7531" y="16"/>
                  </a:cubicBezTo>
                  <a:lnTo>
                    <a:pt x="250" y="2702"/>
                  </a:lnTo>
                  <a:cubicBezTo>
                    <a:pt x="132" y="2761"/>
                    <a:pt x="0" y="3010"/>
                    <a:pt x="59" y="3128"/>
                  </a:cubicBezTo>
                  <a:lnTo>
                    <a:pt x="558" y="4420"/>
                  </a:lnTo>
                  <a:cubicBezTo>
                    <a:pt x="600" y="4546"/>
                    <a:pt x="702" y="4650"/>
                    <a:pt x="827" y="4650"/>
                  </a:cubicBezTo>
                  <a:cubicBezTo>
                    <a:pt x="877" y="4650"/>
                    <a:pt x="930" y="4633"/>
                    <a:pt x="984" y="4596"/>
                  </a:cubicBezTo>
                  <a:lnTo>
                    <a:pt x="8207" y="1909"/>
                  </a:lnTo>
                  <a:cubicBezTo>
                    <a:pt x="8383" y="1851"/>
                    <a:pt x="8442" y="1660"/>
                    <a:pt x="8383" y="1542"/>
                  </a:cubicBezTo>
                  <a:lnTo>
                    <a:pt x="7898" y="250"/>
                  </a:lnTo>
                  <a:cubicBezTo>
                    <a:pt x="7850" y="105"/>
                    <a:pt x="7712" y="0"/>
                    <a:pt x="7600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7" name="Google Shape;8662;p73">
              <a:extLst>
                <a:ext uri="{FF2B5EF4-FFF2-40B4-BE49-F238E27FC236}">
                  <a16:creationId xmlns:a16="http://schemas.microsoft.com/office/drawing/2014/main" id="{0C720FA5-4188-6650-5542-F5188211FDD1}"/>
                </a:ext>
              </a:extLst>
            </p:cNvPr>
            <p:cNvSpPr/>
            <p:nvPr/>
          </p:nvSpPr>
          <p:spPr>
            <a:xfrm>
              <a:off x="751950" y="1176525"/>
              <a:ext cx="212525" cy="115850"/>
            </a:xfrm>
            <a:custGeom>
              <a:avLst/>
              <a:gdLst/>
              <a:ahLst/>
              <a:cxnLst/>
              <a:rect l="l" t="t" r="r" b="b"/>
              <a:pathLst>
                <a:path w="8501" h="4634" extrusionOk="0">
                  <a:moveTo>
                    <a:pt x="7662" y="1"/>
                  </a:moveTo>
                  <a:cubicBezTo>
                    <a:pt x="7619" y="1"/>
                    <a:pt x="7575" y="8"/>
                    <a:pt x="7532" y="22"/>
                  </a:cubicBezTo>
                  <a:lnTo>
                    <a:pt x="309" y="2724"/>
                  </a:lnTo>
                  <a:cubicBezTo>
                    <a:pt x="118" y="2783"/>
                    <a:pt x="0" y="2959"/>
                    <a:pt x="59" y="3150"/>
                  </a:cubicBezTo>
                  <a:lnTo>
                    <a:pt x="558" y="4427"/>
                  </a:lnTo>
                  <a:cubicBezTo>
                    <a:pt x="606" y="4535"/>
                    <a:pt x="733" y="4633"/>
                    <a:pt x="882" y="4633"/>
                  </a:cubicBezTo>
                  <a:cubicBezTo>
                    <a:pt x="915" y="4633"/>
                    <a:pt x="949" y="4628"/>
                    <a:pt x="984" y="4618"/>
                  </a:cubicBezTo>
                  <a:lnTo>
                    <a:pt x="8192" y="1916"/>
                  </a:lnTo>
                  <a:cubicBezTo>
                    <a:pt x="8383" y="1858"/>
                    <a:pt x="8501" y="1681"/>
                    <a:pt x="8442" y="1491"/>
                  </a:cubicBezTo>
                  <a:lnTo>
                    <a:pt x="7957" y="213"/>
                  </a:lnTo>
                  <a:cubicBezTo>
                    <a:pt x="7913" y="69"/>
                    <a:pt x="7794" y="1"/>
                    <a:pt x="7662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8" name="Google Shape;8663;p73">
              <a:extLst>
                <a:ext uri="{FF2B5EF4-FFF2-40B4-BE49-F238E27FC236}">
                  <a16:creationId xmlns:a16="http://schemas.microsoft.com/office/drawing/2014/main" id="{F15F1956-B6A8-D565-7DCE-D57D747151DE}"/>
                </a:ext>
              </a:extLst>
            </p:cNvPr>
            <p:cNvSpPr/>
            <p:nvPr/>
          </p:nvSpPr>
          <p:spPr>
            <a:xfrm>
              <a:off x="836000" y="1154325"/>
              <a:ext cx="47375" cy="93250"/>
            </a:xfrm>
            <a:custGeom>
              <a:avLst/>
              <a:gdLst/>
              <a:ahLst/>
              <a:cxnLst/>
              <a:rect l="l" t="t" r="r" b="b"/>
              <a:pathLst>
                <a:path w="1895" h="3730" extrusionOk="0">
                  <a:moveTo>
                    <a:pt x="309" y="0"/>
                  </a:moveTo>
                  <a:cubicBezTo>
                    <a:pt x="132" y="0"/>
                    <a:pt x="0" y="118"/>
                    <a:pt x="0" y="309"/>
                  </a:cubicBezTo>
                  <a:lnTo>
                    <a:pt x="0" y="3421"/>
                  </a:lnTo>
                  <a:cubicBezTo>
                    <a:pt x="0" y="3612"/>
                    <a:pt x="132" y="3729"/>
                    <a:pt x="309" y="3729"/>
                  </a:cubicBezTo>
                  <a:lnTo>
                    <a:pt x="1600" y="3729"/>
                  </a:lnTo>
                  <a:cubicBezTo>
                    <a:pt x="1718" y="3729"/>
                    <a:pt x="1894" y="3612"/>
                    <a:pt x="1894" y="3421"/>
                  </a:cubicBezTo>
                  <a:lnTo>
                    <a:pt x="1894" y="309"/>
                  </a:lnTo>
                  <a:cubicBezTo>
                    <a:pt x="1894" y="118"/>
                    <a:pt x="1718" y="0"/>
                    <a:pt x="1600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9" name="Google Shape;8664;p73">
              <a:extLst>
                <a:ext uri="{FF2B5EF4-FFF2-40B4-BE49-F238E27FC236}">
                  <a16:creationId xmlns:a16="http://schemas.microsoft.com/office/drawing/2014/main" id="{6FEFB38B-817E-4BEE-8103-240B72DF1F27}"/>
                </a:ext>
              </a:extLst>
            </p:cNvPr>
            <p:cNvSpPr/>
            <p:nvPr/>
          </p:nvSpPr>
          <p:spPr>
            <a:xfrm>
              <a:off x="481450" y="1284250"/>
              <a:ext cx="38200" cy="71950"/>
            </a:xfrm>
            <a:custGeom>
              <a:avLst/>
              <a:gdLst/>
              <a:ahLst/>
              <a:cxnLst/>
              <a:rect l="l" t="t" r="r" b="b"/>
              <a:pathLst>
                <a:path w="1528" h="2878" extrusionOk="0">
                  <a:moveTo>
                    <a:pt x="602" y="0"/>
                  </a:moveTo>
                  <a:cubicBezTo>
                    <a:pt x="602" y="0"/>
                    <a:pt x="544" y="0"/>
                    <a:pt x="485" y="59"/>
                  </a:cubicBezTo>
                  <a:cubicBezTo>
                    <a:pt x="294" y="118"/>
                    <a:pt x="235" y="367"/>
                    <a:pt x="177" y="485"/>
                  </a:cubicBezTo>
                  <a:cubicBezTo>
                    <a:pt x="0" y="1278"/>
                    <a:pt x="294" y="2202"/>
                    <a:pt x="852" y="2878"/>
                  </a:cubicBezTo>
                  <a:cubicBezTo>
                    <a:pt x="1028" y="2687"/>
                    <a:pt x="1160" y="2511"/>
                    <a:pt x="1278" y="2261"/>
                  </a:cubicBezTo>
                  <a:cubicBezTo>
                    <a:pt x="1527" y="1645"/>
                    <a:pt x="1527" y="911"/>
                    <a:pt x="1160" y="426"/>
                  </a:cubicBezTo>
                  <a:cubicBezTo>
                    <a:pt x="1028" y="176"/>
                    <a:pt x="793" y="0"/>
                    <a:pt x="602" y="0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0" name="Google Shape;8665;p73">
              <a:extLst>
                <a:ext uri="{FF2B5EF4-FFF2-40B4-BE49-F238E27FC236}">
                  <a16:creationId xmlns:a16="http://schemas.microsoft.com/office/drawing/2014/main" id="{49233D5D-E6A0-F7A3-8A28-B104C0261FB0}"/>
                </a:ext>
              </a:extLst>
            </p:cNvPr>
            <p:cNvSpPr/>
            <p:nvPr/>
          </p:nvSpPr>
          <p:spPr>
            <a:xfrm>
              <a:off x="337575" y="1124975"/>
              <a:ext cx="338050" cy="417675"/>
            </a:xfrm>
            <a:custGeom>
              <a:avLst/>
              <a:gdLst/>
              <a:ahLst/>
              <a:cxnLst/>
              <a:rect l="l" t="t" r="r" b="b"/>
              <a:pathLst>
                <a:path w="13522" h="16707" extrusionOk="0">
                  <a:moveTo>
                    <a:pt x="6370" y="5806"/>
                  </a:moveTo>
                  <a:cubicBezTo>
                    <a:pt x="6805" y="5806"/>
                    <a:pt x="7220" y="6100"/>
                    <a:pt x="7458" y="6430"/>
                  </a:cubicBezTo>
                  <a:cubicBezTo>
                    <a:pt x="7884" y="7105"/>
                    <a:pt x="7958" y="8016"/>
                    <a:pt x="7591" y="8882"/>
                  </a:cubicBezTo>
                  <a:cubicBezTo>
                    <a:pt x="7458" y="9190"/>
                    <a:pt x="7282" y="9425"/>
                    <a:pt x="7091" y="9675"/>
                  </a:cubicBezTo>
                  <a:cubicBezTo>
                    <a:pt x="7767" y="10218"/>
                    <a:pt x="8442" y="10467"/>
                    <a:pt x="9235" y="10526"/>
                  </a:cubicBezTo>
                  <a:lnTo>
                    <a:pt x="9793" y="8691"/>
                  </a:lnTo>
                  <a:cubicBezTo>
                    <a:pt x="9793" y="8515"/>
                    <a:pt x="9969" y="8456"/>
                    <a:pt x="10160" y="8456"/>
                  </a:cubicBezTo>
                  <a:cubicBezTo>
                    <a:pt x="10277" y="8515"/>
                    <a:pt x="10395" y="8691"/>
                    <a:pt x="10336" y="8823"/>
                  </a:cubicBezTo>
                  <a:lnTo>
                    <a:pt x="9851" y="10526"/>
                  </a:lnTo>
                  <a:cubicBezTo>
                    <a:pt x="10277" y="10467"/>
                    <a:pt x="10820" y="9983"/>
                    <a:pt x="11011" y="9792"/>
                  </a:cubicBezTo>
                  <a:cubicBezTo>
                    <a:pt x="11070" y="9733"/>
                    <a:pt x="11147" y="9704"/>
                    <a:pt x="11224" y="9704"/>
                  </a:cubicBezTo>
                  <a:cubicBezTo>
                    <a:pt x="11301" y="9704"/>
                    <a:pt x="11378" y="9733"/>
                    <a:pt x="11437" y="9792"/>
                  </a:cubicBezTo>
                  <a:cubicBezTo>
                    <a:pt x="11554" y="9924"/>
                    <a:pt x="11554" y="10100"/>
                    <a:pt x="11437" y="10218"/>
                  </a:cubicBezTo>
                  <a:cubicBezTo>
                    <a:pt x="11320" y="10350"/>
                    <a:pt x="10586" y="11084"/>
                    <a:pt x="9851" y="11084"/>
                  </a:cubicBezTo>
                  <a:cubicBezTo>
                    <a:pt x="9793" y="11084"/>
                    <a:pt x="9719" y="11084"/>
                    <a:pt x="9661" y="11143"/>
                  </a:cubicBezTo>
                  <a:lnTo>
                    <a:pt x="8325" y="15914"/>
                  </a:lnTo>
                  <a:cubicBezTo>
                    <a:pt x="8251" y="16031"/>
                    <a:pt x="8134" y="16163"/>
                    <a:pt x="8016" y="16163"/>
                  </a:cubicBezTo>
                  <a:cubicBezTo>
                    <a:pt x="7958" y="16163"/>
                    <a:pt x="7958" y="16163"/>
                    <a:pt x="7958" y="16090"/>
                  </a:cubicBezTo>
                  <a:cubicBezTo>
                    <a:pt x="7767" y="16090"/>
                    <a:pt x="7708" y="15914"/>
                    <a:pt x="7708" y="15723"/>
                  </a:cubicBezTo>
                  <a:lnTo>
                    <a:pt x="9059" y="11084"/>
                  </a:lnTo>
                  <a:cubicBezTo>
                    <a:pt x="8193" y="11025"/>
                    <a:pt x="7400" y="10717"/>
                    <a:pt x="6666" y="10100"/>
                  </a:cubicBezTo>
                  <a:cubicBezTo>
                    <a:pt x="6416" y="10291"/>
                    <a:pt x="6181" y="10467"/>
                    <a:pt x="5932" y="10585"/>
                  </a:cubicBezTo>
                  <a:cubicBezTo>
                    <a:pt x="5623" y="10776"/>
                    <a:pt x="5256" y="10893"/>
                    <a:pt x="4948" y="11025"/>
                  </a:cubicBezTo>
                  <a:lnTo>
                    <a:pt x="6299" y="15723"/>
                  </a:lnTo>
                  <a:cubicBezTo>
                    <a:pt x="6357" y="15914"/>
                    <a:pt x="6299" y="16090"/>
                    <a:pt x="6122" y="16090"/>
                  </a:cubicBezTo>
                  <a:cubicBezTo>
                    <a:pt x="6122" y="16163"/>
                    <a:pt x="6049" y="16163"/>
                    <a:pt x="6049" y="16163"/>
                  </a:cubicBezTo>
                  <a:cubicBezTo>
                    <a:pt x="5932" y="16163"/>
                    <a:pt x="5814" y="16031"/>
                    <a:pt x="5755" y="15914"/>
                  </a:cubicBezTo>
                  <a:lnTo>
                    <a:pt x="4346" y="11084"/>
                  </a:lnTo>
                  <a:lnTo>
                    <a:pt x="4097" y="11084"/>
                  </a:lnTo>
                  <a:cubicBezTo>
                    <a:pt x="3421" y="11084"/>
                    <a:pt x="2746" y="10776"/>
                    <a:pt x="2379" y="10218"/>
                  </a:cubicBezTo>
                  <a:cubicBezTo>
                    <a:pt x="2261" y="10100"/>
                    <a:pt x="2320" y="9924"/>
                    <a:pt x="2452" y="9792"/>
                  </a:cubicBezTo>
                  <a:cubicBezTo>
                    <a:pt x="2501" y="9768"/>
                    <a:pt x="2560" y="9753"/>
                    <a:pt x="2621" y="9753"/>
                  </a:cubicBezTo>
                  <a:cubicBezTo>
                    <a:pt x="2708" y="9753"/>
                    <a:pt x="2801" y="9782"/>
                    <a:pt x="2878" y="9851"/>
                  </a:cubicBezTo>
                  <a:cubicBezTo>
                    <a:pt x="3113" y="10218"/>
                    <a:pt x="3612" y="10467"/>
                    <a:pt x="4155" y="10526"/>
                  </a:cubicBezTo>
                  <a:lnTo>
                    <a:pt x="4214" y="10526"/>
                  </a:lnTo>
                  <a:lnTo>
                    <a:pt x="3729" y="8823"/>
                  </a:lnTo>
                  <a:cubicBezTo>
                    <a:pt x="3671" y="8691"/>
                    <a:pt x="3729" y="8515"/>
                    <a:pt x="3920" y="8456"/>
                  </a:cubicBezTo>
                  <a:cubicBezTo>
                    <a:pt x="4097" y="8456"/>
                    <a:pt x="4214" y="8515"/>
                    <a:pt x="4287" y="8691"/>
                  </a:cubicBezTo>
                  <a:lnTo>
                    <a:pt x="4772" y="10409"/>
                  </a:lnTo>
                  <a:cubicBezTo>
                    <a:pt x="5080" y="10350"/>
                    <a:pt x="5388" y="10218"/>
                    <a:pt x="5623" y="10100"/>
                  </a:cubicBezTo>
                  <a:cubicBezTo>
                    <a:pt x="5873" y="9983"/>
                    <a:pt x="6049" y="9851"/>
                    <a:pt x="6181" y="9675"/>
                  </a:cubicBezTo>
                  <a:cubicBezTo>
                    <a:pt x="5447" y="8882"/>
                    <a:pt x="5139" y="7722"/>
                    <a:pt x="5388" y="6738"/>
                  </a:cubicBezTo>
                  <a:cubicBezTo>
                    <a:pt x="5506" y="6313"/>
                    <a:pt x="5682" y="6004"/>
                    <a:pt x="5990" y="5887"/>
                  </a:cubicBezTo>
                  <a:cubicBezTo>
                    <a:pt x="6116" y="5831"/>
                    <a:pt x="6244" y="5806"/>
                    <a:pt x="6370" y="5806"/>
                  </a:cubicBezTo>
                  <a:close/>
                  <a:moveTo>
                    <a:pt x="6712" y="0"/>
                  </a:moveTo>
                  <a:cubicBezTo>
                    <a:pt x="3005" y="0"/>
                    <a:pt x="1" y="3021"/>
                    <a:pt x="1" y="6680"/>
                  </a:cubicBezTo>
                  <a:cubicBezTo>
                    <a:pt x="1" y="8691"/>
                    <a:pt x="911" y="10467"/>
                    <a:pt x="2261" y="11686"/>
                  </a:cubicBezTo>
                  <a:cubicBezTo>
                    <a:pt x="3480" y="12787"/>
                    <a:pt x="4346" y="14138"/>
                    <a:pt x="4831" y="15664"/>
                  </a:cubicBezTo>
                  <a:lnTo>
                    <a:pt x="5256" y="16707"/>
                  </a:lnTo>
                  <a:lnTo>
                    <a:pt x="8927" y="16707"/>
                  </a:lnTo>
                  <a:lnTo>
                    <a:pt x="9294" y="15239"/>
                  </a:lnTo>
                  <a:cubicBezTo>
                    <a:pt x="9719" y="13829"/>
                    <a:pt x="10395" y="12493"/>
                    <a:pt x="11437" y="11451"/>
                  </a:cubicBezTo>
                  <a:cubicBezTo>
                    <a:pt x="12729" y="10159"/>
                    <a:pt x="13522" y="8324"/>
                    <a:pt x="13390" y="6371"/>
                  </a:cubicBezTo>
                  <a:cubicBezTo>
                    <a:pt x="13272" y="3009"/>
                    <a:pt x="10527" y="249"/>
                    <a:pt x="7150" y="14"/>
                  </a:cubicBezTo>
                  <a:cubicBezTo>
                    <a:pt x="7003" y="5"/>
                    <a:pt x="6857" y="0"/>
                    <a:pt x="6712" y="0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1" name="Google Shape;8666;p73">
              <a:extLst>
                <a:ext uri="{FF2B5EF4-FFF2-40B4-BE49-F238E27FC236}">
                  <a16:creationId xmlns:a16="http://schemas.microsoft.com/office/drawing/2014/main" id="{BFE1D7F8-D62D-66D1-1FEB-A7C9EE3C5997}"/>
                </a:ext>
              </a:extLst>
            </p:cNvPr>
            <p:cNvSpPr/>
            <p:nvPr/>
          </p:nvSpPr>
          <p:spPr>
            <a:xfrm>
              <a:off x="456850" y="1550325"/>
              <a:ext cx="113075" cy="26100"/>
            </a:xfrm>
            <a:custGeom>
              <a:avLst/>
              <a:gdLst/>
              <a:ahLst/>
              <a:cxnLst/>
              <a:rect l="l" t="t" r="r" b="b"/>
              <a:pathLst>
                <a:path w="4523" h="1044" extrusionOk="0">
                  <a:moveTo>
                    <a:pt x="1" y="1"/>
                  </a:moveTo>
                  <a:lnTo>
                    <a:pt x="1" y="1043"/>
                  </a:lnTo>
                  <a:lnTo>
                    <a:pt x="4523" y="1043"/>
                  </a:lnTo>
                  <a:lnTo>
                    <a:pt x="4523" y="1"/>
                  </a:ln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2" name="Google Shape;8667;p73">
              <a:extLst>
                <a:ext uri="{FF2B5EF4-FFF2-40B4-BE49-F238E27FC236}">
                  <a16:creationId xmlns:a16="http://schemas.microsoft.com/office/drawing/2014/main" id="{73869C1E-C967-1499-F917-54976944468B}"/>
                </a:ext>
              </a:extLst>
            </p:cNvPr>
            <p:cNvSpPr/>
            <p:nvPr/>
          </p:nvSpPr>
          <p:spPr>
            <a:xfrm>
              <a:off x="468975" y="1580800"/>
              <a:ext cx="90300" cy="13975"/>
            </a:xfrm>
            <a:custGeom>
              <a:avLst/>
              <a:gdLst/>
              <a:ahLst/>
              <a:cxnLst/>
              <a:rect l="l" t="t" r="r" b="b"/>
              <a:pathLst>
                <a:path w="3612" h="559" extrusionOk="0">
                  <a:moveTo>
                    <a:pt x="0" y="0"/>
                  </a:moveTo>
                  <a:lnTo>
                    <a:pt x="0" y="558"/>
                  </a:lnTo>
                  <a:lnTo>
                    <a:pt x="3612" y="558"/>
                  </a:lnTo>
                  <a:lnTo>
                    <a:pt x="3612" y="0"/>
                  </a:ln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3" name="Google Shape;8668;p73">
              <a:extLst>
                <a:ext uri="{FF2B5EF4-FFF2-40B4-BE49-F238E27FC236}">
                  <a16:creationId xmlns:a16="http://schemas.microsoft.com/office/drawing/2014/main" id="{5EF61A9C-4CBE-72D6-C9ED-8892F9586E53}"/>
                </a:ext>
              </a:extLst>
            </p:cNvPr>
            <p:cNvSpPr/>
            <p:nvPr/>
          </p:nvSpPr>
          <p:spPr>
            <a:xfrm>
              <a:off x="468975" y="1600625"/>
              <a:ext cx="90300" cy="26075"/>
            </a:xfrm>
            <a:custGeom>
              <a:avLst/>
              <a:gdLst/>
              <a:ahLst/>
              <a:cxnLst/>
              <a:rect l="l" t="t" r="r" b="b"/>
              <a:pathLst>
                <a:path w="3612" h="1043" extrusionOk="0">
                  <a:moveTo>
                    <a:pt x="0" y="0"/>
                  </a:moveTo>
                  <a:cubicBezTo>
                    <a:pt x="0" y="0"/>
                    <a:pt x="191" y="1043"/>
                    <a:pt x="1777" y="1043"/>
                  </a:cubicBezTo>
                  <a:cubicBezTo>
                    <a:pt x="3436" y="1043"/>
                    <a:pt x="3612" y="0"/>
                    <a:pt x="3612" y="0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4" name="Google Shape;8669;p73">
              <a:extLst>
                <a:ext uri="{FF2B5EF4-FFF2-40B4-BE49-F238E27FC236}">
                  <a16:creationId xmlns:a16="http://schemas.microsoft.com/office/drawing/2014/main" id="{05F3BC33-69F5-0E4C-6667-A255DD5BB412}"/>
                </a:ext>
              </a:extLst>
            </p:cNvPr>
            <p:cNvSpPr/>
            <p:nvPr/>
          </p:nvSpPr>
          <p:spPr>
            <a:xfrm>
              <a:off x="481450" y="1284250"/>
              <a:ext cx="38200" cy="71950"/>
            </a:xfrm>
            <a:custGeom>
              <a:avLst/>
              <a:gdLst/>
              <a:ahLst/>
              <a:cxnLst/>
              <a:rect l="l" t="t" r="r" b="b"/>
              <a:pathLst>
                <a:path w="1528" h="2878" extrusionOk="0">
                  <a:moveTo>
                    <a:pt x="602" y="0"/>
                  </a:moveTo>
                  <a:cubicBezTo>
                    <a:pt x="602" y="0"/>
                    <a:pt x="544" y="0"/>
                    <a:pt x="485" y="59"/>
                  </a:cubicBezTo>
                  <a:cubicBezTo>
                    <a:pt x="294" y="118"/>
                    <a:pt x="235" y="367"/>
                    <a:pt x="177" y="485"/>
                  </a:cubicBezTo>
                  <a:cubicBezTo>
                    <a:pt x="0" y="1278"/>
                    <a:pt x="294" y="2202"/>
                    <a:pt x="852" y="2878"/>
                  </a:cubicBezTo>
                  <a:cubicBezTo>
                    <a:pt x="1028" y="2687"/>
                    <a:pt x="1160" y="2511"/>
                    <a:pt x="1278" y="2261"/>
                  </a:cubicBezTo>
                  <a:cubicBezTo>
                    <a:pt x="1527" y="1645"/>
                    <a:pt x="1527" y="911"/>
                    <a:pt x="1160" y="426"/>
                  </a:cubicBezTo>
                  <a:cubicBezTo>
                    <a:pt x="1028" y="176"/>
                    <a:pt x="793" y="0"/>
                    <a:pt x="602" y="0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5" name="Google Shape;8670;p73">
              <a:extLst>
                <a:ext uri="{FF2B5EF4-FFF2-40B4-BE49-F238E27FC236}">
                  <a16:creationId xmlns:a16="http://schemas.microsoft.com/office/drawing/2014/main" id="{8DC060DC-5037-40C5-4CF8-45C8BDAEEFFD}"/>
                </a:ext>
              </a:extLst>
            </p:cNvPr>
            <p:cNvSpPr/>
            <p:nvPr/>
          </p:nvSpPr>
          <p:spPr>
            <a:xfrm>
              <a:off x="1172550" y="1265900"/>
              <a:ext cx="38200" cy="71950"/>
            </a:xfrm>
            <a:custGeom>
              <a:avLst/>
              <a:gdLst/>
              <a:ahLst/>
              <a:cxnLst/>
              <a:rect l="l" t="t" r="r" b="b"/>
              <a:pathLst>
                <a:path w="1528" h="2878" extrusionOk="0">
                  <a:moveTo>
                    <a:pt x="485" y="0"/>
                  </a:moveTo>
                  <a:cubicBezTo>
                    <a:pt x="309" y="59"/>
                    <a:pt x="250" y="309"/>
                    <a:pt x="177" y="485"/>
                  </a:cubicBezTo>
                  <a:cubicBezTo>
                    <a:pt x="1" y="1278"/>
                    <a:pt x="250" y="2144"/>
                    <a:pt x="852" y="2878"/>
                  </a:cubicBezTo>
                  <a:cubicBezTo>
                    <a:pt x="1043" y="2628"/>
                    <a:pt x="1160" y="2452"/>
                    <a:pt x="1278" y="2202"/>
                  </a:cubicBezTo>
                  <a:cubicBezTo>
                    <a:pt x="1528" y="1586"/>
                    <a:pt x="1469" y="852"/>
                    <a:pt x="1160" y="367"/>
                  </a:cubicBezTo>
                  <a:cubicBezTo>
                    <a:pt x="1043" y="118"/>
                    <a:pt x="793" y="0"/>
                    <a:pt x="617" y="0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6" name="Google Shape;8671;p73">
              <a:extLst>
                <a:ext uri="{FF2B5EF4-FFF2-40B4-BE49-F238E27FC236}">
                  <a16:creationId xmlns:a16="http://schemas.microsoft.com/office/drawing/2014/main" id="{B99FDE48-AC08-EAFA-0A9F-455660CCB474}"/>
                </a:ext>
              </a:extLst>
            </p:cNvPr>
            <p:cNvSpPr/>
            <p:nvPr/>
          </p:nvSpPr>
          <p:spPr>
            <a:xfrm>
              <a:off x="1028675" y="1104825"/>
              <a:ext cx="336600" cy="418000"/>
            </a:xfrm>
            <a:custGeom>
              <a:avLst/>
              <a:gdLst/>
              <a:ahLst/>
              <a:cxnLst/>
              <a:rect l="l" t="t" r="r" b="b"/>
              <a:pathLst>
                <a:path w="13464" h="16720" extrusionOk="0">
                  <a:moveTo>
                    <a:pt x="6357" y="5812"/>
                  </a:moveTo>
                  <a:cubicBezTo>
                    <a:pt x="6777" y="5812"/>
                    <a:pt x="7170" y="6110"/>
                    <a:pt x="7400" y="6443"/>
                  </a:cubicBezTo>
                  <a:cubicBezTo>
                    <a:pt x="7840" y="7177"/>
                    <a:pt x="7899" y="8088"/>
                    <a:pt x="7591" y="8895"/>
                  </a:cubicBezTo>
                  <a:cubicBezTo>
                    <a:pt x="7400" y="9189"/>
                    <a:pt x="7224" y="9438"/>
                    <a:pt x="7033" y="9688"/>
                  </a:cubicBezTo>
                  <a:cubicBezTo>
                    <a:pt x="7708" y="10231"/>
                    <a:pt x="8384" y="10481"/>
                    <a:pt x="9235" y="10539"/>
                  </a:cubicBezTo>
                  <a:lnTo>
                    <a:pt x="9734" y="8704"/>
                  </a:lnTo>
                  <a:cubicBezTo>
                    <a:pt x="9793" y="8528"/>
                    <a:pt x="9969" y="8455"/>
                    <a:pt x="10101" y="8455"/>
                  </a:cubicBezTo>
                  <a:cubicBezTo>
                    <a:pt x="10277" y="8528"/>
                    <a:pt x="10336" y="8704"/>
                    <a:pt x="10336" y="8822"/>
                  </a:cubicBezTo>
                  <a:lnTo>
                    <a:pt x="9852" y="10539"/>
                  </a:lnTo>
                  <a:cubicBezTo>
                    <a:pt x="10277" y="10481"/>
                    <a:pt x="10835" y="9996"/>
                    <a:pt x="10953" y="9864"/>
                  </a:cubicBezTo>
                  <a:cubicBezTo>
                    <a:pt x="11022" y="9795"/>
                    <a:pt x="11116" y="9767"/>
                    <a:pt x="11205" y="9767"/>
                  </a:cubicBezTo>
                  <a:cubicBezTo>
                    <a:pt x="11269" y="9767"/>
                    <a:pt x="11330" y="9781"/>
                    <a:pt x="11379" y="9805"/>
                  </a:cubicBezTo>
                  <a:cubicBezTo>
                    <a:pt x="11511" y="9923"/>
                    <a:pt x="11511" y="10113"/>
                    <a:pt x="11379" y="10231"/>
                  </a:cubicBezTo>
                  <a:cubicBezTo>
                    <a:pt x="11320" y="10363"/>
                    <a:pt x="10586" y="11097"/>
                    <a:pt x="9852" y="11156"/>
                  </a:cubicBezTo>
                  <a:lnTo>
                    <a:pt x="9676" y="11156"/>
                  </a:lnTo>
                  <a:lnTo>
                    <a:pt x="8266" y="15927"/>
                  </a:lnTo>
                  <a:cubicBezTo>
                    <a:pt x="8266" y="16045"/>
                    <a:pt x="8134" y="16162"/>
                    <a:pt x="8017" y="16162"/>
                  </a:cubicBezTo>
                  <a:lnTo>
                    <a:pt x="7899" y="16162"/>
                  </a:lnTo>
                  <a:cubicBezTo>
                    <a:pt x="7767" y="16103"/>
                    <a:pt x="7650" y="15927"/>
                    <a:pt x="7708" y="15795"/>
                  </a:cubicBezTo>
                  <a:lnTo>
                    <a:pt x="9059" y="11097"/>
                  </a:lnTo>
                  <a:cubicBezTo>
                    <a:pt x="8134" y="11024"/>
                    <a:pt x="7400" y="10730"/>
                    <a:pt x="6666" y="10172"/>
                  </a:cubicBezTo>
                  <a:lnTo>
                    <a:pt x="6607" y="10113"/>
                  </a:lnTo>
                  <a:cubicBezTo>
                    <a:pt x="6372" y="10363"/>
                    <a:pt x="6123" y="10481"/>
                    <a:pt x="5932" y="10598"/>
                  </a:cubicBezTo>
                  <a:cubicBezTo>
                    <a:pt x="5565" y="10789"/>
                    <a:pt x="5271" y="10965"/>
                    <a:pt x="4963" y="11024"/>
                  </a:cubicBezTo>
                  <a:lnTo>
                    <a:pt x="6299" y="15795"/>
                  </a:lnTo>
                  <a:cubicBezTo>
                    <a:pt x="6372" y="15927"/>
                    <a:pt x="6240" y="16103"/>
                    <a:pt x="6123" y="16162"/>
                  </a:cubicBezTo>
                  <a:lnTo>
                    <a:pt x="6005" y="16162"/>
                  </a:lnTo>
                  <a:cubicBezTo>
                    <a:pt x="5873" y="16162"/>
                    <a:pt x="5756" y="16045"/>
                    <a:pt x="5756" y="15927"/>
                  </a:cubicBezTo>
                  <a:lnTo>
                    <a:pt x="4346" y="11097"/>
                  </a:lnTo>
                  <a:cubicBezTo>
                    <a:pt x="4288" y="11156"/>
                    <a:pt x="4170" y="11156"/>
                    <a:pt x="4097" y="11156"/>
                  </a:cubicBezTo>
                  <a:cubicBezTo>
                    <a:pt x="3363" y="11097"/>
                    <a:pt x="2761" y="10789"/>
                    <a:pt x="2335" y="10231"/>
                  </a:cubicBezTo>
                  <a:cubicBezTo>
                    <a:pt x="2262" y="10113"/>
                    <a:pt x="2262" y="9923"/>
                    <a:pt x="2452" y="9805"/>
                  </a:cubicBezTo>
                  <a:cubicBezTo>
                    <a:pt x="2501" y="9781"/>
                    <a:pt x="2562" y="9767"/>
                    <a:pt x="2622" y="9767"/>
                  </a:cubicBezTo>
                  <a:cubicBezTo>
                    <a:pt x="2705" y="9767"/>
                    <a:pt x="2785" y="9795"/>
                    <a:pt x="2820" y="9864"/>
                  </a:cubicBezTo>
                  <a:cubicBezTo>
                    <a:pt x="3128" y="10290"/>
                    <a:pt x="3612" y="10481"/>
                    <a:pt x="4097" y="10539"/>
                  </a:cubicBezTo>
                  <a:lnTo>
                    <a:pt x="4170" y="10539"/>
                  </a:lnTo>
                  <a:lnTo>
                    <a:pt x="3671" y="8822"/>
                  </a:lnTo>
                  <a:cubicBezTo>
                    <a:pt x="3671" y="8704"/>
                    <a:pt x="3730" y="8528"/>
                    <a:pt x="3921" y="8455"/>
                  </a:cubicBezTo>
                  <a:cubicBezTo>
                    <a:pt x="4038" y="8455"/>
                    <a:pt x="4229" y="8528"/>
                    <a:pt x="4288" y="8704"/>
                  </a:cubicBezTo>
                  <a:lnTo>
                    <a:pt x="4772" y="10481"/>
                  </a:lnTo>
                  <a:cubicBezTo>
                    <a:pt x="5080" y="10363"/>
                    <a:pt x="5330" y="10290"/>
                    <a:pt x="5638" y="10113"/>
                  </a:cubicBezTo>
                  <a:cubicBezTo>
                    <a:pt x="5814" y="9996"/>
                    <a:pt x="6005" y="9864"/>
                    <a:pt x="6181" y="9688"/>
                  </a:cubicBezTo>
                  <a:cubicBezTo>
                    <a:pt x="5447" y="8895"/>
                    <a:pt x="5139" y="7794"/>
                    <a:pt x="5389" y="6752"/>
                  </a:cubicBezTo>
                  <a:cubicBezTo>
                    <a:pt x="5447" y="6326"/>
                    <a:pt x="5697" y="6018"/>
                    <a:pt x="6005" y="5885"/>
                  </a:cubicBezTo>
                  <a:cubicBezTo>
                    <a:pt x="6123" y="5835"/>
                    <a:pt x="6241" y="5812"/>
                    <a:pt x="6357" y="5812"/>
                  </a:cubicBezTo>
                  <a:close/>
                  <a:moveTo>
                    <a:pt x="6749" y="1"/>
                  </a:moveTo>
                  <a:cubicBezTo>
                    <a:pt x="3018" y="1"/>
                    <a:pt x="1" y="3028"/>
                    <a:pt x="1" y="6752"/>
                  </a:cubicBezTo>
                  <a:cubicBezTo>
                    <a:pt x="1" y="8704"/>
                    <a:pt x="867" y="10539"/>
                    <a:pt x="2262" y="11758"/>
                  </a:cubicBezTo>
                  <a:cubicBezTo>
                    <a:pt x="3436" y="12800"/>
                    <a:pt x="4288" y="14151"/>
                    <a:pt x="4831" y="15678"/>
                  </a:cubicBezTo>
                  <a:lnTo>
                    <a:pt x="5198" y="16720"/>
                  </a:lnTo>
                  <a:lnTo>
                    <a:pt x="8868" y="16720"/>
                  </a:lnTo>
                  <a:lnTo>
                    <a:pt x="9308" y="15252"/>
                  </a:lnTo>
                  <a:cubicBezTo>
                    <a:pt x="9676" y="13842"/>
                    <a:pt x="10410" y="12492"/>
                    <a:pt x="11437" y="11464"/>
                  </a:cubicBezTo>
                  <a:cubicBezTo>
                    <a:pt x="12729" y="10172"/>
                    <a:pt x="13463" y="8337"/>
                    <a:pt x="13404" y="6385"/>
                  </a:cubicBezTo>
                  <a:cubicBezTo>
                    <a:pt x="13214" y="3023"/>
                    <a:pt x="10527" y="263"/>
                    <a:pt x="7165" y="13"/>
                  </a:cubicBezTo>
                  <a:cubicBezTo>
                    <a:pt x="7026" y="5"/>
                    <a:pt x="6887" y="1"/>
                    <a:pt x="6749" y="1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7" name="Google Shape;8672;p73">
              <a:extLst>
                <a:ext uri="{FF2B5EF4-FFF2-40B4-BE49-F238E27FC236}">
                  <a16:creationId xmlns:a16="http://schemas.microsoft.com/office/drawing/2014/main" id="{63372C75-72C0-2F41-D096-BE8592A5E6AB}"/>
                </a:ext>
              </a:extLst>
            </p:cNvPr>
            <p:cNvSpPr/>
            <p:nvPr/>
          </p:nvSpPr>
          <p:spPr>
            <a:xfrm>
              <a:off x="1147975" y="1530525"/>
              <a:ext cx="111600" cy="26075"/>
            </a:xfrm>
            <a:custGeom>
              <a:avLst/>
              <a:gdLst/>
              <a:ahLst/>
              <a:cxnLst/>
              <a:rect l="l" t="t" r="r" b="b"/>
              <a:pathLst>
                <a:path w="4464" h="1043" extrusionOk="0">
                  <a:moveTo>
                    <a:pt x="0" y="0"/>
                  </a:moveTo>
                  <a:lnTo>
                    <a:pt x="0" y="1043"/>
                  </a:lnTo>
                  <a:lnTo>
                    <a:pt x="4463" y="1043"/>
                  </a:lnTo>
                  <a:lnTo>
                    <a:pt x="4463" y="0"/>
                  </a:ln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8" name="Google Shape;8673;p73">
              <a:extLst>
                <a:ext uri="{FF2B5EF4-FFF2-40B4-BE49-F238E27FC236}">
                  <a16:creationId xmlns:a16="http://schemas.microsoft.com/office/drawing/2014/main" id="{ADEE950D-EB91-CD4B-6008-6D90C8C45C8C}"/>
                </a:ext>
              </a:extLst>
            </p:cNvPr>
            <p:cNvSpPr/>
            <p:nvPr/>
          </p:nvSpPr>
          <p:spPr>
            <a:xfrm>
              <a:off x="1160450" y="1560975"/>
              <a:ext cx="89950" cy="13975"/>
            </a:xfrm>
            <a:custGeom>
              <a:avLst/>
              <a:gdLst/>
              <a:ahLst/>
              <a:cxnLst/>
              <a:rect l="l" t="t" r="r" b="b"/>
              <a:pathLst>
                <a:path w="3598" h="559" extrusionOk="0">
                  <a:moveTo>
                    <a:pt x="0" y="1"/>
                  </a:moveTo>
                  <a:lnTo>
                    <a:pt x="0" y="559"/>
                  </a:lnTo>
                  <a:lnTo>
                    <a:pt x="3597" y="559"/>
                  </a:lnTo>
                  <a:lnTo>
                    <a:pt x="3597" y="1"/>
                  </a:ln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9" name="Google Shape;8674;p73">
              <a:extLst>
                <a:ext uri="{FF2B5EF4-FFF2-40B4-BE49-F238E27FC236}">
                  <a16:creationId xmlns:a16="http://schemas.microsoft.com/office/drawing/2014/main" id="{54073F61-7CBB-F748-EFBC-1AE669F845B7}"/>
                </a:ext>
              </a:extLst>
            </p:cNvPr>
            <p:cNvSpPr/>
            <p:nvPr/>
          </p:nvSpPr>
          <p:spPr>
            <a:xfrm>
              <a:off x="1160450" y="1580800"/>
              <a:ext cx="89950" cy="27550"/>
            </a:xfrm>
            <a:custGeom>
              <a:avLst/>
              <a:gdLst/>
              <a:ahLst/>
              <a:cxnLst/>
              <a:rect l="l" t="t" r="r" b="b"/>
              <a:pathLst>
                <a:path w="3598" h="1102" extrusionOk="0">
                  <a:moveTo>
                    <a:pt x="0" y="0"/>
                  </a:moveTo>
                  <a:cubicBezTo>
                    <a:pt x="0" y="0"/>
                    <a:pt x="176" y="1102"/>
                    <a:pt x="1762" y="1102"/>
                  </a:cubicBezTo>
                  <a:cubicBezTo>
                    <a:pt x="3421" y="1102"/>
                    <a:pt x="3597" y="0"/>
                    <a:pt x="3597" y="0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0" name="Google Shape;8675;p73">
              <a:extLst>
                <a:ext uri="{FF2B5EF4-FFF2-40B4-BE49-F238E27FC236}">
                  <a16:creationId xmlns:a16="http://schemas.microsoft.com/office/drawing/2014/main" id="{0335BD13-A655-8B61-DFFF-AE041F7FFD99}"/>
                </a:ext>
              </a:extLst>
            </p:cNvPr>
            <p:cNvSpPr/>
            <p:nvPr/>
          </p:nvSpPr>
          <p:spPr>
            <a:xfrm>
              <a:off x="1172550" y="1265900"/>
              <a:ext cx="38200" cy="71950"/>
            </a:xfrm>
            <a:custGeom>
              <a:avLst/>
              <a:gdLst/>
              <a:ahLst/>
              <a:cxnLst/>
              <a:rect l="l" t="t" r="r" b="b"/>
              <a:pathLst>
                <a:path w="1528" h="2878" extrusionOk="0">
                  <a:moveTo>
                    <a:pt x="485" y="0"/>
                  </a:moveTo>
                  <a:cubicBezTo>
                    <a:pt x="309" y="59"/>
                    <a:pt x="250" y="309"/>
                    <a:pt x="177" y="485"/>
                  </a:cubicBezTo>
                  <a:cubicBezTo>
                    <a:pt x="1" y="1278"/>
                    <a:pt x="250" y="2144"/>
                    <a:pt x="852" y="2878"/>
                  </a:cubicBezTo>
                  <a:cubicBezTo>
                    <a:pt x="1043" y="2628"/>
                    <a:pt x="1160" y="2452"/>
                    <a:pt x="1278" y="2202"/>
                  </a:cubicBezTo>
                  <a:cubicBezTo>
                    <a:pt x="1528" y="1586"/>
                    <a:pt x="1469" y="852"/>
                    <a:pt x="1160" y="367"/>
                  </a:cubicBezTo>
                  <a:cubicBezTo>
                    <a:pt x="1043" y="118"/>
                    <a:pt x="793" y="0"/>
                    <a:pt x="617" y="0"/>
                  </a:cubicBezTo>
                  <a:close/>
                </a:path>
              </a:pathLst>
            </a:custGeom>
            <a:solidFill>
              <a:srgbClr val="FFD65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1" name="Google Shape;8676;p73">
              <a:extLst>
                <a:ext uri="{FF2B5EF4-FFF2-40B4-BE49-F238E27FC236}">
                  <a16:creationId xmlns:a16="http://schemas.microsoft.com/office/drawing/2014/main" id="{6A6C875A-DC31-ADDA-D3DF-F99648961FD2}"/>
                </a:ext>
              </a:extLst>
            </p:cNvPr>
            <p:cNvSpPr/>
            <p:nvPr/>
          </p:nvSpPr>
          <p:spPr>
            <a:xfrm>
              <a:off x="310050" y="1660450"/>
              <a:ext cx="2584600" cy="844175"/>
            </a:xfrm>
            <a:custGeom>
              <a:avLst/>
              <a:gdLst/>
              <a:ahLst/>
              <a:cxnLst/>
              <a:rect l="l" t="t" r="r" b="b"/>
              <a:pathLst>
                <a:path w="103384" h="33767" extrusionOk="0">
                  <a:moveTo>
                    <a:pt x="0" y="0"/>
                  </a:moveTo>
                  <a:lnTo>
                    <a:pt x="0" y="617"/>
                  </a:lnTo>
                  <a:lnTo>
                    <a:pt x="66432" y="617"/>
                  </a:lnTo>
                  <a:lnTo>
                    <a:pt x="102943" y="33766"/>
                  </a:lnTo>
                  <a:lnTo>
                    <a:pt x="103384" y="33341"/>
                  </a:lnTo>
                  <a:lnTo>
                    <a:pt x="66799" y="59"/>
                  </a:lnTo>
                  <a:lnTo>
                    <a:pt x="666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2" name="Google Shape;8677;p73">
              <a:extLst>
                <a:ext uri="{FF2B5EF4-FFF2-40B4-BE49-F238E27FC236}">
                  <a16:creationId xmlns:a16="http://schemas.microsoft.com/office/drawing/2014/main" id="{A364302E-01C7-D972-4FBE-CF948891596E}"/>
                </a:ext>
              </a:extLst>
            </p:cNvPr>
            <p:cNvSpPr/>
            <p:nvPr/>
          </p:nvSpPr>
          <p:spPr>
            <a:xfrm>
              <a:off x="1463250" y="1529050"/>
              <a:ext cx="111600" cy="24250"/>
            </a:xfrm>
            <a:custGeom>
              <a:avLst/>
              <a:gdLst/>
              <a:ahLst/>
              <a:cxnLst/>
              <a:rect l="l" t="t" r="r" b="b"/>
              <a:pathLst>
                <a:path w="4464" h="970" extrusionOk="0">
                  <a:moveTo>
                    <a:pt x="0" y="0"/>
                  </a:moveTo>
                  <a:lnTo>
                    <a:pt x="0" y="969"/>
                  </a:lnTo>
                  <a:lnTo>
                    <a:pt x="4463" y="969"/>
                  </a:lnTo>
                  <a:lnTo>
                    <a:pt x="4463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3" name="Google Shape;8678;p73">
              <a:extLst>
                <a:ext uri="{FF2B5EF4-FFF2-40B4-BE49-F238E27FC236}">
                  <a16:creationId xmlns:a16="http://schemas.microsoft.com/office/drawing/2014/main" id="{AF7ED47C-0600-032F-273D-B5A272722993}"/>
                </a:ext>
              </a:extLst>
            </p:cNvPr>
            <p:cNvSpPr/>
            <p:nvPr/>
          </p:nvSpPr>
          <p:spPr>
            <a:xfrm>
              <a:off x="1475350" y="1558050"/>
              <a:ext cx="90300" cy="15075"/>
            </a:xfrm>
            <a:custGeom>
              <a:avLst/>
              <a:gdLst/>
              <a:ahLst/>
              <a:cxnLst/>
              <a:rect l="l" t="t" r="r" b="b"/>
              <a:pathLst>
                <a:path w="3612" h="603" extrusionOk="0">
                  <a:moveTo>
                    <a:pt x="0" y="0"/>
                  </a:moveTo>
                  <a:lnTo>
                    <a:pt x="0" y="602"/>
                  </a:lnTo>
                  <a:lnTo>
                    <a:pt x="3612" y="602"/>
                  </a:lnTo>
                  <a:lnTo>
                    <a:pt x="3612" y="0"/>
                  </a:ln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4" name="Google Shape;8679;p73">
              <a:extLst>
                <a:ext uri="{FF2B5EF4-FFF2-40B4-BE49-F238E27FC236}">
                  <a16:creationId xmlns:a16="http://schemas.microsoft.com/office/drawing/2014/main" id="{5E8CE334-2891-5629-3312-0A74467CE01A}"/>
                </a:ext>
              </a:extLst>
            </p:cNvPr>
            <p:cNvSpPr/>
            <p:nvPr/>
          </p:nvSpPr>
          <p:spPr>
            <a:xfrm>
              <a:off x="1475350" y="1577875"/>
              <a:ext cx="90300" cy="27550"/>
            </a:xfrm>
            <a:custGeom>
              <a:avLst/>
              <a:gdLst/>
              <a:ahLst/>
              <a:cxnLst/>
              <a:rect l="l" t="t" r="r" b="b"/>
              <a:pathLst>
                <a:path w="3612" h="1102" extrusionOk="0">
                  <a:moveTo>
                    <a:pt x="0" y="0"/>
                  </a:moveTo>
                  <a:cubicBezTo>
                    <a:pt x="0" y="0"/>
                    <a:pt x="177" y="1101"/>
                    <a:pt x="1777" y="1101"/>
                  </a:cubicBezTo>
                  <a:cubicBezTo>
                    <a:pt x="3421" y="1101"/>
                    <a:pt x="3612" y="0"/>
                    <a:pt x="3612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5" name="Google Shape;8680;p73">
              <a:extLst>
                <a:ext uri="{FF2B5EF4-FFF2-40B4-BE49-F238E27FC236}">
                  <a16:creationId xmlns:a16="http://schemas.microsoft.com/office/drawing/2014/main" id="{09CD817E-361D-31D2-E891-58185B416C07}"/>
                </a:ext>
              </a:extLst>
            </p:cNvPr>
            <p:cNvSpPr/>
            <p:nvPr/>
          </p:nvSpPr>
          <p:spPr>
            <a:xfrm>
              <a:off x="1495175" y="1421875"/>
              <a:ext cx="47375" cy="94725"/>
            </a:xfrm>
            <a:custGeom>
              <a:avLst/>
              <a:gdLst/>
              <a:ahLst/>
              <a:cxnLst/>
              <a:rect l="l" t="t" r="r" b="b"/>
              <a:pathLst>
                <a:path w="1895" h="3789" extrusionOk="0">
                  <a:moveTo>
                    <a:pt x="309" y="1"/>
                  </a:moveTo>
                  <a:cubicBezTo>
                    <a:pt x="191" y="1"/>
                    <a:pt x="0" y="118"/>
                    <a:pt x="0" y="309"/>
                  </a:cubicBezTo>
                  <a:lnTo>
                    <a:pt x="0" y="3480"/>
                  </a:lnTo>
                  <a:cubicBezTo>
                    <a:pt x="0" y="3671"/>
                    <a:pt x="191" y="3788"/>
                    <a:pt x="309" y="3788"/>
                  </a:cubicBezTo>
                  <a:lnTo>
                    <a:pt x="1586" y="3788"/>
                  </a:lnTo>
                  <a:cubicBezTo>
                    <a:pt x="1777" y="3788"/>
                    <a:pt x="1894" y="3671"/>
                    <a:pt x="1894" y="3480"/>
                  </a:cubicBezTo>
                  <a:lnTo>
                    <a:pt x="1894" y="309"/>
                  </a:lnTo>
                  <a:cubicBezTo>
                    <a:pt x="1894" y="118"/>
                    <a:pt x="1777" y="1"/>
                    <a:pt x="1586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6" name="Google Shape;8681;p73">
              <a:extLst>
                <a:ext uri="{FF2B5EF4-FFF2-40B4-BE49-F238E27FC236}">
                  <a16:creationId xmlns:a16="http://schemas.microsoft.com/office/drawing/2014/main" id="{D5703044-C15C-52C6-C80F-7A9C11099ED2}"/>
                </a:ext>
              </a:extLst>
            </p:cNvPr>
            <p:cNvSpPr/>
            <p:nvPr/>
          </p:nvSpPr>
          <p:spPr>
            <a:xfrm>
              <a:off x="1406350" y="1367900"/>
              <a:ext cx="211075" cy="115850"/>
            </a:xfrm>
            <a:custGeom>
              <a:avLst/>
              <a:gdLst/>
              <a:ahLst/>
              <a:cxnLst/>
              <a:rect l="l" t="t" r="r" b="b"/>
              <a:pathLst>
                <a:path w="8443" h="4634" extrusionOk="0">
                  <a:moveTo>
                    <a:pt x="7570" y="1"/>
                  </a:moveTo>
                  <a:cubicBezTo>
                    <a:pt x="7538" y="1"/>
                    <a:pt x="7505" y="6"/>
                    <a:pt x="7473" y="16"/>
                  </a:cubicBezTo>
                  <a:lnTo>
                    <a:pt x="250" y="2703"/>
                  </a:lnTo>
                  <a:cubicBezTo>
                    <a:pt x="74" y="2776"/>
                    <a:pt x="0" y="2952"/>
                    <a:pt x="74" y="3143"/>
                  </a:cubicBezTo>
                  <a:lnTo>
                    <a:pt x="558" y="4421"/>
                  </a:lnTo>
                  <a:cubicBezTo>
                    <a:pt x="603" y="4564"/>
                    <a:pt x="722" y="4633"/>
                    <a:pt x="853" y="4633"/>
                  </a:cubicBezTo>
                  <a:cubicBezTo>
                    <a:pt x="896" y="4633"/>
                    <a:pt x="941" y="4626"/>
                    <a:pt x="984" y="4611"/>
                  </a:cubicBezTo>
                  <a:lnTo>
                    <a:pt x="8207" y="1910"/>
                  </a:lnTo>
                  <a:cubicBezTo>
                    <a:pt x="8383" y="1851"/>
                    <a:pt x="8442" y="1675"/>
                    <a:pt x="8383" y="1484"/>
                  </a:cubicBezTo>
                  <a:lnTo>
                    <a:pt x="7899" y="207"/>
                  </a:lnTo>
                  <a:cubicBezTo>
                    <a:pt x="7851" y="99"/>
                    <a:pt x="7714" y="1"/>
                    <a:pt x="7570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7" name="Google Shape;8682;p73">
              <a:extLst>
                <a:ext uri="{FF2B5EF4-FFF2-40B4-BE49-F238E27FC236}">
                  <a16:creationId xmlns:a16="http://schemas.microsoft.com/office/drawing/2014/main" id="{FDE85AA5-6ABA-66AA-4816-A144B1AD3473}"/>
                </a:ext>
              </a:extLst>
            </p:cNvPr>
            <p:cNvSpPr/>
            <p:nvPr/>
          </p:nvSpPr>
          <p:spPr>
            <a:xfrm>
              <a:off x="1414050" y="1273225"/>
              <a:ext cx="211075" cy="116250"/>
            </a:xfrm>
            <a:custGeom>
              <a:avLst/>
              <a:gdLst/>
              <a:ahLst/>
              <a:cxnLst/>
              <a:rect l="l" t="t" r="r" b="b"/>
              <a:pathLst>
                <a:path w="8443" h="4650" extrusionOk="0">
                  <a:moveTo>
                    <a:pt x="7626" y="0"/>
                  </a:moveTo>
                  <a:cubicBezTo>
                    <a:pt x="7595" y="0"/>
                    <a:pt x="7563" y="5"/>
                    <a:pt x="7532" y="16"/>
                  </a:cubicBezTo>
                  <a:lnTo>
                    <a:pt x="250" y="2702"/>
                  </a:lnTo>
                  <a:cubicBezTo>
                    <a:pt x="133" y="2761"/>
                    <a:pt x="1" y="3010"/>
                    <a:pt x="59" y="3128"/>
                  </a:cubicBezTo>
                  <a:lnTo>
                    <a:pt x="559" y="4420"/>
                  </a:lnTo>
                  <a:cubicBezTo>
                    <a:pt x="601" y="4546"/>
                    <a:pt x="703" y="4650"/>
                    <a:pt x="828" y="4650"/>
                  </a:cubicBezTo>
                  <a:cubicBezTo>
                    <a:pt x="877" y="4650"/>
                    <a:pt x="930" y="4633"/>
                    <a:pt x="984" y="4596"/>
                  </a:cubicBezTo>
                  <a:lnTo>
                    <a:pt x="8207" y="1909"/>
                  </a:lnTo>
                  <a:cubicBezTo>
                    <a:pt x="8384" y="1851"/>
                    <a:pt x="8442" y="1660"/>
                    <a:pt x="8384" y="1542"/>
                  </a:cubicBezTo>
                  <a:lnTo>
                    <a:pt x="7958" y="250"/>
                  </a:lnTo>
                  <a:cubicBezTo>
                    <a:pt x="7910" y="105"/>
                    <a:pt x="7772" y="0"/>
                    <a:pt x="7626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8" name="Google Shape;8683;p73">
              <a:extLst>
                <a:ext uri="{FF2B5EF4-FFF2-40B4-BE49-F238E27FC236}">
                  <a16:creationId xmlns:a16="http://schemas.microsoft.com/office/drawing/2014/main" id="{FCEE54DB-A517-306D-F810-04889B4B23BD}"/>
                </a:ext>
              </a:extLst>
            </p:cNvPr>
            <p:cNvSpPr/>
            <p:nvPr/>
          </p:nvSpPr>
          <p:spPr>
            <a:xfrm>
              <a:off x="1414050" y="1176525"/>
              <a:ext cx="211075" cy="115850"/>
            </a:xfrm>
            <a:custGeom>
              <a:avLst/>
              <a:gdLst/>
              <a:ahLst/>
              <a:cxnLst/>
              <a:rect l="l" t="t" r="r" b="b"/>
              <a:pathLst>
                <a:path w="8443" h="4634" extrusionOk="0">
                  <a:moveTo>
                    <a:pt x="7604" y="1"/>
                  </a:moveTo>
                  <a:cubicBezTo>
                    <a:pt x="7561" y="1"/>
                    <a:pt x="7517" y="8"/>
                    <a:pt x="7473" y="22"/>
                  </a:cubicBezTo>
                  <a:lnTo>
                    <a:pt x="250" y="2724"/>
                  </a:lnTo>
                  <a:cubicBezTo>
                    <a:pt x="59" y="2783"/>
                    <a:pt x="1" y="2959"/>
                    <a:pt x="59" y="3150"/>
                  </a:cubicBezTo>
                  <a:lnTo>
                    <a:pt x="559" y="4427"/>
                  </a:lnTo>
                  <a:cubicBezTo>
                    <a:pt x="607" y="4535"/>
                    <a:pt x="733" y="4633"/>
                    <a:pt x="850" y="4633"/>
                  </a:cubicBezTo>
                  <a:cubicBezTo>
                    <a:pt x="876" y="4633"/>
                    <a:pt x="902" y="4628"/>
                    <a:pt x="926" y="4618"/>
                  </a:cubicBezTo>
                  <a:lnTo>
                    <a:pt x="8207" y="1916"/>
                  </a:lnTo>
                  <a:cubicBezTo>
                    <a:pt x="8325" y="1858"/>
                    <a:pt x="8442" y="1681"/>
                    <a:pt x="8384" y="1491"/>
                  </a:cubicBezTo>
                  <a:lnTo>
                    <a:pt x="7899" y="213"/>
                  </a:lnTo>
                  <a:cubicBezTo>
                    <a:pt x="7855" y="69"/>
                    <a:pt x="7736" y="1"/>
                    <a:pt x="7604" y="1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9" name="Google Shape;8684;p73">
              <a:extLst>
                <a:ext uri="{FF2B5EF4-FFF2-40B4-BE49-F238E27FC236}">
                  <a16:creationId xmlns:a16="http://schemas.microsoft.com/office/drawing/2014/main" id="{E95EC021-F1ED-8E35-C866-80EE6A7FAFE1}"/>
                </a:ext>
              </a:extLst>
            </p:cNvPr>
            <p:cNvSpPr/>
            <p:nvPr/>
          </p:nvSpPr>
          <p:spPr>
            <a:xfrm>
              <a:off x="1496625" y="1154325"/>
              <a:ext cx="47375" cy="93250"/>
            </a:xfrm>
            <a:custGeom>
              <a:avLst/>
              <a:gdLst/>
              <a:ahLst/>
              <a:cxnLst/>
              <a:rect l="l" t="t" r="r" b="b"/>
              <a:pathLst>
                <a:path w="1895" h="3730" extrusionOk="0">
                  <a:moveTo>
                    <a:pt x="309" y="0"/>
                  </a:moveTo>
                  <a:cubicBezTo>
                    <a:pt x="133" y="0"/>
                    <a:pt x="1" y="118"/>
                    <a:pt x="1" y="309"/>
                  </a:cubicBezTo>
                  <a:lnTo>
                    <a:pt x="1" y="3421"/>
                  </a:lnTo>
                  <a:cubicBezTo>
                    <a:pt x="1" y="3612"/>
                    <a:pt x="133" y="3729"/>
                    <a:pt x="309" y="3729"/>
                  </a:cubicBezTo>
                  <a:lnTo>
                    <a:pt x="1601" y="3729"/>
                  </a:lnTo>
                  <a:cubicBezTo>
                    <a:pt x="1777" y="3729"/>
                    <a:pt x="1895" y="3612"/>
                    <a:pt x="1895" y="3421"/>
                  </a:cubicBezTo>
                  <a:lnTo>
                    <a:pt x="1895" y="309"/>
                  </a:lnTo>
                  <a:cubicBezTo>
                    <a:pt x="1895" y="118"/>
                    <a:pt x="1777" y="0"/>
                    <a:pt x="1601" y="0"/>
                  </a:cubicBezTo>
                  <a:close/>
                </a:path>
              </a:pathLst>
            </a:custGeom>
            <a:solidFill>
              <a:srgbClr val="8AC93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660" name="Google Shape;2749;p39">
            <a:extLst>
              <a:ext uri="{FF2B5EF4-FFF2-40B4-BE49-F238E27FC236}">
                <a16:creationId xmlns:a16="http://schemas.microsoft.com/office/drawing/2014/main" id="{105D8F4F-4246-CF23-689D-AC65A414ACD7}"/>
              </a:ext>
            </a:extLst>
          </p:cNvPr>
          <p:cNvSpPr txBox="1">
            <a:spLocks/>
          </p:cNvSpPr>
          <p:nvPr/>
        </p:nvSpPr>
        <p:spPr>
          <a:xfrm>
            <a:off x="588579" y="2766306"/>
            <a:ext cx="3622142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N" sz="2800" dirty="0">
                <a:solidFill>
                  <a:srgbClr val="FFFFFF"/>
                </a:solidFill>
                <a:latin typeface="Kumbh Sans" panose="020B0604020202020204" charset="0"/>
                <a:cs typeface="Kumbh Sans" panose="020B0604020202020204" charset="0"/>
              </a:rPr>
              <a:t>Any Questions?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634276E-386B-1614-271D-F15D012C4E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34276E-386B-1614-271D-F15D012C4E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10" name="Google Shape;3310;p42"/>
          <p:cNvSpPr txBox="1">
            <a:spLocks noGrp="1"/>
          </p:cNvSpPr>
          <p:nvPr>
            <p:ph type="title"/>
          </p:nvPr>
        </p:nvSpPr>
        <p:spPr>
          <a:xfrm>
            <a:off x="1342874" y="50742"/>
            <a:ext cx="5444700" cy="105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accent1"/>
                </a:solidFill>
              </a:rPr>
              <a:t>Impacts</a:t>
            </a:r>
            <a:endParaRPr dirty="0"/>
          </a:p>
        </p:txBody>
      </p:sp>
      <p:sp>
        <p:nvSpPr>
          <p:cNvPr id="3312" name="Google Shape;3312;p42"/>
          <p:cNvSpPr txBox="1">
            <a:spLocks noGrp="1"/>
          </p:cNvSpPr>
          <p:nvPr>
            <p:ph type="subTitle" idx="2"/>
          </p:nvPr>
        </p:nvSpPr>
        <p:spPr>
          <a:xfrm>
            <a:off x="801197" y="871339"/>
            <a:ext cx="7108914" cy="350073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/>
            <a:r>
              <a:rPr lang="en-US" sz="1800" dirty="0"/>
              <a:t>The SCC in the U.S. is a </a:t>
            </a:r>
            <a:r>
              <a:rPr lang="en-US" sz="1800" b="1" dirty="0"/>
              <a:t>decision-making tool</a:t>
            </a:r>
            <a:r>
              <a:rPr lang="en-US" sz="1800" dirty="0"/>
              <a:t> for the government</a:t>
            </a:r>
          </a:p>
          <a:p>
            <a:pPr marL="285750" lvl="0" indent="-285750" algn="l">
              <a:buFont typeface="Wingdings" panose="05000000000000000000" pitchFamily="2" charset="2"/>
              <a:buChar char="q"/>
            </a:pPr>
            <a:endParaRPr lang="en-US" sz="1800" dirty="0"/>
          </a:p>
          <a:p>
            <a:pPr marL="285750" lvl="0" indent="-285750" algn="l">
              <a:buFont typeface="Wingdings" panose="05000000000000000000" pitchFamily="2" charset="2"/>
              <a:buChar char="q"/>
            </a:pPr>
            <a:r>
              <a:rPr lang="en-IN" sz="1800" dirty="0"/>
              <a:t>Regulatory Impact Analysis</a:t>
            </a:r>
          </a:p>
          <a:p>
            <a:pPr marL="285750" lvl="0" indent="-285750" algn="l">
              <a:buFont typeface="Wingdings" panose="05000000000000000000" pitchFamily="2" charset="2"/>
              <a:buChar char="q"/>
            </a:pPr>
            <a:endParaRPr lang="en-US" sz="1800" dirty="0"/>
          </a:p>
          <a:p>
            <a:pPr marL="285750" lvl="0" indent="-285750" algn="l">
              <a:buFont typeface="Wingdings" panose="05000000000000000000" pitchFamily="2" charset="2"/>
              <a:buChar char="q"/>
            </a:pPr>
            <a:r>
              <a:rPr lang="en-US" sz="1800" dirty="0"/>
              <a:t>Infrastructure and Federal Projects</a:t>
            </a:r>
          </a:p>
          <a:p>
            <a:pPr marL="285750" lvl="0" indent="-285750" algn="l">
              <a:buFont typeface="Wingdings" panose="05000000000000000000" pitchFamily="2" charset="2"/>
              <a:buChar char="q"/>
            </a:pPr>
            <a:endParaRPr lang="en-US" sz="1800" b="1" dirty="0"/>
          </a:p>
          <a:p>
            <a:pPr marL="285750" lvl="0" indent="-285750" algn="l">
              <a:buFont typeface="Wingdings" panose="05000000000000000000" pitchFamily="2" charset="2"/>
              <a:buChar char="q"/>
            </a:pPr>
            <a:r>
              <a:rPr lang="en-IN" sz="1800" dirty="0"/>
              <a:t>Policy Design &amp; Justification</a:t>
            </a:r>
          </a:p>
          <a:p>
            <a:pPr marL="285750" lvl="0" indent="-285750" algn="l">
              <a:buFont typeface="Wingdings" panose="05000000000000000000" pitchFamily="2" charset="2"/>
              <a:buChar char="q"/>
            </a:pPr>
            <a:endParaRPr lang="en-US" sz="1800" dirty="0"/>
          </a:p>
          <a:p>
            <a:pPr marL="285750" lvl="0" indent="-285750" algn="l">
              <a:buFont typeface="Wingdings" panose="05000000000000000000" pitchFamily="2" charset="2"/>
              <a:buChar char="q"/>
            </a:pPr>
            <a:r>
              <a:rPr lang="en-IN" sz="1800" dirty="0"/>
              <a:t>Legal and Court Cases</a:t>
            </a:r>
            <a:endParaRPr lang="en-US" sz="1800" dirty="0"/>
          </a:p>
          <a:p>
            <a:pPr marL="285750" lvl="0" indent="-285750" algn="l">
              <a:buFont typeface="Wingdings" panose="05000000000000000000" pitchFamily="2" charset="2"/>
              <a:buChar char="q"/>
            </a:pPr>
            <a:endParaRPr lang="en-US" sz="1800" dirty="0"/>
          </a:p>
          <a:p>
            <a:pPr marL="285750" lvl="0" indent="-285750" algn="l">
              <a:buFont typeface="Wingdings" panose="05000000000000000000" pitchFamily="2" charset="2"/>
              <a:buChar char="q"/>
            </a:pPr>
            <a:endParaRPr lang="en-US" sz="18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B02B8E5-E196-AF8E-783B-F013668FE629}"/>
              </a:ext>
            </a:extLst>
          </p:cNvPr>
          <p:cNvGrpSpPr/>
          <p:nvPr/>
        </p:nvGrpSpPr>
        <p:grpSpPr>
          <a:xfrm>
            <a:off x="8362500" y="0"/>
            <a:ext cx="781500" cy="781500"/>
            <a:chOff x="5785183" y="1936801"/>
            <a:chExt cx="781500" cy="781500"/>
          </a:xfrm>
        </p:grpSpPr>
        <p:sp>
          <p:nvSpPr>
            <p:cNvPr id="3309" name="Google Shape;3309;p42"/>
            <p:cNvSpPr/>
            <p:nvPr/>
          </p:nvSpPr>
          <p:spPr>
            <a:xfrm>
              <a:off x="5785183" y="1936801"/>
              <a:ext cx="781500" cy="781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3315" name="Google Shape;3315;p42"/>
            <p:cNvGrpSpPr/>
            <p:nvPr/>
          </p:nvGrpSpPr>
          <p:grpSpPr>
            <a:xfrm>
              <a:off x="5947348" y="2098962"/>
              <a:ext cx="457181" cy="457181"/>
              <a:chOff x="4780446" y="4063623"/>
              <a:chExt cx="382163" cy="382163"/>
            </a:xfrm>
          </p:grpSpPr>
          <p:sp>
            <p:nvSpPr>
              <p:cNvPr id="3316" name="Google Shape;3316;p42"/>
              <p:cNvSpPr/>
              <p:nvPr/>
            </p:nvSpPr>
            <p:spPr>
              <a:xfrm>
                <a:off x="4901133" y="4228295"/>
                <a:ext cx="193607" cy="62870"/>
              </a:xfrm>
              <a:custGeom>
                <a:avLst/>
                <a:gdLst/>
                <a:ahLst/>
                <a:cxnLst/>
                <a:rect l="l" t="t" r="r" b="b"/>
                <a:pathLst>
                  <a:path w="7166" h="2327" extrusionOk="0">
                    <a:moveTo>
                      <a:pt x="0" y="1"/>
                    </a:moveTo>
                    <a:lnTo>
                      <a:pt x="0" y="2327"/>
                    </a:lnTo>
                    <a:lnTo>
                      <a:pt x="7165" y="2327"/>
                    </a:lnTo>
                    <a:lnTo>
                      <a:pt x="5607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17" name="Google Shape;3317;p42"/>
              <p:cNvSpPr/>
              <p:nvPr/>
            </p:nvSpPr>
            <p:spPr>
              <a:xfrm>
                <a:off x="4997910" y="4228295"/>
                <a:ext cx="99343" cy="62870"/>
              </a:xfrm>
              <a:custGeom>
                <a:avLst/>
                <a:gdLst/>
                <a:ahLst/>
                <a:cxnLst/>
                <a:rect l="l" t="t" r="r" b="b"/>
                <a:pathLst>
                  <a:path w="3677" h="2327" extrusionOk="0">
                    <a:moveTo>
                      <a:pt x="1" y="1"/>
                    </a:moveTo>
                    <a:lnTo>
                      <a:pt x="1" y="2327"/>
                    </a:lnTo>
                    <a:lnTo>
                      <a:pt x="3676" y="2327"/>
                    </a:lnTo>
                    <a:lnTo>
                      <a:pt x="2025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18" name="Google Shape;3318;p42"/>
              <p:cNvSpPr/>
              <p:nvPr/>
            </p:nvSpPr>
            <p:spPr>
              <a:xfrm>
                <a:off x="4780446" y="4095045"/>
                <a:ext cx="172858" cy="258990"/>
              </a:xfrm>
              <a:custGeom>
                <a:avLst/>
                <a:gdLst/>
                <a:ahLst/>
                <a:cxnLst/>
                <a:rect l="l" t="t" r="r" b="b"/>
                <a:pathLst>
                  <a:path w="6398" h="9586" extrusionOk="0">
                    <a:moveTo>
                      <a:pt x="1745" y="1"/>
                    </a:moveTo>
                    <a:cubicBezTo>
                      <a:pt x="768" y="1"/>
                      <a:pt x="0" y="768"/>
                      <a:pt x="0" y="1745"/>
                    </a:cubicBezTo>
                    <a:lnTo>
                      <a:pt x="0" y="7841"/>
                    </a:lnTo>
                    <a:cubicBezTo>
                      <a:pt x="0" y="8818"/>
                      <a:pt x="768" y="9585"/>
                      <a:pt x="1745" y="9585"/>
                    </a:cubicBezTo>
                    <a:cubicBezTo>
                      <a:pt x="1931" y="9585"/>
                      <a:pt x="2141" y="9399"/>
                      <a:pt x="2234" y="9190"/>
                    </a:cubicBezTo>
                    <a:cubicBezTo>
                      <a:pt x="2234" y="9004"/>
                      <a:pt x="2024" y="8725"/>
                      <a:pt x="1745" y="8725"/>
                    </a:cubicBezTo>
                    <a:cubicBezTo>
                      <a:pt x="1257" y="8725"/>
                      <a:pt x="861" y="8329"/>
                      <a:pt x="861" y="7841"/>
                    </a:cubicBezTo>
                    <a:lnTo>
                      <a:pt x="861" y="1745"/>
                    </a:lnTo>
                    <a:cubicBezTo>
                      <a:pt x="861" y="1257"/>
                      <a:pt x="1257" y="768"/>
                      <a:pt x="1745" y="768"/>
                    </a:cubicBezTo>
                    <a:lnTo>
                      <a:pt x="5909" y="768"/>
                    </a:lnTo>
                    <a:cubicBezTo>
                      <a:pt x="6212" y="768"/>
                      <a:pt x="6398" y="582"/>
                      <a:pt x="6398" y="373"/>
                    </a:cubicBezTo>
                    <a:cubicBezTo>
                      <a:pt x="6305" y="187"/>
                      <a:pt x="6096" y="1"/>
                      <a:pt x="5909" y="1"/>
                    </a:cubicBez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19" name="Google Shape;3319;p42"/>
              <p:cNvSpPr/>
              <p:nvPr/>
            </p:nvSpPr>
            <p:spPr>
              <a:xfrm>
                <a:off x="4830104" y="4207546"/>
                <a:ext cx="332504" cy="201794"/>
              </a:xfrm>
              <a:custGeom>
                <a:avLst/>
                <a:gdLst/>
                <a:ahLst/>
                <a:cxnLst/>
                <a:rect l="l" t="t" r="r" b="b"/>
                <a:pathLst>
                  <a:path w="12307" h="7469" extrusionOk="0">
                    <a:moveTo>
                      <a:pt x="5723" y="769"/>
                    </a:moveTo>
                    <a:lnTo>
                      <a:pt x="5723" y="3002"/>
                    </a:lnTo>
                    <a:lnTo>
                      <a:pt x="3978" y="3002"/>
                    </a:lnTo>
                    <a:cubicBezTo>
                      <a:pt x="3211" y="3002"/>
                      <a:pt x="2722" y="2420"/>
                      <a:pt x="2722" y="1746"/>
                    </a:cubicBezTo>
                    <a:lnTo>
                      <a:pt x="2722" y="1164"/>
                    </a:lnTo>
                    <a:cubicBezTo>
                      <a:pt x="2722" y="955"/>
                      <a:pt x="2908" y="769"/>
                      <a:pt x="3094" y="769"/>
                    </a:cubicBezTo>
                    <a:close/>
                    <a:moveTo>
                      <a:pt x="6979" y="769"/>
                    </a:moveTo>
                    <a:cubicBezTo>
                      <a:pt x="7375" y="769"/>
                      <a:pt x="7747" y="955"/>
                      <a:pt x="7957" y="1257"/>
                    </a:cubicBezTo>
                    <a:lnTo>
                      <a:pt x="9306" y="3002"/>
                    </a:lnTo>
                    <a:lnTo>
                      <a:pt x="6584" y="3002"/>
                    </a:lnTo>
                    <a:lnTo>
                      <a:pt x="6584" y="769"/>
                    </a:lnTo>
                    <a:close/>
                    <a:moveTo>
                      <a:pt x="3001" y="1"/>
                    </a:moveTo>
                    <a:cubicBezTo>
                      <a:pt x="2327" y="1"/>
                      <a:pt x="1652" y="373"/>
                      <a:pt x="1257" y="955"/>
                    </a:cubicBezTo>
                    <a:lnTo>
                      <a:pt x="303" y="2513"/>
                    </a:lnTo>
                    <a:cubicBezTo>
                      <a:pt x="93" y="2816"/>
                      <a:pt x="0" y="3188"/>
                      <a:pt x="0" y="3583"/>
                    </a:cubicBezTo>
                    <a:lnTo>
                      <a:pt x="0" y="5421"/>
                    </a:lnTo>
                    <a:cubicBezTo>
                      <a:pt x="0" y="6003"/>
                      <a:pt x="186" y="6491"/>
                      <a:pt x="582" y="6887"/>
                    </a:cubicBezTo>
                    <a:cubicBezTo>
                      <a:pt x="977" y="7259"/>
                      <a:pt x="1559" y="7468"/>
                      <a:pt x="2048" y="7468"/>
                    </a:cubicBezTo>
                    <a:lnTo>
                      <a:pt x="11051" y="7468"/>
                    </a:lnTo>
                    <a:cubicBezTo>
                      <a:pt x="11725" y="7468"/>
                      <a:pt x="12307" y="6980"/>
                      <a:pt x="12307" y="6305"/>
                    </a:cubicBezTo>
                    <a:lnTo>
                      <a:pt x="12307" y="5235"/>
                    </a:lnTo>
                    <a:cubicBezTo>
                      <a:pt x="12307" y="4072"/>
                      <a:pt x="11446" y="3095"/>
                      <a:pt x="10376" y="3002"/>
                    </a:cubicBezTo>
                    <a:lnTo>
                      <a:pt x="8631" y="769"/>
                    </a:lnTo>
                    <a:cubicBezTo>
                      <a:pt x="8236" y="280"/>
                      <a:pt x="7654" y="1"/>
                      <a:pt x="6979" y="1"/>
                    </a:cubicBezTo>
                    <a:close/>
                  </a:path>
                </a:pathLst>
              </a:custGeom>
              <a:solidFill>
                <a:srgbClr val="8AC93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0" name="Google Shape;3320;p42"/>
              <p:cNvSpPr/>
              <p:nvPr/>
            </p:nvSpPr>
            <p:spPr>
              <a:xfrm>
                <a:off x="4997910" y="4207546"/>
                <a:ext cx="164699" cy="201794"/>
              </a:xfrm>
              <a:custGeom>
                <a:avLst/>
                <a:gdLst/>
                <a:ahLst/>
                <a:cxnLst/>
                <a:rect l="l" t="t" r="r" b="b"/>
                <a:pathLst>
                  <a:path w="6096" h="7469" extrusionOk="0">
                    <a:moveTo>
                      <a:pt x="768" y="769"/>
                    </a:moveTo>
                    <a:cubicBezTo>
                      <a:pt x="1164" y="769"/>
                      <a:pt x="1536" y="955"/>
                      <a:pt x="1746" y="1257"/>
                    </a:cubicBezTo>
                    <a:lnTo>
                      <a:pt x="3095" y="3002"/>
                    </a:lnTo>
                    <a:lnTo>
                      <a:pt x="373" y="3002"/>
                    </a:lnTo>
                    <a:lnTo>
                      <a:pt x="373" y="769"/>
                    </a:lnTo>
                    <a:close/>
                    <a:moveTo>
                      <a:pt x="1" y="1"/>
                    </a:moveTo>
                    <a:lnTo>
                      <a:pt x="1" y="7468"/>
                    </a:lnTo>
                    <a:lnTo>
                      <a:pt x="4840" y="7468"/>
                    </a:lnTo>
                    <a:cubicBezTo>
                      <a:pt x="5514" y="7468"/>
                      <a:pt x="6096" y="6980"/>
                      <a:pt x="6096" y="6305"/>
                    </a:cubicBezTo>
                    <a:lnTo>
                      <a:pt x="6096" y="5235"/>
                    </a:lnTo>
                    <a:cubicBezTo>
                      <a:pt x="6096" y="4072"/>
                      <a:pt x="5235" y="3095"/>
                      <a:pt x="4165" y="3002"/>
                    </a:cubicBezTo>
                    <a:lnTo>
                      <a:pt x="2420" y="769"/>
                    </a:lnTo>
                    <a:cubicBezTo>
                      <a:pt x="2025" y="280"/>
                      <a:pt x="1443" y="1"/>
                      <a:pt x="768" y="1"/>
                    </a:cubicBezTo>
                    <a:close/>
                  </a:path>
                </a:pathLst>
              </a:custGeom>
              <a:solidFill>
                <a:srgbClr val="00B44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1" name="Google Shape;3321;p42"/>
              <p:cNvSpPr/>
              <p:nvPr/>
            </p:nvSpPr>
            <p:spPr>
              <a:xfrm>
                <a:off x="4987238" y="4071161"/>
                <a:ext cx="47173" cy="23910"/>
              </a:xfrm>
              <a:custGeom>
                <a:avLst/>
                <a:gdLst/>
                <a:ahLst/>
                <a:cxnLst/>
                <a:rect l="l" t="t" r="r" b="b"/>
                <a:pathLst>
                  <a:path w="1746" h="885" extrusionOk="0">
                    <a:moveTo>
                      <a:pt x="396" y="1"/>
                    </a:moveTo>
                    <a:cubicBezTo>
                      <a:pt x="186" y="1"/>
                      <a:pt x="0" y="303"/>
                      <a:pt x="0" y="489"/>
                    </a:cubicBezTo>
                    <a:cubicBezTo>
                      <a:pt x="0" y="675"/>
                      <a:pt x="186" y="885"/>
                      <a:pt x="396" y="885"/>
                    </a:cubicBezTo>
                    <a:lnTo>
                      <a:pt x="1350" y="885"/>
                    </a:lnTo>
                    <a:cubicBezTo>
                      <a:pt x="1559" y="885"/>
                      <a:pt x="1745" y="675"/>
                      <a:pt x="1745" y="396"/>
                    </a:cubicBezTo>
                    <a:cubicBezTo>
                      <a:pt x="1745" y="187"/>
                      <a:pt x="1559" y="1"/>
                      <a:pt x="1257" y="1"/>
                    </a:cubicBez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2" name="Google Shape;3322;p42"/>
              <p:cNvSpPr/>
              <p:nvPr/>
            </p:nvSpPr>
            <p:spPr>
              <a:xfrm>
                <a:off x="4987238" y="4115794"/>
                <a:ext cx="47173" cy="23289"/>
              </a:xfrm>
              <a:custGeom>
                <a:avLst/>
                <a:gdLst/>
                <a:ahLst/>
                <a:cxnLst/>
                <a:rect l="l" t="t" r="r" b="b"/>
                <a:pathLst>
                  <a:path w="1746" h="862" extrusionOk="0">
                    <a:moveTo>
                      <a:pt x="396" y="0"/>
                    </a:moveTo>
                    <a:cubicBezTo>
                      <a:pt x="186" y="0"/>
                      <a:pt x="0" y="280"/>
                      <a:pt x="0" y="489"/>
                    </a:cubicBezTo>
                    <a:cubicBezTo>
                      <a:pt x="0" y="675"/>
                      <a:pt x="186" y="861"/>
                      <a:pt x="396" y="861"/>
                    </a:cubicBezTo>
                    <a:lnTo>
                      <a:pt x="1350" y="861"/>
                    </a:lnTo>
                    <a:cubicBezTo>
                      <a:pt x="1559" y="861"/>
                      <a:pt x="1745" y="675"/>
                      <a:pt x="1745" y="396"/>
                    </a:cubicBezTo>
                    <a:cubicBezTo>
                      <a:pt x="1745" y="186"/>
                      <a:pt x="1559" y="0"/>
                      <a:pt x="1257" y="0"/>
                    </a:cubicBez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3" name="Google Shape;3323;p42"/>
              <p:cNvSpPr/>
              <p:nvPr/>
            </p:nvSpPr>
            <p:spPr>
              <a:xfrm>
                <a:off x="4929393" y="4063623"/>
                <a:ext cx="68543" cy="83619"/>
              </a:xfrm>
              <a:custGeom>
                <a:avLst/>
                <a:gdLst/>
                <a:ahLst/>
                <a:cxnLst/>
                <a:rect l="l" t="t" r="r" b="b"/>
                <a:pathLst>
                  <a:path w="2537" h="3095" extrusionOk="0">
                    <a:moveTo>
                      <a:pt x="1653" y="0"/>
                    </a:moveTo>
                    <a:cubicBezTo>
                      <a:pt x="699" y="0"/>
                      <a:pt x="1" y="768"/>
                      <a:pt x="117" y="1745"/>
                    </a:cubicBezTo>
                    <a:cubicBezTo>
                      <a:pt x="117" y="2513"/>
                      <a:pt x="792" y="3095"/>
                      <a:pt x="1653" y="3095"/>
                    </a:cubicBezTo>
                    <a:lnTo>
                      <a:pt x="2048" y="3095"/>
                    </a:lnTo>
                    <a:cubicBezTo>
                      <a:pt x="2327" y="3095"/>
                      <a:pt x="2537" y="2908"/>
                      <a:pt x="2537" y="2699"/>
                    </a:cubicBezTo>
                    <a:lnTo>
                      <a:pt x="2537" y="466"/>
                    </a:lnTo>
                    <a:cubicBezTo>
                      <a:pt x="2537" y="187"/>
                      <a:pt x="2327" y="0"/>
                      <a:pt x="204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4" name="Google Shape;3324;p42"/>
              <p:cNvSpPr/>
              <p:nvPr/>
            </p:nvSpPr>
            <p:spPr>
              <a:xfrm>
                <a:off x="4877249" y="4367192"/>
                <a:ext cx="71029" cy="70435"/>
              </a:xfrm>
              <a:custGeom>
                <a:avLst/>
                <a:gdLst/>
                <a:ahLst/>
                <a:cxnLst/>
                <a:rect l="l" t="t" r="r" b="b"/>
                <a:pathLst>
                  <a:path w="2629" h="2607" extrusionOk="0">
                    <a:moveTo>
                      <a:pt x="489" y="489"/>
                    </a:moveTo>
                    <a:cubicBezTo>
                      <a:pt x="884" y="1"/>
                      <a:pt x="1652" y="1"/>
                      <a:pt x="2140" y="489"/>
                    </a:cubicBezTo>
                    <a:cubicBezTo>
                      <a:pt x="2629" y="862"/>
                      <a:pt x="2629" y="1653"/>
                      <a:pt x="2140" y="2141"/>
                    </a:cubicBezTo>
                    <a:cubicBezTo>
                      <a:pt x="1652" y="2606"/>
                      <a:pt x="884" y="2606"/>
                      <a:pt x="489" y="2141"/>
                    </a:cubicBezTo>
                    <a:cubicBezTo>
                      <a:pt x="0" y="1653"/>
                      <a:pt x="0" y="862"/>
                      <a:pt x="489" y="489"/>
                    </a:cubicBezTo>
                    <a:close/>
                  </a:path>
                </a:pathLst>
              </a:custGeom>
              <a:solidFill>
                <a:srgbClr val="A1E1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5" name="Google Shape;3325;p42"/>
              <p:cNvSpPr/>
              <p:nvPr/>
            </p:nvSpPr>
            <p:spPr>
              <a:xfrm>
                <a:off x="4869685" y="4359033"/>
                <a:ext cx="86159" cy="86753"/>
              </a:xfrm>
              <a:custGeom>
                <a:avLst/>
                <a:gdLst/>
                <a:ahLst/>
                <a:cxnLst/>
                <a:rect l="l" t="t" r="r" b="b"/>
                <a:pathLst>
                  <a:path w="3189" h="3211" extrusionOk="0">
                    <a:moveTo>
                      <a:pt x="1536" y="791"/>
                    </a:moveTo>
                    <a:cubicBezTo>
                      <a:pt x="2025" y="791"/>
                      <a:pt x="2327" y="1164"/>
                      <a:pt x="2327" y="1559"/>
                    </a:cubicBezTo>
                    <a:cubicBezTo>
                      <a:pt x="2327" y="2048"/>
                      <a:pt x="2025" y="2327"/>
                      <a:pt x="1536" y="2327"/>
                    </a:cubicBezTo>
                    <a:cubicBezTo>
                      <a:pt x="1164" y="2327"/>
                      <a:pt x="769" y="2048"/>
                      <a:pt x="769" y="1559"/>
                    </a:cubicBezTo>
                    <a:cubicBezTo>
                      <a:pt x="769" y="1164"/>
                      <a:pt x="1164" y="791"/>
                      <a:pt x="1536" y="791"/>
                    </a:cubicBezTo>
                    <a:close/>
                    <a:moveTo>
                      <a:pt x="1536" y="0"/>
                    </a:moveTo>
                    <a:cubicBezTo>
                      <a:pt x="676" y="0"/>
                      <a:pt x="1" y="698"/>
                      <a:pt x="1" y="1559"/>
                    </a:cubicBezTo>
                    <a:cubicBezTo>
                      <a:pt x="1" y="2443"/>
                      <a:pt x="676" y="3211"/>
                      <a:pt x="1536" y="3211"/>
                    </a:cubicBezTo>
                    <a:cubicBezTo>
                      <a:pt x="2420" y="3211"/>
                      <a:pt x="3188" y="2443"/>
                      <a:pt x="3188" y="1559"/>
                    </a:cubicBezTo>
                    <a:cubicBezTo>
                      <a:pt x="3188" y="698"/>
                      <a:pt x="2420" y="0"/>
                      <a:pt x="153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6" name="Google Shape;3326;p42"/>
              <p:cNvSpPr/>
              <p:nvPr/>
            </p:nvSpPr>
            <p:spPr>
              <a:xfrm>
                <a:off x="5045055" y="4367192"/>
                <a:ext cx="70435" cy="70435"/>
              </a:xfrm>
              <a:custGeom>
                <a:avLst/>
                <a:gdLst/>
                <a:ahLst/>
                <a:cxnLst/>
                <a:rect l="l" t="t" r="r" b="b"/>
                <a:pathLst>
                  <a:path w="2607" h="2607" extrusionOk="0">
                    <a:moveTo>
                      <a:pt x="489" y="489"/>
                    </a:moveTo>
                    <a:cubicBezTo>
                      <a:pt x="954" y="1"/>
                      <a:pt x="1745" y="1"/>
                      <a:pt x="2118" y="489"/>
                    </a:cubicBezTo>
                    <a:cubicBezTo>
                      <a:pt x="2606" y="862"/>
                      <a:pt x="2606" y="1653"/>
                      <a:pt x="2118" y="2141"/>
                    </a:cubicBezTo>
                    <a:cubicBezTo>
                      <a:pt x="1745" y="2606"/>
                      <a:pt x="954" y="2606"/>
                      <a:pt x="489" y="2141"/>
                    </a:cubicBezTo>
                    <a:cubicBezTo>
                      <a:pt x="1" y="1653"/>
                      <a:pt x="1" y="862"/>
                      <a:pt x="489" y="489"/>
                    </a:cubicBezTo>
                    <a:close/>
                  </a:path>
                </a:pathLst>
              </a:custGeom>
              <a:solidFill>
                <a:srgbClr val="A1E1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7" name="Google Shape;3327;p42"/>
              <p:cNvSpPr/>
              <p:nvPr/>
            </p:nvSpPr>
            <p:spPr>
              <a:xfrm>
                <a:off x="5036896" y="4359033"/>
                <a:ext cx="86753" cy="86753"/>
              </a:xfrm>
              <a:custGeom>
                <a:avLst/>
                <a:gdLst/>
                <a:ahLst/>
                <a:cxnLst/>
                <a:rect l="l" t="t" r="r" b="b"/>
                <a:pathLst>
                  <a:path w="3211" h="3211" extrusionOk="0">
                    <a:moveTo>
                      <a:pt x="1652" y="791"/>
                    </a:moveTo>
                    <a:cubicBezTo>
                      <a:pt x="2047" y="791"/>
                      <a:pt x="2420" y="1164"/>
                      <a:pt x="2420" y="1559"/>
                    </a:cubicBezTo>
                    <a:cubicBezTo>
                      <a:pt x="2420" y="2048"/>
                      <a:pt x="2047" y="2327"/>
                      <a:pt x="1652" y="2327"/>
                    </a:cubicBezTo>
                    <a:cubicBezTo>
                      <a:pt x="1163" y="2327"/>
                      <a:pt x="884" y="2048"/>
                      <a:pt x="884" y="1559"/>
                    </a:cubicBezTo>
                    <a:cubicBezTo>
                      <a:pt x="884" y="1164"/>
                      <a:pt x="1163" y="791"/>
                      <a:pt x="1652" y="791"/>
                    </a:cubicBezTo>
                    <a:close/>
                    <a:moveTo>
                      <a:pt x="1652" y="0"/>
                    </a:moveTo>
                    <a:cubicBezTo>
                      <a:pt x="791" y="0"/>
                      <a:pt x="0" y="698"/>
                      <a:pt x="0" y="1559"/>
                    </a:cubicBezTo>
                    <a:cubicBezTo>
                      <a:pt x="0" y="2443"/>
                      <a:pt x="791" y="3211"/>
                      <a:pt x="1652" y="3211"/>
                    </a:cubicBezTo>
                    <a:cubicBezTo>
                      <a:pt x="2536" y="3211"/>
                      <a:pt x="3211" y="2443"/>
                      <a:pt x="3211" y="1559"/>
                    </a:cubicBezTo>
                    <a:cubicBezTo>
                      <a:pt x="3211" y="698"/>
                      <a:pt x="2536" y="0"/>
                      <a:pt x="165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8" name="Google Shape;3328;p42"/>
              <p:cNvSpPr/>
              <p:nvPr/>
            </p:nvSpPr>
            <p:spPr>
              <a:xfrm>
                <a:off x="5133673" y="4327611"/>
                <a:ext cx="28936" cy="21398"/>
              </a:xfrm>
              <a:custGeom>
                <a:avLst/>
                <a:gdLst/>
                <a:ahLst/>
                <a:cxnLst/>
                <a:rect l="l" t="t" r="r" b="b"/>
                <a:pathLst>
                  <a:path w="1071" h="792" extrusionOk="0">
                    <a:moveTo>
                      <a:pt x="396" y="0"/>
                    </a:moveTo>
                    <a:cubicBezTo>
                      <a:pt x="210" y="0"/>
                      <a:pt x="1" y="210"/>
                      <a:pt x="1" y="396"/>
                    </a:cubicBezTo>
                    <a:cubicBezTo>
                      <a:pt x="1" y="582"/>
                      <a:pt x="210" y="791"/>
                      <a:pt x="396" y="791"/>
                    </a:cubicBezTo>
                    <a:lnTo>
                      <a:pt x="1071" y="791"/>
                    </a:lnTo>
                    <a:lnTo>
                      <a:pt x="1071" y="698"/>
                    </a:lnTo>
                    <a:cubicBezTo>
                      <a:pt x="1071" y="489"/>
                      <a:pt x="1071" y="210"/>
                      <a:pt x="978" y="0"/>
                    </a:cubicBez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9" name="Google Shape;3329;p42"/>
              <p:cNvSpPr/>
              <p:nvPr/>
            </p:nvSpPr>
            <p:spPr>
              <a:xfrm>
                <a:off x="4830104" y="4327611"/>
                <a:ext cx="31448" cy="21398"/>
              </a:xfrm>
              <a:custGeom>
                <a:avLst/>
                <a:gdLst/>
                <a:ahLst/>
                <a:cxnLst/>
                <a:rect l="l" t="t" r="r" b="b"/>
                <a:pathLst>
                  <a:path w="1164" h="792" extrusionOk="0">
                    <a:moveTo>
                      <a:pt x="0" y="0"/>
                    </a:moveTo>
                    <a:lnTo>
                      <a:pt x="0" y="791"/>
                    </a:lnTo>
                    <a:lnTo>
                      <a:pt x="675" y="791"/>
                    </a:lnTo>
                    <a:cubicBezTo>
                      <a:pt x="884" y="791"/>
                      <a:pt x="1070" y="698"/>
                      <a:pt x="1163" y="489"/>
                    </a:cubicBezTo>
                    <a:cubicBezTo>
                      <a:pt x="1163" y="210"/>
                      <a:pt x="977" y="0"/>
                      <a:pt x="675" y="0"/>
                    </a:cubicBezTo>
                    <a:close/>
                  </a:path>
                </a:pathLst>
              </a:custGeom>
              <a:solidFill>
                <a:srgbClr val="B3766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25B04FC-BB73-CD0A-6229-CE9CAFDE2F69}"/>
              </a:ext>
            </a:extLst>
          </p:cNvPr>
          <p:cNvGrpSpPr/>
          <p:nvPr/>
        </p:nvGrpSpPr>
        <p:grpSpPr>
          <a:xfrm>
            <a:off x="0" y="4362000"/>
            <a:ext cx="781500" cy="781500"/>
            <a:chOff x="2577308" y="1936801"/>
            <a:chExt cx="781500" cy="781500"/>
          </a:xfrm>
        </p:grpSpPr>
        <p:sp>
          <p:nvSpPr>
            <p:cNvPr id="3308" name="Google Shape;3308;p42"/>
            <p:cNvSpPr/>
            <p:nvPr/>
          </p:nvSpPr>
          <p:spPr>
            <a:xfrm>
              <a:off x="2577308" y="1936801"/>
              <a:ext cx="781500" cy="781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3330" name="Google Shape;3330;p42"/>
            <p:cNvGrpSpPr/>
            <p:nvPr/>
          </p:nvGrpSpPr>
          <p:grpSpPr>
            <a:xfrm>
              <a:off x="2798193" y="2106939"/>
              <a:ext cx="457207" cy="464811"/>
              <a:chOff x="1527782" y="4063623"/>
              <a:chExt cx="379677" cy="383603"/>
            </a:xfrm>
          </p:grpSpPr>
          <p:sp>
            <p:nvSpPr>
              <p:cNvPr id="3331" name="Google Shape;3331;p42"/>
              <p:cNvSpPr/>
              <p:nvPr/>
            </p:nvSpPr>
            <p:spPr>
              <a:xfrm>
                <a:off x="1527782" y="4063623"/>
                <a:ext cx="123227" cy="57223"/>
              </a:xfrm>
              <a:custGeom>
                <a:avLst/>
                <a:gdLst/>
                <a:ahLst/>
                <a:cxnLst/>
                <a:rect l="l" t="t" r="r" b="b"/>
                <a:pathLst>
                  <a:path w="4561" h="2118" extrusionOk="0">
                    <a:moveTo>
                      <a:pt x="396" y="0"/>
                    </a:moveTo>
                    <a:cubicBezTo>
                      <a:pt x="187" y="0"/>
                      <a:pt x="1" y="187"/>
                      <a:pt x="1" y="466"/>
                    </a:cubicBezTo>
                    <a:lnTo>
                      <a:pt x="1" y="1745"/>
                    </a:lnTo>
                    <a:cubicBezTo>
                      <a:pt x="1" y="2024"/>
                      <a:pt x="187" y="2117"/>
                      <a:pt x="396" y="2117"/>
                    </a:cubicBezTo>
                    <a:lnTo>
                      <a:pt x="3491" y="2117"/>
                    </a:lnTo>
                    <a:cubicBezTo>
                      <a:pt x="3677" y="2117"/>
                      <a:pt x="3770" y="2117"/>
                      <a:pt x="3770" y="2024"/>
                    </a:cubicBezTo>
                    <a:lnTo>
                      <a:pt x="4351" y="1443"/>
                    </a:lnTo>
                    <a:cubicBezTo>
                      <a:pt x="4561" y="1257"/>
                      <a:pt x="4561" y="1047"/>
                      <a:pt x="4468" y="861"/>
                    </a:cubicBezTo>
                    <a:lnTo>
                      <a:pt x="3886" y="187"/>
                    </a:lnTo>
                    <a:cubicBezTo>
                      <a:pt x="3770" y="94"/>
                      <a:pt x="3677" y="0"/>
                      <a:pt x="3491" y="0"/>
                    </a:cubicBezTo>
                    <a:close/>
                  </a:path>
                </a:pathLst>
              </a:custGeom>
              <a:solidFill>
                <a:srgbClr val="00B44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2" name="Google Shape;3332;p42"/>
              <p:cNvSpPr/>
              <p:nvPr/>
            </p:nvSpPr>
            <p:spPr>
              <a:xfrm>
                <a:off x="1527782" y="4144703"/>
                <a:ext cx="191122" cy="57223"/>
              </a:xfrm>
              <a:custGeom>
                <a:avLst/>
                <a:gdLst/>
                <a:ahLst/>
                <a:cxnLst/>
                <a:rect l="l" t="t" r="r" b="b"/>
                <a:pathLst>
                  <a:path w="7074" h="2118" extrusionOk="0">
                    <a:moveTo>
                      <a:pt x="396" y="1"/>
                    </a:moveTo>
                    <a:cubicBezTo>
                      <a:pt x="187" y="1"/>
                      <a:pt x="1" y="187"/>
                      <a:pt x="1" y="373"/>
                    </a:cubicBezTo>
                    <a:lnTo>
                      <a:pt x="1" y="1745"/>
                    </a:lnTo>
                    <a:cubicBezTo>
                      <a:pt x="1" y="1931"/>
                      <a:pt x="187" y="2117"/>
                      <a:pt x="396" y="2117"/>
                    </a:cubicBezTo>
                    <a:lnTo>
                      <a:pt x="6003" y="2117"/>
                    </a:lnTo>
                    <a:cubicBezTo>
                      <a:pt x="6212" y="2117"/>
                      <a:pt x="6305" y="2117"/>
                      <a:pt x="6399" y="2024"/>
                    </a:cubicBezTo>
                    <a:lnTo>
                      <a:pt x="6887" y="1350"/>
                    </a:lnTo>
                    <a:cubicBezTo>
                      <a:pt x="7073" y="1257"/>
                      <a:pt x="7073" y="954"/>
                      <a:pt x="6980" y="861"/>
                    </a:cubicBezTo>
                    <a:lnTo>
                      <a:pt x="6399" y="187"/>
                    </a:lnTo>
                    <a:cubicBezTo>
                      <a:pt x="6305" y="94"/>
                      <a:pt x="6212" y="1"/>
                      <a:pt x="6003" y="1"/>
                    </a:cubicBezTo>
                    <a:close/>
                  </a:path>
                </a:pathLst>
              </a:custGeom>
              <a:solidFill>
                <a:srgbClr val="8AC93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3" name="Google Shape;3333;p42"/>
              <p:cNvSpPr/>
              <p:nvPr/>
            </p:nvSpPr>
            <p:spPr>
              <a:xfrm>
                <a:off x="1527782" y="4225782"/>
                <a:ext cx="253964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9400" h="2141" extrusionOk="0">
                    <a:moveTo>
                      <a:pt x="396" y="1"/>
                    </a:moveTo>
                    <a:cubicBezTo>
                      <a:pt x="187" y="1"/>
                      <a:pt x="1" y="187"/>
                      <a:pt x="1" y="396"/>
                    </a:cubicBezTo>
                    <a:lnTo>
                      <a:pt x="1" y="1745"/>
                    </a:lnTo>
                    <a:cubicBezTo>
                      <a:pt x="1" y="1931"/>
                      <a:pt x="187" y="2141"/>
                      <a:pt x="396" y="2141"/>
                    </a:cubicBezTo>
                    <a:lnTo>
                      <a:pt x="8329" y="2141"/>
                    </a:lnTo>
                    <a:cubicBezTo>
                      <a:pt x="8539" y="2141"/>
                      <a:pt x="8632" y="2141"/>
                      <a:pt x="8725" y="2024"/>
                    </a:cubicBezTo>
                    <a:lnTo>
                      <a:pt x="9307" y="1350"/>
                    </a:lnTo>
                    <a:cubicBezTo>
                      <a:pt x="9400" y="1257"/>
                      <a:pt x="9400" y="978"/>
                      <a:pt x="9307" y="861"/>
                    </a:cubicBezTo>
                    <a:lnTo>
                      <a:pt x="8725" y="187"/>
                    </a:lnTo>
                    <a:cubicBezTo>
                      <a:pt x="8632" y="94"/>
                      <a:pt x="8539" y="1"/>
                      <a:pt x="8329" y="1"/>
                    </a:cubicBezTo>
                    <a:close/>
                  </a:path>
                </a:pathLst>
              </a:custGeom>
              <a:solidFill>
                <a:srgbClr val="FFD65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4" name="Google Shape;3334;p42"/>
              <p:cNvSpPr/>
              <p:nvPr/>
            </p:nvSpPr>
            <p:spPr>
              <a:xfrm>
                <a:off x="1527782" y="4306862"/>
                <a:ext cx="314295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11633" h="2141" extrusionOk="0">
                    <a:moveTo>
                      <a:pt x="396" y="1"/>
                    </a:moveTo>
                    <a:cubicBezTo>
                      <a:pt x="187" y="1"/>
                      <a:pt x="1" y="187"/>
                      <a:pt x="1" y="396"/>
                    </a:cubicBezTo>
                    <a:lnTo>
                      <a:pt x="1" y="1745"/>
                    </a:lnTo>
                    <a:cubicBezTo>
                      <a:pt x="1" y="1931"/>
                      <a:pt x="187" y="2141"/>
                      <a:pt x="396" y="2141"/>
                    </a:cubicBezTo>
                    <a:lnTo>
                      <a:pt x="10563" y="2141"/>
                    </a:lnTo>
                    <a:cubicBezTo>
                      <a:pt x="10749" y="2141"/>
                      <a:pt x="10865" y="2048"/>
                      <a:pt x="10958" y="2048"/>
                    </a:cubicBezTo>
                    <a:lnTo>
                      <a:pt x="11447" y="1350"/>
                    </a:lnTo>
                    <a:cubicBezTo>
                      <a:pt x="11633" y="1164"/>
                      <a:pt x="11633" y="978"/>
                      <a:pt x="11540" y="768"/>
                    </a:cubicBezTo>
                    <a:lnTo>
                      <a:pt x="10958" y="94"/>
                    </a:lnTo>
                    <a:cubicBezTo>
                      <a:pt x="10865" y="1"/>
                      <a:pt x="10749" y="1"/>
                      <a:pt x="10563" y="1"/>
                    </a:cubicBezTo>
                    <a:close/>
                  </a:path>
                </a:pathLst>
              </a:custGeom>
              <a:solidFill>
                <a:srgbClr val="A1E1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5" name="Google Shape;3335;p42"/>
              <p:cNvSpPr/>
              <p:nvPr/>
            </p:nvSpPr>
            <p:spPr>
              <a:xfrm>
                <a:off x="1527782" y="4387941"/>
                <a:ext cx="379677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14053" h="2141" extrusionOk="0">
                    <a:moveTo>
                      <a:pt x="396" y="1"/>
                    </a:moveTo>
                    <a:cubicBezTo>
                      <a:pt x="187" y="1"/>
                      <a:pt x="1" y="94"/>
                      <a:pt x="1" y="396"/>
                    </a:cubicBezTo>
                    <a:lnTo>
                      <a:pt x="1" y="1652"/>
                    </a:lnTo>
                    <a:cubicBezTo>
                      <a:pt x="1" y="1955"/>
                      <a:pt x="187" y="2141"/>
                      <a:pt x="396" y="2141"/>
                    </a:cubicBezTo>
                    <a:lnTo>
                      <a:pt x="13075" y="2141"/>
                    </a:lnTo>
                    <a:cubicBezTo>
                      <a:pt x="13192" y="2141"/>
                      <a:pt x="13285" y="2048"/>
                      <a:pt x="13378" y="1955"/>
                    </a:cubicBezTo>
                    <a:lnTo>
                      <a:pt x="13959" y="1373"/>
                    </a:lnTo>
                    <a:cubicBezTo>
                      <a:pt x="14052" y="1164"/>
                      <a:pt x="14052" y="978"/>
                      <a:pt x="13959" y="791"/>
                    </a:cubicBezTo>
                    <a:lnTo>
                      <a:pt x="13378" y="94"/>
                    </a:lnTo>
                    <a:cubicBezTo>
                      <a:pt x="13285" y="1"/>
                      <a:pt x="13192" y="1"/>
                      <a:pt x="13075" y="1"/>
                    </a:cubicBez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6" name="Google Shape;3336;p42"/>
              <p:cNvSpPr/>
              <p:nvPr/>
            </p:nvSpPr>
            <p:spPr>
              <a:xfrm>
                <a:off x="1752811" y="4225782"/>
                <a:ext cx="10699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396" h="2141" extrusionOk="0">
                    <a:moveTo>
                      <a:pt x="0" y="1"/>
                    </a:moveTo>
                    <a:cubicBezTo>
                      <a:pt x="210" y="1"/>
                      <a:pt x="303" y="94"/>
                      <a:pt x="396" y="187"/>
                    </a:cubicBezTo>
                    <a:cubicBezTo>
                      <a:pt x="303" y="94"/>
                      <a:pt x="210" y="1"/>
                      <a:pt x="93" y="1"/>
                    </a:cubicBezTo>
                    <a:close/>
                    <a:moveTo>
                      <a:pt x="395" y="2026"/>
                    </a:moveTo>
                    <a:cubicBezTo>
                      <a:pt x="302" y="2141"/>
                      <a:pt x="209" y="2141"/>
                      <a:pt x="0" y="2141"/>
                    </a:cubicBezTo>
                    <a:lnTo>
                      <a:pt x="93" y="2141"/>
                    </a:lnTo>
                    <a:cubicBezTo>
                      <a:pt x="209" y="2141"/>
                      <a:pt x="302" y="2141"/>
                      <a:pt x="395" y="20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7" name="Google Shape;3337;p42"/>
              <p:cNvSpPr/>
              <p:nvPr/>
            </p:nvSpPr>
            <p:spPr>
              <a:xfrm>
                <a:off x="1718877" y="4225782"/>
                <a:ext cx="62870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2327" h="2141" extrusionOk="0">
                    <a:moveTo>
                      <a:pt x="0" y="1"/>
                    </a:moveTo>
                    <a:lnTo>
                      <a:pt x="0" y="2141"/>
                    </a:lnTo>
                    <a:lnTo>
                      <a:pt x="1256" y="2141"/>
                    </a:lnTo>
                    <a:cubicBezTo>
                      <a:pt x="1466" y="2141"/>
                      <a:pt x="1559" y="2141"/>
                      <a:pt x="1652" y="2024"/>
                    </a:cubicBezTo>
                    <a:lnTo>
                      <a:pt x="2234" y="1350"/>
                    </a:lnTo>
                    <a:cubicBezTo>
                      <a:pt x="2327" y="1257"/>
                      <a:pt x="2327" y="978"/>
                      <a:pt x="2234" y="861"/>
                    </a:cubicBezTo>
                    <a:lnTo>
                      <a:pt x="1652" y="187"/>
                    </a:lnTo>
                    <a:cubicBezTo>
                      <a:pt x="1559" y="94"/>
                      <a:pt x="1466" y="1"/>
                      <a:pt x="1256" y="1"/>
                    </a:cubicBezTo>
                    <a:close/>
                  </a:path>
                </a:pathLst>
              </a:custGeom>
              <a:solidFill>
                <a:srgbClr val="FFE69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8" name="Google Shape;3338;p42"/>
              <p:cNvSpPr/>
              <p:nvPr/>
            </p:nvSpPr>
            <p:spPr>
              <a:xfrm>
                <a:off x="1813141" y="4306862"/>
                <a:ext cx="28936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1071" h="2141" extrusionOk="0">
                    <a:moveTo>
                      <a:pt x="1" y="1"/>
                    </a:moveTo>
                    <a:cubicBezTo>
                      <a:pt x="187" y="1"/>
                      <a:pt x="303" y="1"/>
                      <a:pt x="396" y="94"/>
                    </a:cubicBezTo>
                    <a:cubicBezTo>
                      <a:pt x="303" y="1"/>
                      <a:pt x="187" y="1"/>
                      <a:pt x="94" y="1"/>
                    </a:cubicBezTo>
                    <a:close/>
                    <a:moveTo>
                      <a:pt x="979" y="771"/>
                    </a:moveTo>
                    <a:cubicBezTo>
                      <a:pt x="1071" y="979"/>
                      <a:pt x="1070" y="1164"/>
                      <a:pt x="885" y="1350"/>
                    </a:cubicBezTo>
                    <a:lnTo>
                      <a:pt x="396" y="2048"/>
                    </a:lnTo>
                    <a:lnTo>
                      <a:pt x="978" y="1350"/>
                    </a:lnTo>
                    <a:cubicBezTo>
                      <a:pt x="1071" y="1164"/>
                      <a:pt x="1071" y="979"/>
                      <a:pt x="979" y="771"/>
                    </a:cubicBezTo>
                    <a:close/>
                    <a:moveTo>
                      <a:pt x="395" y="2048"/>
                    </a:moveTo>
                    <a:lnTo>
                      <a:pt x="395" y="2048"/>
                    </a:lnTo>
                    <a:cubicBezTo>
                      <a:pt x="302" y="2048"/>
                      <a:pt x="186" y="2141"/>
                      <a:pt x="1" y="2141"/>
                    </a:cubicBezTo>
                    <a:lnTo>
                      <a:pt x="94" y="2141"/>
                    </a:lnTo>
                    <a:cubicBezTo>
                      <a:pt x="187" y="2141"/>
                      <a:pt x="302" y="2048"/>
                      <a:pt x="395" y="2048"/>
                    </a:cubicBezTo>
                    <a:close/>
                  </a:path>
                </a:pathLst>
              </a:custGeom>
              <a:solidFill>
                <a:srgbClr val="DADBD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9" name="Google Shape;3339;p42"/>
              <p:cNvSpPr/>
              <p:nvPr/>
            </p:nvSpPr>
            <p:spPr>
              <a:xfrm>
                <a:off x="1718877" y="4306862"/>
                <a:ext cx="123200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4560" h="2141" extrusionOk="0">
                    <a:moveTo>
                      <a:pt x="0" y="1"/>
                    </a:moveTo>
                    <a:lnTo>
                      <a:pt x="0" y="2141"/>
                    </a:lnTo>
                    <a:lnTo>
                      <a:pt x="3490" y="2141"/>
                    </a:lnTo>
                    <a:cubicBezTo>
                      <a:pt x="3676" y="2141"/>
                      <a:pt x="3792" y="2048"/>
                      <a:pt x="3885" y="2048"/>
                    </a:cubicBezTo>
                    <a:lnTo>
                      <a:pt x="4374" y="1350"/>
                    </a:lnTo>
                    <a:cubicBezTo>
                      <a:pt x="4560" y="1164"/>
                      <a:pt x="4560" y="978"/>
                      <a:pt x="4467" y="768"/>
                    </a:cubicBezTo>
                    <a:lnTo>
                      <a:pt x="3885" y="94"/>
                    </a:lnTo>
                    <a:cubicBezTo>
                      <a:pt x="3792" y="1"/>
                      <a:pt x="3676" y="1"/>
                      <a:pt x="3490" y="1"/>
                    </a:cubicBezTo>
                    <a:close/>
                  </a:path>
                </a:pathLst>
              </a:custGeom>
              <a:solidFill>
                <a:srgbClr val="A5CAD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40" name="Google Shape;3340;p42"/>
              <p:cNvSpPr/>
              <p:nvPr/>
            </p:nvSpPr>
            <p:spPr>
              <a:xfrm>
                <a:off x="1718877" y="4389382"/>
                <a:ext cx="188582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6980" h="2141" extrusionOk="0">
                    <a:moveTo>
                      <a:pt x="0" y="1"/>
                    </a:moveTo>
                    <a:lnTo>
                      <a:pt x="0" y="2141"/>
                    </a:lnTo>
                    <a:lnTo>
                      <a:pt x="6002" y="2141"/>
                    </a:lnTo>
                    <a:cubicBezTo>
                      <a:pt x="6119" y="2141"/>
                      <a:pt x="6212" y="2048"/>
                      <a:pt x="6305" y="1955"/>
                    </a:cubicBezTo>
                    <a:lnTo>
                      <a:pt x="6886" y="1373"/>
                    </a:lnTo>
                    <a:cubicBezTo>
                      <a:pt x="6979" y="1164"/>
                      <a:pt x="6979" y="978"/>
                      <a:pt x="6886" y="791"/>
                    </a:cubicBezTo>
                    <a:lnTo>
                      <a:pt x="6305" y="94"/>
                    </a:lnTo>
                    <a:cubicBezTo>
                      <a:pt x="6212" y="1"/>
                      <a:pt x="6119" y="1"/>
                      <a:pt x="6002" y="1"/>
                    </a:cubicBezTo>
                    <a:close/>
                  </a:path>
                </a:pathLst>
              </a:custGeom>
              <a:solidFill>
                <a:srgbClr val="BA847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3970746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07">
          <a:extLst>
            <a:ext uri="{FF2B5EF4-FFF2-40B4-BE49-F238E27FC236}">
              <a16:creationId xmlns:a16="http://schemas.microsoft.com/office/drawing/2014/main" id="{0C455C6D-92A7-D637-0A00-B13F68D134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7B0C240-CC2C-A685-0EAC-D04F8031DD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B0C240-CC2C-A685-0EAC-D04F8031D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10" name="Google Shape;3310;p42">
            <a:extLst>
              <a:ext uri="{FF2B5EF4-FFF2-40B4-BE49-F238E27FC236}">
                <a16:creationId xmlns:a16="http://schemas.microsoft.com/office/drawing/2014/main" id="{D9163B78-073D-71CA-D492-3EF75B651EB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17068" y="50742"/>
            <a:ext cx="6909863" cy="105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accent1"/>
                </a:solidFill>
              </a:rPr>
              <a:t>SCC with different discount rates</a:t>
            </a:r>
            <a:endParaRPr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1A04B72-4197-555E-2D24-E6AC76F5573A}"/>
              </a:ext>
            </a:extLst>
          </p:cNvPr>
          <p:cNvGrpSpPr/>
          <p:nvPr/>
        </p:nvGrpSpPr>
        <p:grpSpPr>
          <a:xfrm>
            <a:off x="8362500" y="0"/>
            <a:ext cx="781500" cy="781500"/>
            <a:chOff x="5785183" y="1936801"/>
            <a:chExt cx="781500" cy="781500"/>
          </a:xfrm>
        </p:grpSpPr>
        <p:sp>
          <p:nvSpPr>
            <p:cNvPr id="3309" name="Google Shape;3309;p42">
              <a:extLst>
                <a:ext uri="{FF2B5EF4-FFF2-40B4-BE49-F238E27FC236}">
                  <a16:creationId xmlns:a16="http://schemas.microsoft.com/office/drawing/2014/main" id="{E0B5085C-B16D-B63E-5BB1-D4F8CF769AA0}"/>
                </a:ext>
              </a:extLst>
            </p:cNvPr>
            <p:cNvSpPr/>
            <p:nvPr/>
          </p:nvSpPr>
          <p:spPr>
            <a:xfrm>
              <a:off x="5785183" y="1936801"/>
              <a:ext cx="781500" cy="781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3315" name="Google Shape;3315;p42">
              <a:extLst>
                <a:ext uri="{FF2B5EF4-FFF2-40B4-BE49-F238E27FC236}">
                  <a16:creationId xmlns:a16="http://schemas.microsoft.com/office/drawing/2014/main" id="{4939AE64-C417-3B30-05ED-171BC99369B4}"/>
                </a:ext>
              </a:extLst>
            </p:cNvPr>
            <p:cNvGrpSpPr/>
            <p:nvPr/>
          </p:nvGrpSpPr>
          <p:grpSpPr>
            <a:xfrm>
              <a:off x="5947348" y="2098962"/>
              <a:ext cx="457181" cy="457181"/>
              <a:chOff x="4780446" y="4063623"/>
              <a:chExt cx="382163" cy="382163"/>
            </a:xfrm>
          </p:grpSpPr>
          <p:sp>
            <p:nvSpPr>
              <p:cNvPr id="3316" name="Google Shape;3316;p42">
                <a:extLst>
                  <a:ext uri="{FF2B5EF4-FFF2-40B4-BE49-F238E27FC236}">
                    <a16:creationId xmlns:a16="http://schemas.microsoft.com/office/drawing/2014/main" id="{FE5B5E81-BD71-189E-4693-706F168A0F10}"/>
                  </a:ext>
                </a:extLst>
              </p:cNvPr>
              <p:cNvSpPr/>
              <p:nvPr/>
            </p:nvSpPr>
            <p:spPr>
              <a:xfrm>
                <a:off x="4901133" y="4228295"/>
                <a:ext cx="193607" cy="62870"/>
              </a:xfrm>
              <a:custGeom>
                <a:avLst/>
                <a:gdLst/>
                <a:ahLst/>
                <a:cxnLst/>
                <a:rect l="l" t="t" r="r" b="b"/>
                <a:pathLst>
                  <a:path w="7166" h="2327" extrusionOk="0">
                    <a:moveTo>
                      <a:pt x="0" y="1"/>
                    </a:moveTo>
                    <a:lnTo>
                      <a:pt x="0" y="2327"/>
                    </a:lnTo>
                    <a:lnTo>
                      <a:pt x="7165" y="2327"/>
                    </a:lnTo>
                    <a:lnTo>
                      <a:pt x="5607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17" name="Google Shape;3317;p42">
                <a:extLst>
                  <a:ext uri="{FF2B5EF4-FFF2-40B4-BE49-F238E27FC236}">
                    <a16:creationId xmlns:a16="http://schemas.microsoft.com/office/drawing/2014/main" id="{65412B20-17A4-2992-EC92-1151B533E114}"/>
                  </a:ext>
                </a:extLst>
              </p:cNvPr>
              <p:cNvSpPr/>
              <p:nvPr/>
            </p:nvSpPr>
            <p:spPr>
              <a:xfrm>
                <a:off x="4997910" y="4228295"/>
                <a:ext cx="99343" cy="62870"/>
              </a:xfrm>
              <a:custGeom>
                <a:avLst/>
                <a:gdLst/>
                <a:ahLst/>
                <a:cxnLst/>
                <a:rect l="l" t="t" r="r" b="b"/>
                <a:pathLst>
                  <a:path w="3677" h="2327" extrusionOk="0">
                    <a:moveTo>
                      <a:pt x="1" y="1"/>
                    </a:moveTo>
                    <a:lnTo>
                      <a:pt x="1" y="2327"/>
                    </a:lnTo>
                    <a:lnTo>
                      <a:pt x="3676" y="2327"/>
                    </a:lnTo>
                    <a:lnTo>
                      <a:pt x="2025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18" name="Google Shape;3318;p42">
                <a:extLst>
                  <a:ext uri="{FF2B5EF4-FFF2-40B4-BE49-F238E27FC236}">
                    <a16:creationId xmlns:a16="http://schemas.microsoft.com/office/drawing/2014/main" id="{FBACF2D2-9A7B-8158-F3CD-BDCB3C6E456A}"/>
                  </a:ext>
                </a:extLst>
              </p:cNvPr>
              <p:cNvSpPr/>
              <p:nvPr/>
            </p:nvSpPr>
            <p:spPr>
              <a:xfrm>
                <a:off x="4780446" y="4095045"/>
                <a:ext cx="172858" cy="258990"/>
              </a:xfrm>
              <a:custGeom>
                <a:avLst/>
                <a:gdLst/>
                <a:ahLst/>
                <a:cxnLst/>
                <a:rect l="l" t="t" r="r" b="b"/>
                <a:pathLst>
                  <a:path w="6398" h="9586" extrusionOk="0">
                    <a:moveTo>
                      <a:pt x="1745" y="1"/>
                    </a:moveTo>
                    <a:cubicBezTo>
                      <a:pt x="768" y="1"/>
                      <a:pt x="0" y="768"/>
                      <a:pt x="0" y="1745"/>
                    </a:cubicBezTo>
                    <a:lnTo>
                      <a:pt x="0" y="7841"/>
                    </a:lnTo>
                    <a:cubicBezTo>
                      <a:pt x="0" y="8818"/>
                      <a:pt x="768" y="9585"/>
                      <a:pt x="1745" y="9585"/>
                    </a:cubicBezTo>
                    <a:cubicBezTo>
                      <a:pt x="1931" y="9585"/>
                      <a:pt x="2141" y="9399"/>
                      <a:pt x="2234" y="9190"/>
                    </a:cubicBezTo>
                    <a:cubicBezTo>
                      <a:pt x="2234" y="9004"/>
                      <a:pt x="2024" y="8725"/>
                      <a:pt x="1745" y="8725"/>
                    </a:cubicBezTo>
                    <a:cubicBezTo>
                      <a:pt x="1257" y="8725"/>
                      <a:pt x="861" y="8329"/>
                      <a:pt x="861" y="7841"/>
                    </a:cubicBezTo>
                    <a:lnTo>
                      <a:pt x="861" y="1745"/>
                    </a:lnTo>
                    <a:cubicBezTo>
                      <a:pt x="861" y="1257"/>
                      <a:pt x="1257" y="768"/>
                      <a:pt x="1745" y="768"/>
                    </a:cubicBezTo>
                    <a:lnTo>
                      <a:pt x="5909" y="768"/>
                    </a:lnTo>
                    <a:cubicBezTo>
                      <a:pt x="6212" y="768"/>
                      <a:pt x="6398" y="582"/>
                      <a:pt x="6398" y="373"/>
                    </a:cubicBezTo>
                    <a:cubicBezTo>
                      <a:pt x="6305" y="187"/>
                      <a:pt x="6096" y="1"/>
                      <a:pt x="5909" y="1"/>
                    </a:cubicBez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19" name="Google Shape;3319;p42">
                <a:extLst>
                  <a:ext uri="{FF2B5EF4-FFF2-40B4-BE49-F238E27FC236}">
                    <a16:creationId xmlns:a16="http://schemas.microsoft.com/office/drawing/2014/main" id="{14D3473C-E305-9F31-5D15-5900005C9C9B}"/>
                  </a:ext>
                </a:extLst>
              </p:cNvPr>
              <p:cNvSpPr/>
              <p:nvPr/>
            </p:nvSpPr>
            <p:spPr>
              <a:xfrm>
                <a:off x="4830104" y="4207546"/>
                <a:ext cx="332504" cy="201794"/>
              </a:xfrm>
              <a:custGeom>
                <a:avLst/>
                <a:gdLst/>
                <a:ahLst/>
                <a:cxnLst/>
                <a:rect l="l" t="t" r="r" b="b"/>
                <a:pathLst>
                  <a:path w="12307" h="7469" extrusionOk="0">
                    <a:moveTo>
                      <a:pt x="5723" y="769"/>
                    </a:moveTo>
                    <a:lnTo>
                      <a:pt x="5723" y="3002"/>
                    </a:lnTo>
                    <a:lnTo>
                      <a:pt x="3978" y="3002"/>
                    </a:lnTo>
                    <a:cubicBezTo>
                      <a:pt x="3211" y="3002"/>
                      <a:pt x="2722" y="2420"/>
                      <a:pt x="2722" y="1746"/>
                    </a:cubicBezTo>
                    <a:lnTo>
                      <a:pt x="2722" y="1164"/>
                    </a:lnTo>
                    <a:cubicBezTo>
                      <a:pt x="2722" y="955"/>
                      <a:pt x="2908" y="769"/>
                      <a:pt x="3094" y="769"/>
                    </a:cubicBezTo>
                    <a:close/>
                    <a:moveTo>
                      <a:pt x="6979" y="769"/>
                    </a:moveTo>
                    <a:cubicBezTo>
                      <a:pt x="7375" y="769"/>
                      <a:pt x="7747" y="955"/>
                      <a:pt x="7957" y="1257"/>
                    </a:cubicBezTo>
                    <a:lnTo>
                      <a:pt x="9306" y="3002"/>
                    </a:lnTo>
                    <a:lnTo>
                      <a:pt x="6584" y="3002"/>
                    </a:lnTo>
                    <a:lnTo>
                      <a:pt x="6584" y="769"/>
                    </a:lnTo>
                    <a:close/>
                    <a:moveTo>
                      <a:pt x="3001" y="1"/>
                    </a:moveTo>
                    <a:cubicBezTo>
                      <a:pt x="2327" y="1"/>
                      <a:pt x="1652" y="373"/>
                      <a:pt x="1257" y="955"/>
                    </a:cubicBezTo>
                    <a:lnTo>
                      <a:pt x="303" y="2513"/>
                    </a:lnTo>
                    <a:cubicBezTo>
                      <a:pt x="93" y="2816"/>
                      <a:pt x="0" y="3188"/>
                      <a:pt x="0" y="3583"/>
                    </a:cubicBezTo>
                    <a:lnTo>
                      <a:pt x="0" y="5421"/>
                    </a:lnTo>
                    <a:cubicBezTo>
                      <a:pt x="0" y="6003"/>
                      <a:pt x="186" y="6491"/>
                      <a:pt x="582" y="6887"/>
                    </a:cubicBezTo>
                    <a:cubicBezTo>
                      <a:pt x="977" y="7259"/>
                      <a:pt x="1559" y="7468"/>
                      <a:pt x="2048" y="7468"/>
                    </a:cubicBezTo>
                    <a:lnTo>
                      <a:pt x="11051" y="7468"/>
                    </a:lnTo>
                    <a:cubicBezTo>
                      <a:pt x="11725" y="7468"/>
                      <a:pt x="12307" y="6980"/>
                      <a:pt x="12307" y="6305"/>
                    </a:cubicBezTo>
                    <a:lnTo>
                      <a:pt x="12307" y="5235"/>
                    </a:lnTo>
                    <a:cubicBezTo>
                      <a:pt x="12307" y="4072"/>
                      <a:pt x="11446" y="3095"/>
                      <a:pt x="10376" y="3002"/>
                    </a:cubicBezTo>
                    <a:lnTo>
                      <a:pt x="8631" y="769"/>
                    </a:lnTo>
                    <a:cubicBezTo>
                      <a:pt x="8236" y="280"/>
                      <a:pt x="7654" y="1"/>
                      <a:pt x="6979" y="1"/>
                    </a:cubicBezTo>
                    <a:close/>
                  </a:path>
                </a:pathLst>
              </a:custGeom>
              <a:solidFill>
                <a:srgbClr val="8AC93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0" name="Google Shape;3320;p42">
                <a:extLst>
                  <a:ext uri="{FF2B5EF4-FFF2-40B4-BE49-F238E27FC236}">
                    <a16:creationId xmlns:a16="http://schemas.microsoft.com/office/drawing/2014/main" id="{C8CA2526-E1A1-7C3A-0E85-6F7CF099786F}"/>
                  </a:ext>
                </a:extLst>
              </p:cNvPr>
              <p:cNvSpPr/>
              <p:nvPr/>
            </p:nvSpPr>
            <p:spPr>
              <a:xfrm>
                <a:off x="4997910" y="4207546"/>
                <a:ext cx="164699" cy="201794"/>
              </a:xfrm>
              <a:custGeom>
                <a:avLst/>
                <a:gdLst/>
                <a:ahLst/>
                <a:cxnLst/>
                <a:rect l="l" t="t" r="r" b="b"/>
                <a:pathLst>
                  <a:path w="6096" h="7469" extrusionOk="0">
                    <a:moveTo>
                      <a:pt x="768" y="769"/>
                    </a:moveTo>
                    <a:cubicBezTo>
                      <a:pt x="1164" y="769"/>
                      <a:pt x="1536" y="955"/>
                      <a:pt x="1746" y="1257"/>
                    </a:cubicBezTo>
                    <a:lnTo>
                      <a:pt x="3095" y="3002"/>
                    </a:lnTo>
                    <a:lnTo>
                      <a:pt x="373" y="3002"/>
                    </a:lnTo>
                    <a:lnTo>
                      <a:pt x="373" y="769"/>
                    </a:lnTo>
                    <a:close/>
                    <a:moveTo>
                      <a:pt x="1" y="1"/>
                    </a:moveTo>
                    <a:lnTo>
                      <a:pt x="1" y="7468"/>
                    </a:lnTo>
                    <a:lnTo>
                      <a:pt x="4840" y="7468"/>
                    </a:lnTo>
                    <a:cubicBezTo>
                      <a:pt x="5514" y="7468"/>
                      <a:pt x="6096" y="6980"/>
                      <a:pt x="6096" y="6305"/>
                    </a:cubicBezTo>
                    <a:lnTo>
                      <a:pt x="6096" y="5235"/>
                    </a:lnTo>
                    <a:cubicBezTo>
                      <a:pt x="6096" y="4072"/>
                      <a:pt x="5235" y="3095"/>
                      <a:pt x="4165" y="3002"/>
                    </a:cubicBezTo>
                    <a:lnTo>
                      <a:pt x="2420" y="769"/>
                    </a:lnTo>
                    <a:cubicBezTo>
                      <a:pt x="2025" y="280"/>
                      <a:pt x="1443" y="1"/>
                      <a:pt x="768" y="1"/>
                    </a:cubicBezTo>
                    <a:close/>
                  </a:path>
                </a:pathLst>
              </a:custGeom>
              <a:solidFill>
                <a:srgbClr val="00B44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1" name="Google Shape;3321;p42">
                <a:extLst>
                  <a:ext uri="{FF2B5EF4-FFF2-40B4-BE49-F238E27FC236}">
                    <a16:creationId xmlns:a16="http://schemas.microsoft.com/office/drawing/2014/main" id="{8AE4215F-63F6-3191-BDF0-AC1A5A471DB8}"/>
                  </a:ext>
                </a:extLst>
              </p:cNvPr>
              <p:cNvSpPr/>
              <p:nvPr/>
            </p:nvSpPr>
            <p:spPr>
              <a:xfrm>
                <a:off x="4987238" y="4071161"/>
                <a:ext cx="47173" cy="23910"/>
              </a:xfrm>
              <a:custGeom>
                <a:avLst/>
                <a:gdLst/>
                <a:ahLst/>
                <a:cxnLst/>
                <a:rect l="l" t="t" r="r" b="b"/>
                <a:pathLst>
                  <a:path w="1746" h="885" extrusionOk="0">
                    <a:moveTo>
                      <a:pt x="396" y="1"/>
                    </a:moveTo>
                    <a:cubicBezTo>
                      <a:pt x="186" y="1"/>
                      <a:pt x="0" y="303"/>
                      <a:pt x="0" y="489"/>
                    </a:cubicBezTo>
                    <a:cubicBezTo>
                      <a:pt x="0" y="675"/>
                      <a:pt x="186" y="885"/>
                      <a:pt x="396" y="885"/>
                    </a:cubicBezTo>
                    <a:lnTo>
                      <a:pt x="1350" y="885"/>
                    </a:lnTo>
                    <a:cubicBezTo>
                      <a:pt x="1559" y="885"/>
                      <a:pt x="1745" y="675"/>
                      <a:pt x="1745" y="396"/>
                    </a:cubicBezTo>
                    <a:cubicBezTo>
                      <a:pt x="1745" y="187"/>
                      <a:pt x="1559" y="1"/>
                      <a:pt x="1257" y="1"/>
                    </a:cubicBez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2" name="Google Shape;3322;p42">
                <a:extLst>
                  <a:ext uri="{FF2B5EF4-FFF2-40B4-BE49-F238E27FC236}">
                    <a16:creationId xmlns:a16="http://schemas.microsoft.com/office/drawing/2014/main" id="{1CC30D8A-E593-44C9-D22A-413FE8105FED}"/>
                  </a:ext>
                </a:extLst>
              </p:cNvPr>
              <p:cNvSpPr/>
              <p:nvPr/>
            </p:nvSpPr>
            <p:spPr>
              <a:xfrm>
                <a:off x="4987238" y="4115794"/>
                <a:ext cx="47173" cy="23289"/>
              </a:xfrm>
              <a:custGeom>
                <a:avLst/>
                <a:gdLst/>
                <a:ahLst/>
                <a:cxnLst/>
                <a:rect l="l" t="t" r="r" b="b"/>
                <a:pathLst>
                  <a:path w="1746" h="862" extrusionOk="0">
                    <a:moveTo>
                      <a:pt x="396" y="0"/>
                    </a:moveTo>
                    <a:cubicBezTo>
                      <a:pt x="186" y="0"/>
                      <a:pt x="0" y="280"/>
                      <a:pt x="0" y="489"/>
                    </a:cubicBezTo>
                    <a:cubicBezTo>
                      <a:pt x="0" y="675"/>
                      <a:pt x="186" y="861"/>
                      <a:pt x="396" y="861"/>
                    </a:cubicBezTo>
                    <a:lnTo>
                      <a:pt x="1350" y="861"/>
                    </a:lnTo>
                    <a:cubicBezTo>
                      <a:pt x="1559" y="861"/>
                      <a:pt x="1745" y="675"/>
                      <a:pt x="1745" y="396"/>
                    </a:cubicBezTo>
                    <a:cubicBezTo>
                      <a:pt x="1745" y="186"/>
                      <a:pt x="1559" y="0"/>
                      <a:pt x="1257" y="0"/>
                    </a:cubicBez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3" name="Google Shape;3323;p42">
                <a:extLst>
                  <a:ext uri="{FF2B5EF4-FFF2-40B4-BE49-F238E27FC236}">
                    <a16:creationId xmlns:a16="http://schemas.microsoft.com/office/drawing/2014/main" id="{7482072B-2B18-8525-BA4E-870E8619FE7B}"/>
                  </a:ext>
                </a:extLst>
              </p:cNvPr>
              <p:cNvSpPr/>
              <p:nvPr/>
            </p:nvSpPr>
            <p:spPr>
              <a:xfrm>
                <a:off x="4929393" y="4063623"/>
                <a:ext cx="68543" cy="83619"/>
              </a:xfrm>
              <a:custGeom>
                <a:avLst/>
                <a:gdLst/>
                <a:ahLst/>
                <a:cxnLst/>
                <a:rect l="l" t="t" r="r" b="b"/>
                <a:pathLst>
                  <a:path w="2537" h="3095" extrusionOk="0">
                    <a:moveTo>
                      <a:pt x="1653" y="0"/>
                    </a:moveTo>
                    <a:cubicBezTo>
                      <a:pt x="699" y="0"/>
                      <a:pt x="1" y="768"/>
                      <a:pt x="117" y="1745"/>
                    </a:cubicBezTo>
                    <a:cubicBezTo>
                      <a:pt x="117" y="2513"/>
                      <a:pt x="792" y="3095"/>
                      <a:pt x="1653" y="3095"/>
                    </a:cubicBezTo>
                    <a:lnTo>
                      <a:pt x="2048" y="3095"/>
                    </a:lnTo>
                    <a:cubicBezTo>
                      <a:pt x="2327" y="3095"/>
                      <a:pt x="2537" y="2908"/>
                      <a:pt x="2537" y="2699"/>
                    </a:cubicBezTo>
                    <a:lnTo>
                      <a:pt x="2537" y="466"/>
                    </a:lnTo>
                    <a:cubicBezTo>
                      <a:pt x="2537" y="187"/>
                      <a:pt x="2327" y="0"/>
                      <a:pt x="204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4" name="Google Shape;3324;p42">
                <a:extLst>
                  <a:ext uri="{FF2B5EF4-FFF2-40B4-BE49-F238E27FC236}">
                    <a16:creationId xmlns:a16="http://schemas.microsoft.com/office/drawing/2014/main" id="{C7490833-A847-CFA3-66EE-F2B88F2A90AA}"/>
                  </a:ext>
                </a:extLst>
              </p:cNvPr>
              <p:cNvSpPr/>
              <p:nvPr/>
            </p:nvSpPr>
            <p:spPr>
              <a:xfrm>
                <a:off x="4877249" y="4367192"/>
                <a:ext cx="71029" cy="70435"/>
              </a:xfrm>
              <a:custGeom>
                <a:avLst/>
                <a:gdLst/>
                <a:ahLst/>
                <a:cxnLst/>
                <a:rect l="l" t="t" r="r" b="b"/>
                <a:pathLst>
                  <a:path w="2629" h="2607" extrusionOk="0">
                    <a:moveTo>
                      <a:pt x="489" y="489"/>
                    </a:moveTo>
                    <a:cubicBezTo>
                      <a:pt x="884" y="1"/>
                      <a:pt x="1652" y="1"/>
                      <a:pt x="2140" y="489"/>
                    </a:cubicBezTo>
                    <a:cubicBezTo>
                      <a:pt x="2629" y="862"/>
                      <a:pt x="2629" y="1653"/>
                      <a:pt x="2140" y="2141"/>
                    </a:cubicBezTo>
                    <a:cubicBezTo>
                      <a:pt x="1652" y="2606"/>
                      <a:pt x="884" y="2606"/>
                      <a:pt x="489" y="2141"/>
                    </a:cubicBezTo>
                    <a:cubicBezTo>
                      <a:pt x="0" y="1653"/>
                      <a:pt x="0" y="862"/>
                      <a:pt x="489" y="489"/>
                    </a:cubicBezTo>
                    <a:close/>
                  </a:path>
                </a:pathLst>
              </a:custGeom>
              <a:solidFill>
                <a:srgbClr val="A1E1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5" name="Google Shape;3325;p42">
                <a:extLst>
                  <a:ext uri="{FF2B5EF4-FFF2-40B4-BE49-F238E27FC236}">
                    <a16:creationId xmlns:a16="http://schemas.microsoft.com/office/drawing/2014/main" id="{F73AFF90-1716-E72F-C745-10688F5A1BB8}"/>
                  </a:ext>
                </a:extLst>
              </p:cNvPr>
              <p:cNvSpPr/>
              <p:nvPr/>
            </p:nvSpPr>
            <p:spPr>
              <a:xfrm>
                <a:off x="4869685" y="4359033"/>
                <a:ext cx="86159" cy="86753"/>
              </a:xfrm>
              <a:custGeom>
                <a:avLst/>
                <a:gdLst/>
                <a:ahLst/>
                <a:cxnLst/>
                <a:rect l="l" t="t" r="r" b="b"/>
                <a:pathLst>
                  <a:path w="3189" h="3211" extrusionOk="0">
                    <a:moveTo>
                      <a:pt x="1536" y="791"/>
                    </a:moveTo>
                    <a:cubicBezTo>
                      <a:pt x="2025" y="791"/>
                      <a:pt x="2327" y="1164"/>
                      <a:pt x="2327" y="1559"/>
                    </a:cubicBezTo>
                    <a:cubicBezTo>
                      <a:pt x="2327" y="2048"/>
                      <a:pt x="2025" y="2327"/>
                      <a:pt x="1536" y="2327"/>
                    </a:cubicBezTo>
                    <a:cubicBezTo>
                      <a:pt x="1164" y="2327"/>
                      <a:pt x="769" y="2048"/>
                      <a:pt x="769" y="1559"/>
                    </a:cubicBezTo>
                    <a:cubicBezTo>
                      <a:pt x="769" y="1164"/>
                      <a:pt x="1164" y="791"/>
                      <a:pt x="1536" y="791"/>
                    </a:cubicBezTo>
                    <a:close/>
                    <a:moveTo>
                      <a:pt x="1536" y="0"/>
                    </a:moveTo>
                    <a:cubicBezTo>
                      <a:pt x="676" y="0"/>
                      <a:pt x="1" y="698"/>
                      <a:pt x="1" y="1559"/>
                    </a:cubicBezTo>
                    <a:cubicBezTo>
                      <a:pt x="1" y="2443"/>
                      <a:pt x="676" y="3211"/>
                      <a:pt x="1536" y="3211"/>
                    </a:cubicBezTo>
                    <a:cubicBezTo>
                      <a:pt x="2420" y="3211"/>
                      <a:pt x="3188" y="2443"/>
                      <a:pt x="3188" y="1559"/>
                    </a:cubicBezTo>
                    <a:cubicBezTo>
                      <a:pt x="3188" y="698"/>
                      <a:pt x="2420" y="0"/>
                      <a:pt x="153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6" name="Google Shape;3326;p42">
                <a:extLst>
                  <a:ext uri="{FF2B5EF4-FFF2-40B4-BE49-F238E27FC236}">
                    <a16:creationId xmlns:a16="http://schemas.microsoft.com/office/drawing/2014/main" id="{083FF8D2-56D7-66F1-C07D-1E8F9395B751}"/>
                  </a:ext>
                </a:extLst>
              </p:cNvPr>
              <p:cNvSpPr/>
              <p:nvPr/>
            </p:nvSpPr>
            <p:spPr>
              <a:xfrm>
                <a:off x="5045055" y="4367192"/>
                <a:ext cx="70435" cy="70435"/>
              </a:xfrm>
              <a:custGeom>
                <a:avLst/>
                <a:gdLst/>
                <a:ahLst/>
                <a:cxnLst/>
                <a:rect l="l" t="t" r="r" b="b"/>
                <a:pathLst>
                  <a:path w="2607" h="2607" extrusionOk="0">
                    <a:moveTo>
                      <a:pt x="489" y="489"/>
                    </a:moveTo>
                    <a:cubicBezTo>
                      <a:pt x="954" y="1"/>
                      <a:pt x="1745" y="1"/>
                      <a:pt x="2118" y="489"/>
                    </a:cubicBezTo>
                    <a:cubicBezTo>
                      <a:pt x="2606" y="862"/>
                      <a:pt x="2606" y="1653"/>
                      <a:pt x="2118" y="2141"/>
                    </a:cubicBezTo>
                    <a:cubicBezTo>
                      <a:pt x="1745" y="2606"/>
                      <a:pt x="954" y="2606"/>
                      <a:pt x="489" y="2141"/>
                    </a:cubicBezTo>
                    <a:cubicBezTo>
                      <a:pt x="1" y="1653"/>
                      <a:pt x="1" y="862"/>
                      <a:pt x="489" y="489"/>
                    </a:cubicBezTo>
                    <a:close/>
                  </a:path>
                </a:pathLst>
              </a:custGeom>
              <a:solidFill>
                <a:srgbClr val="A1E1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7" name="Google Shape;3327;p42">
                <a:extLst>
                  <a:ext uri="{FF2B5EF4-FFF2-40B4-BE49-F238E27FC236}">
                    <a16:creationId xmlns:a16="http://schemas.microsoft.com/office/drawing/2014/main" id="{EE227BE1-514D-DE59-54D0-875B169246E0}"/>
                  </a:ext>
                </a:extLst>
              </p:cNvPr>
              <p:cNvSpPr/>
              <p:nvPr/>
            </p:nvSpPr>
            <p:spPr>
              <a:xfrm>
                <a:off x="5036896" y="4359033"/>
                <a:ext cx="86753" cy="86753"/>
              </a:xfrm>
              <a:custGeom>
                <a:avLst/>
                <a:gdLst/>
                <a:ahLst/>
                <a:cxnLst/>
                <a:rect l="l" t="t" r="r" b="b"/>
                <a:pathLst>
                  <a:path w="3211" h="3211" extrusionOk="0">
                    <a:moveTo>
                      <a:pt x="1652" y="791"/>
                    </a:moveTo>
                    <a:cubicBezTo>
                      <a:pt x="2047" y="791"/>
                      <a:pt x="2420" y="1164"/>
                      <a:pt x="2420" y="1559"/>
                    </a:cubicBezTo>
                    <a:cubicBezTo>
                      <a:pt x="2420" y="2048"/>
                      <a:pt x="2047" y="2327"/>
                      <a:pt x="1652" y="2327"/>
                    </a:cubicBezTo>
                    <a:cubicBezTo>
                      <a:pt x="1163" y="2327"/>
                      <a:pt x="884" y="2048"/>
                      <a:pt x="884" y="1559"/>
                    </a:cubicBezTo>
                    <a:cubicBezTo>
                      <a:pt x="884" y="1164"/>
                      <a:pt x="1163" y="791"/>
                      <a:pt x="1652" y="791"/>
                    </a:cubicBezTo>
                    <a:close/>
                    <a:moveTo>
                      <a:pt x="1652" y="0"/>
                    </a:moveTo>
                    <a:cubicBezTo>
                      <a:pt x="791" y="0"/>
                      <a:pt x="0" y="698"/>
                      <a:pt x="0" y="1559"/>
                    </a:cubicBezTo>
                    <a:cubicBezTo>
                      <a:pt x="0" y="2443"/>
                      <a:pt x="791" y="3211"/>
                      <a:pt x="1652" y="3211"/>
                    </a:cubicBezTo>
                    <a:cubicBezTo>
                      <a:pt x="2536" y="3211"/>
                      <a:pt x="3211" y="2443"/>
                      <a:pt x="3211" y="1559"/>
                    </a:cubicBezTo>
                    <a:cubicBezTo>
                      <a:pt x="3211" y="698"/>
                      <a:pt x="2536" y="0"/>
                      <a:pt x="165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8" name="Google Shape;3328;p42">
                <a:extLst>
                  <a:ext uri="{FF2B5EF4-FFF2-40B4-BE49-F238E27FC236}">
                    <a16:creationId xmlns:a16="http://schemas.microsoft.com/office/drawing/2014/main" id="{E5773294-01E7-D4C8-F1E3-CF54C240489D}"/>
                  </a:ext>
                </a:extLst>
              </p:cNvPr>
              <p:cNvSpPr/>
              <p:nvPr/>
            </p:nvSpPr>
            <p:spPr>
              <a:xfrm>
                <a:off x="5133673" y="4327611"/>
                <a:ext cx="28936" cy="21398"/>
              </a:xfrm>
              <a:custGeom>
                <a:avLst/>
                <a:gdLst/>
                <a:ahLst/>
                <a:cxnLst/>
                <a:rect l="l" t="t" r="r" b="b"/>
                <a:pathLst>
                  <a:path w="1071" h="792" extrusionOk="0">
                    <a:moveTo>
                      <a:pt x="396" y="0"/>
                    </a:moveTo>
                    <a:cubicBezTo>
                      <a:pt x="210" y="0"/>
                      <a:pt x="1" y="210"/>
                      <a:pt x="1" y="396"/>
                    </a:cubicBezTo>
                    <a:cubicBezTo>
                      <a:pt x="1" y="582"/>
                      <a:pt x="210" y="791"/>
                      <a:pt x="396" y="791"/>
                    </a:cubicBezTo>
                    <a:lnTo>
                      <a:pt x="1071" y="791"/>
                    </a:lnTo>
                    <a:lnTo>
                      <a:pt x="1071" y="698"/>
                    </a:lnTo>
                    <a:cubicBezTo>
                      <a:pt x="1071" y="489"/>
                      <a:pt x="1071" y="210"/>
                      <a:pt x="978" y="0"/>
                    </a:cubicBez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9" name="Google Shape;3329;p42">
                <a:extLst>
                  <a:ext uri="{FF2B5EF4-FFF2-40B4-BE49-F238E27FC236}">
                    <a16:creationId xmlns:a16="http://schemas.microsoft.com/office/drawing/2014/main" id="{94CD1491-F7C2-E8FD-818E-125E6CF1FE7D}"/>
                  </a:ext>
                </a:extLst>
              </p:cNvPr>
              <p:cNvSpPr/>
              <p:nvPr/>
            </p:nvSpPr>
            <p:spPr>
              <a:xfrm>
                <a:off x="4830104" y="4327611"/>
                <a:ext cx="31448" cy="21398"/>
              </a:xfrm>
              <a:custGeom>
                <a:avLst/>
                <a:gdLst/>
                <a:ahLst/>
                <a:cxnLst/>
                <a:rect l="l" t="t" r="r" b="b"/>
                <a:pathLst>
                  <a:path w="1164" h="792" extrusionOk="0">
                    <a:moveTo>
                      <a:pt x="0" y="0"/>
                    </a:moveTo>
                    <a:lnTo>
                      <a:pt x="0" y="791"/>
                    </a:lnTo>
                    <a:lnTo>
                      <a:pt x="675" y="791"/>
                    </a:lnTo>
                    <a:cubicBezTo>
                      <a:pt x="884" y="791"/>
                      <a:pt x="1070" y="698"/>
                      <a:pt x="1163" y="489"/>
                    </a:cubicBezTo>
                    <a:cubicBezTo>
                      <a:pt x="1163" y="210"/>
                      <a:pt x="977" y="0"/>
                      <a:pt x="675" y="0"/>
                    </a:cubicBezTo>
                    <a:close/>
                  </a:path>
                </a:pathLst>
              </a:custGeom>
              <a:solidFill>
                <a:srgbClr val="B3766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E68A868-449C-B850-643A-4CF2B8C21965}"/>
              </a:ext>
            </a:extLst>
          </p:cNvPr>
          <p:cNvGrpSpPr/>
          <p:nvPr/>
        </p:nvGrpSpPr>
        <p:grpSpPr>
          <a:xfrm>
            <a:off x="0" y="4362000"/>
            <a:ext cx="781500" cy="781500"/>
            <a:chOff x="2577308" y="1936801"/>
            <a:chExt cx="781500" cy="781500"/>
          </a:xfrm>
        </p:grpSpPr>
        <p:sp>
          <p:nvSpPr>
            <p:cNvPr id="3308" name="Google Shape;3308;p42">
              <a:extLst>
                <a:ext uri="{FF2B5EF4-FFF2-40B4-BE49-F238E27FC236}">
                  <a16:creationId xmlns:a16="http://schemas.microsoft.com/office/drawing/2014/main" id="{4FEAA23E-911F-EE51-193E-D5A2A7345DAF}"/>
                </a:ext>
              </a:extLst>
            </p:cNvPr>
            <p:cNvSpPr/>
            <p:nvPr/>
          </p:nvSpPr>
          <p:spPr>
            <a:xfrm>
              <a:off x="2577308" y="1936801"/>
              <a:ext cx="781500" cy="781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3330" name="Google Shape;3330;p42">
              <a:extLst>
                <a:ext uri="{FF2B5EF4-FFF2-40B4-BE49-F238E27FC236}">
                  <a16:creationId xmlns:a16="http://schemas.microsoft.com/office/drawing/2014/main" id="{1221F2B5-3580-8945-3131-3267DFD31E03}"/>
                </a:ext>
              </a:extLst>
            </p:cNvPr>
            <p:cNvGrpSpPr/>
            <p:nvPr/>
          </p:nvGrpSpPr>
          <p:grpSpPr>
            <a:xfrm>
              <a:off x="2798193" y="2106939"/>
              <a:ext cx="457207" cy="464811"/>
              <a:chOff x="1527782" y="4063623"/>
              <a:chExt cx="379677" cy="383603"/>
            </a:xfrm>
          </p:grpSpPr>
          <p:sp>
            <p:nvSpPr>
              <p:cNvPr id="3331" name="Google Shape;3331;p42">
                <a:extLst>
                  <a:ext uri="{FF2B5EF4-FFF2-40B4-BE49-F238E27FC236}">
                    <a16:creationId xmlns:a16="http://schemas.microsoft.com/office/drawing/2014/main" id="{ECF1AA06-2111-5B66-61DB-4869FD496BA9}"/>
                  </a:ext>
                </a:extLst>
              </p:cNvPr>
              <p:cNvSpPr/>
              <p:nvPr/>
            </p:nvSpPr>
            <p:spPr>
              <a:xfrm>
                <a:off x="1527782" y="4063623"/>
                <a:ext cx="123227" cy="57223"/>
              </a:xfrm>
              <a:custGeom>
                <a:avLst/>
                <a:gdLst/>
                <a:ahLst/>
                <a:cxnLst/>
                <a:rect l="l" t="t" r="r" b="b"/>
                <a:pathLst>
                  <a:path w="4561" h="2118" extrusionOk="0">
                    <a:moveTo>
                      <a:pt x="396" y="0"/>
                    </a:moveTo>
                    <a:cubicBezTo>
                      <a:pt x="187" y="0"/>
                      <a:pt x="1" y="187"/>
                      <a:pt x="1" y="466"/>
                    </a:cubicBezTo>
                    <a:lnTo>
                      <a:pt x="1" y="1745"/>
                    </a:lnTo>
                    <a:cubicBezTo>
                      <a:pt x="1" y="2024"/>
                      <a:pt x="187" y="2117"/>
                      <a:pt x="396" y="2117"/>
                    </a:cubicBezTo>
                    <a:lnTo>
                      <a:pt x="3491" y="2117"/>
                    </a:lnTo>
                    <a:cubicBezTo>
                      <a:pt x="3677" y="2117"/>
                      <a:pt x="3770" y="2117"/>
                      <a:pt x="3770" y="2024"/>
                    </a:cubicBezTo>
                    <a:lnTo>
                      <a:pt x="4351" y="1443"/>
                    </a:lnTo>
                    <a:cubicBezTo>
                      <a:pt x="4561" y="1257"/>
                      <a:pt x="4561" y="1047"/>
                      <a:pt x="4468" y="861"/>
                    </a:cubicBezTo>
                    <a:lnTo>
                      <a:pt x="3886" y="187"/>
                    </a:lnTo>
                    <a:cubicBezTo>
                      <a:pt x="3770" y="94"/>
                      <a:pt x="3677" y="0"/>
                      <a:pt x="3491" y="0"/>
                    </a:cubicBezTo>
                    <a:close/>
                  </a:path>
                </a:pathLst>
              </a:custGeom>
              <a:solidFill>
                <a:srgbClr val="00B44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2" name="Google Shape;3332;p42">
                <a:extLst>
                  <a:ext uri="{FF2B5EF4-FFF2-40B4-BE49-F238E27FC236}">
                    <a16:creationId xmlns:a16="http://schemas.microsoft.com/office/drawing/2014/main" id="{37CC8B0F-BE75-25C6-324E-4D6C1CA89A0C}"/>
                  </a:ext>
                </a:extLst>
              </p:cNvPr>
              <p:cNvSpPr/>
              <p:nvPr/>
            </p:nvSpPr>
            <p:spPr>
              <a:xfrm>
                <a:off x="1527782" y="4144703"/>
                <a:ext cx="191122" cy="57223"/>
              </a:xfrm>
              <a:custGeom>
                <a:avLst/>
                <a:gdLst/>
                <a:ahLst/>
                <a:cxnLst/>
                <a:rect l="l" t="t" r="r" b="b"/>
                <a:pathLst>
                  <a:path w="7074" h="2118" extrusionOk="0">
                    <a:moveTo>
                      <a:pt x="396" y="1"/>
                    </a:moveTo>
                    <a:cubicBezTo>
                      <a:pt x="187" y="1"/>
                      <a:pt x="1" y="187"/>
                      <a:pt x="1" y="373"/>
                    </a:cubicBezTo>
                    <a:lnTo>
                      <a:pt x="1" y="1745"/>
                    </a:lnTo>
                    <a:cubicBezTo>
                      <a:pt x="1" y="1931"/>
                      <a:pt x="187" y="2117"/>
                      <a:pt x="396" y="2117"/>
                    </a:cubicBezTo>
                    <a:lnTo>
                      <a:pt x="6003" y="2117"/>
                    </a:lnTo>
                    <a:cubicBezTo>
                      <a:pt x="6212" y="2117"/>
                      <a:pt x="6305" y="2117"/>
                      <a:pt x="6399" y="2024"/>
                    </a:cubicBezTo>
                    <a:lnTo>
                      <a:pt x="6887" y="1350"/>
                    </a:lnTo>
                    <a:cubicBezTo>
                      <a:pt x="7073" y="1257"/>
                      <a:pt x="7073" y="954"/>
                      <a:pt x="6980" y="861"/>
                    </a:cubicBezTo>
                    <a:lnTo>
                      <a:pt x="6399" y="187"/>
                    </a:lnTo>
                    <a:cubicBezTo>
                      <a:pt x="6305" y="94"/>
                      <a:pt x="6212" y="1"/>
                      <a:pt x="6003" y="1"/>
                    </a:cubicBezTo>
                    <a:close/>
                  </a:path>
                </a:pathLst>
              </a:custGeom>
              <a:solidFill>
                <a:srgbClr val="8AC93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3" name="Google Shape;3333;p42">
                <a:extLst>
                  <a:ext uri="{FF2B5EF4-FFF2-40B4-BE49-F238E27FC236}">
                    <a16:creationId xmlns:a16="http://schemas.microsoft.com/office/drawing/2014/main" id="{E9ACDDFD-D664-ED8C-7B75-64E4D47080BD}"/>
                  </a:ext>
                </a:extLst>
              </p:cNvPr>
              <p:cNvSpPr/>
              <p:nvPr/>
            </p:nvSpPr>
            <p:spPr>
              <a:xfrm>
                <a:off x="1527782" y="4225782"/>
                <a:ext cx="253964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9400" h="2141" extrusionOk="0">
                    <a:moveTo>
                      <a:pt x="396" y="1"/>
                    </a:moveTo>
                    <a:cubicBezTo>
                      <a:pt x="187" y="1"/>
                      <a:pt x="1" y="187"/>
                      <a:pt x="1" y="396"/>
                    </a:cubicBezTo>
                    <a:lnTo>
                      <a:pt x="1" y="1745"/>
                    </a:lnTo>
                    <a:cubicBezTo>
                      <a:pt x="1" y="1931"/>
                      <a:pt x="187" y="2141"/>
                      <a:pt x="396" y="2141"/>
                    </a:cubicBezTo>
                    <a:lnTo>
                      <a:pt x="8329" y="2141"/>
                    </a:lnTo>
                    <a:cubicBezTo>
                      <a:pt x="8539" y="2141"/>
                      <a:pt x="8632" y="2141"/>
                      <a:pt x="8725" y="2024"/>
                    </a:cubicBezTo>
                    <a:lnTo>
                      <a:pt x="9307" y="1350"/>
                    </a:lnTo>
                    <a:cubicBezTo>
                      <a:pt x="9400" y="1257"/>
                      <a:pt x="9400" y="978"/>
                      <a:pt x="9307" y="861"/>
                    </a:cubicBezTo>
                    <a:lnTo>
                      <a:pt x="8725" y="187"/>
                    </a:lnTo>
                    <a:cubicBezTo>
                      <a:pt x="8632" y="94"/>
                      <a:pt x="8539" y="1"/>
                      <a:pt x="8329" y="1"/>
                    </a:cubicBezTo>
                    <a:close/>
                  </a:path>
                </a:pathLst>
              </a:custGeom>
              <a:solidFill>
                <a:srgbClr val="FFD65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4" name="Google Shape;3334;p42">
                <a:extLst>
                  <a:ext uri="{FF2B5EF4-FFF2-40B4-BE49-F238E27FC236}">
                    <a16:creationId xmlns:a16="http://schemas.microsoft.com/office/drawing/2014/main" id="{E37EE237-A87D-B11B-B16E-1EAB75B90A62}"/>
                  </a:ext>
                </a:extLst>
              </p:cNvPr>
              <p:cNvSpPr/>
              <p:nvPr/>
            </p:nvSpPr>
            <p:spPr>
              <a:xfrm>
                <a:off x="1527782" y="4306862"/>
                <a:ext cx="314295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11633" h="2141" extrusionOk="0">
                    <a:moveTo>
                      <a:pt x="396" y="1"/>
                    </a:moveTo>
                    <a:cubicBezTo>
                      <a:pt x="187" y="1"/>
                      <a:pt x="1" y="187"/>
                      <a:pt x="1" y="396"/>
                    </a:cubicBezTo>
                    <a:lnTo>
                      <a:pt x="1" y="1745"/>
                    </a:lnTo>
                    <a:cubicBezTo>
                      <a:pt x="1" y="1931"/>
                      <a:pt x="187" y="2141"/>
                      <a:pt x="396" y="2141"/>
                    </a:cubicBezTo>
                    <a:lnTo>
                      <a:pt x="10563" y="2141"/>
                    </a:lnTo>
                    <a:cubicBezTo>
                      <a:pt x="10749" y="2141"/>
                      <a:pt x="10865" y="2048"/>
                      <a:pt x="10958" y="2048"/>
                    </a:cubicBezTo>
                    <a:lnTo>
                      <a:pt x="11447" y="1350"/>
                    </a:lnTo>
                    <a:cubicBezTo>
                      <a:pt x="11633" y="1164"/>
                      <a:pt x="11633" y="978"/>
                      <a:pt x="11540" y="768"/>
                    </a:cubicBezTo>
                    <a:lnTo>
                      <a:pt x="10958" y="94"/>
                    </a:lnTo>
                    <a:cubicBezTo>
                      <a:pt x="10865" y="1"/>
                      <a:pt x="10749" y="1"/>
                      <a:pt x="10563" y="1"/>
                    </a:cubicBezTo>
                    <a:close/>
                  </a:path>
                </a:pathLst>
              </a:custGeom>
              <a:solidFill>
                <a:srgbClr val="A1E1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5" name="Google Shape;3335;p42">
                <a:extLst>
                  <a:ext uri="{FF2B5EF4-FFF2-40B4-BE49-F238E27FC236}">
                    <a16:creationId xmlns:a16="http://schemas.microsoft.com/office/drawing/2014/main" id="{E1D8F043-BC72-6F50-40A2-AA411FBE22BF}"/>
                  </a:ext>
                </a:extLst>
              </p:cNvPr>
              <p:cNvSpPr/>
              <p:nvPr/>
            </p:nvSpPr>
            <p:spPr>
              <a:xfrm>
                <a:off x="1527782" y="4387941"/>
                <a:ext cx="379677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14053" h="2141" extrusionOk="0">
                    <a:moveTo>
                      <a:pt x="396" y="1"/>
                    </a:moveTo>
                    <a:cubicBezTo>
                      <a:pt x="187" y="1"/>
                      <a:pt x="1" y="94"/>
                      <a:pt x="1" y="396"/>
                    </a:cubicBezTo>
                    <a:lnTo>
                      <a:pt x="1" y="1652"/>
                    </a:lnTo>
                    <a:cubicBezTo>
                      <a:pt x="1" y="1955"/>
                      <a:pt x="187" y="2141"/>
                      <a:pt x="396" y="2141"/>
                    </a:cubicBezTo>
                    <a:lnTo>
                      <a:pt x="13075" y="2141"/>
                    </a:lnTo>
                    <a:cubicBezTo>
                      <a:pt x="13192" y="2141"/>
                      <a:pt x="13285" y="2048"/>
                      <a:pt x="13378" y="1955"/>
                    </a:cubicBezTo>
                    <a:lnTo>
                      <a:pt x="13959" y="1373"/>
                    </a:lnTo>
                    <a:cubicBezTo>
                      <a:pt x="14052" y="1164"/>
                      <a:pt x="14052" y="978"/>
                      <a:pt x="13959" y="791"/>
                    </a:cubicBezTo>
                    <a:lnTo>
                      <a:pt x="13378" y="94"/>
                    </a:lnTo>
                    <a:cubicBezTo>
                      <a:pt x="13285" y="1"/>
                      <a:pt x="13192" y="1"/>
                      <a:pt x="13075" y="1"/>
                    </a:cubicBez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6" name="Google Shape;3336;p42">
                <a:extLst>
                  <a:ext uri="{FF2B5EF4-FFF2-40B4-BE49-F238E27FC236}">
                    <a16:creationId xmlns:a16="http://schemas.microsoft.com/office/drawing/2014/main" id="{074A52F5-2140-C194-3122-D5DDF9EAADB6}"/>
                  </a:ext>
                </a:extLst>
              </p:cNvPr>
              <p:cNvSpPr/>
              <p:nvPr/>
            </p:nvSpPr>
            <p:spPr>
              <a:xfrm>
                <a:off x="1752811" y="4225782"/>
                <a:ext cx="10699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396" h="2141" extrusionOk="0">
                    <a:moveTo>
                      <a:pt x="0" y="1"/>
                    </a:moveTo>
                    <a:cubicBezTo>
                      <a:pt x="210" y="1"/>
                      <a:pt x="303" y="94"/>
                      <a:pt x="396" y="187"/>
                    </a:cubicBezTo>
                    <a:cubicBezTo>
                      <a:pt x="303" y="94"/>
                      <a:pt x="210" y="1"/>
                      <a:pt x="93" y="1"/>
                    </a:cubicBezTo>
                    <a:close/>
                    <a:moveTo>
                      <a:pt x="395" y="2026"/>
                    </a:moveTo>
                    <a:cubicBezTo>
                      <a:pt x="302" y="2141"/>
                      <a:pt x="209" y="2141"/>
                      <a:pt x="0" y="2141"/>
                    </a:cubicBezTo>
                    <a:lnTo>
                      <a:pt x="93" y="2141"/>
                    </a:lnTo>
                    <a:cubicBezTo>
                      <a:pt x="209" y="2141"/>
                      <a:pt x="302" y="2141"/>
                      <a:pt x="395" y="20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7" name="Google Shape;3337;p42">
                <a:extLst>
                  <a:ext uri="{FF2B5EF4-FFF2-40B4-BE49-F238E27FC236}">
                    <a16:creationId xmlns:a16="http://schemas.microsoft.com/office/drawing/2014/main" id="{C488C787-974E-859F-F2BD-02D75EDA03DC}"/>
                  </a:ext>
                </a:extLst>
              </p:cNvPr>
              <p:cNvSpPr/>
              <p:nvPr/>
            </p:nvSpPr>
            <p:spPr>
              <a:xfrm>
                <a:off x="1718877" y="4225782"/>
                <a:ext cx="62870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2327" h="2141" extrusionOk="0">
                    <a:moveTo>
                      <a:pt x="0" y="1"/>
                    </a:moveTo>
                    <a:lnTo>
                      <a:pt x="0" y="2141"/>
                    </a:lnTo>
                    <a:lnTo>
                      <a:pt x="1256" y="2141"/>
                    </a:lnTo>
                    <a:cubicBezTo>
                      <a:pt x="1466" y="2141"/>
                      <a:pt x="1559" y="2141"/>
                      <a:pt x="1652" y="2024"/>
                    </a:cubicBezTo>
                    <a:lnTo>
                      <a:pt x="2234" y="1350"/>
                    </a:lnTo>
                    <a:cubicBezTo>
                      <a:pt x="2327" y="1257"/>
                      <a:pt x="2327" y="978"/>
                      <a:pt x="2234" y="861"/>
                    </a:cubicBezTo>
                    <a:lnTo>
                      <a:pt x="1652" y="187"/>
                    </a:lnTo>
                    <a:cubicBezTo>
                      <a:pt x="1559" y="94"/>
                      <a:pt x="1466" y="1"/>
                      <a:pt x="1256" y="1"/>
                    </a:cubicBezTo>
                    <a:close/>
                  </a:path>
                </a:pathLst>
              </a:custGeom>
              <a:solidFill>
                <a:srgbClr val="FFE69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8" name="Google Shape;3338;p42">
                <a:extLst>
                  <a:ext uri="{FF2B5EF4-FFF2-40B4-BE49-F238E27FC236}">
                    <a16:creationId xmlns:a16="http://schemas.microsoft.com/office/drawing/2014/main" id="{00D25511-105B-84B0-4B12-2FBF113E901C}"/>
                  </a:ext>
                </a:extLst>
              </p:cNvPr>
              <p:cNvSpPr/>
              <p:nvPr/>
            </p:nvSpPr>
            <p:spPr>
              <a:xfrm>
                <a:off x="1813141" y="4306862"/>
                <a:ext cx="28936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1071" h="2141" extrusionOk="0">
                    <a:moveTo>
                      <a:pt x="1" y="1"/>
                    </a:moveTo>
                    <a:cubicBezTo>
                      <a:pt x="187" y="1"/>
                      <a:pt x="303" y="1"/>
                      <a:pt x="396" y="94"/>
                    </a:cubicBezTo>
                    <a:cubicBezTo>
                      <a:pt x="303" y="1"/>
                      <a:pt x="187" y="1"/>
                      <a:pt x="94" y="1"/>
                    </a:cubicBezTo>
                    <a:close/>
                    <a:moveTo>
                      <a:pt x="979" y="771"/>
                    </a:moveTo>
                    <a:cubicBezTo>
                      <a:pt x="1071" y="979"/>
                      <a:pt x="1070" y="1164"/>
                      <a:pt x="885" y="1350"/>
                    </a:cubicBezTo>
                    <a:lnTo>
                      <a:pt x="396" y="2048"/>
                    </a:lnTo>
                    <a:lnTo>
                      <a:pt x="978" y="1350"/>
                    </a:lnTo>
                    <a:cubicBezTo>
                      <a:pt x="1071" y="1164"/>
                      <a:pt x="1071" y="979"/>
                      <a:pt x="979" y="771"/>
                    </a:cubicBezTo>
                    <a:close/>
                    <a:moveTo>
                      <a:pt x="395" y="2048"/>
                    </a:moveTo>
                    <a:lnTo>
                      <a:pt x="395" y="2048"/>
                    </a:lnTo>
                    <a:cubicBezTo>
                      <a:pt x="302" y="2048"/>
                      <a:pt x="186" y="2141"/>
                      <a:pt x="1" y="2141"/>
                    </a:cubicBezTo>
                    <a:lnTo>
                      <a:pt x="94" y="2141"/>
                    </a:lnTo>
                    <a:cubicBezTo>
                      <a:pt x="187" y="2141"/>
                      <a:pt x="302" y="2048"/>
                      <a:pt x="395" y="2048"/>
                    </a:cubicBezTo>
                    <a:close/>
                  </a:path>
                </a:pathLst>
              </a:custGeom>
              <a:solidFill>
                <a:srgbClr val="DADBD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9" name="Google Shape;3339;p42">
                <a:extLst>
                  <a:ext uri="{FF2B5EF4-FFF2-40B4-BE49-F238E27FC236}">
                    <a16:creationId xmlns:a16="http://schemas.microsoft.com/office/drawing/2014/main" id="{8B45B985-3F9B-1006-C114-B9AA9C943EE0}"/>
                  </a:ext>
                </a:extLst>
              </p:cNvPr>
              <p:cNvSpPr/>
              <p:nvPr/>
            </p:nvSpPr>
            <p:spPr>
              <a:xfrm>
                <a:off x="1718877" y="4306862"/>
                <a:ext cx="123200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4560" h="2141" extrusionOk="0">
                    <a:moveTo>
                      <a:pt x="0" y="1"/>
                    </a:moveTo>
                    <a:lnTo>
                      <a:pt x="0" y="2141"/>
                    </a:lnTo>
                    <a:lnTo>
                      <a:pt x="3490" y="2141"/>
                    </a:lnTo>
                    <a:cubicBezTo>
                      <a:pt x="3676" y="2141"/>
                      <a:pt x="3792" y="2048"/>
                      <a:pt x="3885" y="2048"/>
                    </a:cubicBezTo>
                    <a:lnTo>
                      <a:pt x="4374" y="1350"/>
                    </a:lnTo>
                    <a:cubicBezTo>
                      <a:pt x="4560" y="1164"/>
                      <a:pt x="4560" y="978"/>
                      <a:pt x="4467" y="768"/>
                    </a:cubicBezTo>
                    <a:lnTo>
                      <a:pt x="3885" y="94"/>
                    </a:lnTo>
                    <a:cubicBezTo>
                      <a:pt x="3792" y="1"/>
                      <a:pt x="3676" y="1"/>
                      <a:pt x="3490" y="1"/>
                    </a:cubicBezTo>
                    <a:close/>
                  </a:path>
                </a:pathLst>
              </a:custGeom>
              <a:solidFill>
                <a:srgbClr val="A5CAD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40" name="Google Shape;3340;p42">
                <a:extLst>
                  <a:ext uri="{FF2B5EF4-FFF2-40B4-BE49-F238E27FC236}">
                    <a16:creationId xmlns:a16="http://schemas.microsoft.com/office/drawing/2014/main" id="{42AF244F-8285-A535-8E19-A5DB45008928}"/>
                  </a:ext>
                </a:extLst>
              </p:cNvPr>
              <p:cNvSpPr/>
              <p:nvPr/>
            </p:nvSpPr>
            <p:spPr>
              <a:xfrm>
                <a:off x="1718877" y="4389382"/>
                <a:ext cx="188582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6980" h="2141" extrusionOk="0">
                    <a:moveTo>
                      <a:pt x="0" y="1"/>
                    </a:moveTo>
                    <a:lnTo>
                      <a:pt x="0" y="2141"/>
                    </a:lnTo>
                    <a:lnTo>
                      <a:pt x="6002" y="2141"/>
                    </a:lnTo>
                    <a:cubicBezTo>
                      <a:pt x="6119" y="2141"/>
                      <a:pt x="6212" y="2048"/>
                      <a:pt x="6305" y="1955"/>
                    </a:cubicBezTo>
                    <a:lnTo>
                      <a:pt x="6886" y="1373"/>
                    </a:lnTo>
                    <a:cubicBezTo>
                      <a:pt x="6979" y="1164"/>
                      <a:pt x="6979" y="978"/>
                      <a:pt x="6886" y="791"/>
                    </a:cubicBezTo>
                    <a:lnTo>
                      <a:pt x="6305" y="94"/>
                    </a:lnTo>
                    <a:cubicBezTo>
                      <a:pt x="6212" y="1"/>
                      <a:pt x="6119" y="1"/>
                      <a:pt x="6002" y="1"/>
                    </a:cubicBezTo>
                    <a:close/>
                  </a:path>
                </a:pathLst>
              </a:custGeom>
              <a:solidFill>
                <a:srgbClr val="BA847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CE75296B-C31E-972B-CD22-FF0DEF0A76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74761" y="729389"/>
            <a:ext cx="6594476" cy="4121119"/>
          </a:xfrm>
          <a:prstGeom prst="round2DiagRect">
            <a:avLst>
              <a:gd name="adj1" fmla="val 868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523870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07">
          <a:extLst>
            <a:ext uri="{FF2B5EF4-FFF2-40B4-BE49-F238E27FC236}">
              <a16:creationId xmlns:a16="http://schemas.microsoft.com/office/drawing/2014/main" id="{4799F27B-ACEA-C353-1B1E-9D67C5D555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425B27F-4268-DC51-6189-0CB3FC5A78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5013" y="619342"/>
            <a:ext cx="7400840" cy="4514632"/>
          </a:xfrm>
          <a:prstGeom prst="round2DiagRect">
            <a:avLst>
              <a:gd name="adj1" fmla="val 749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923AC93-8DBA-0D4D-5ECB-BDECFFFBC3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23AC93-8DBA-0D4D-5ECB-BDECFFFBC3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10" name="Google Shape;3310;p42">
            <a:extLst>
              <a:ext uri="{FF2B5EF4-FFF2-40B4-BE49-F238E27FC236}">
                <a16:creationId xmlns:a16="http://schemas.microsoft.com/office/drawing/2014/main" id="{44E84FB9-BA4C-6C20-98D2-29AA0709108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17068" y="50742"/>
            <a:ext cx="6909863" cy="105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accent1"/>
                </a:solidFill>
              </a:rPr>
              <a:t>SCC with different discount rates</a:t>
            </a:r>
            <a:endParaRPr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4D06C0D-F1E2-7205-8637-88D3A9FB43BB}"/>
              </a:ext>
            </a:extLst>
          </p:cNvPr>
          <p:cNvGrpSpPr/>
          <p:nvPr/>
        </p:nvGrpSpPr>
        <p:grpSpPr>
          <a:xfrm>
            <a:off x="8362500" y="0"/>
            <a:ext cx="781500" cy="781500"/>
            <a:chOff x="5785183" y="1936801"/>
            <a:chExt cx="781500" cy="781500"/>
          </a:xfrm>
        </p:grpSpPr>
        <p:sp>
          <p:nvSpPr>
            <p:cNvPr id="3309" name="Google Shape;3309;p42">
              <a:extLst>
                <a:ext uri="{FF2B5EF4-FFF2-40B4-BE49-F238E27FC236}">
                  <a16:creationId xmlns:a16="http://schemas.microsoft.com/office/drawing/2014/main" id="{05FE1A94-CF89-2899-6E7C-7C04FE1DED8F}"/>
                </a:ext>
              </a:extLst>
            </p:cNvPr>
            <p:cNvSpPr/>
            <p:nvPr/>
          </p:nvSpPr>
          <p:spPr>
            <a:xfrm>
              <a:off x="5785183" y="1936801"/>
              <a:ext cx="781500" cy="781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3315" name="Google Shape;3315;p42">
              <a:extLst>
                <a:ext uri="{FF2B5EF4-FFF2-40B4-BE49-F238E27FC236}">
                  <a16:creationId xmlns:a16="http://schemas.microsoft.com/office/drawing/2014/main" id="{E2065B96-2177-041C-2F46-93D19AA7D21D}"/>
                </a:ext>
              </a:extLst>
            </p:cNvPr>
            <p:cNvGrpSpPr/>
            <p:nvPr/>
          </p:nvGrpSpPr>
          <p:grpSpPr>
            <a:xfrm>
              <a:off x="5947348" y="2098962"/>
              <a:ext cx="457181" cy="457181"/>
              <a:chOff x="4780446" y="4063623"/>
              <a:chExt cx="382163" cy="382163"/>
            </a:xfrm>
          </p:grpSpPr>
          <p:sp>
            <p:nvSpPr>
              <p:cNvPr id="3316" name="Google Shape;3316;p42">
                <a:extLst>
                  <a:ext uri="{FF2B5EF4-FFF2-40B4-BE49-F238E27FC236}">
                    <a16:creationId xmlns:a16="http://schemas.microsoft.com/office/drawing/2014/main" id="{6D5839B8-B95B-C266-B355-492F3D243816}"/>
                  </a:ext>
                </a:extLst>
              </p:cNvPr>
              <p:cNvSpPr/>
              <p:nvPr/>
            </p:nvSpPr>
            <p:spPr>
              <a:xfrm>
                <a:off x="4901133" y="4228295"/>
                <a:ext cx="193607" cy="62870"/>
              </a:xfrm>
              <a:custGeom>
                <a:avLst/>
                <a:gdLst/>
                <a:ahLst/>
                <a:cxnLst/>
                <a:rect l="l" t="t" r="r" b="b"/>
                <a:pathLst>
                  <a:path w="7166" h="2327" extrusionOk="0">
                    <a:moveTo>
                      <a:pt x="0" y="1"/>
                    </a:moveTo>
                    <a:lnTo>
                      <a:pt x="0" y="2327"/>
                    </a:lnTo>
                    <a:lnTo>
                      <a:pt x="7165" y="2327"/>
                    </a:lnTo>
                    <a:lnTo>
                      <a:pt x="5607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17" name="Google Shape;3317;p42">
                <a:extLst>
                  <a:ext uri="{FF2B5EF4-FFF2-40B4-BE49-F238E27FC236}">
                    <a16:creationId xmlns:a16="http://schemas.microsoft.com/office/drawing/2014/main" id="{78715F73-48A9-A642-AE4F-9A3A45996D69}"/>
                  </a:ext>
                </a:extLst>
              </p:cNvPr>
              <p:cNvSpPr/>
              <p:nvPr/>
            </p:nvSpPr>
            <p:spPr>
              <a:xfrm>
                <a:off x="4997910" y="4228295"/>
                <a:ext cx="99343" cy="62870"/>
              </a:xfrm>
              <a:custGeom>
                <a:avLst/>
                <a:gdLst/>
                <a:ahLst/>
                <a:cxnLst/>
                <a:rect l="l" t="t" r="r" b="b"/>
                <a:pathLst>
                  <a:path w="3677" h="2327" extrusionOk="0">
                    <a:moveTo>
                      <a:pt x="1" y="1"/>
                    </a:moveTo>
                    <a:lnTo>
                      <a:pt x="1" y="2327"/>
                    </a:lnTo>
                    <a:lnTo>
                      <a:pt x="3676" y="2327"/>
                    </a:lnTo>
                    <a:lnTo>
                      <a:pt x="2025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18" name="Google Shape;3318;p42">
                <a:extLst>
                  <a:ext uri="{FF2B5EF4-FFF2-40B4-BE49-F238E27FC236}">
                    <a16:creationId xmlns:a16="http://schemas.microsoft.com/office/drawing/2014/main" id="{EB9CAA7C-BA1C-2959-FC53-8771E0DDC913}"/>
                  </a:ext>
                </a:extLst>
              </p:cNvPr>
              <p:cNvSpPr/>
              <p:nvPr/>
            </p:nvSpPr>
            <p:spPr>
              <a:xfrm>
                <a:off x="4780446" y="4095045"/>
                <a:ext cx="172858" cy="258990"/>
              </a:xfrm>
              <a:custGeom>
                <a:avLst/>
                <a:gdLst/>
                <a:ahLst/>
                <a:cxnLst/>
                <a:rect l="l" t="t" r="r" b="b"/>
                <a:pathLst>
                  <a:path w="6398" h="9586" extrusionOk="0">
                    <a:moveTo>
                      <a:pt x="1745" y="1"/>
                    </a:moveTo>
                    <a:cubicBezTo>
                      <a:pt x="768" y="1"/>
                      <a:pt x="0" y="768"/>
                      <a:pt x="0" y="1745"/>
                    </a:cubicBezTo>
                    <a:lnTo>
                      <a:pt x="0" y="7841"/>
                    </a:lnTo>
                    <a:cubicBezTo>
                      <a:pt x="0" y="8818"/>
                      <a:pt x="768" y="9585"/>
                      <a:pt x="1745" y="9585"/>
                    </a:cubicBezTo>
                    <a:cubicBezTo>
                      <a:pt x="1931" y="9585"/>
                      <a:pt x="2141" y="9399"/>
                      <a:pt x="2234" y="9190"/>
                    </a:cubicBezTo>
                    <a:cubicBezTo>
                      <a:pt x="2234" y="9004"/>
                      <a:pt x="2024" y="8725"/>
                      <a:pt x="1745" y="8725"/>
                    </a:cubicBezTo>
                    <a:cubicBezTo>
                      <a:pt x="1257" y="8725"/>
                      <a:pt x="861" y="8329"/>
                      <a:pt x="861" y="7841"/>
                    </a:cubicBezTo>
                    <a:lnTo>
                      <a:pt x="861" y="1745"/>
                    </a:lnTo>
                    <a:cubicBezTo>
                      <a:pt x="861" y="1257"/>
                      <a:pt x="1257" y="768"/>
                      <a:pt x="1745" y="768"/>
                    </a:cubicBezTo>
                    <a:lnTo>
                      <a:pt x="5909" y="768"/>
                    </a:lnTo>
                    <a:cubicBezTo>
                      <a:pt x="6212" y="768"/>
                      <a:pt x="6398" y="582"/>
                      <a:pt x="6398" y="373"/>
                    </a:cubicBezTo>
                    <a:cubicBezTo>
                      <a:pt x="6305" y="187"/>
                      <a:pt x="6096" y="1"/>
                      <a:pt x="5909" y="1"/>
                    </a:cubicBez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19" name="Google Shape;3319;p42">
                <a:extLst>
                  <a:ext uri="{FF2B5EF4-FFF2-40B4-BE49-F238E27FC236}">
                    <a16:creationId xmlns:a16="http://schemas.microsoft.com/office/drawing/2014/main" id="{79781C93-305B-390C-5117-AD020E6DE360}"/>
                  </a:ext>
                </a:extLst>
              </p:cNvPr>
              <p:cNvSpPr/>
              <p:nvPr/>
            </p:nvSpPr>
            <p:spPr>
              <a:xfrm>
                <a:off x="4830104" y="4207546"/>
                <a:ext cx="332504" cy="201794"/>
              </a:xfrm>
              <a:custGeom>
                <a:avLst/>
                <a:gdLst/>
                <a:ahLst/>
                <a:cxnLst/>
                <a:rect l="l" t="t" r="r" b="b"/>
                <a:pathLst>
                  <a:path w="12307" h="7469" extrusionOk="0">
                    <a:moveTo>
                      <a:pt x="5723" y="769"/>
                    </a:moveTo>
                    <a:lnTo>
                      <a:pt x="5723" y="3002"/>
                    </a:lnTo>
                    <a:lnTo>
                      <a:pt x="3978" y="3002"/>
                    </a:lnTo>
                    <a:cubicBezTo>
                      <a:pt x="3211" y="3002"/>
                      <a:pt x="2722" y="2420"/>
                      <a:pt x="2722" y="1746"/>
                    </a:cubicBezTo>
                    <a:lnTo>
                      <a:pt x="2722" y="1164"/>
                    </a:lnTo>
                    <a:cubicBezTo>
                      <a:pt x="2722" y="955"/>
                      <a:pt x="2908" y="769"/>
                      <a:pt x="3094" y="769"/>
                    </a:cubicBezTo>
                    <a:close/>
                    <a:moveTo>
                      <a:pt x="6979" y="769"/>
                    </a:moveTo>
                    <a:cubicBezTo>
                      <a:pt x="7375" y="769"/>
                      <a:pt x="7747" y="955"/>
                      <a:pt x="7957" y="1257"/>
                    </a:cubicBezTo>
                    <a:lnTo>
                      <a:pt x="9306" y="3002"/>
                    </a:lnTo>
                    <a:lnTo>
                      <a:pt x="6584" y="3002"/>
                    </a:lnTo>
                    <a:lnTo>
                      <a:pt x="6584" y="769"/>
                    </a:lnTo>
                    <a:close/>
                    <a:moveTo>
                      <a:pt x="3001" y="1"/>
                    </a:moveTo>
                    <a:cubicBezTo>
                      <a:pt x="2327" y="1"/>
                      <a:pt x="1652" y="373"/>
                      <a:pt x="1257" y="955"/>
                    </a:cubicBezTo>
                    <a:lnTo>
                      <a:pt x="303" y="2513"/>
                    </a:lnTo>
                    <a:cubicBezTo>
                      <a:pt x="93" y="2816"/>
                      <a:pt x="0" y="3188"/>
                      <a:pt x="0" y="3583"/>
                    </a:cubicBezTo>
                    <a:lnTo>
                      <a:pt x="0" y="5421"/>
                    </a:lnTo>
                    <a:cubicBezTo>
                      <a:pt x="0" y="6003"/>
                      <a:pt x="186" y="6491"/>
                      <a:pt x="582" y="6887"/>
                    </a:cubicBezTo>
                    <a:cubicBezTo>
                      <a:pt x="977" y="7259"/>
                      <a:pt x="1559" y="7468"/>
                      <a:pt x="2048" y="7468"/>
                    </a:cubicBezTo>
                    <a:lnTo>
                      <a:pt x="11051" y="7468"/>
                    </a:lnTo>
                    <a:cubicBezTo>
                      <a:pt x="11725" y="7468"/>
                      <a:pt x="12307" y="6980"/>
                      <a:pt x="12307" y="6305"/>
                    </a:cubicBezTo>
                    <a:lnTo>
                      <a:pt x="12307" y="5235"/>
                    </a:lnTo>
                    <a:cubicBezTo>
                      <a:pt x="12307" y="4072"/>
                      <a:pt x="11446" y="3095"/>
                      <a:pt x="10376" y="3002"/>
                    </a:cubicBezTo>
                    <a:lnTo>
                      <a:pt x="8631" y="769"/>
                    </a:lnTo>
                    <a:cubicBezTo>
                      <a:pt x="8236" y="280"/>
                      <a:pt x="7654" y="1"/>
                      <a:pt x="6979" y="1"/>
                    </a:cubicBezTo>
                    <a:close/>
                  </a:path>
                </a:pathLst>
              </a:custGeom>
              <a:solidFill>
                <a:srgbClr val="8AC93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0" name="Google Shape;3320;p42">
                <a:extLst>
                  <a:ext uri="{FF2B5EF4-FFF2-40B4-BE49-F238E27FC236}">
                    <a16:creationId xmlns:a16="http://schemas.microsoft.com/office/drawing/2014/main" id="{2D1C5ADE-5FC1-9E1F-21A6-1BF79C7CB497}"/>
                  </a:ext>
                </a:extLst>
              </p:cNvPr>
              <p:cNvSpPr/>
              <p:nvPr/>
            </p:nvSpPr>
            <p:spPr>
              <a:xfrm>
                <a:off x="4997910" y="4207546"/>
                <a:ext cx="164699" cy="201794"/>
              </a:xfrm>
              <a:custGeom>
                <a:avLst/>
                <a:gdLst/>
                <a:ahLst/>
                <a:cxnLst/>
                <a:rect l="l" t="t" r="r" b="b"/>
                <a:pathLst>
                  <a:path w="6096" h="7469" extrusionOk="0">
                    <a:moveTo>
                      <a:pt x="768" y="769"/>
                    </a:moveTo>
                    <a:cubicBezTo>
                      <a:pt x="1164" y="769"/>
                      <a:pt x="1536" y="955"/>
                      <a:pt x="1746" y="1257"/>
                    </a:cubicBezTo>
                    <a:lnTo>
                      <a:pt x="3095" y="3002"/>
                    </a:lnTo>
                    <a:lnTo>
                      <a:pt x="373" y="3002"/>
                    </a:lnTo>
                    <a:lnTo>
                      <a:pt x="373" y="769"/>
                    </a:lnTo>
                    <a:close/>
                    <a:moveTo>
                      <a:pt x="1" y="1"/>
                    </a:moveTo>
                    <a:lnTo>
                      <a:pt x="1" y="7468"/>
                    </a:lnTo>
                    <a:lnTo>
                      <a:pt x="4840" y="7468"/>
                    </a:lnTo>
                    <a:cubicBezTo>
                      <a:pt x="5514" y="7468"/>
                      <a:pt x="6096" y="6980"/>
                      <a:pt x="6096" y="6305"/>
                    </a:cubicBezTo>
                    <a:lnTo>
                      <a:pt x="6096" y="5235"/>
                    </a:lnTo>
                    <a:cubicBezTo>
                      <a:pt x="6096" y="4072"/>
                      <a:pt x="5235" y="3095"/>
                      <a:pt x="4165" y="3002"/>
                    </a:cubicBezTo>
                    <a:lnTo>
                      <a:pt x="2420" y="769"/>
                    </a:lnTo>
                    <a:cubicBezTo>
                      <a:pt x="2025" y="280"/>
                      <a:pt x="1443" y="1"/>
                      <a:pt x="768" y="1"/>
                    </a:cubicBezTo>
                    <a:close/>
                  </a:path>
                </a:pathLst>
              </a:custGeom>
              <a:solidFill>
                <a:srgbClr val="00B44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1" name="Google Shape;3321;p42">
                <a:extLst>
                  <a:ext uri="{FF2B5EF4-FFF2-40B4-BE49-F238E27FC236}">
                    <a16:creationId xmlns:a16="http://schemas.microsoft.com/office/drawing/2014/main" id="{1FC06797-1D49-621B-42DC-F1FC218626C6}"/>
                  </a:ext>
                </a:extLst>
              </p:cNvPr>
              <p:cNvSpPr/>
              <p:nvPr/>
            </p:nvSpPr>
            <p:spPr>
              <a:xfrm>
                <a:off x="4987238" y="4071161"/>
                <a:ext cx="47173" cy="23910"/>
              </a:xfrm>
              <a:custGeom>
                <a:avLst/>
                <a:gdLst/>
                <a:ahLst/>
                <a:cxnLst/>
                <a:rect l="l" t="t" r="r" b="b"/>
                <a:pathLst>
                  <a:path w="1746" h="885" extrusionOk="0">
                    <a:moveTo>
                      <a:pt x="396" y="1"/>
                    </a:moveTo>
                    <a:cubicBezTo>
                      <a:pt x="186" y="1"/>
                      <a:pt x="0" y="303"/>
                      <a:pt x="0" y="489"/>
                    </a:cubicBezTo>
                    <a:cubicBezTo>
                      <a:pt x="0" y="675"/>
                      <a:pt x="186" y="885"/>
                      <a:pt x="396" y="885"/>
                    </a:cubicBezTo>
                    <a:lnTo>
                      <a:pt x="1350" y="885"/>
                    </a:lnTo>
                    <a:cubicBezTo>
                      <a:pt x="1559" y="885"/>
                      <a:pt x="1745" y="675"/>
                      <a:pt x="1745" y="396"/>
                    </a:cubicBezTo>
                    <a:cubicBezTo>
                      <a:pt x="1745" y="187"/>
                      <a:pt x="1559" y="1"/>
                      <a:pt x="1257" y="1"/>
                    </a:cubicBez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2" name="Google Shape;3322;p42">
                <a:extLst>
                  <a:ext uri="{FF2B5EF4-FFF2-40B4-BE49-F238E27FC236}">
                    <a16:creationId xmlns:a16="http://schemas.microsoft.com/office/drawing/2014/main" id="{F10EC6D8-D26A-D922-8479-6A3CD2319C8A}"/>
                  </a:ext>
                </a:extLst>
              </p:cNvPr>
              <p:cNvSpPr/>
              <p:nvPr/>
            </p:nvSpPr>
            <p:spPr>
              <a:xfrm>
                <a:off x="4987238" y="4115794"/>
                <a:ext cx="47173" cy="23289"/>
              </a:xfrm>
              <a:custGeom>
                <a:avLst/>
                <a:gdLst/>
                <a:ahLst/>
                <a:cxnLst/>
                <a:rect l="l" t="t" r="r" b="b"/>
                <a:pathLst>
                  <a:path w="1746" h="862" extrusionOk="0">
                    <a:moveTo>
                      <a:pt x="396" y="0"/>
                    </a:moveTo>
                    <a:cubicBezTo>
                      <a:pt x="186" y="0"/>
                      <a:pt x="0" y="280"/>
                      <a:pt x="0" y="489"/>
                    </a:cubicBezTo>
                    <a:cubicBezTo>
                      <a:pt x="0" y="675"/>
                      <a:pt x="186" y="861"/>
                      <a:pt x="396" y="861"/>
                    </a:cubicBezTo>
                    <a:lnTo>
                      <a:pt x="1350" y="861"/>
                    </a:lnTo>
                    <a:cubicBezTo>
                      <a:pt x="1559" y="861"/>
                      <a:pt x="1745" y="675"/>
                      <a:pt x="1745" y="396"/>
                    </a:cubicBezTo>
                    <a:cubicBezTo>
                      <a:pt x="1745" y="186"/>
                      <a:pt x="1559" y="0"/>
                      <a:pt x="1257" y="0"/>
                    </a:cubicBezTo>
                    <a:close/>
                  </a:path>
                </a:pathLst>
              </a:custGeom>
              <a:solidFill>
                <a:srgbClr val="AAAC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3" name="Google Shape;3323;p42">
                <a:extLst>
                  <a:ext uri="{FF2B5EF4-FFF2-40B4-BE49-F238E27FC236}">
                    <a16:creationId xmlns:a16="http://schemas.microsoft.com/office/drawing/2014/main" id="{9D33D3AF-12E4-750D-C359-9409C88725D9}"/>
                  </a:ext>
                </a:extLst>
              </p:cNvPr>
              <p:cNvSpPr/>
              <p:nvPr/>
            </p:nvSpPr>
            <p:spPr>
              <a:xfrm>
                <a:off x="4929393" y="4063623"/>
                <a:ext cx="68543" cy="83619"/>
              </a:xfrm>
              <a:custGeom>
                <a:avLst/>
                <a:gdLst/>
                <a:ahLst/>
                <a:cxnLst/>
                <a:rect l="l" t="t" r="r" b="b"/>
                <a:pathLst>
                  <a:path w="2537" h="3095" extrusionOk="0">
                    <a:moveTo>
                      <a:pt x="1653" y="0"/>
                    </a:moveTo>
                    <a:cubicBezTo>
                      <a:pt x="699" y="0"/>
                      <a:pt x="1" y="768"/>
                      <a:pt x="117" y="1745"/>
                    </a:cubicBezTo>
                    <a:cubicBezTo>
                      <a:pt x="117" y="2513"/>
                      <a:pt x="792" y="3095"/>
                      <a:pt x="1653" y="3095"/>
                    </a:cubicBezTo>
                    <a:lnTo>
                      <a:pt x="2048" y="3095"/>
                    </a:lnTo>
                    <a:cubicBezTo>
                      <a:pt x="2327" y="3095"/>
                      <a:pt x="2537" y="2908"/>
                      <a:pt x="2537" y="2699"/>
                    </a:cubicBezTo>
                    <a:lnTo>
                      <a:pt x="2537" y="466"/>
                    </a:lnTo>
                    <a:cubicBezTo>
                      <a:pt x="2537" y="187"/>
                      <a:pt x="2327" y="0"/>
                      <a:pt x="204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4" name="Google Shape;3324;p42">
                <a:extLst>
                  <a:ext uri="{FF2B5EF4-FFF2-40B4-BE49-F238E27FC236}">
                    <a16:creationId xmlns:a16="http://schemas.microsoft.com/office/drawing/2014/main" id="{B196C4A3-9F9C-1849-177E-2A3AC660A3DF}"/>
                  </a:ext>
                </a:extLst>
              </p:cNvPr>
              <p:cNvSpPr/>
              <p:nvPr/>
            </p:nvSpPr>
            <p:spPr>
              <a:xfrm>
                <a:off x="4877249" y="4367192"/>
                <a:ext cx="71029" cy="70435"/>
              </a:xfrm>
              <a:custGeom>
                <a:avLst/>
                <a:gdLst/>
                <a:ahLst/>
                <a:cxnLst/>
                <a:rect l="l" t="t" r="r" b="b"/>
                <a:pathLst>
                  <a:path w="2629" h="2607" extrusionOk="0">
                    <a:moveTo>
                      <a:pt x="489" y="489"/>
                    </a:moveTo>
                    <a:cubicBezTo>
                      <a:pt x="884" y="1"/>
                      <a:pt x="1652" y="1"/>
                      <a:pt x="2140" y="489"/>
                    </a:cubicBezTo>
                    <a:cubicBezTo>
                      <a:pt x="2629" y="862"/>
                      <a:pt x="2629" y="1653"/>
                      <a:pt x="2140" y="2141"/>
                    </a:cubicBezTo>
                    <a:cubicBezTo>
                      <a:pt x="1652" y="2606"/>
                      <a:pt x="884" y="2606"/>
                      <a:pt x="489" y="2141"/>
                    </a:cubicBezTo>
                    <a:cubicBezTo>
                      <a:pt x="0" y="1653"/>
                      <a:pt x="0" y="862"/>
                      <a:pt x="489" y="489"/>
                    </a:cubicBezTo>
                    <a:close/>
                  </a:path>
                </a:pathLst>
              </a:custGeom>
              <a:solidFill>
                <a:srgbClr val="A1E1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5" name="Google Shape;3325;p42">
                <a:extLst>
                  <a:ext uri="{FF2B5EF4-FFF2-40B4-BE49-F238E27FC236}">
                    <a16:creationId xmlns:a16="http://schemas.microsoft.com/office/drawing/2014/main" id="{D294012E-6D2B-5E5D-F099-065876BF39FB}"/>
                  </a:ext>
                </a:extLst>
              </p:cNvPr>
              <p:cNvSpPr/>
              <p:nvPr/>
            </p:nvSpPr>
            <p:spPr>
              <a:xfrm>
                <a:off x="4869685" y="4359033"/>
                <a:ext cx="86159" cy="86753"/>
              </a:xfrm>
              <a:custGeom>
                <a:avLst/>
                <a:gdLst/>
                <a:ahLst/>
                <a:cxnLst/>
                <a:rect l="l" t="t" r="r" b="b"/>
                <a:pathLst>
                  <a:path w="3189" h="3211" extrusionOk="0">
                    <a:moveTo>
                      <a:pt x="1536" y="791"/>
                    </a:moveTo>
                    <a:cubicBezTo>
                      <a:pt x="2025" y="791"/>
                      <a:pt x="2327" y="1164"/>
                      <a:pt x="2327" y="1559"/>
                    </a:cubicBezTo>
                    <a:cubicBezTo>
                      <a:pt x="2327" y="2048"/>
                      <a:pt x="2025" y="2327"/>
                      <a:pt x="1536" y="2327"/>
                    </a:cubicBezTo>
                    <a:cubicBezTo>
                      <a:pt x="1164" y="2327"/>
                      <a:pt x="769" y="2048"/>
                      <a:pt x="769" y="1559"/>
                    </a:cubicBezTo>
                    <a:cubicBezTo>
                      <a:pt x="769" y="1164"/>
                      <a:pt x="1164" y="791"/>
                      <a:pt x="1536" y="791"/>
                    </a:cubicBezTo>
                    <a:close/>
                    <a:moveTo>
                      <a:pt x="1536" y="0"/>
                    </a:moveTo>
                    <a:cubicBezTo>
                      <a:pt x="676" y="0"/>
                      <a:pt x="1" y="698"/>
                      <a:pt x="1" y="1559"/>
                    </a:cubicBezTo>
                    <a:cubicBezTo>
                      <a:pt x="1" y="2443"/>
                      <a:pt x="676" y="3211"/>
                      <a:pt x="1536" y="3211"/>
                    </a:cubicBezTo>
                    <a:cubicBezTo>
                      <a:pt x="2420" y="3211"/>
                      <a:pt x="3188" y="2443"/>
                      <a:pt x="3188" y="1559"/>
                    </a:cubicBezTo>
                    <a:cubicBezTo>
                      <a:pt x="3188" y="698"/>
                      <a:pt x="2420" y="0"/>
                      <a:pt x="153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6" name="Google Shape;3326;p42">
                <a:extLst>
                  <a:ext uri="{FF2B5EF4-FFF2-40B4-BE49-F238E27FC236}">
                    <a16:creationId xmlns:a16="http://schemas.microsoft.com/office/drawing/2014/main" id="{DB1FF7B3-9F72-784A-16FF-A927857042D2}"/>
                  </a:ext>
                </a:extLst>
              </p:cNvPr>
              <p:cNvSpPr/>
              <p:nvPr/>
            </p:nvSpPr>
            <p:spPr>
              <a:xfrm>
                <a:off x="5045055" y="4367192"/>
                <a:ext cx="70435" cy="70435"/>
              </a:xfrm>
              <a:custGeom>
                <a:avLst/>
                <a:gdLst/>
                <a:ahLst/>
                <a:cxnLst/>
                <a:rect l="l" t="t" r="r" b="b"/>
                <a:pathLst>
                  <a:path w="2607" h="2607" extrusionOk="0">
                    <a:moveTo>
                      <a:pt x="489" y="489"/>
                    </a:moveTo>
                    <a:cubicBezTo>
                      <a:pt x="954" y="1"/>
                      <a:pt x="1745" y="1"/>
                      <a:pt x="2118" y="489"/>
                    </a:cubicBezTo>
                    <a:cubicBezTo>
                      <a:pt x="2606" y="862"/>
                      <a:pt x="2606" y="1653"/>
                      <a:pt x="2118" y="2141"/>
                    </a:cubicBezTo>
                    <a:cubicBezTo>
                      <a:pt x="1745" y="2606"/>
                      <a:pt x="954" y="2606"/>
                      <a:pt x="489" y="2141"/>
                    </a:cubicBezTo>
                    <a:cubicBezTo>
                      <a:pt x="1" y="1653"/>
                      <a:pt x="1" y="862"/>
                      <a:pt x="489" y="489"/>
                    </a:cubicBezTo>
                    <a:close/>
                  </a:path>
                </a:pathLst>
              </a:custGeom>
              <a:solidFill>
                <a:srgbClr val="A1E1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7" name="Google Shape;3327;p42">
                <a:extLst>
                  <a:ext uri="{FF2B5EF4-FFF2-40B4-BE49-F238E27FC236}">
                    <a16:creationId xmlns:a16="http://schemas.microsoft.com/office/drawing/2014/main" id="{54324DDE-0B95-8BA7-4605-4BED70C296A8}"/>
                  </a:ext>
                </a:extLst>
              </p:cNvPr>
              <p:cNvSpPr/>
              <p:nvPr/>
            </p:nvSpPr>
            <p:spPr>
              <a:xfrm>
                <a:off x="5036896" y="4359033"/>
                <a:ext cx="86753" cy="86753"/>
              </a:xfrm>
              <a:custGeom>
                <a:avLst/>
                <a:gdLst/>
                <a:ahLst/>
                <a:cxnLst/>
                <a:rect l="l" t="t" r="r" b="b"/>
                <a:pathLst>
                  <a:path w="3211" h="3211" extrusionOk="0">
                    <a:moveTo>
                      <a:pt x="1652" y="791"/>
                    </a:moveTo>
                    <a:cubicBezTo>
                      <a:pt x="2047" y="791"/>
                      <a:pt x="2420" y="1164"/>
                      <a:pt x="2420" y="1559"/>
                    </a:cubicBezTo>
                    <a:cubicBezTo>
                      <a:pt x="2420" y="2048"/>
                      <a:pt x="2047" y="2327"/>
                      <a:pt x="1652" y="2327"/>
                    </a:cubicBezTo>
                    <a:cubicBezTo>
                      <a:pt x="1163" y="2327"/>
                      <a:pt x="884" y="2048"/>
                      <a:pt x="884" y="1559"/>
                    </a:cubicBezTo>
                    <a:cubicBezTo>
                      <a:pt x="884" y="1164"/>
                      <a:pt x="1163" y="791"/>
                      <a:pt x="1652" y="791"/>
                    </a:cubicBezTo>
                    <a:close/>
                    <a:moveTo>
                      <a:pt x="1652" y="0"/>
                    </a:moveTo>
                    <a:cubicBezTo>
                      <a:pt x="791" y="0"/>
                      <a:pt x="0" y="698"/>
                      <a:pt x="0" y="1559"/>
                    </a:cubicBezTo>
                    <a:cubicBezTo>
                      <a:pt x="0" y="2443"/>
                      <a:pt x="791" y="3211"/>
                      <a:pt x="1652" y="3211"/>
                    </a:cubicBezTo>
                    <a:cubicBezTo>
                      <a:pt x="2536" y="3211"/>
                      <a:pt x="3211" y="2443"/>
                      <a:pt x="3211" y="1559"/>
                    </a:cubicBezTo>
                    <a:cubicBezTo>
                      <a:pt x="3211" y="698"/>
                      <a:pt x="2536" y="0"/>
                      <a:pt x="165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8" name="Google Shape;3328;p42">
                <a:extLst>
                  <a:ext uri="{FF2B5EF4-FFF2-40B4-BE49-F238E27FC236}">
                    <a16:creationId xmlns:a16="http://schemas.microsoft.com/office/drawing/2014/main" id="{04780D9F-96B2-917B-DF6B-422FFC2BECF6}"/>
                  </a:ext>
                </a:extLst>
              </p:cNvPr>
              <p:cNvSpPr/>
              <p:nvPr/>
            </p:nvSpPr>
            <p:spPr>
              <a:xfrm>
                <a:off x="5133673" y="4327611"/>
                <a:ext cx="28936" cy="21398"/>
              </a:xfrm>
              <a:custGeom>
                <a:avLst/>
                <a:gdLst/>
                <a:ahLst/>
                <a:cxnLst/>
                <a:rect l="l" t="t" r="r" b="b"/>
                <a:pathLst>
                  <a:path w="1071" h="792" extrusionOk="0">
                    <a:moveTo>
                      <a:pt x="396" y="0"/>
                    </a:moveTo>
                    <a:cubicBezTo>
                      <a:pt x="210" y="0"/>
                      <a:pt x="1" y="210"/>
                      <a:pt x="1" y="396"/>
                    </a:cubicBezTo>
                    <a:cubicBezTo>
                      <a:pt x="1" y="582"/>
                      <a:pt x="210" y="791"/>
                      <a:pt x="396" y="791"/>
                    </a:cubicBezTo>
                    <a:lnTo>
                      <a:pt x="1071" y="791"/>
                    </a:lnTo>
                    <a:lnTo>
                      <a:pt x="1071" y="698"/>
                    </a:lnTo>
                    <a:cubicBezTo>
                      <a:pt x="1071" y="489"/>
                      <a:pt x="1071" y="210"/>
                      <a:pt x="978" y="0"/>
                    </a:cubicBez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29" name="Google Shape;3329;p42">
                <a:extLst>
                  <a:ext uri="{FF2B5EF4-FFF2-40B4-BE49-F238E27FC236}">
                    <a16:creationId xmlns:a16="http://schemas.microsoft.com/office/drawing/2014/main" id="{0BB11C4E-0F10-93BB-213B-1CB6736A6608}"/>
                  </a:ext>
                </a:extLst>
              </p:cNvPr>
              <p:cNvSpPr/>
              <p:nvPr/>
            </p:nvSpPr>
            <p:spPr>
              <a:xfrm>
                <a:off x="4830104" y="4327611"/>
                <a:ext cx="31448" cy="21398"/>
              </a:xfrm>
              <a:custGeom>
                <a:avLst/>
                <a:gdLst/>
                <a:ahLst/>
                <a:cxnLst/>
                <a:rect l="l" t="t" r="r" b="b"/>
                <a:pathLst>
                  <a:path w="1164" h="792" extrusionOk="0">
                    <a:moveTo>
                      <a:pt x="0" y="0"/>
                    </a:moveTo>
                    <a:lnTo>
                      <a:pt x="0" y="791"/>
                    </a:lnTo>
                    <a:lnTo>
                      <a:pt x="675" y="791"/>
                    </a:lnTo>
                    <a:cubicBezTo>
                      <a:pt x="884" y="791"/>
                      <a:pt x="1070" y="698"/>
                      <a:pt x="1163" y="489"/>
                    </a:cubicBezTo>
                    <a:cubicBezTo>
                      <a:pt x="1163" y="210"/>
                      <a:pt x="977" y="0"/>
                      <a:pt x="675" y="0"/>
                    </a:cubicBezTo>
                    <a:close/>
                  </a:path>
                </a:pathLst>
              </a:custGeom>
              <a:solidFill>
                <a:srgbClr val="B3766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0F04A4AE-7061-13C2-E51F-91DF9A95D51E}"/>
              </a:ext>
            </a:extLst>
          </p:cNvPr>
          <p:cNvGrpSpPr/>
          <p:nvPr/>
        </p:nvGrpSpPr>
        <p:grpSpPr>
          <a:xfrm>
            <a:off x="0" y="4362000"/>
            <a:ext cx="781500" cy="781500"/>
            <a:chOff x="2577308" y="1936801"/>
            <a:chExt cx="781500" cy="781500"/>
          </a:xfrm>
        </p:grpSpPr>
        <p:sp>
          <p:nvSpPr>
            <p:cNvPr id="3308" name="Google Shape;3308;p42">
              <a:extLst>
                <a:ext uri="{FF2B5EF4-FFF2-40B4-BE49-F238E27FC236}">
                  <a16:creationId xmlns:a16="http://schemas.microsoft.com/office/drawing/2014/main" id="{E0E6F51C-8D38-85BB-6A74-E4A1FCF5F858}"/>
                </a:ext>
              </a:extLst>
            </p:cNvPr>
            <p:cNvSpPr/>
            <p:nvPr/>
          </p:nvSpPr>
          <p:spPr>
            <a:xfrm>
              <a:off x="2577308" y="1936801"/>
              <a:ext cx="781500" cy="781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3330" name="Google Shape;3330;p42">
              <a:extLst>
                <a:ext uri="{FF2B5EF4-FFF2-40B4-BE49-F238E27FC236}">
                  <a16:creationId xmlns:a16="http://schemas.microsoft.com/office/drawing/2014/main" id="{E85D9065-271B-D3ED-7B1E-6402FB56E832}"/>
                </a:ext>
              </a:extLst>
            </p:cNvPr>
            <p:cNvGrpSpPr/>
            <p:nvPr/>
          </p:nvGrpSpPr>
          <p:grpSpPr>
            <a:xfrm>
              <a:off x="2798193" y="2106939"/>
              <a:ext cx="457207" cy="464811"/>
              <a:chOff x="1527782" y="4063623"/>
              <a:chExt cx="379677" cy="383603"/>
            </a:xfrm>
          </p:grpSpPr>
          <p:sp>
            <p:nvSpPr>
              <p:cNvPr id="3331" name="Google Shape;3331;p42">
                <a:extLst>
                  <a:ext uri="{FF2B5EF4-FFF2-40B4-BE49-F238E27FC236}">
                    <a16:creationId xmlns:a16="http://schemas.microsoft.com/office/drawing/2014/main" id="{16AE087E-A89B-1090-9BE5-83AD2075E4E3}"/>
                  </a:ext>
                </a:extLst>
              </p:cNvPr>
              <p:cNvSpPr/>
              <p:nvPr/>
            </p:nvSpPr>
            <p:spPr>
              <a:xfrm>
                <a:off x="1527782" y="4063623"/>
                <a:ext cx="123227" cy="57223"/>
              </a:xfrm>
              <a:custGeom>
                <a:avLst/>
                <a:gdLst/>
                <a:ahLst/>
                <a:cxnLst/>
                <a:rect l="l" t="t" r="r" b="b"/>
                <a:pathLst>
                  <a:path w="4561" h="2118" extrusionOk="0">
                    <a:moveTo>
                      <a:pt x="396" y="0"/>
                    </a:moveTo>
                    <a:cubicBezTo>
                      <a:pt x="187" y="0"/>
                      <a:pt x="1" y="187"/>
                      <a:pt x="1" y="466"/>
                    </a:cubicBezTo>
                    <a:lnTo>
                      <a:pt x="1" y="1745"/>
                    </a:lnTo>
                    <a:cubicBezTo>
                      <a:pt x="1" y="2024"/>
                      <a:pt x="187" y="2117"/>
                      <a:pt x="396" y="2117"/>
                    </a:cubicBezTo>
                    <a:lnTo>
                      <a:pt x="3491" y="2117"/>
                    </a:lnTo>
                    <a:cubicBezTo>
                      <a:pt x="3677" y="2117"/>
                      <a:pt x="3770" y="2117"/>
                      <a:pt x="3770" y="2024"/>
                    </a:cubicBezTo>
                    <a:lnTo>
                      <a:pt x="4351" y="1443"/>
                    </a:lnTo>
                    <a:cubicBezTo>
                      <a:pt x="4561" y="1257"/>
                      <a:pt x="4561" y="1047"/>
                      <a:pt x="4468" y="861"/>
                    </a:cubicBezTo>
                    <a:lnTo>
                      <a:pt x="3886" y="187"/>
                    </a:lnTo>
                    <a:cubicBezTo>
                      <a:pt x="3770" y="94"/>
                      <a:pt x="3677" y="0"/>
                      <a:pt x="3491" y="0"/>
                    </a:cubicBezTo>
                    <a:close/>
                  </a:path>
                </a:pathLst>
              </a:custGeom>
              <a:solidFill>
                <a:srgbClr val="00B44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2" name="Google Shape;3332;p42">
                <a:extLst>
                  <a:ext uri="{FF2B5EF4-FFF2-40B4-BE49-F238E27FC236}">
                    <a16:creationId xmlns:a16="http://schemas.microsoft.com/office/drawing/2014/main" id="{A218A059-6A78-DF40-76EA-C47806A21751}"/>
                  </a:ext>
                </a:extLst>
              </p:cNvPr>
              <p:cNvSpPr/>
              <p:nvPr/>
            </p:nvSpPr>
            <p:spPr>
              <a:xfrm>
                <a:off x="1527782" y="4144703"/>
                <a:ext cx="191122" cy="57223"/>
              </a:xfrm>
              <a:custGeom>
                <a:avLst/>
                <a:gdLst/>
                <a:ahLst/>
                <a:cxnLst/>
                <a:rect l="l" t="t" r="r" b="b"/>
                <a:pathLst>
                  <a:path w="7074" h="2118" extrusionOk="0">
                    <a:moveTo>
                      <a:pt x="396" y="1"/>
                    </a:moveTo>
                    <a:cubicBezTo>
                      <a:pt x="187" y="1"/>
                      <a:pt x="1" y="187"/>
                      <a:pt x="1" y="373"/>
                    </a:cubicBezTo>
                    <a:lnTo>
                      <a:pt x="1" y="1745"/>
                    </a:lnTo>
                    <a:cubicBezTo>
                      <a:pt x="1" y="1931"/>
                      <a:pt x="187" y="2117"/>
                      <a:pt x="396" y="2117"/>
                    </a:cubicBezTo>
                    <a:lnTo>
                      <a:pt x="6003" y="2117"/>
                    </a:lnTo>
                    <a:cubicBezTo>
                      <a:pt x="6212" y="2117"/>
                      <a:pt x="6305" y="2117"/>
                      <a:pt x="6399" y="2024"/>
                    </a:cubicBezTo>
                    <a:lnTo>
                      <a:pt x="6887" y="1350"/>
                    </a:lnTo>
                    <a:cubicBezTo>
                      <a:pt x="7073" y="1257"/>
                      <a:pt x="7073" y="954"/>
                      <a:pt x="6980" y="861"/>
                    </a:cubicBezTo>
                    <a:lnTo>
                      <a:pt x="6399" y="187"/>
                    </a:lnTo>
                    <a:cubicBezTo>
                      <a:pt x="6305" y="94"/>
                      <a:pt x="6212" y="1"/>
                      <a:pt x="6003" y="1"/>
                    </a:cubicBezTo>
                    <a:close/>
                  </a:path>
                </a:pathLst>
              </a:custGeom>
              <a:solidFill>
                <a:srgbClr val="8AC93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3" name="Google Shape;3333;p42">
                <a:extLst>
                  <a:ext uri="{FF2B5EF4-FFF2-40B4-BE49-F238E27FC236}">
                    <a16:creationId xmlns:a16="http://schemas.microsoft.com/office/drawing/2014/main" id="{F17B28DE-D736-2549-E803-84360286DDF8}"/>
                  </a:ext>
                </a:extLst>
              </p:cNvPr>
              <p:cNvSpPr/>
              <p:nvPr/>
            </p:nvSpPr>
            <p:spPr>
              <a:xfrm>
                <a:off x="1527782" y="4225782"/>
                <a:ext cx="253964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9400" h="2141" extrusionOk="0">
                    <a:moveTo>
                      <a:pt x="396" y="1"/>
                    </a:moveTo>
                    <a:cubicBezTo>
                      <a:pt x="187" y="1"/>
                      <a:pt x="1" y="187"/>
                      <a:pt x="1" y="396"/>
                    </a:cubicBezTo>
                    <a:lnTo>
                      <a:pt x="1" y="1745"/>
                    </a:lnTo>
                    <a:cubicBezTo>
                      <a:pt x="1" y="1931"/>
                      <a:pt x="187" y="2141"/>
                      <a:pt x="396" y="2141"/>
                    </a:cubicBezTo>
                    <a:lnTo>
                      <a:pt x="8329" y="2141"/>
                    </a:lnTo>
                    <a:cubicBezTo>
                      <a:pt x="8539" y="2141"/>
                      <a:pt x="8632" y="2141"/>
                      <a:pt x="8725" y="2024"/>
                    </a:cubicBezTo>
                    <a:lnTo>
                      <a:pt x="9307" y="1350"/>
                    </a:lnTo>
                    <a:cubicBezTo>
                      <a:pt x="9400" y="1257"/>
                      <a:pt x="9400" y="978"/>
                      <a:pt x="9307" y="861"/>
                    </a:cubicBezTo>
                    <a:lnTo>
                      <a:pt x="8725" y="187"/>
                    </a:lnTo>
                    <a:cubicBezTo>
                      <a:pt x="8632" y="94"/>
                      <a:pt x="8539" y="1"/>
                      <a:pt x="8329" y="1"/>
                    </a:cubicBezTo>
                    <a:close/>
                  </a:path>
                </a:pathLst>
              </a:custGeom>
              <a:solidFill>
                <a:srgbClr val="FFD65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4" name="Google Shape;3334;p42">
                <a:extLst>
                  <a:ext uri="{FF2B5EF4-FFF2-40B4-BE49-F238E27FC236}">
                    <a16:creationId xmlns:a16="http://schemas.microsoft.com/office/drawing/2014/main" id="{13FF966B-9BAC-AADC-7403-9A2FDB659D20}"/>
                  </a:ext>
                </a:extLst>
              </p:cNvPr>
              <p:cNvSpPr/>
              <p:nvPr/>
            </p:nvSpPr>
            <p:spPr>
              <a:xfrm>
                <a:off x="1527782" y="4306862"/>
                <a:ext cx="314295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11633" h="2141" extrusionOk="0">
                    <a:moveTo>
                      <a:pt x="396" y="1"/>
                    </a:moveTo>
                    <a:cubicBezTo>
                      <a:pt x="187" y="1"/>
                      <a:pt x="1" y="187"/>
                      <a:pt x="1" y="396"/>
                    </a:cubicBezTo>
                    <a:lnTo>
                      <a:pt x="1" y="1745"/>
                    </a:lnTo>
                    <a:cubicBezTo>
                      <a:pt x="1" y="1931"/>
                      <a:pt x="187" y="2141"/>
                      <a:pt x="396" y="2141"/>
                    </a:cubicBezTo>
                    <a:lnTo>
                      <a:pt x="10563" y="2141"/>
                    </a:lnTo>
                    <a:cubicBezTo>
                      <a:pt x="10749" y="2141"/>
                      <a:pt x="10865" y="2048"/>
                      <a:pt x="10958" y="2048"/>
                    </a:cubicBezTo>
                    <a:lnTo>
                      <a:pt x="11447" y="1350"/>
                    </a:lnTo>
                    <a:cubicBezTo>
                      <a:pt x="11633" y="1164"/>
                      <a:pt x="11633" y="978"/>
                      <a:pt x="11540" y="768"/>
                    </a:cubicBezTo>
                    <a:lnTo>
                      <a:pt x="10958" y="94"/>
                    </a:lnTo>
                    <a:cubicBezTo>
                      <a:pt x="10865" y="1"/>
                      <a:pt x="10749" y="1"/>
                      <a:pt x="10563" y="1"/>
                    </a:cubicBezTo>
                    <a:close/>
                  </a:path>
                </a:pathLst>
              </a:custGeom>
              <a:solidFill>
                <a:srgbClr val="A1E1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5" name="Google Shape;3335;p42">
                <a:extLst>
                  <a:ext uri="{FF2B5EF4-FFF2-40B4-BE49-F238E27FC236}">
                    <a16:creationId xmlns:a16="http://schemas.microsoft.com/office/drawing/2014/main" id="{91590335-7D49-D541-0089-73749614D01F}"/>
                  </a:ext>
                </a:extLst>
              </p:cNvPr>
              <p:cNvSpPr/>
              <p:nvPr/>
            </p:nvSpPr>
            <p:spPr>
              <a:xfrm>
                <a:off x="1527782" y="4387941"/>
                <a:ext cx="379677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14053" h="2141" extrusionOk="0">
                    <a:moveTo>
                      <a:pt x="396" y="1"/>
                    </a:moveTo>
                    <a:cubicBezTo>
                      <a:pt x="187" y="1"/>
                      <a:pt x="1" y="94"/>
                      <a:pt x="1" y="396"/>
                    </a:cubicBezTo>
                    <a:lnTo>
                      <a:pt x="1" y="1652"/>
                    </a:lnTo>
                    <a:cubicBezTo>
                      <a:pt x="1" y="1955"/>
                      <a:pt x="187" y="2141"/>
                      <a:pt x="396" y="2141"/>
                    </a:cubicBezTo>
                    <a:lnTo>
                      <a:pt x="13075" y="2141"/>
                    </a:lnTo>
                    <a:cubicBezTo>
                      <a:pt x="13192" y="2141"/>
                      <a:pt x="13285" y="2048"/>
                      <a:pt x="13378" y="1955"/>
                    </a:cubicBezTo>
                    <a:lnTo>
                      <a:pt x="13959" y="1373"/>
                    </a:lnTo>
                    <a:cubicBezTo>
                      <a:pt x="14052" y="1164"/>
                      <a:pt x="14052" y="978"/>
                      <a:pt x="13959" y="791"/>
                    </a:cubicBezTo>
                    <a:lnTo>
                      <a:pt x="13378" y="94"/>
                    </a:lnTo>
                    <a:cubicBezTo>
                      <a:pt x="13285" y="1"/>
                      <a:pt x="13192" y="1"/>
                      <a:pt x="13075" y="1"/>
                    </a:cubicBezTo>
                    <a:close/>
                  </a:path>
                </a:pathLst>
              </a:custGeom>
              <a:solidFill>
                <a:srgbClr val="9E524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6" name="Google Shape;3336;p42">
                <a:extLst>
                  <a:ext uri="{FF2B5EF4-FFF2-40B4-BE49-F238E27FC236}">
                    <a16:creationId xmlns:a16="http://schemas.microsoft.com/office/drawing/2014/main" id="{3B75B8AD-EB7F-CAE9-A70B-D430CBE8DF1B}"/>
                  </a:ext>
                </a:extLst>
              </p:cNvPr>
              <p:cNvSpPr/>
              <p:nvPr/>
            </p:nvSpPr>
            <p:spPr>
              <a:xfrm>
                <a:off x="1752811" y="4225782"/>
                <a:ext cx="10699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396" h="2141" extrusionOk="0">
                    <a:moveTo>
                      <a:pt x="0" y="1"/>
                    </a:moveTo>
                    <a:cubicBezTo>
                      <a:pt x="210" y="1"/>
                      <a:pt x="303" y="94"/>
                      <a:pt x="396" y="187"/>
                    </a:cubicBezTo>
                    <a:cubicBezTo>
                      <a:pt x="303" y="94"/>
                      <a:pt x="210" y="1"/>
                      <a:pt x="93" y="1"/>
                    </a:cubicBezTo>
                    <a:close/>
                    <a:moveTo>
                      <a:pt x="395" y="2026"/>
                    </a:moveTo>
                    <a:cubicBezTo>
                      <a:pt x="302" y="2141"/>
                      <a:pt x="209" y="2141"/>
                      <a:pt x="0" y="2141"/>
                    </a:cubicBezTo>
                    <a:lnTo>
                      <a:pt x="93" y="2141"/>
                    </a:lnTo>
                    <a:cubicBezTo>
                      <a:pt x="209" y="2141"/>
                      <a:pt x="302" y="2141"/>
                      <a:pt x="395" y="20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7" name="Google Shape;3337;p42">
                <a:extLst>
                  <a:ext uri="{FF2B5EF4-FFF2-40B4-BE49-F238E27FC236}">
                    <a16:creationId xmlns:a16="http://schemas.microsoft.com/office/drawing/2014/main" id="{6D2EF2D9-F16B-B656-C6E1-F977E6A06C73}"/>
                  </a:ext>
                </a:extLst>
              </p:cNvPr>
              <p:cNvSpPr/>
              <p:nvPr/>
            </p:nvSpPr>
            <p:spPr>
              <a:xfrm>
                <a:off x="1718877" y="4225782"/>
                <a:ext cx="62870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2327" h="2141" extrusionOk="0">
                    <a:moveTo>
                      <a:pt x="0" y="1"/>
                    </a:moveTo>
                    <a:lnTo>
                      <a:pt x="0" y="2141"/>
                    </a:lnTo>
                    <a:lnTo>
                      <a:pt x="1256" y="2141"/>
                    </a:lnTo>
                    <a:cubicBezTo>
                      <a:pt x="1466" y="2141"/>
                      <a:pt x="1559" y="2141"/>
                      <a:pt x="1652" y="2024"/>
                    </a:cubicBezTo>
                    <a:lnTo>
                      <a:pt x="2234" y="1350"/>
                    </a:lnTo>
                    <a:cubicBezTo>
                      <a:pt x="2327" y="1257"/>
                      <a:pt x="2327" y="978"/>
                      <a:pt x="2234" y="861"/>
                    </a:cubicBezTo>
                    <a:lnTo>
                      <a:pt x="1652" y="187"/>
                    </a:lnTo>
                    <a:cubicBezTo>
                      <a:pt x="1559" y="94"/>
                      <a:pt x="1466" y="1"/>
                      <a:pt x="1256" y="1"/>
                    </a:cubicBezTo>
                    <a:close/>
                  </a:path>
                </a:pathLst>
              </a:custGeom>
              <a:solidFill>
                <a:srgbClr val="FFE69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8" name="Google Shape;3338;p42">
                <a:extLst>
                  <a:ext uri="{FF2B5EF4-FFF2-40B4-BE49-F238E27FC236}">
                    <a16:creationId xmlns:a16="http://schemas.microsoft.com/office/drawing/2014/main" id="{A884A858-F5D3-44F6-444C-73B3A426BF71}"/>
                  </a:ext>
                </a:extLst>
              </p:cNvPr>
              <p:cNvSpPr/>
              <p:nvPr/>
            </p:nvSpPr>
            <p:spPr>
              <a:xfrm>
                <a:off x="1813141" y="4306862"/>
                <a:ext cx="28936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1071" h="2141" extrusionOk="0">
                    <a:moveTo>
                      <a:pt x="1" y="1"/>
                    </a:moveTo>
                    <a:cubicBezTo>
                      <a:pt x="187" y="1"/>
                      <a:pt x="303" y="1"/>
                      <a:pt x="396" y="94"/>
                    </a:cubicBezTo>
                    <a:cubicBezTo>
                      <a:pt x="303" y="1"/>
                      <a:pt x="187" y="1"/>
                      <a:pt x="94" y="1"/>
                    </a:cubicBezTo>
                    <a:close/>
                    <a:moveTo>
                      <a:pt x="979" y="771"/>
                    </a:moveTo>
                    <a:cubicBezTo>
                      <a:pt x="1071" y="979"/>
                      <a:pt x="1070" y="1164"/>
                      <a:pt x="885" y="1350"/>
                    </a:cubicBezTo>
                    <a:lnTo>
                      <a:pt x="396" y="2048"/>
                    </a:lnTo>
                    <a:lnTo>
                      <a:pt x="978" y="1350"/>
                    </a:lnTo>
                    <a:cubicBezTo>
                      <a:pt x="1071" y="1164"/>
                      <a:pt x="1071" y="979"/>
                      <a:pt x="979" y="771"/>
                    </a:cubicBezTo>
                    <a:close/>
                    <a:moveTo>
                      <a:pt x="395" y="2048"/>
                    </a:moveTo>
                    <a:lnTo>
                      <a:pt x="395" y="2048"/>
                    </a:lnTo>
                    <a:cubicBezTo>
                      <a:pt x="302" y="2048"/>
                      <a:pt x="186" y="2141"/>
                      <a:pt x="1" y="2141"/>
                    </a:cubicBezTo>
                    <a:lnTo>
                      <a:pt x="94" y="2141"/>
                    </a:lnTo>
                    <a:cubicBezTo>
                      <a:pt x="187" y="2141"/>
                      <a:pt x="302" y="2048"/>
                      <a:pt x="395" y="2048"/>
                    </a:cubicBezTo>
                    <a:close/>
                  </a:path>
                </a:pathLst>
              </a:custGeom>
              <a:solidFill>
                <a:srgbClr val="DADBD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39" name="Google Shape;3339;p42">
                <a:extLst>
                  <a:ext uri="{FF2B5EF4-FFF2-40B4-BE49-F238E27FC236}">
                    <a16:creationId xmlns:a16="http://schemas.microsoft.com/office/drawing/2014/main" id="{56E23C40-6EA8-1920-1375-BCBB27B44A46}"/>
                  </a:ext>
                </a:extLst>
              </p:cNvPr>
              <p:cNvSpPr/>
              <p:nvPr/>
            </p:nvSpPr>
            <p:spPr>
              <a:xfrm>
                <a:off x="1718877" y="4306862"/>
                <a:ext cx="123200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4560" h="2141" extrusionOk="0">
                    <a:moveTo>
                      <a:pt x="0" y="1"/>
                    </a:moveTo>
                    <a:lnTo>
                      <a:pt x="0" y="2141"/>
                    </a:lnTo>
                    <a:lnTo>
                      <a:pt x="3490" y="2141"/>
                    </a:lnTo>
                    <a:cubicBezTo>
                      <a:pt x="3676" y="2141"/>
                      <a:pt x="3792" y="2048"/>
                      <a:pt x="3885" y="2048"/>
                    </a:cubicBezTo>
                    <a:lnTo>
                      <a:pt x="4374" y="1350"/>
                    </a:lnTo>
                    <a:cubicBezTo>
                      <a:pt x="4560" y="1164"/>
                      <a:pt x="4560" y="978"/>
                      <a:pt x="4467" y="768"/>
                    </a:cubicBezTo>
                    <a:lnTo>
                      <a:pt x="3885" y="94"/>
                    </a:lnTo>
                    <a:cubicBezTo>
                      <a:pt x="3792" y="1"/>
                      <a:pt x="3676" y="1"/>
                      <a:pt x="3490" y="1"/>
                    </a:cubicBezTo>
                    <a:close/>
                  </a:path>
                </a:pathLst>
              </a:custGeom>
              <a:solidFill>
                <a:srgbClr val="A5CAD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340" name="Google Shape;3340;p42">
                <a:extLst>
                  <a:ext uri="{FF2B5EF4-FFF2-40B4-BE49-F238E27FC236}">
                    <a16:creationId xmlns:a16="http://schemas.microsoft.com/office/drawing/2014/main" id="{21E9E327-98EF-D496-42A0-E1CDACAE5DCF}"/>
                  </a:ext>
                </a:extLst>
              </p:cNvPr>
              <p:cNvSpPr/>
              <p:nvPr/>
            </p:nvSpPr>
            <p:spPr>
              <a:xfrm>
                <a:off x="1718877" y="4389382"/>
                <a:ext cx="188582" cy="57844"/>
              </a:xfrm>
              <a:custGeom>
                <a:avLst/>
                <a:gdLst/>
                <a:ahLst/>
                <a:cxnLst/>
                <a:rect l="l" t="t" r="r" b="b"/>
                <a:pathLst>
                  <a:path w="6980" h="2141" extrusionOk="0">
                    <a:moveTo>
                      <a:pt x="0" y="1"/>
                    </a:moveTo>
                    <a:lnTo>
                      <a:pt x="0" y="2141"/>
                    </a:lnTo>
                    <a:lnTo>
                      <a:pt x="6002" y="2141"/>
                    </a:lnTo>
                    <a:cubicBezTo>
                      <a:pt x="6119" y="2141"/>
                      <a:pt x="6212" y="2048"/>
                      <a:pt x="6305" y="1955"/>
                    </a:cubicBezTo>
                    <a:lnTo>
                      <a:pt x="6886" y="1373"/>
                    </a:lnTo>
                    <a:cubicBezTo>
                      <a:pt x="6979" y="1164"/>
                      <a:pt x="6979" y="978"/>
                      <a:pt x="6886" y="791"/>
                    </a:cubicBezTo>
                    <a:lnTo>
                      <a:pt x="6305" y="94"/>
                    </a:lnTo>
                    <a:cubicBezTo>
                      <a:pt x="6212" y="1"/>
                      <a:pt x="6119" y="1"/>
                      <a:pt x="6002" y="1"/>
                    </a:cubicBezTo>
                    <a:close/>
                  </a:path>
                </a:pathLst>
              </a:custGeom>
              <a:solidFill>
                <a:srgbClr val="BA847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991910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416E56B-9774-ED5F-BE2B-374F6D5E8D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0128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16E56B-9774-ED5F-BE2B-374F6D5E8D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94" name="Google Shape;5394;p56"/>
          <p:cNvSpPr txBox="1">
            <a:spLocks noGrp="1"/>
          </p:cNvSpPr>
          <p:nvPr>
            <p:ph type="title"/>
          </p:nvPr>
        </p:nvSpPr>
        <p:spPr>
          <a:xfrm>
            <a:off x="4395730" y="253353"/>
            <a:ext cx="4748269" cy="4208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 algn="ctr"/>
            <a:r>
              <a:rPr lang="en-US" sz="8000" dirty="0">
                <a:solidFill>
                  <a:srgbClr val="00B449"/>
                </a:solidFill>
              </a:rPr>
              <a:t>USA:</a:t>
            </a:r>
            <a:br>
              <a:rPr lang="en-US" sz="8000" dirty="0"/>
            </a:br>
            <a:r>
              <a:rPr lang="en-US" sz="8000" u="sng" dirty="0">
                <a:solidFill>
                  <a:srgbClr val="FFD65D"/>
                </a:solidFill>
              </a:rPr>
              <a:t>A Case Study</a:t>
            </a:r>
            <a:endParaRPr sz="8000" dirty="0"/>
          </a:p>
        </p:txBody>
      </p:sp>
      <p:grpSp>
        <p:nvGrpSpPr>
          <p:cNvPr id="5396" name="Google Shape;5396;p56"/>
          <p:cNvGrpSpPr/>
          <p:nvPr/>
        </p:nvGrpSpPr>
        <p:grpSpPr>
          <a:xfrm>
            <a:off x="209321" y="980501"/>
            <a:ext cx="4625952" cy="3481330"/>
            <a:chOff x="894205" y="1039907"/>
            <a:chExt cx="4021242" cy="2846009"/>
          </a:xfrm>
        </p:grpSpPr>
        <p:sp>
          <p:nvSpPr>
            <p:cNvPr id="5397" name="Google Shape;5397;p56"/>
            <p:cNvSpPr/>
            <p:nvPr/>
          </p:nvSpPr>
          <p:spPr>
            <a:xfrm>
              <a:off x="894205" y="1039907"/>
              <a:ext cx="4021242" cy="2846009"/>
            </a:xfrm>
            <a:custGeom>
              <a:avLst/>
              <a:gdLst/>
              <a:ahLst/>
              <a:cxnLst/>
              <a:rect l="l" t="t" r="r" b="b"/>
              <a:pathLst>
                <a:path w="102222" h="69911" extrusionOk="0">
                  <a:moveTo>
                    <a:pt x="4073" y="1"/>
                  </a:moveTo>
                  <a:cubicBezTo>
                    <a:pt x="1794" y="1"/>
                    <a:pt x="0" y="1794"/>
                    <a:pt x="0" y="4074"/>
                  </a:cubicBezTo>
                  <a:lnTo>
                    <a:pt x="0" y="65868"/>
                  </a:lnTo>
                  <a:cubicBezTo>
                    <a:pt x="0" y="68148"/>
                    <a:pt x="1794" y="69911"/>
                    <a:pt x="4073" y="69911"/>
                  </a:cubicBezTo>
                  <a:lnTo>
                    <a:pt x="98179" y="69911"/>
                  </a:lnTo>
                  <a:cubicBezTo>
                    <a:pt x="100306" y="69911"/>
                    <a:pt x="102221" y="68148"/>
                    <a:pt x="102221" y="65868"/>
                  </a:cubicBezTo>
                  <a:lnTo>
                    <a:pt x="102221" y="4074"/>
                  </a:lnTo>
                  <a:cubicBezTo>
                    <a:pt x="102221" y="1794"/>
                    <a:pt x="100306" y="1"/>
                    <a:pt x="98179" y="1"/>
                  </a:cubicBezTo>
                  <a:close/>
                </a:path>
              </a:pathLst>
            </a:cu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8" name="Google Shape;5398;p56"/>
            <p:cNvSpPr/>
            <p:nvPr/>
          </p:nvSpPr>
          <p:spPr>
            <a:xfrm rot="16200000">
              <a:off x="622728" y="2412184"/>
              <a:ext cx="797580" cy="124493"/>
            </a:xfrm>
            <a:prstGeom prst="roundRect">
              <a:avLst>
                <a:gd name="adj" fmla="val 16667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0" name="Google Shape;5400;p56"/>
            <p:cNvSpPr/>
            <p:nvPr/>
          </p:nvSpPr>
          <p:spPr>
            <a:xfrm>
              <a:off x="4739684" y="2340763"/>
              <a:ext cx="87399" cy="347400"/>
            </a:xfrm>
            <a:prstGeom prst="roundRect">
              <a:avLst>
                <a:gd name="adj" fmla="val 16667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" name="Google Shape;2827;p40">
            <a:extLst>
              <a:ext uri="{FF2B5EF4-FFF2-40B4-BE49-F238E27FC236}">
                <a16:creationId xmlns:a16="http://schemas.microsoft.com/office/drawing/2014/main" id="{2A181231-6DB8-AA77-EFCA-6E35191B329E}"/>
              </a:ext>
            </a:extLst>
          </p:cNvPr>
          <p:cNvSpPr txBox="1">
            <a:spLocks/>
          </p:cNvSpPr>
          <p:nvPr/>
        </p:nvSpPr>
        <p:spPr>
          <a:xfrm>
            <a:off x="121186" y="253351"/>
            <a:ext cx="5497416" cy="4737289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 u="sng">
              <a:solidFill>
                <a:srgbClr val="FFD65D"/>
              </a:solidFill>
            </a:endParaRPr>
          </a:p>
        </p:txBody>
      </p:sp>
      <p:grpSp>
        <p:nvGrpSpPr>
          <p:cNvPr id="8" name="Google Shape;10921;p80">
            <a:extLst>
              <a:ext uri="{FF2B5EF4-FFF2-40B4-BE49-F238E27FC236}">
                <a16:creationId xmlns:a16="http://schemas.microsoft.com/office/drawing/2014/main" id="{F912E0FD-9839-5E24-CE21-721FDA3B1AD9}"/>
              </a:ext>
            </a:extLst>
          </p:cNvPr>
          <p:cNvGrpSpPr/>
          <p:nvPr/>
        </p:nvGrpSpPr>
        <p:grpSpPr>
          <a:xfrm>
            <a:off x="577928" y="1382269"/>
            <a:ext cx="3952278" cy="2807978"/>
            <a:chOff x="233350" y="949250"/>
            <a:chExt cx="7137300" cy="3802300"/>
          </a:xfrm>
        </p:grpSpPr>
        <p:sp>
          <p:nvSpPr>
            <p:cNvPr id="9" name="Google Shape;10922;p80">
              <a:extLst>
                <a:ext uri="{FF2B5EF4-FFF2-40B4-BE49-F238E27FC236}">
                  <a16:creationId xmlns:a16="http://schemas.microsoft.com/office/drawing/2014/main" id="{BA671DC9-A83A-5265-DA9C-31DE9D3B56EF}"/>
                </a:ext>
              </a:extLst>
            </p:cNvPr>
            <p:cNvSpPr/>
            <p:nvPr/>
          </p:nvSpPr>
          <p:spPr>
            <a:xfrm>
              <a:off x="4428450" y="2808675"/>
              <a:ext cx="1478900" cy="330100"/>
            </a:xfrm>
            <a:custGeom>
              <a:avLst/>
              <a:gdLst/>
              <a:ahLst/>
              <a:cxnLst/>
              <a:rect l="l" t="t" r="r" b="b"/>
              <a:pathLst>
                <a:path w="59156" h="13204" extrusionOk="0">
                  <a:moveTo>
                    <a:pt x="1" y="0"/>
                  </a:moveTo>
                  <a:lnTo>
                    <a:pt x="1" y="0"/>
                  </a:lnTo>
                  <a:close/>
                  <a:moveTo>
                    <a:pt x="59155" y="13203"/>
                  </a:move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" name="Google Shape;10923;p80">
              <a:extLst>
                <a:ext uri="{FF2B5EF4-FFF2-40B4-BE49-F238E27FC236}">
                  <a16:creationId xmlns:a16="http://schemas.microsoft.com/office/drawing/2014/main" id="{2E3AEBF5-767C-6BB1-5EF4-37F293953CA7}"/>
                </a:ext>
              </a:extLst>
            </p:cNvPr>
            <p:cNvSpPr/>
            <p:nvPr/>
          </p:nvSpPr>
          <p:spPr>
            <a:xfrm>
              <a:off x="2909400" y="1076125"/>
              <a:ext cx="4118650" cy="3109225"/>
            </a:xfrm>
            <a:custGeom>
              <a:avLst/>
              <a:gdLst/>
              <a:ahLst/>
              <a:cxnLst/>
              <a:rect l="l" t="t" r="r" b="b"/>
              <a:pathLst>
                <a:path w="164746" h="124369" extrusionOk="0">
                  <a:moveTo>
                    <a:pt x="49520" y="11070"/>
                  </a:moveTo>
                  <a:cubicBezTo>
                    <a:pt x="49737" y="11070"/>
                    <a:pt x="49861" y="11136"/>
                    <a:pt x="49875" y="11358"/>
                  </a:cubicBezTo>
                  <a:cubicBezTo>
                    <a:pt x="49875" y="11575"/>
                    <a:pt x="49818" y="11698"/>
                    <a:pt x="49684" y="11698"/>
                  </a:cubicBezTo>
                  <a:cubicBezTo>
                    <a:pt x="49636" y="11698"/>
                    <a:pt x="49580" y="11683"/>
                    <a:pt x="49512" y="11651"/>
                  </a:cubicBezTo>
                  <a:cubicBezTo>
                    <a:pt x="49305" y="11565"/>
                    <a:pt x="49115" y="11444"/>
                    <a:pt x="48925" y="11323"/>
                  </a:cubicBezTo>
                  <a:lnTo>
                    <a:pt x="49339" y="11081"/>
                  </a:lnTo>
                  <a:cubicBezTo>
                    <a:pt x="49405" y="11074"/>
                    <a:pt x="49465" y="11070"/>
                    <a:pt x="49520" y="11070"/>
                  </a:cubicBezTo>
                  <a:close/>
                  <a:moveTo>
                    <a:pt x="46983" y="11081"/>
                  </a:moveTo>
                  <a:cubicBezTo>
                    <a:pt x="47014" y="11081"/>
                    <a:pt x="47051" y="11087"/>
                    <a:pt x="47093" y="11098"/>
                  </a:cubicBezTo>
                  <a:cubicBezTo>
                    <a:pt x="47369" y="11185"/>
                    <a:pt x="47870" y="11168"/>
                    <a:pt x="47767" y="11686"/>
                  </a:cubicBezTo>
                  <a:cubicBezTo>
                    <a:pt x="47732" y="11893"/>
                    <a:pt x="47888" y="12274"/>
                    <a:pt x="47490" y="12343"/>
                  </a:cubicBezTo>
                  <a:cubicBezTo>
                    <a:pt x="47110" y="12222"/>
                    <a:pt x="46834" y="11893"/>
                    <a:pt x="46799" y="11496"/>
                  </a:cubicBezTo>
                  <a:cubicBezTo>
                    <a:pt x="46784" y="11302"/>
                    <a:pt x="46782" y="11081"/>
                    <a:pt x="46983" y="11081"/>
                  </a:cubicBezTo>
                  <a:close/>
                  <a:moveTo>
                    <a:pt x="38158" y="11530"/>
                  </a:moveTo>
                  <a:cubicBezTo>
                    <a:pt x="38279" y="11530"/>
                    <a:pt x="38417" y="11703"/>
                    <a:pt x="38642" y="11876"/>
                  </a:cubicBezTo>
                  <a:cubicBezTo>
                    <a:pt x="38366" y="12118"/>
                    <a:pt x="38089" y="12360"/>
                    <a:pt x="37778" y="12585"/>
                  </a:cubicBezTo>
                  <a:cubicBezTo>
                    <a:pt x="35549" y="13967"/>
                    <a:pt x="35514" y="15903"/>
                    <a:pt x="37692" y="17268"/>
                  </a:cubicBezTo>
                  <a:cubicBezTo>
                    <a:pt x="38003" y="17458"/>
                    <a:pt x="38227" y="17631"/>
                    <a:pt x="38158" y="18080"/>
                  </a:cubicBezTo>
                  <a:cubicBezTo>
                    <a:pt x="38106" y="18529"/>
                    <a:pt x="37951" y="18599"/>
                    <a:pt x="37553" y="18737"/>
                  </a:cubicBezTo>
                  <a:cubicBezTo>
                    <a:pt x="36568" y="19117"/>
                    <a:pt x="36309" y="19981"/>
                    <a:pt x="36378" y="20949"/>
                  </a:cubicBezTo>
                  <a:cubicBezTo>
                    <a:pt x="36427" y="21679"/>
                    <a:pt x="36279" y="22143"/>
                    <a:pt x="35819" y="22143"/>
                  </a:cubicBezTo>
                  <a:cubicBezTo>
                    <a:pt x="35625" y="22143"/>
                    <a:pt x="35377" y="22061"/>
                    <a:pt x="35065" y="21882"/>
                  </a:cubicBezTo>
                  <a:cubicBezTo>
                    <a:pt x="34913" y="21798"/>
                    <a:pt x="34745" y="21754"/>
                    <a:pt x="34578" y="21754"/>
                  </a:cubicBezTo>
                  <a:cubicBezTo>
                    <a:pt x="34403" y="21754"/>
                    <a:pt x="34230" y="21802"/>
                    <a:pt x="34080" y="21899"/>
                  </a:cubicBezTo>
                  <a:cubicBezTo>
                    <a:pt x="33134" y="22372"/>
                    <a:pt x="32094" y="22613"/>
                    <a:pt x="31041" y="22613"/>
                  </a:cubicBezTo>
                  <a:cubicBezTo>
                    <a:pt x="30747" y="22613"/>
                    <a:pt x="30451" y="22594"/>
                    <a:pt x="30157" y="22556"/>
                  </a:cubicBezTo>
                  <a:cubicBezTo>
                    <a:pt x="29915" y="22521"/>
                    <a:pt x="29759" y="22608"/>
                    <a:pt x="29829" y="22262"/>
                  </a:cubicBezTo>
                  <a:lnTo>
                    <a:pt x="29829" y="22262"/>
                  </a:lnTo>
                  <a:lnTo>
                    <a:pt x="29829" y="22279"/>
                  </a:lnTo>
                  <a:cubicBezTo>
                    <a:pt x="29898" y="21986"/>
                    <a:pt x="29984" y="21882"/>
                    <a:pt x="30364" y="21830"/>
                  </a:cubicBezTo>
                  <a:cubicBezTo>
                    <a:pt x="31505" y="21675"/>
                    <a:pt x="32836" y="21467"/>
                    <a:pt x="33354" y="20361"/>
                  </a:cubicBezTo>
                  <a:cubicBezTo>
                    <a:pt x="33821" y="19342"/>
                    <a:pt x="33872" y="18184"/>
                    <a:pt x="34927" y="17458"/>
                  </a:cubicBezTo>
                  <a:cubicBezTo>
                    <a:pt x="35238" y="17216"/>
                    <a:pt x="34978" y="16836"/>
                    <a:pt x="34667" y="16594"/>
                  </a:cubicBezTo>
                  <a:cubicBezTo>
                    <a:pt x="33216" y="15436"/>
                    <a:pt x="33907" y="14572"/>
                    <a:pt x="35099" y="13846"/>
                  </a:cubicBezTo>
                  <a:cubicBezTo>
                    <a:pt x="35860" y="13380"/>
                    <a:pt x="36724" y="13086"/>
                    <a:pt x="37018" y="12066"/>
                  </a:cubicBezTo>
                  <a:cubicBezTo>
                    <a:pt x="37156" y="11582"/>
                    <a:pt x="37709" y="11548"/>
                    <a:pt x="38158" y="11530"/>
                  </a:cubicBezTo>
                  <a:close/>
                  <a:moveTo>
                    <a:pt x="46802" y="32066"/>
                  </a:moveTo>
                  <a:cubicBezTo>
                    <a:pt x="47245" y="32066"/>
                    <a:pt x="47720" y="32469"/>
                    <a:pt x="47888" y="33080"/>
                  </a:cubicBezTo>
                  <a:cubicBezTo>
                    <a:pt x="48059" y="33754"/>
                    <a:pt x="48393" y="34225"/>
                    <a:pt x="48918" y="34225"/>
                  </a:cubicBezTo>
                  <a:cubicBezTo>
                    <a:pt x="49080" y="34225"/>
                    <a:pt x="49261" y="34181"/>
                    <a:pt x="49460" y="34083"/>
                  </a:cubicBezTo>
                  <a:cubicBezTo>
                    <a:pt x="50103" y="33764"/>
                    <a:pt x="50701" y="33627"/>
                    <a:pt x="51269" y="33627"/>
                  </a:cubicBezTo>
                  <a:cubicBezTo>
                    <a:pt x="52489" y="33627"/>
                    <a:pt x="53566" y="34260"/>
                    <a:pt x="54628" y="35085"/>
                  </a:cubicBezTo>
                  <a:cubicBezTo>
                    <a:pt x="54818" y="35223"/>
                    <a:pt x="55008" y="35396"/>
                    <a:pt x="55163" y="35586"/>
                  </a:cubicBezTo>
                  <a:cubicBezTo>
                    <a:pt x="55543" y="36053"/>
                    <a:pt x="56684" y="36070"/>
                    <a:pt x="56321" y="36917"/>
                  </a:cubicBezTo>
                  <a:lnTo>
                    <a:pt x="56321" y="36934"/>
                  </a:lnTo>
                  <a:cubicBezTo>
                    <a:pt x="56149" y="37350"/>
                    <a:pt x="55751" y="37415"/>
                    <a:pt x="55318" y="37415"/>
                  </a:cubicBezTo>
                  <a:cubicBezTo>
                    <a:pt x="55122" y="37415"/>
                    <a:pt x="54919" y="37401"/>
                    <a:pt x="54727" y="37401"/>
                  </a:cubicBezTo>
                  <a:cubicBezTo>
                    <a:pt x="54620" y="37401"/>
                    <a:pt x="54517" y="37405"/>
                    <a:pt x="54420" y="37418"/>
                  </a:cubicBezTo>
                  <a:cubicBezTo>
                    <a:pt x="54278" y="37432"/>
                    <a:pt x="54136" y="37440"/>
                    <a:pt x="53995" y="37440"/>
                  </a:cubicBezTo>
                  <a:cubicBezTo>
                    <a:pt x="53292" y="37440"/>
                    <a:pt x="52602" y="37262"/>
                    <a:pt x="51983" y="36917"/>
                  </a:cubicBezTo>
                  <a:cubicBezTo>
                    <a:pt x="51332" y="36539"/>
                    <a:pt x="50680" y="36418"/>
                    <a:pt x="50028" y="36418"/>
                  </a:cubicBezTo>
                  <a:cubicBezTo>
                    <a:pt x="48867" y="36418"/>
                    <a:pt x="47706" y="36802"/>
                    <a:pt x="46545" y="36802"/>
                  </a:cubicBezTo>
                  <a:cubicBezTo>
                    <a:pt x="46302" y="36802"/>
                    <a:pt x="46058" y="36785"/>
                    <a:pt x="45814" y="36744"/>
                  </a:cubicBezTo>
                  <a:cubicBezTo>
                    <a:pt x="44881" y="36588"/>
                    <a:pt x="44552" y="36105"/>
                    <a:pt x="44673" y="35241"/>
                  </a:cubicBezTo>
                  <a:cubicBezTo>
                    <a:pt x="44846" y="34083"/>
                    <a:pt x="45537" y="33115"/>
                    <a:pt x="46263" y="32320"/>
                  </a:cubicBezTo>
                  <a:cubicBezTo>
                    <a:pt x="46417" y="32145"/>
                    <a:pt x="46607" y="32066"/>
                    <a:pt x="46802" y="32066"/>
                  </a:cubicBezTo>
                  <a:close/>
                  <a:moveTo>
                    <a:pt x="64554" y="31370"/>
                  </a:moveTo>
                  <a:cubicBezTo>
                    <a:pt x="64860" y="31370"/>
                    <a:pt x="65185" y="31437"/>
                    <a:pt x="65532" y="31594"/>
                  </a:cubicBezTo>
                  <a:cubicBezTo>
                    <a:pt x="65878" y="31767"/>
                    <a:pt x="65930" y="32251"/>
                    <a:pt x="65636" y="32493"/>
                  </a:cubicBezTo>
                  <a:cubicBezTo>
                    <a:pt x="64063" y="34065"/>
                    <a:pt x="64184" y="35085"/>
                    <a:pt x="65895" y="36588"/>
                  </a:cubicBezTo>
                  <a:cubicBezTo>
                    <a:pt x="67243" y="37815"/>
                    <a:pt x="67762" y="39544"/>
                    <a:pt x="68211" y="41237"/>
                  </a:cubicBezTo>
                  <a:cubicBezTo>
                    <a:pt x="68364" y="41802"/>
                    <a:pt x="68057" y="41990"/>
                    <a:pt x="67435" y="41990"/>
                  </a:cubicBezTo>
                  <a:cubicBezTo>
                    <a:pt x="67353" y="41990"/>
                    <a:pt x="67266" y="41986"/>
                    <a:pt x="67174" y="41980"/>
                  </a:cubicBezTo>
                  <a:cubicBezTo>
                    <a:pt x="66517" y="41064"/>
                    <a:pt x="64271" y="41825"/>
                    <a:pt x="64547" y="39146"/>
                  </a:cubicBezTo>
                  <a:lnTo>
                    <a:pt x="64547" y="39146"/>
                  </a:lnTo>
                  <a:lnTo>
                    <a:pt x="64547" y="39181"/>
                  </a:lnTo>
                  <a:cubicBezTo>
                    <a:pt x="64685" y="37885"/>
                    <a:pt x="63113" y="36295"/>
                    <a:pt x="62076" y="35050"/>
                  </a:cubicBezTo>
                  <a:cubicBezTo>
                    <a:pt x="61281" y="34100"/>
                    <a:pt x="61385" y="33288"/>
                    <a:pt x="62076" y="32683"/>
                  </a:cubicBezTo>
                  <a:cubicBezTo>
                    <a:pt x="62786" y="32052"/>
                    <a:pt x="63577" y="31370"/>
                    <a:pt x="64554" y="31370"/>
                  </a:cubicBezTo>
                  <a:close/>
                  <a:moveTo>
                    <a:pt x="30705" y="33465"/>
                  </a:moveTo>
                  <a:cubicBezTo>
                    <a:pt x="30874" y="33465"/>
                    <a:pt x="31043" y="33637"/>
                    <a:pt x="31090" y="33720"/>
                  </a:cubicBezTo>
                  <a:cubicBezTo>
                    <a:pt x="31920" y="35120"/>
                    <a:pt x="33579" y="35258"/>
                    <a:pt x="34719" y="36226"/>
                  </a:cubicBezTo>
                  <a:cubicBezTo>
                    <a:pt x="36205" y="37487"/>
                    <a:pt x="36275" y="39354"/>
                    <a:pt x="37191" y="40822"/>
                  </a:cubicBezTo>
                  <a:cubicBezTo>
                    <a:pt x="37484" y="41289"/>
                    <a:pt x="37571" y="41980"/>
                    <a:pt x="37968" y="42274"/>
                  </a:cubicBezTo>
                  <a:cubicBezTo>
                    <a:pt x="38403" y="42594"/>
                    <a:pt x="39075" y="43217"/>
                    <a:pt x="39556" y="43217"/>
                  </a:cubicBezTo>
                  <a:cubicBezTo>
                    <a:pt x="39725" y="43217"/>
                    <a:pt x="39870" y="43141"/>
                    <a:pt x="39973" y="42948"/>
                  </a:cubicBezTo>
                  <a:cubicBezTo>
                    <a:pt x="40336" y="42274"/>
                    <a:pt x="41234" y="41289"/>
                    <a:pt x="40543" y="40183"/>
                  </a:cubicBezTo>
                  <a:cubicBezTo>
                    <a:pt x="40301" y="39803"/>
                    <a:pt x="39610" y="39215"/>
                    <a:pt x="40284" y="38904"/>
                  </a:cubicBezTo>
                  <a:cubicBezTo>
                    <a:pt x="40592" y="38765"/>
                    <a:pt x="41024" y="38302"/>
                    <a:pt x="41439" y="38302"/>
                  </a:cubicBezTo>
                  <a:cubicBezTo>
                    <a:pt x="41746" y="38302"/>
                    <a:pt x="42043" y="38557"/>
                    <a:pt x="42271" y="39388"/>
                  </a:cubicBezTo>
                  <a:cubicBezTo>
                    <a:pt x="42782" y="41200"/>
                    <a:pt x="43748" y="43327"/>
                    <a:pt x="46038" y="43327"/>
                  </a:cubicBezTo>
                  <a:cubicBezTo>
                    <a:pt x="46150" y="43327"/>
                    <a:pt x="46266" y="43321"/>
                    <a:pt x="46384" y="43311"/>
                  </a:cubicBezTo>
                  <a:cubicBezTo>
                    <a:pt x="46463" y="43304"/>
                    <a:pt x="46542" y="43300"/>
                    <a:pt x="46620" y="43300"/>
                  </a:cubicBezTo>
                  <a:cubicBezTo>
                    <a:pt x="47585" y="43300"/>
                    <a:pt x="48526" y="43802"/>
                    <a:pt x="49487" y="43802"/>
                  </a:cubicBezTo>
                  <a:cubicBezTo>
                    <a:pt x="49955" y="43802"/>
                    <a:pt x="50429" y="43683"/>
                    <a:pt x="50912" y="43328"/>
                  </a:cubicBezTo>
                  <a:cubicBezTo>
                    <a:pt x="51106" y="43191"/>
                    <a:pt x="51242" y="43135"/>
                    <a:pt x="51336" y="43135"/>
                  </a:cubicBezTo>
                  <a:cubicBezTo>
                    <a:pt x="51643" y="43135"/>
                    <a:pt x="51508" y="43736"/>
                    <a:pt x="51534" y="44054"/>
                  </a:cubicBezTo>
                  <a:cubicBezTo>
                    <a:pt x="51845" y="45488"/>
                    <a:pt x="50843" y="46629"/>
                    <a:pt x="50618" y="47942"/>
                  </a:cubicBezTo>
                  <a:cubicBezTo>
                    <a:pt x="50585" y="48144"/>
                    <a:pt x="50240" y="48444"/>
                    <a:pt x="50046" y="48444"/>
                  </a:cubicBezTo>
                  <a:cubicBezTo>
                    <a:pt x="50041" y="48444"/>
                    <a:pt x="50036" y="48444"/>
                    <a:pt x="50031" y="48444"/>
                  </a:cubicBezTo>
                  <a:cubicBezTo>
                    <a:pt x="49523" y="48389"/>
                    <a:pt x="49010" y="48372"/>
                    <a:pt x="48494" y="48372"/>
                  </a:cubicBezTo>
                  <a:cubicBezTo>
                    <a:pt x="47534" y="48372"/>
                    <a:pt x="46564" y="48433"/>
                    <a:pt x="45600" y="48433"/>
                  </a:cubicBezTo>
                  <a:cubicBezTo>
                    <a:pt x="43779" y="48433"/>
                    <a:pt x="41984" y="48215"/>
                    <a:pt x="40336" y="46957"/>
                  </a:cubicBezTo>
                  <a:cubicBezTo>
                    <a:pt x="40033" y="46726"/>
                    <a:pt x="39675" y="46623"/>
                    <a:pt x="39308" y="46623"/>
                  </a:cubicBezTo>
                  <a:cubicBezTo>
                    <a:pt x="38250" y="46623"/>
                    <a:pt x="37116" y="47478"/>
                    <a:pt x="37000" y="48582"/>
                  </a:cubicBezTo>
                  <a:cubicBezTo>
                    <a:pt x="36972" y="48947"/>
                    <a:pt x="36796" y="49426"/>
                    <a:pt x="36527" y="49426"/>
                  </a:cubicBezTo>
                  <a:cubicBezTo>
                    <a:pt x="36465" y="49426"/>
                    <a:pt x="36398" y="49400"/>
                    <a:pt x="36326" y="49342"/>
                  </a:cubicBezTo>
                  <a:cubicBezTo>
                    <a:pt x="35376" y="48582"/>
                    <a:pt x="34045" y="48772"/>
                    <a:pt x="33147" y="47752"/>
                  </a:cubicBezTo>
                  <a:cubicBezTo>
                    <a:pt x="32334" y="46819"/>
                    <a:pt x="30900" y="46785"/>
                    <a:pt x="29673" y="46525"/>
                  </a:cubicBezTo>
                  <a:cubicBezTo>
                    <a:pt x="28913" y="46370"/>
                    <a:pt x="27807" y="46422"/>
                    <a:pt x="28567" y="44953"/>
                  </a:cubicBezTo>
                  <a:cubicBezTo>
                    <a:pt x="28982" y="44158"/>
                    <a:pt x="29034" y="43000"/>
                    <a:pt x="28515" y="42257"/>
                  </a:cubicBezTo>
                  <a:cubicBezTo>
                    <a:pt x="28230" y="41853"/>
                    <a:pt x="27848" y="41722"/>
                    <a:pt x="27412" y="41722"/>
                  </a:cubicBezTo>
                  <a:cubicBezTo>
                    <a:pt x="27028" y="41722"/>
                    <a:pt x="26602" y="41823"/>
                    <a:pt x="26165" y="41928"/>
                  </a:cubicBezTo>
                  <a:cubicBezTo>
                    <a:pt x="25497" y="42091"/>
                    <a:pt x="24818" y="42128"/>
                    <a:pt x="24133" y="42128"/>
                  </a:cubicBezTo>
                  <a:cubicBezTo>
                    <a:pt x="23569" y="42128"/>
                    <a:pt x="23001" y="42103"/>
                    <a:pt x="22432" y="42103"/>
                  </a:cubicBezTo>
                  <a:cubicBezTo>
                    <a:pt x="21707" y="42103"/>
                    <a:pt x="20980" y="42143"/>
                    <a:pt x="20255" y="42326"/>
                  </a:cubicBezTo>
                  <a:cubicBezTo>
                    <a:pt x="19287" y="42585"/>
                    <a:pt x="18319" y="42862"/>
                    <a:pt x="17559" y="43380"/>
                  </a:cubicBezTo>
                  <a:cubicBezTo>
                    <a:pt x="17082" y="43705"/>
                    <a:pt x="16613" y="43798"/>
                    <a:pt x="16149" y="43798"/>
                  </a:cubicBezTo>
                  <a:cubicBezTo>
                    <a:pt x="15538" y="43798"/>
                    <a:pt x="14935" y="43638"/>
                    <a:pt x="14326" y="43638"/>
                  </a:cubicBezTo>
                  <a:cubicBezTo>
                    <a:pt x="14292" y="43638"/>
                    <a:pt x="14258" y="43638"/>
                    <a:pt x="14223" y="43639"/>
                  </a:cubicBezTo>
                  <a:cubicBezTo>
                    <a:pt x="14120" y="43622"/>
                    <a:pt x="14016" y="43570"/>
                    <a:pt x="13930" y="43466"/>
                  </a:cubicBezTo>
                  <a:cubicBezTo>
                    <a:pt x="14043" y="43169"/>
                    <a:pt x="14308" y="43115"/>
                    <a:pt x="14562" y="43115"/>
                  </a:cubicBezTo>
                  <a:cubicBezTo>
                    <a:pt x="14617" y="43115"/>
                    <a:pt x="14672" y="43118"/>
                    <a:pt x="14725" y="43121"/>
                  </a:cubicBezTo>
                  <a:cubicBezTo>
                    <a:pt x="14838" y="43129"/>
                    <a:pt x="14949" y="43134"/>
                    <a:pt x="15058" y="43134"/>
                  </a:cubicBezTo>
                  <a:cubicBezTo>
                    <a:pt x="16723" y="43134"/>
                    <a:pt x="17967" y="42165"/>
                    <a:pt x="18388" y="40771"/>
                  </a:cubicBezTo>
                  <a:cubicBezTo>
                    <a:pt x="18976" y="38921"/>
                    <a:pt x="20808" y="38282"/>
                    <a:pt x="21482" y="37090"/>
                  </a:cubicBezTo>
                  <a:cubicBezTo>
                    <a:pt x="22174" y="35865"/>
                    <a:pt x="22770" y="35535"/>
                    <a:pt x="23579" y="35535"/>
                  </a:cubicBezTo>
                  <a:cubicBezTo>
                    <a:pt x="23899" y="35535"/>
                    <a:pt x="24254" y="35587"/>
                    <a:pt x="24661" y="35655"/>
                  </a:cubicBezTo>
                  <a:cubicBezTo>
                    <a:pt x="24682" y="35658"/>
                    <a:pt x="24703" y="35660"/>
                    <a:pt x="24725" y="35660"/>
                  </a:cubicBezTo>
                  <a:cubicBezTo>
                    <a:pt x="25065" y="35660"/>
                    <a:pt x="25513" y="35293"/>
                    <a:pt x="25854" y="35033"/>
                  </a:cubicBezTo>
                  <a:cubicBezTo>
                    <a:pt x="26267" y="34730"/>
                    <a:pt x="26584" y="34570"/>
                    <a:pt x="26849" y="34570"/>
                  </a:cubicBezTo>
                  <a:cubicBezTo>
                    <a:pt x="27249" y="34570"/>
                    <a:pt x="27529" y="34935"/>
                    <a:pt x="27841" y="35724"/>
                  </a:cubicBezTo>
                  <a:cubicBezTo>
                    <a:pt x="28325" y="36969"/>
                    <a:pt x="29742" y="37574"/>
                    <a:pt x="30952" y="38161"/>
                  </a:cubicBezTo>
                  <a:cubicBezTo>
                    <a:pt x="31712" y="38524"/>
                    <a:pt x="32732" y="38852"/>
                    <a:pt x="32680" y="39716"/>
                  </a:cubicBezTo>
                  <a:cubicBezTo>
                    <a:pt x="32594" y="40753"/>
                    <a:pt x="31488" y="40546"/>
                    <a:pt x="30710" y="40615"/>
                  </a:cubicBezTo>
                  <a:cubicBezTo>
                    <a:pt x="30312" y="40650"/>
                    <a:pt x="29794" y="40598"/>
                    <a:pt x="29673" y="41134"/>
                  </a:cubicBezTo>
                  <a:cubicBezTo>
                    <a:pt x="29552" y="41669"/>
                    <a:pt x="30036" y="41825"/>
                    <a:pt x="30382" y="42032"/>
                  </a:cubicBezTo>
                  <a:cubicBezTo>
                    <a:pt x="30898" y="42336"/>
                    <a:pt x="31474" y="42934"/>
                    <a:pt x="32011" y="42934"/>
                  </a:cubicBezTo>
                  <a:cubicBezTo>
                    <a:pt x="32175" y="42934"/>
                    <a:pt x="32336" y="42878"/>
                    <a:pt x="32490" y="42741"/>
                  </a:cubicBezTo>
                  <a:cubicBezTo>
                    <a:pt x="33354" y="41963"/>
                    <a:pt x="33890" y="40788"/>
                    <a:pt x="34512" y="39751"/>
                  </a:cubicBezTo>
                  <a:cubicBezTo>
                    <a:pt x="34586" y="39617"/>
                    <a:pt x="34289" y="39329"/>
                    <a:pt x="34602" y="39329"/>
                  </a:cubicBezTo>
                  <a:cubicBezTo>
                    <a:pt x="34653" y="39329"/>
                    <a:pt x="34719" y="39337"/>
                    <a:pt x="34806" y="39354"/>
                  </a:cubicBezTo>
                  <a:cubicBezTo>
                    <a:pt x="34890" y="39373"/>
                    <a:pt x="34965" y="39381"/>
                    <a:pt x="35031" y="39381"/>
                  </a:cubicBezTo>
                  <a:cubicBezTo>
                    <a:pt x="35567" y="39381"/>
                    <a:pt x="35557" y="38814"/>
                    <a:pt x="35341" y="38507"/>
                  </a:cubicBezTo>
                  <a:cubicBezTo>
                    <a:pt x="34806" y="37781"/>
                    <a:pt x="34546" y="36658"/>
                    <a:pt x="33561" y="36468"/>
                  </a:cubicBezTo>
                  <a:cubicBezTo>
                    <a:pt x="32248" y="36208"/>
                    <a:pt x="31591" y="35206"/>
                    <a:pt x="30727" y="34411"/>
                  </a:cubicBezTo>
                  <a:cubicBezTo>
                    <a:pt x="30468" y="34169"/>
                    <a:pt x="30278" y="33910"/>
                    <a:pt x="30485" y="33599"/>
                  </a:cubicBezTo>
                  <a:cubicBezTo>
                    <a:pt x="30551" y="33501"/>
                    <a:pt x="30628" y="33465"/>
                    <a:pt x="30705" y="33465"/>
                  </a:cubicBezTo>
                  <a:close/>
                  <a:moveTo>
                    <a:pt x="65829" y="50622"/>
                  </a:moveTo>
                  <a:cubicBezTo>
                    <a:pt x="66138" y="50622"/>
                    <a:pt x="66376" y="50877"/>
                    <a:pt x="66569" y="51209"/>
                  </a:cubicBezTo>
                  <a:cubicBezTo>
                    <a:pt x="67601" y="52923"/>
                    <a:pt x="68767" y="54401"/>
                    <a:pt x="70703" y="54401"/>
                  </a:cubicBezTo>
                  <a:cubicBezTo>
                    <a:pt x="71167" y="54401"/>
                    <a:pt x="71676" y="54316"/>
                    <a:pt x="72237" y="54129"/>
                  </a:cubicBezTo>
                  <a:cubicBezTo>
                    <a:pt x="72263" y="54119"/>
                    <a:pt x="72291" y="54114"/>
                    <a:pt x="72320" y="54114"/>
                  </a:cubicBezTo>
                  <a:cubicBezTo>
                    <a:pt x="72487" y="54114"/>
                    <a:pt x="72701" y="54260"/>
                    <a:pt x="72877" y="54319"/>
                  </a:cubicBezTo>
                  <a:cubicBezTo>
                    <a:pt x="72687" y="54406"/>
                    <a:pt x="72514" y="54527"/>
                    <a:pt x="72358" y="54665"/>
                  </a:cubicBezTo>
                  <a:lnTo>
                    <a:pt x="72358" y="54682"/>
                  </a:lnTo>
                  <a:cubicBezTo>
                    <a:pt x="71675" y="55659"/>
                    <a:pt x="71022" y="56681"/>
                    <a:pt x="69648" y="56681"/>
                  </a:cubicBezTo>
                  <a:cubicBezTo>
                    <a:pt x="69564" y="56681"/>
                    <a:pt x="69476" y="56678"/>
                    <a:pt x="69386" y="56669"/>
                  </a:cubicBezTo>
                  <a:cubicBezTo>
                    <a:pt x="69196" y="56600"/>
                    <a:pt x="68850" y="56549"/>
                    <a:pt x="68850" y="56445"/>
                  </a:cubicBezTo>
                  <a:cubicBezTo>
                    <a:pt x="68660" y="54216"/>
                    <a:pt x="66258" y="53559"/>
                    <a:pt x="65532" y="51727"/>
                  </a:cubicBezTo>
                  <a:cubicBezTo>
                    <a:pt x="65394" y="51381"/>
                    <a:pt x="64945" y="50932"/>
                    <a:pt x="65584" y="50673"/>
                  </a:cubicBezTo>
                  <a:cubicBezTo>
                    <a:pt x="65670" y="50638"/>
                    <a:pt x="65752" y="50622"/>
                    <a:pt x="65829" y="50622"/>
                  </a:cubicBezTo>
                  <a:close/>
                  <a:moveTo>
                    <a:pt x="50497" y="52695"/>
                  </a:moveTo>
                  <a:lnTo>
                    <a:pt x="50497" y="52695"/>
                  </a:lnTo>
                  <a:cubicBezTo>
                    <a:pt x="51016" y="52885"/>
                    <a:pt x="51863" y="52937"/>
                    <a:pt x="52001" y="53265"/>
                  </a:cubicBezTo>
                  <a:cubicBezTo>
                    <a:pt x="53055" y="55840"/>
                    <a:pt x="55734" y="57464"/>
                    <a:pt x="56114" y="60420"/>
                  </a:cubicBezTo>
                  <a:cubicBezTo>
                    <a:pt x="56252" y="61439"/>
                    <a:pt x="57323" y="61802"/>
                    <a:pt x="57859" y="62580"/>
                  </a:cubicBezTo>
                  <a:cubicBezTo>
                    <a:pt x="59294" y="64654"/>
                    <a:pt x="60106" y="66952"/>
                    <a:pt x="60763" y="69337"/>
                  </a:cubicBezTo>
                  <a:cubicBezTo>
                    <a:pt x="58533" y="67643"/>
                    <a:pt x="56615" y="65656"/>
                    <a:pt x="55336" y="63133"/>
                  </a:cubicBezTo>
                  <a:cubicBezTo>
                    <a:pt x="55198" y="62874"/>
                    <a:pt x="55008" y="62614"/>
                    <a:pt x="55008" y="62355"/>
                  </a:cubicBezTo>
                  <a:cubicBezTo>
                    <a:pt x="54990" y="58916"/>
                    <a:pt x="52139" y="56739"/>
                    <a:pt x="51189" y="53697"/>
                  </a:cubicBezTo>
                  <a:cubicBezTo>
                    <a:pt x="51085" y="53334"/>
                    <a:pt x="50739" y="53040"/>
                    <a:pt x="50497" y="52695"/>
                  </a:cubicBezTo>
                  <a:close/>
                  <a:moveTo>
                    <a:pt x="87976" y="1"/>
                  </a:moveTo>
                  <a:cubicBezTo>
                    <a:pt x="87018" y="1"/>
                    <a:pt x="85745" y="1010"/>
                    <a:pt x="84455" y="1127"/>
                  </a:cubicBezTo>
                  <a:cubicBezTo>
                    <a:pt x="83776" y="1176"/>
                    <a:pt x="83111" y="1512"/>
                    <a:pt x="82448" y="1512"/>
                  </a:cubicBezTo>
                  <a:cubicBezTo>
                    <a:pt x="82403" y="1512"/>
                    <a:pt x="82358" y="1511"/>
                    <a:pt x="82313" y="1507"/>
                  </a:cubicBezTo>
                  <a:cubicBezTo>
                    <a:pt x="82281" y="1506"/>
                    <a:pt x="82250" y="1506"/>
                    <a:pt x="82218" y="1506"/>
                  </a:cubicBezTo>
                  <a:cubicBezTo>
                    <a:pt x="80376" y="1506"/>
                    <a:pt x="79245" y="3375"/>
                    <a:pt x="77443" y="3375"/>
                  </a:cubicBezTo>
                  <a:cubicBezTo>
                    <a:pt x="77340" y="3375"/>
                    <a:pt x="77235" y="3369"/>
                    <a:pt x="77128" y="3356"/>
                  </a:cubicBezTo>
                  <a:cubicBezTo>
                    <a:pt x="77026" y="3344"/>
                    <a:pt x="76928" y="3335"/>
                    <a:pt x="76837" y="3335"/>
                  </a:cubicBezTo>
                  <a:cubicBezTo>
                    <a:pt x="76434" y="3335"/>
                    <a:pt x="76136" y="3491"/>
                    <a:pt x="75953" y="4082"/>
                  </a:cubicBezTo>
                  <a:cubicBezTo>
                    <a:pt x="75843" y="4459"/>
                    <a:pt x="75132" y="4980"/>
                    <a:pt x="74758" y="4980"/>
                  </a:cubicBezTo>
                  <a:cubicBezTo>
                    <a:pt x="74720" y="4980"/>
                    <a:pt x="74687" y="4974"/>
                    <a:pt x="74657" y="4964"/>
                  </a:cubicBezTo>
                  <a:cubicBezTo>
                    <a:pt x="73910" y="4715"/>
                    <a:pt x="73366" y="4590"/>
                    <a:pt x="73013" y="4590"/>
                  </a:cubicBezTo>
                  <a:cubicBezTo>
                    <a:pt x="72190" y="4590"/>
                    <a:pt x="72409" y="5268"/>
                    <a:pt x="73534" y="6623"/>
                  </a:cubicBezTo>
                  <a:cubicBezTo>
                    <a:pt x="73585" y="6692"/>
                    <a:pt x="73499" y="6882"/>
                    <a:pt x="73482" y="7003"/>
                  </a:cubicBezTo>
                  <a:cubicBezTo>
                    <a:pt x="73413" y="6968"/>
                    <a:pt x="73292" y="6951"/>
                    <a:pt x="73240" y="6882"/>
                  </a:cubicBezTo>
                  <a:cubicBezTo>
                    <a:pt x="72877" y="6381"/>
                    <a:pt x="72324" y="5914"/>
                    <a:pt x="72220" y="5344"/>
                  </a:cubicBezTo>
                  <a:cubicBezTo>
                    <a:pt x="72065" y="4531"/>
                    <a:pt x="71961" y="3840"/>
                    <a:pt x="71010" y="3650"/>
                  </a:cubicBezTo>
                  <a:cubicBezTo>
                    <a:pt x="70839" y="3615"/>
                    <a:pt x="70680" y="3599"/>
                    <a:pt x="70533" y="3599"/>
                  </a:cubicBezTo>
                  <a:cubicBezTo>
                    <a:pt x="69359" y="3599"/>
                    <a:pt x="68898" y="4626"/>
                    <a:pt x="68315" y="5517"/>
                  </a:cubicBezTo>
                  <a:cubicBezTo>
                    <a:pt x="67865" y="6208"/>
                    <a:pt x="68349" y="6536"/>
                    <a:pt x="68729" y="6934"/>
                  </a:cubicBezTo>
                  <a:cubicBezTo>
                    <a:pt x="68798" y="7003"/>
                    <a:pt x="68850" y="7089"/>
                    <a:pt x="68902" y="7176"/>
                  </a:cubicBezTo>
                  <a:cubicBezTo>
                    <a:pt x="68817" y="7188"/>
                    <a:pt x="68731" y="7200"/>
                    <a:pt x="68645" y="7200"/>
                  </a:cubicBezTo>
                  <a:cubicBezTo>
                    <a:pt x="68610" y="7200"/>
                    <a:pt x="68575" y="7198"/>
                    <a:pt x="68539" y="7193"/>
                  </a:cubicBezTo>
                  <a:cubicBezTo>
                    <a:pt x="67376" y="7024"/>
                    <a:pt x="66212" y="6691"/>
                    <a:pt x="65033" y="6691"/>
                  </a:cubicBezTo>
                  <a:cubicBezTo>
                    <a:pt x="65003" y="6691"/>
                    <a:pt x="64974" y="6691"/>
                    <a:pt x="64945" y="6692"/>
                  </a:cubicBezTo>
                  <a:cubicBezTo>
                    <a:pt x="64584" y="6692"/>
                    <a:pt x="63909" y="6196"/>
                    <a:pt x="63437" y="6196"/>
                  </a:cubicBezTo>
                  <a:cubicBezTo>
                    <a:pt x="63072" y="6196"/>
                    <a:pt x="62827" y="6492"/>
                    <a:pt x="62940" y="7538"/>
                  </a:cubicBezTo>
                  <a:cubicBezTo>
                    <a:pt x="62940" y="7608"/>
                    <a:pt x="62525" y="7711"/>
                    <a:pt x="62283" y="7798"/>
                  </a:cubicBezTo>
                  <a:cubicBezTo>
                    <a:pt x="61879" y="7955"/>
                    <a:pt x="61464" y="8005"/>
                    <a:pt x="61043" y="8005"/>
                  </a:cubicBezTo>
                  <a:cubicBezTo>
                    <a:pt x="60325" y="8005"/>
                    <a:pt x="59591" y="7860"/>
                    <a:pt x="58870" y="7860"/>
                  </a:cubicBezTo>
                  <a:cubicBezTo>
                    <a:pt x="58295" y="7860"/>
                    <a:pt x="57729" y="7952"/>
                    <a:pt x="57185" y="8282"/>
                  </a:cubicBezTo>
                  <a:cubicBezTo>
                    <a:pt x="56736" y="8610"/>
                    <a:pt x="56304" y="8938"/>
                    <a:pt x="55837" y="9267"/>
                  </a:cubicBezTo>
                  <a:cubicBezTo>
                    <a:pt x="55671" y="9381"/>
                    <a:pt x="55417" y="9527"/>
                    <a:pt x="55226" y="9527"/>
                  </a:cubicBezTo>
                  <a:cubicBezTo>
                    <a:pt x="55100" y="9527"/>
                    <a:pt x="55001" y="9463"/>
                    <a:pt x="54973" y="9284"/>
                  </a:cubicBezTo>
                  <a:cubicBezTo>
                    <a:pt x="54819" y="8258"/>
                    <a:pt x="54209" y="8003"/>
                    <a:pt x="53545" y="8003"/>
                  </a:cubicBezTo>
                  <a:cubicBezTo>
                    <a:pt x="53313" y="8003"/>
                    <a:pt x="53075" y="8034"/>
                    <a:pt x="52848" y="8074"/>
                  </a:cubicBezTo>
                  <a:cubicBezTo>
                    <a:pt x="51897" y="8264"/>
                    <a:pt x="52416" y="9232"/>
                    <a:pt x="52295" y="9854"/>
                  </a:cubicBezTo>
                  <a:cubicBezTo>
                    <a:pt x="52156" y="10615"/>
                    <a:pt x="51344" y="10096"/>
                    <a:pt x="50998" y="10545"/>
                  </a:cubicBezTo>
                  <a:cubicBezTo>
                    <a:pt x="50949" y="10609"/>
                    <a:pt x="50910" y="10635"/>
                    <a:pt x="50880" y="10635"/>
                  </a:cubicBezTo>
                  <a:cubicBezTo>
                    <a:pt x="50805" y="10635"/>
                    <a:pt x="50789" y="10469"/>
                    <a:pt x="50826" y="10321"/>
                  </a:cubicBezTo>
                  <a:cubicBezTo>
                    <a:pt x="51033" y="8990"/>
                    <a:pt x="50221" y="8541"/>
                    <a:pt x="49115" y="8161"/>
                  </a:cubicBezTo>
                  <a:cubicBezTo>
                    <a:pt x="46903" y="7400"/>
                    <a:pt x="44535" y="7176"/>
                    <a:pt x="42392" y="6070"/>
                  </a:cubicBezTo>
                  <a:cubicBezTo>
                    <a:pt x="41667" y="5697"/>
                    <a:pt x="40852" y="5536"/>
                    <a:pt x="40032" y="5536"/>
                  </a:cubicBezTo>
                  <a:cubicBezTo>
                    <a:pt x="39367" y="5536"/>
                    <a:pt x="38699" y="5642"/>
                    <a:pt x="38072" y="5828"/>
                  </a:cubicBezTo>
                  <a:cubicBezTo>
                    <a:pt x="36033" y="6432"/>
                    <a:pt x="33838" y="6502"/>
                    <a:pt x="31989" y="7642"/>
                  </a:cubicBezTo>
                  <a:cubicBezTo>
                    <a:pt x="31263" y="8074"/>
                    <a:pt x="29206" y="7296"/>
                    <a:pt x="30226" y="9457"/>
                  </a:cubicBezTo>
                  <a:cubicBezTo>
                    <a:pt x="30278" y="9578"/>
                    <a:pt x="29984" y="9854"/>
                    <a:pt x="29863" y="10079"/>
                  </a:cubicBezTo>
                  <a:cubicBezTo>
                    <a:pt x="28653" y="12412"/>
                    <a:pt x="26234" y="13224"/>
                    <a:pt x="24229" y="14555"/>
                  </a:cubicBezTo>
                  <a:cubicBezTo>
                    <a:pt x="22536" y="15661"/>
                    <a:pt x="23486" y="17112"/>
                    <a:pt x="24022" y="18236"/>
                  </a:cubicBezTo>
                  <a:cubicBezTo>
                    <a:pt x="24328" y="18880"/>
                    <a:pt x="24972" y="19241"/>
                    <a:pt x="25627" y="19241"/>
                  </a:cubicBezTo>
                  <a:cubicBezTo>
                    <a:pt x="26008" y="19241"/>
                    <a:pt x="26393" y="19119"/>
                    <a:pt x="26718" y="18858"/>
                  </a:cubicBezTo>
                  <a:cubicBezTo>
                    <a:pt x="27228" y="18470"/>
                    <a:pt x="27609" y="18306"/>
                    <a:pt x="27903" y="18306"/>
                  </a:cubicBezTo>
                  <a:cubicBezTo>
                    <a:pt x="28524" y="18306"/>
                    <a:pt x="28748" y="19042"/>
                    <a:pt x="28947" y="19946"/>
                  </a:cubicBezTo>
                  <a:cubicBezTo>
                    <a:pt x="28982" y="20223"/>
                    <a:pt x="28999" y="20499"/>
                    <a:pt x="28982" y="20776"/>
                  </a:cubicBezTo>
                  <a:cubicBezTo>
                    <a:pt x="28774" y="20551"/>
                    <a:pt x="28446" y="20396"/>
                    <a:pt x="28342" y="20119"/>
                  </a:cubicBezTo>
                  <a:cubicBezTo>
                    <a:pt x="28124" y="19474"/>
                    <a:pt x="27849" y="19234"/>
                    <a:pt x="27528" y="19234"/>
                  </a:cubicBezTo>
                  <a:cubicBezTo>
                    <a:pt x="27212" y="19234"/>
                    <a:pt x="26853" y="19465"/>
                    <a:pt x="26459" y="19774"/>
                  </a:cubicBezTo>
                  <a:cubicBezTo>
                    <a:pt x="25646" y="20379"/>
                    <a:pt x="25958" y="21260"/>
                    <a:pt x="26130" y="21899"/>
                  </a:cubicBezTo>
                  <a:cubicBezTo>
                    <a:pt x="26459" y="23092"/>
                    <a:pt x="25802" y="23420"/>
                    <a:pt x="24938" y="23627"/>
                  </a:cubicBezTo>
                  <a:cubicBezTo>
                    <a:pt x="23901" y="23852"/>
                    <a:pt x="23072" y="24267"/>
                    <a:pt x="22553" y="25269"/>
                  </a:cubicBezTo>
                  <a:cubicBezTo>
                    <a:pt x="22273" y="25790"/>
                    <a:pt x="21682" y="26043"/>
                    <a:pt x="21157" y="26043"/>
                  </a:cubicBezTo>
                  <a:cubicBezTo>
                    <a:pt x="21003" y="26043"/>
                    <a:pt x="20855" y="26021"/>
                    <a:pt x="20721" y="25978"/>
                  </a:cubicBezTo>
                  <a:cubicBezTo>
                    <a:pt x="20116" y="25788"/>
                    <a:pt x="20963" y="25390"/>
                    <a:pt x="20946" y="24993"/>
                  </a:cubicBezTo>
                  <a:cubicBezTo>
                    <a:pt x="20929" y="24543"/>
                    <a:pt x="20738" y="24129"/>
                    <a:pt x="20410" y="23835"/>
                  </a:cubicBezTo>
                  <a:cubicBezTo>
                    <a:pt x="19477" y="22798"/>
                    <a:pt x="18354" y="21709"/>
                    <a:pt x="18215" y="20327"/>
                  </a:cubicBezTo>
                  <a:cubicBezTo>
                    <a:pt x="18098" y="19205"/>
                    <a:pt x="17332" y="17921"/>
                    <a:pt x="16200" y="17921"/>
                  </a:cubicBezTo>
                  <a:cubicBezTo>
                    <a:pt x="16163" y="17921"/>
                    <a:pt x="16127" y="17922"/>
                    <a:pt x="16090" y="17925"/>
                  </a:cubicBezTo>
                  <a:cubicBezTo>
                    <a:pt x="15105" y="17976"/>
                    <a:pt x="14068" y="18391"/>
                    <a:pt x="13930" y="19221"/>
                  </a:cubicBezTo>
                  <a:cubicBezTo>
                    <a:pt x="13670" y="20430"/>
                    <a:pt x="14137" y="21709"/>
                    <a:pt x="15122" y="22470"/>
                  </a:cubicBezTo>
                  <a:cubicBezTo>
                    <a:pt x="15952" y="23109"/>
                    <a:pt x="15952" y="23161"/>
                    <a:pt x="15589" y="23489"/>
                  </a:cubicBezTo>
                  <a:cubicBezTo>
                    <a:pt x="14448" y="24526"/>
                    <a:pt x="14915" y="26116"/>
                    <a:pt x="14292" y="27377"/>
                  </a:cubicBezTo>
                  <a:cubicBezTo>
                    <a:pt x="14143" y="27687"/>
                    <a:pt x="14420" y="27822"/>
                    <a:pt x="14760" y="27822"/>
                  </a:cubicBezTo>
                  <a:cubicBezTo>
                    <a:pt x="14932" y="27822"/>
                    <a:pt x="15121" y="27787"/>
                    <a:pt x="15278" y="27723"/>
                  </a:cubicBezTo>
                  <a:cubicBezTo>
                    <a:pt x="16510" y="27249"/>
                    <a:pt x="17772" y="26919"/>
                    <a:pt x="19089" y="26919"/>
                  </a:cubicBezTo>
                  <a:cubicBezTo>
                    <a:pt x="19212" y="26919"/>
                    <a:pt x="19336" y="26922"/>
                    <a:pt x="19460" y="26928"/>
                  </a:cubicBezTo>
                  <a:lnTo>
                    <a:pt x="19874" y="26928"/>
                  </a:lnTo>
                  <a:cubicBezTo>
                    <a:pt x="19840" y="26997"/>
                    <a:pt x="19823" y="27136"/>
                    <a:pt x="19753" y="27153"/>
                  </a:cubicBezTo>
                  <a:cubicBezTo>
                    <a:pt x="18630" y="27585"/>
                    <a:pt x="17507" y="28138"/>
                    <a:pt x="16349" y="28414"/>
                  </a:cubicBezTo>
                  <a:cubicBezTo>
                    <a:pt x="15692" y="28570"/>
                    <a:pt x="14915" y="28432"/>
                    <a:pt x="14707" y="29209"/>
                  </a:cubicBezTo>
                  <a:cubicBezTo>
                    <a:pt x="14500" y="30004"/>
                    <a:pt x="15260" y="30194"/>
                    <a:pt x="15813" y="30505"/>
                  </a:cubicBezTo>
                  <a:cubicBezTo>
                    <a:pt x="17161" y="31318"/>
                    <a:pt x="17369" y="32493"/>
                    <a:pt x="16867" y="33910"/>
                  </a:cubicBezTo>
                  <a:cubicBezTo>
                    <a:pt x="16664" y="34503"/>
                    <a:pt x="16349" y="34660"/>
                    <a:pt x="15995" y="34660"/>
                  </a:cubicBezTo>
                  <a:cubicBezTo>
                    <a:pt x="15626" y="34660"/>
                    <a:pt x="15216" y="34489"/>
                    <a:pt x="14846" y="34463"/>
                  </a:cubicBezTo>
                  <a:cubicBezTo>
                    <a:pt x="13916" y="34396"/>
                    <a:pt x="12987" y="34203"/>
                    <a:pt x="12042" y="34203"/>
                  </a:cubicBezTo>
                  <a:cubicBezTo>
                    <a:pt x="12003" y="34203"/>
                    <a:pt x="11964" y="34203"/>
                    <a:pt x="11925" y="34204"/>
                  </a:cubicBezTo>
                  <a:cubicBezTo>
                    <a:pt x="10957" y="34221"/>
                    <a:pt x="9834" y="34446"/>
                    <a:pt x="9989" y="35759"/>
                  </a:cubicBezTo>
                  <a:cubicBezTo>
                    <a:pt x="10128" y="37072"/>
                    <a:pt x="9834" y="38196"/>
                    <a:pt x="9592" y="39440"/>
                  </a:cubicBezTo>
                  <a:cubicBezTo>
                    <a:pt x="9385" y="40425"/>
                    <a:pt x="8693" y="42136"/>
                    <a:pt x="10542" y="42464"/>
                  </a:cubicBezTo>
                  <a:cubicBezTo>
                    <a:pt x="12305" y="42758"/>
                    <a:pt x="12668" y="43173"/>
                    <a:pt x="11735" y="44693"/>
                  </a:cubicBezTo>
                  <a:cubicBezTo>
                    <a:pt x="11389" y="45298"/>
                    <a:pt x="10888" y="45817"/>
                    <a:pt x="10300" y="46180"/>
                  </a:cubicBezTo>
                  <a:cubicBezTo>
                    <a:pt x="9108" y="46871"/>
                    <a:pt x="8175" y="47752"/>
                    <a:pt x="8313" y="49342"/>
                  </a:cubicBezTo>
                  <a:cubicBezTo>
                    <a:pt x="8365" y="49964"/>
                    <a:pt x="8140" y="50707"/>
                    <a:pt x="7535" y="50967"/>
                  </a:cubicBezTo>
                  <a:cubicBezTo>
                    <a:pt x="5168" y="52021"/>
                    <a:pt x="3768" y="53991"/>
                    <a:pt x="2662" y="56168"/>
                  </a:cubicBezTo>
                  <a:cubicBezTo>
                    <a:pt x="1781" y="57931"/>
                    <a:pt x="122" y="59469"/>
                    <a:pt x="1279" y="61888"/>
                  </a:cubicBezTo>
                  <a:cubicBezTo>
                    <a:pt x="1936" y="63236"/>
                    <a:pt x="1573" y="64792"/>
                    <a:pt x="830" y="66209"/>
                  </a:cubicBezTo>
                  <a:cubicBezTo>
                    <a:pt x="1" y="67781"/>
                    <a:pt x="744" y="70477"/>
                    <a:pt x="2126" y="71687"/>
                  </a:cubicBezTo>
                  <a:cubicBezTo>
                    <a:pt x="2420" y="71946"/>
                    <a:pt x="2662" y="72240"/>
                    <a:pt x="2818" y="72586"/>
                  </a:cubicBezTo>
                  <a:cubicBezTo>
                    <a:pt x="4027" y="75040"/>
                    <a:pt x="5462" y="77303"/>
                    <a:pt x="7881" y="78755"/>
                  </a:cubicBezTo>
                  <a:cubicBezTo>
                    <a:pt x="8455" y="79100"/>
                    <a:pt x="9053" y="79742"/>
                    <a:pt x="9645" y="79742"/>
                  </a:cubicBezTo>
                  <a:cubicBezTo>
                    <a:pt x="9766" y="79742"/>
                    <a:pt x="9887" y="79715"/>
                    <a:pt x="10007" y="79654"/>
                  </a:cubicBezTo>
                  <a:cubicBezTo>
                    <a:pt x="12824" y="78254"/>
                    <a:pt x="16142" y="79844"/>
                    <a:pt x="18889" y="77874"/>
                  </a:cubicBezTo>
                  <a:cubicBezTo>
                    <a:pt x="19326" y="77562"/>
                    <a:pt x="19938" y="77352"/>
                    <a:pt x="20558" y="77352"/>
                  </a:cubicBezTo>
                  <a:cubicBezTo>
                    <a:pt x="21313" y="77352"/>
                    <a:pt x="22079" y="77663"/>
                    <a:pt x="22553" y="78479"/>
                  </a:cubicBezTo>
                  <a:cubicBezTo>
                    <a:pt x="23034" y="79313"/>
                    <a:pt x="23538" y="79650"/>
                    <a:pt x="24283" y="79650"/>
                  </a:cubicBezTo>
                  <a:cubicBezTo>
                    <a:pt x="24448" y="79650"/>
                    <a:pt x="24626" y="79633"/>
                    <a:pt x="24817" y="79602"/>
                  </a:cubicBezTo>
                  <a:cubicBezTo>
                    <a:pt x="24994" y="79574"/>
                    <a:pt x="25161" y="79561"/>
                    <a:pt x="25317" y="79561"/>
                  </a:cubicBezTo>
                  <a:cubicBezTo>
                    <a:pt x="26715" y="79561"/>
                    <a:pt x="27271" y="80640"/>
                    <a:pt x="26960" y="82194"/>
                  </a:cubicBezTo>
                  <a:cubicBezTo>
                    <a:pt x="26683" y="83611"/>
                    <a:pt x="25750" y="85218"/>
                    <a:pt x="26545" y="86480"/>
                  </a:cubicBezTo>
                  <a:cubicBezTo>
                    <a:pt x="27461" y="87966"/>
                    <a:pt x="28515" y="89400"/>
                    <a:pt x="29206" y="90973"/>
                  </a:cubicBezTo>
                  <a:cubicBezTo>
                    <a:pt x="30416" y="93721"/>
                    <a:pt x="31298" y="96641"/>
                    <a:pt x="29777" y="99631"/>
                  </a:cubicBezTo>
                  <a:cubicBezTo>
                    <a:pt x="28809" y="101515"/>
                    <a:pt x="28619" y="103502"/>
                    <a:pt x="29535" y="105369"/>
                  </a:cubicBezTo>
                  <a:cubicBezTo>
                    <a:pt x="30503" y="107321"/>
                    <a:pt x="31228" y="109274"/>
                    <a:pt x="31488" y="111469"/>
                  </a:cubicBezTo>
                  <a:cubicBezTo>
                    <a:pt x="31712" y="113456"/>
                    <a:pt x="31695" y="115599"/>
                    <a:pt x="33371" y="117172"/>
                  </a:cubicBezTo>
                  <a:cubicBezTo>
                    <a:pt x="34322" y="118088"/>
                    <a:pt x="34581" y="119436"/>
                    <a:pt x="35013" y="120645"/>
                  </a:cubicBezTo>
                  <a:cubicBezTo>
                    <a:pt x="35393" y="121717"/>
                    <a:pt x="34546" y="123065"/>
                    <a:pt x="35843" y="123998"/>
                  </a:cubicBezTo>
                  <a:cubicBezTo>
                    <a:pt x="36206" y="124270"/>
                    <a:pt x="36549" y="124368"/>
                    <a:pt x="36881" y="124368"/>
                  </a:cubicBezTo>
                  <a:cubicBezTo>
                    <a:pt x="37735" y="124368"/>
                    <a:pt x="38515" y="123721"/>
                    <a:pt x="39372" y="123721"/>
                  </a:cubicBezTo>
                  <a:cubicBezTo>
                    <a:pt x="39388" y="123721"/>
                    <a:pt x="39404" y="123721"/>
                    <a:pt x="39420" y="123721"/>
                  </a:cubicBezTo>
                  <a:cubicBezTo>
                    <a:pt x="39526" y="123724"/>
                    <a:pt x="39630" y="123725"/>
                    <a:pt x="39734" y="123725"/>
                  </a:cubicBezTo>
                  <a:cubicBezTo>
                    <a:pt x="44937" y="123725"/>
                    <a:pt x="47636" y="120353"/>
                    <a:pt x="49754" y="116100"/>
                  </a:cubicBezTo>
                  <a:cubicBezTo>
                    <a:pt x="50186" y="115236"/>
                    <a:pt x="49720" y="113957"/>
                    <a:pt x="50826" y="113508"/>
                  </a:cubicBezTo>
                  <a:cubicBezTo>
                    <a:pt x="52761" y="112713"/>
                    <a:pt x="53193" y="111175"/>
                    <a:pt x="52692" y="109499"/>
                  </a:cubicBezTo>
                  <a:cubicBezTo>
                    <a:pt x="51949" y="107028"/>
                    <a:pt x="53297" y="106112"/>
                    <a:pt x="55181" y="105282"/>
                  </a:cubicBezTo>
                  <a:cubicBezTo>
                    <a:pt x="57773" y="104107"/>
                    <a:pt x="59449" y="98370"/>
                    <a:pt x="57963" y="96071"/>
                  </a:cubicBezTo>
                  <a:cubicBezTo>
                    <a:pt x="56770" y="94239"/>
                    <a:pt x="57099" y="92217"/>
                    <a:pt x="57444" y="90316"/>
                  </a:cubicBezTo>
                  <a:cubicBezTo>
                    <a:pt x="57911" y="87621"/>
                    <a:pt x="59933" y="85823"/>
                    <a:pt x="61851" y="84164"/>
                  </a:cubicBezTo>
                  <a:cubicBezTo>
                    <a:pt x="65601" y="80915"/>
                    <a:pt x="68055" y="76992"/>
                    <a:pt x="69109" y="72171"/>
                  </a:cubicBezTo>
                  <a:cubicBezTo>
                    <a:pt x="69271" y="71459"/>
                    <a:pt x="69266" y="70656"/>
                    <a:pt x="68371" y="70656"/>
                  </a:cubicBezTo>
                  <a:cubicBezTo>
                    <a:pt x="68311" y="70656"/>
                    <a:pt x="68246" y="70660"/>
                    <a:pt x="68176" y="70667"/>
                  </a:cubicBezTo>
                  <a:cubicBezTo>
                    <a:pt x="67157" y="70788"/>
                    <a:pt x="66154" y="71151"/>
                    <a:pt x="65152" y="71462"/>
                  </a:cubicBezTo>
                  <a:cubicBezTo>
                    <a:pt x="63960" y="71826"/>
                    <a:pt x="63201" y="72060"/>
                    <a:pt x="62664" y="72060"/>
                  </a:cubicBezTo>
                  <a:cubicBezTo>
                    <a:pt x="61727" y="72060"/>
                    <a:pt x="61469" y="71346"/>
                    <a:pt x="60772" y="69363"/>
                  </a:cubicBezTo>
                  <a:lnTo>
                    <a:pt x="60772" y="69363"/>
                  </a:lnTo>
                  <a:cubicBezTo>
                    <a:pt x="61180" y="69747"/>
                    <a:pt x="61467" y="70422"/>
                    <a:pt x="62074" y="70422"/>
                  </a:cubicBezTo>
                  <a:cubicBezTo>
                    <a:pt x="62180" y="70422"/>
                    <a:pt x="62295" y="70402"/>
                    <a:pt x="62422" y="70356"/>
                  </a:cubicBezTo>
                  <a:cubicBezTo>
                    <a:pt x="63925" y="69769"/>
                    <a:pt x="65359" y="68957"/>
                    <a:pt x="66897" y="68455"/>
                  </a:cubicBezTo>
                  <a:cubicBezTo>
                    <a:pt x="68660" y="67868"/>
                    <a:pt x="69732" y="66209"/>
                    <a:pt x="71391" y="65639"/>
                  </a:cubicBezTo>
                  <a:cubicBezTo>
                    <a:pt x="73706" y="64844"/>
                    <a:pt x="76713" y="61716"/>
                    <a:pt x="76852" y="59383"/>
                  </a:cubicBezTo>
                  <a:cubicBezTo>
                    <a:pt x="76834" y="59072"/>
                    <a:pt x="76713" y="58778"/>
                    <a:pt x="76506" y="58553"/>
                  </a:cubicBezTo>
                  <a:cubicBezTo>
                    <a:pt x="75918" y="57810"/>
                    <a:pt x="75279" y="57153"/>
                    <a:pt x="74294" y="56894"/>
                  </a:cubicBezTo>
                  <a:cubicBezTo>
                    <a:pt x="73724" y="56739"/>
                    <a:pt x="73378" y="56151"/>
                    <a:pt x="73516" y="55581"/>
                  </a:cubicBezTo>
                  <a:cubicBezTo>
                    <a:pt x="73547" y="55481"/>
                    <a:pt x="73596" y="55443"/>
                    <a:pt x="73658" y="55443"/>
                  </a:cubicBezTo>
                  <a:cubicBezTo>
                    <a:pt x="73842" y="55443"/>
                    <a:pt x="74139" y="55775"/>
                    <a:pt x="74398" y="55788"/>
                  </a:cubicBezTo>
                  <a:cubicBezTo>
                    <a:pt x="75366" y="55855"/>
                    <a:pt x="76333" y="56083"/>
                    <a:pt x="77301" y="56083"/>
                  </a:cubicBezTo>
                  <a:cubicBezTo>
                    <a:pt x="77336" y="56083"/>
                    <a:pt x="77370" y="56083"/>
                    <a:pt x="77405" y="56082"/>
                  </a:cubicBezTo>
                  <a:cubicBezTo>
                    <a:pt x="77727" y="56077"/>
                    <a:pt x="78047" y="56073"/>
                    <a:pt x="78365" y="56073"/>
                  </a:cubicBezTo>
                  <a:cubicBezTo>
                    <a:pt x="81373" y="56073"/>
                    <a:pt x="84145" y="56432"/>
                    <a:pt x="85786" y="59746"/>
                  </a:cubicBezTo>
                  <a:cubicBezTo>
                    <a:pt x="86136" y="60461"/>
                    <a:pt x="86996" y="61297"/>
                    <a:pt x="88011" y="61297"/>
                  </a:cubicBezTo>
                  <a:cubicBezTo>
                    <a:pt x="88148" y="61297"/>
                    <a:pt x="88288" y="61282"/>
                    <a:pt x="88430" y="61249"/>
                  </a:cubicBezTo>
                  <a:cubicBezTo>
                    <a:pt x="88585" y="61214"/>
                    <a:pt x="88707" y="61197"/>
                    <a:pt x="88805" y="61197"/>
                  </a:cubicBezTo>
                  <a:cubicBezTo>
                    <a:pt x="89186" y="61197"/>
                    <a:pt x="89184" y="61451"/>
                    <a:pt x="89225" y="61837"/>
                  </a:cubicBezTo>
                  <a:cubicBezTo>
                    <a:pt x="89830" y="66554"/>
                    <a:pt x="91990" y="70685"/>
                    <a:pt x="94133" y="74832"/>
                  </a:cubicBezTo>
                  <a:cubicBezTo>
                    <a:pt x="94475" y="75487"/>
                    <a:pt x="94875" y="75911"/>
                    <a:pt x="95290" y="75911"/>
                  </a:cubicBezTo>
                  <a:cubicBezTo>
                    <a:pt x="95652" y="75911"/>
                    <a:pt x="96025" y="75588"/>
                    <a:pt x="96380" y="74815"/>
                  </a:cubicBezTo>
                  <a:cubicBezTo>
                    <a:pt x="96622" y="74297"/>
                    <a:pt x="97036" y="73847"/>
                    <a:pt x="97382" y="73381"/>
                  </a:cubicBezTo>
                  <a:lnTo>
                    <a:pt x="97538" y="73225"/>
                  </a:lnTo>
                  <a:cubicBezTo>
                    <a:pt x="98212" y="71618"/>
                    <a:pt x="98056" y="69993"/>
                    <a:pt x="97831" y="68317"/>
                  </a:cubicBezTo>
                  <a:cubicBezTo>
                    <a:pt x="97762" y="67833"/>
                    <a:pt x="97589" y="67211"/>
                    <a:pt x="98194" y="67073"/>
                  </a:cubicBezTo>
                  <a:cubicBezTo>
                    <a:pt x="99784" y="66693"/>
                    <a:pt x="100268" y="65258"/>
                    <a:pt x="101149" y="64187"/>
                  </a:cubicBezTo>
                  <a:cubicBezTo>
                    <a:pt x="102117" y="63029"/>
                    <a:pt x="103137" y="61629"/>
                    <a:pt x="104243" y="60903"/>
                  </a:cubicBezTo>
                  <a:cubicBezTo>
                    <a:pt x="104825" y="60515"/>
                    <a:pt x="105739" y="59942"/>
                    <a:pt x="106690" y="59942"/>
                  </a:cubicBezTo>
                  <a:cubicBezTo>
                    <a:pt x="107432" y="59942"/>
                    <a:pt x="108196" y="60292"/>
                    <a:pt x="108840" y="61353"/>
                  </a:cubicBezTo>
                  <a:cubicBezTo>
                    <a:pt x="109600" y="62632"/>
                    <a:pt x="110965" y="63565"/>
                    <a:pt x="111017" y="65258"/>
                  </a:cubicBezTo>
                  <a:cubicBezTo>
                    <a:pt x="111034" y="65777"/>
                    <a:pt x="110793" y="66433"/>
                    <a:pt x="111536" y="66693"/>
                  </a:cubicBezTo>
                  <a:cubicBezTo>
                    <a:pt x="111822" y="66788"/>
                    <a:pt x="112112" y="66862"/>
                    <a:pt x="112391" y="66862"/>
                  </a:cubicBezTo>
                  <a:cubicBezTo>
                    <a:pt x="112769" y="66862"/>
                    <a:pt x="113129" y="66727"/>
                    <a:pt x="113437" y="66330"/>
                  </a:cubicBezTo>
                  <a:cubicBezTo>
                    <a:pt x="113540" y="66205"/>
                    <a:pt x="113700" y="66031"/>
                    <a:pt x="113856" y="66031"/>
                  </a:cubicBezTo>
                  <a:cubicBezTo>
                    <a:pt x="113960" y="66031"/>
                    <a:pt x="114062" y="66109"/>
                    <a:pt x="114145" y="66330"/>
                  </a:cubicBezTo>
                  <a:cubicBezTo>
                    <a:pt x="114543" y="67470"/>
                    <a:pt x="114802" y="68663"/>
                    <a:pt x="115286" y="69769"/>
                  </a:cubicBezTo>
                  <a:cubicBezTo>
                    <a:pt x="116271" y="72033"/>
                    <a:pt x="114940" y="74677"/>
                    <a:pt x="116858" y="76871"/>
                  </a:cubicBezTo>
                  <a:cubicBezTo>
                    <a:pt x="118241" y="78461"/>
                    <a:pt x="118362" y="80915"/>
                    <a:pt x="119900" y="82540"/>
                  </a:cubicBezTo>
                  <a:cubicBezTo>
                    <a:pt x="120401" y="82799"/>
                    <a:pt x="120885" y="83058"/>
                    <a:pt x="121386" y="83300"/>
                  </a:cubicBezTo>
                  <a:cubicBezTo>
                    <a:pt x="121538" y="83368"/>
                    <a:pt x="121699" y="83403"/>
                    <a:pt x="121846" y="83403"/>
                  </a:cubicBezTo>
                  <a:cubicBezTo>
                    <a:pt x="122184" y="83403"/>
                    <a:pt x="122445" y="83219"/>
                    <a:pt x="122337" y="82834"/>
                  </a:cubicBezTo>
                  <a:cubicBezTo>
                    <a:pt x="121818" y="80915"/>
                    <a:pt x="121991" y="78790"/>
                    <a:pt x="119969" y="77355"/>
                  </a:cubicBezTo>
                  <a:cubicBezTo>
                    <a:pt x="118414" y="76249"/>
                    <a:pt x="117239" y="74521"/>
                    <a:pt x="117463" y="72378"/>
                  </a:cubicBezTo>
                  <a:cubicBezTo>
                    <a:pt x="117528" y="71821"/>
                    <a:pt x="116912" y="70437"/>
                    <a:pt x="117695" y="70437"/>
                  </a:cubicBezTo>
                  <a:cubicBezTo>
                    <a:pt x="117955" y="70437"/>
                    <a:pt x="118371" y="70590"/>
                    <a:pt x="119019" y="70979"/>
                  </a:cubicBezTo>
                  <a:cubicBezTo>
                    <a:pt x="120194" y="71704"/>
                    <a:pt x="121386" y="72655"/>
                    <a:pt x="121749" y="73605"/>
                  </a:cubicBezTo>
                  <a:cubicBezTo>
                    <a:pt x="122096" y="74553"/>
                    <a:pt x="122434" y="74868"/>
                    <a:pt x="122776" y="74868"/>
                  </a:cubicBezTo>
                  <a:cubicBezTo>
                    <a:pt x="123251" y="74868"/>
                    <a:pt x="123732" y="74261"/>
                    <a:pt x="124255" y="73899"/>
                  </a:cubicBezTo>
                  <a:cubicBezTo>
                    <a:pt x="124531" y="73709"/>
                    <a:pt x="124721" y="73363"/>
                    <a:pt x="125015" y="73208"/>
                  </a:cubicBezTo>
                  <a:cubicBezTo>
                    <a:pt x="126743" y="72292"/>
                    <a:pt x="127210" y="70961"/>
                    <a:pt x="126743" y="69043"/>
                  </a:cubicBezTo>
                  <a:cubicBezTo>
                    <a:pt x="126294" y="67159"/>
                    <a:pt x="125292" y="65725"/>
                    <a:pt x="123892" y="64533"/>
                  </a:cubicBezTo>
                  <a:cubicBezTo>
                    <a:pt x="122596" y="63409"/>
                    <a:pt x="122285" y="62459"/>
                    <a:pt x="123546" y="61059"/>
                  </a:cubicBezTo>
                  <a:cubicBezTo>
                    <a:pt x="123952" y="60621"/>
                    <a:pt x="124332" y="60388"/>
                    <a:pt x="124705" y="60388"/>
                  </a:cubicBezTo>
                  <a:cubicBezTo>
                    <a:pt x="124936" y="60388"/>
                    <a:pt x="125164" y="60477"/>
                    <a:pt x="125395" y="60661"/>
                  </a:cubicBezTo>
                  <a:cubicBezTo>
                    <a:pt x="126000" y="61145"/>
                    <a:pt x="125810" y="61750"/>
                    <a:pt x="125119" y="62234"/>
                  </a:cubicBezTo>
                  <a:cubicBezTo>
                    <a:pt x="124618" y="62580"/>
                    <a:pt x="124445" y="63219"/>
                    <a:pt x="125050" y="63651"/>
                  </a:cubicBezTo>
                  <a:cubicBezTo>
                    <a:pt x="125442" y="63952"/>
                    <a:pt x="125858" y="64171"/>
                    <a:pt x="126268" y="64171"/>
                  </a:cubicBezTo>
                  <a:cubicBezTo>
                    <a:pt x="126635" y="64171"/>
                    <a:pt x="126996" y="63996"/>
                    <a:pt x="127331" y="63547"/>
                  </a:cubicBezTo>
                  <a:cubicBezTo>
                    <a:pt x="127694" y="63046"/>
                    <a:pt x="128247" y="62407"/>
                    <a:pt x="127469" y="61940"/>
                  </a:cubicBezTo>
                  <a:cubicBezTo>
                    <a:pt x="126398" y="61318"/>
                    <a:pt x="127037" y="61042"/>
                    <a:pt x="127590" y="60696"/>
                  </a:cubicBezTo>
                  <a:cubicBezTo>
                    <a:pt x="130061" y="59210"/>
                    <a:pt x="133449" y="59106"/>
                    <a:pt x="134693" y="55788"/>
                  </a:cubicBezTo>
                  <a:cubicBezTo>
                    <a:pt x="135298" y="54146"/>
                    <a:pt x="136093" y="52591"/>
                    <a:pt x="135851" y="50725"/>
                  </a:cubicBezTo>
                  <a:cubicBezTo>
                    <a:pt x="135522" y="48288"/>
                    <a:pt x="133932" y="46629"/>
                    <a:pt x="132498" y="44918"/>
                  </a:cubicBezTo>
                  <a:cubicBezTo>
                    <a:pt x="131772" y="44054"/>
                    <a:pt x="131859" y="43622"/>
                    <a:pt x="132775" y="43173"/>
                  </a:cubicBezTo>
                  <a:cubicBezTo>
                    <a:pt x="133120" y="43017"/>
                    <a:pt x="133397" y="42793"/>
                    <a:pt x="133362" y="42378"/>
                  </a:cubicBezTo>
                  <a:cubicBezTo>
                    <a:pt x="133345" y="41980"/>
                    <a:pt x="133051" y="41635"/>
                    <a:pt x="132671" y="41548"/>
                  </a:cubicBezTo>
                  <a:cubicBezTo>
                    <a:pt x="132227" y="41462"/>
                    <a:pt x="131713" y="41297"/>
                    <a:pt x="131292" y="41297"/>
                  </a:cubicBezTo>
                  <a:cubicBezTo>
                    <a:pt x="131122" y="41297"/>
                    <a:pt x="130968" y="41323"/>
                    <a:pt x="130839" y="41393"/>
                  </a:cubicBezTo>
                  <a:cubicBezTo>
                    <a:pt x="130667" y="41486"/>
                    <a:pt x="130517" y="41524"/>
                    <a:pt x="130385" y="41524"/>
                  </a:cubicBezTo>
                  <a:cubicBezTo>
                    <a:pt x="129751" y="41524"/>
                    <a:pt x="129496" y="40648"/>
                    <a:pt x="128935" y="40648"/>
                  </a:cubicBezTo>
                  <a:cubicBezTo>
                    <a:pt x="128871" y="40648"/>
                    <a:pt x="128804" y="40659"/>
                    <a:pt x="128731" y="40684"/>
                  </a:cubicBezTo>
                  <a:cubicBezTo>
                    <a:pt x="129025" y="40425"/>
                    <a:pt x="129336" y="40166"/>
                    <a:pt x="129612" y="39889"/>
                  </a:cubicBezTo>
                  <a:cubicBezTo>
                    <a:pt x="129699" y="39786"/>
                    <a:pt x="129768" y="39647"/>
                    <a:pt x="129802" y="39509"/>
                  </a:cubicBezTo>
                  <a:cubicBezTo>
                    <a:pt x="129896" y="39229"/>
                    <a:pt x="130059" y="38963"/>
                    <a:pt x="130355" y="38963"/>
                  </a:cubicBezTo>
                  <a:cubicBezTo>
                    <a:pt x="130388" y="38963"/>
                    <a:pt x="130423" y="38966"/>
                    <a:pt x="130459" y="38973"/>
                  </a:cubicBezTo>
                  <a:cubicBezTo>
                    <a:pt x="130822" y="39025"/>
                    <a:pt x="130718" y="39405"/>
                    <a:pt x="130753" y="39665"/>
                  </a:cubicBezTo>
                  <a:cubicBezTo>
                    <a:pt x="130885" y="40368"/>
                    <a:pt x="131150" y="40680"/>
                    <a:pt x="131522" y="40680"/>
                  </a:cubicBezTo>
                  <a:cubicBezTo>
                    <a:pt x="131781" y="40680"/>
                    <a:pt x="132092" y="40529"/>
                    <a:pt x="132446" y="40252"/>
                  </a:cubicBezTo>
                  <a:cubicBezTo>
                    <a:pt x="132816" y="39963"/>
                    <a:pt x="133198" y="39825"/>
                    <a:pt x="133552" y="39825"/>
                  </a:cubicBezTo>
                  <a:cubicBezTo>
                    <a:pt x="134190" y="39825"/>
                    <a:pt x="134735" y="40276"/>
                    <a:pt x="134935" y="41099"/>
                  </a:cubicBezTo>
                  <a:cubicBezTo>
                    <a:pt x="135004" y="41410"/>
                    <a:pt x="135246" y="41911"/>
                    <a:pt x="135436" y="41928"/>
                  </a:cubicBezTo>
                  <a:cubicBezTo>
                    <a:pt x="136836" y="42067"/>
                    <a:pt x="137130" y="43259"/>
                    <a:pt x="137441" y="44192"/>
                  </a:cubicBezTo>
                  <a:cubicBezTo>
                    <a:pt x="137757" y="45176"/>
                    <a:pt x="138205" y="45491"/>
                    <a:pt x="138710" y="45491"/>
                  </a:cubicBezTo>
                  <a:cubicBezTo>
                    <a:pt x="139226" y="45491"/>
                    <a:pt x="139803" y="45163"/>
                    <a:pt x="140361" y="44884"/>
                  </a:cubicBezTo>
                  <a:cubicBezTo>
                    <a:pt x="141813" y="44175"/>
                    <a:pt x="140586" y="43363"/>
                    <a:pt x="140327" y="42654"/>
                  </a:cubicBezTo>
                  <a:cubicBezTo>
                    <a:pt x="140188" y="42188"/>
                    <a:pt x="139739" y="41773"/>
                    <a:pt x="139324" y="41479"/>
                  </a:cubicBezTo>
                  <a:cubicBezTo>
                    <a:pt x="137717" y="40356"/>
                    <a:pt x="137648" y="38921"/>
                    <a:pt x="138305" y="37245"/>
                  </a:cubicBezTo>
                  <a:cubicBezTo>
                    <a:pt x="138533" y="36644"/>
                    <a:pt x="138753" y="36160"/>
                    <a:pt x="139216" y="36160"/>
                  </a:cubicBezTo>
                  <a:cubicBezTo>
                    <a:pt x="139418" y="36160"/>
                    <a:pt x="139666" y="36252"/>
                    <a:pt x="139981" y="36468"/>
                  </a:cubicBezTo>
                  <a:cubicBezTo>
                    <a:pt x="140121" y="36569"/>
                    <a:pt x="140268" y="36617"/>
                    <a:pt x="140413" y="36617"/>
                  </a:cubicBezTo>
                  <a:cubicBezTo>
                    <a:pt x="140661" y="36617"/>
                    <a:pt x="140902" y="36477"/>
                    <a:pt x="141087" y="36226"/>
                  </a:cubicBezTo>
                  <a:cubicBezTo>
                    <a:pt x="142573" y="34255"/>
                    <a:pt x="142850" y="29797"/>
                    <a:pt x="141640" y="27706"/>
                  </a:cubicBezTo>
                  <a:cubicBezTo>
                    <a:pt x="141485" y="27447"/>
                    <a:pt x="141104" y="27187"/>
                    <a:pt x="141398" y="26807"/>
                  </a:cubicBezTo>
                  <a:lnTo>
                    <a:pt x="141398" y="26807"/>
                  </a:lnTo>
                  <a:cubicBezTo>
                    <a:pt x="141623" y="26997"/>
                    <a:pt x="141917" y="27153"/>
                    <a:pt x="142072" y="27395"/>
                  </a:cubicBezTo>
                  <a:cubicBezTo>
                    <a:pt x="142988" y="28812"/>
                    <a:pt x="143869" y="30229"/>
                    <a:pt x="144733" y="31663"/>
                  </a:cubicBezTo>
                  <a:cubicBezTo>
                    <a:pt x="144984" y="32062"/>
                    <a:pt x="145261" y="32460"/>
                    <a:pt x="145713" y="32460"/>
                  </a:cubicBezTo>
                  <a:cubicBezTo>
                    <a:pt x="145790" y="32460"/>
                    <a:pt x="145872" y="32449"/>
                    <a:pt x="145960" y="32424"/>
                  </a:cubicBezTo>
                  <a:cubicBezTo>
                    <a:pt x="146323" y="32320"/>
                    <a:pt x="146825" y="32043"/>
                    <a:pt x="146928" y="31750"/>
                  </a:cubicBezTo>
                  <a:cubicBezTo>
                    <a:pt x="147118" y="31197"/>
                    <a:pt x="146496" y="30972"/>
                    <a:pt x="146151" y="30644"/>
                  </a:cubicBezTo>
                  <a:cubicBezTo>
                    <a:pt x="145805" y="30298"/>
                    <a:pt x="144889" y="29935"/>
                    <a:pt x="145511" y="29348"/>
                  </a:cubicBezTo>
                  <a:cubicBezTo>
                    <a:pt x="146220" y="28674"/>
                    <a:pt x="145701" y="28363"/>
                    <a:pt x="145373" y="27982"/>
                  </a:cubicBezTo>
                  <a:cubicBezTo>
                    <a:pt x="144924" y="27464"/>
                    <a:pt x="144353" y="27049"/>
                    <a:pt x="143904" y="26513"/>
                  </a:cubicBezTo>
                  <a:cubicBezTo>
                    <a:pt x="142452" y="24803"/>
                    <a:pt x="140309" y="24008"/>
                    <a:pt x="138927" y="23455"/>
                  </a:cubicBezTo>
                  <a:cubicBezTo>
                    <a:pt x="137233" y="22781"/>
                    <a:pt x="135350" y="23368"/>
                    <a:pt x="133794" y="22349"/>
                  </a:cubicBezTo>
                  <a:cubicBezTo>
                    <a:pt x="133621" y="22228"/>
                    <a:pt x="133120" y="22141"/>
                    <a:pt x="133379" y="21934"/>
                  </a:cubicBezTo>
                  <a:cubicBezTo>
                    <a:pt x="134416" y="21156"/>
                    <a:pt x="134192" y="19843"/>
                    <a:pt x="134814" y="18910"/>
                  </a:cubicBezTo>
                  <a:cubicBezTo>
                    <a:pt x="135183" y="18357"/>
                    <a:pt x="137525" y="17996"/>
                    <a:pt x="139389" y="17996"/>
                  </a:cubicBezTo>
                  <a:cubicBezTo>
                    <a:pt x="140321" y="17996"/>
                    <a:pt x="141133" y="18086"/>
                    <a:pt x="141519" y="18287"/>
                  </a:cubicBezTo>
                  <a:cubicBezTo>
                    <a:pt x="141913" y="18491"/>
                    <a:pt x="142318" y="18567"/>
                    <a:pt x="142722" y="18567"/>
                  </a:cubicBezTo>
                  <a:cubicBezTo>
                    <a:pt x="143310" y="18567"/>
                    <a:pt x="143896" y="18407"/>
                    <a:pt x="144440" y="18253"/>
                  </a:cubicBezTo>
                  <a:cubicBezTo>
                    <a:pt x="145183" y="18028"/>
                    <a:pt x="144301" y="17320"/>
                    <a:pt x="144440" y="16905"/>
                  </a:cubicBezTo>
                  <a:cubicBezTo>
                    <a:pt x="144595" y="16473"/>
                    <a:pt x="144232" y="15764"/>
                    <a:pt x="144803" y="15626"/>
                  </a:cubicBezTo>
                  <a:cubicBezTo>
                    <a:pt x="144894" y="15602"/>
                    <a:pt x="144986" y="15590"/>
                    <a:pt x="145078" y="15590"/>
                  </a:cubicBezTo>
                  <a:cubicBezTo>
                    <a:pt x="145503" y="15590"/>
                    <a:pt x="145922" y="15838"/>
                    <a:pt x="146306" y="16179"/>
                  </a:cubicBezTo>
                  <a:cubicBezTo>
                    <a:pt x="146709" y="16532"/>
                    <a:pt x="147171" y="16997"/>
                    <a:pt x="147617" y="16997"/>
                  </a:cubicBezTo>
                  <a:cubicBezTo>
                    <a:pt x="147935" y="16997"/>
                    <a:pt x="148244" y="16760"/>
                    <a:pt x="148518" y="16075"/>
                  </a:cubicBezTo>
                  <a:cubicBezTo>
                    <a:pt x="148584" y="15900"/>
                    <a:pt x="148692" y="15801"/>
                    <a:pt x="148828" y="15801"/>
                  </a:cubicBezTo>
                  <a:cubicBezTo>
                    <a:pt x="148906" y="15801"/>
                    <a:pt x="148994" y="15833"/>
                    <a:pt x="149088" y="15903"/>
                  </a:cubicBezTo>
                  <a:cubicBezTo>
                    <a:pt x="149348" y="16110"/>
                    <a:pt x="149348" y="16335"/>
                    <a:pt x="149192" y="16646"/>
                  </a:cubicBezTo>
                  <a:cubicBezTo>
                    <a:pt x="148743" y="17596"/>
                    <a:pt x="147965" y="18547"/>
                    <a:pt x="147965" y="19497"/>
                  </a:cubicBezTo>
                  <a:cubicBezTo>
                    <a:pt x="147931" y="21122"/>
                    <a:pt x="148708" y="22677"/>
                    <a:pt x="150022" y="23627"/>
                  </a:cubicBezTo>
                  <a:cubicBezTo>
                    <a:pt x="151231" y="24561"/>
                    <a:pt x="152631" y="25269"/>
                    <a:pt x="153582" y="26513"/>
                  </a:cubicBezTo>
                  <a:cubicBezTo>
                    <a:pt x="153835" y="26852"/>
                    <a:pt x="154112" y="27339"/>
                    <a:pt x="154580" y="27339"/>
                  </a:cubicBezTo>
                  <a:cubicBezTo>
                    <a:pt x="154686" y="27339"/>
                    <a:pt x="154802" y="27314"/>
                    <a:pt x="154930" y="27257"/>
                  </a:cubicBezTo>
                  <a:cubicBezTo>
                    <a:pt x="155621" y="26928"/>
                    <a:pt x="155673" y="26271"/>
                    <a:pt x="155604" y="25615"/>
                  </a:cubicBezTo>
                  <a:cubicBezTo>
                    <a:pt x="155448" y="24025"/>
                    <a:pt x="155863" y="22435"/>
                    <a:pt x="154739" y="20845"/>
                  </a:cubicBezTo>
                  <a:cubicBezTo>
                    <a:pt x="154065" y="19877"/>
                    <a:pt x="153772" y="18823"/>
                    <a:pt x="152406" y="18737"/>
                  </a:cubicBezTo>
                  <a:cubicBezTo>
                    <a:pt x="152044" y="18720"/>
                    <a:pt x="151940" y="18478"/>
                    <a:pt x="151888" y="18201"/>
                  </a:cubicBezTo>
                  <a:cubicBezTo>
                    <a:pt x="151820" y="17931"/>
                    <a:pt x="151918" y="17578"/>
                    <a:pt x="152229" y="17578"/>
                  </a:cubicBezTo>
                  <a:cubicBezTo>
                    <a:pt x="152236" y="17578"/>
                    <a:pt x="152243" y="17579"/>
                    <a:pt x="152251" y="17579"/>
                  </a:cubicBezTo>
                  <a:cubicBezTo>
                    <a:pt x="152284" y="17581"/>
                    <a:pt x="152317" y="17582"/>
                    <a:pt x="152350" y="17582"/>
                  </a:cubicBezTo>
                  <a:cubicBezTo>
                    <a:pt x="153000" y="17582"/>
                    <a:pt x="153628" y="17254"/>
                    <a:pt x="154277" y="17254"/>
                  </a:cubicBezTo>
                  <a:cubicBezTo>
                    <a:pt x="154558" y="17254"/>
                    <a:pt x="154844" y="17316"/>
                    <a:pt x="155137" y="17493"/>
                  </a:cubicBezTo>
                  <a:cubicBezTo>
                    <a:pt x="155393" y="17649"/>
                    <a:pt x="155627" y="17726"/>
                    <a:pt x="155836" y="17726"/>
                  </a:cubicBezTo>
                  <a:cubicBezTo>
                    <a:pt x="156249" y="17726"/>
                    <a:pt x="156566" y="17427"/>
                    <a:pt x="156761" y="16853"/>
                  </a:cubicBezTo>
                  <a:cubicBezTo>
                    <a:pt x="157072" y="15920"/>
                    <a:pt x="157954" y="15505"/>
                    <a:pt x="158662" y="15039"/>
                  </a:cubicBezTo>
                  <a:cubicBezTo>
                    <a:pt x="158771" y="14969"/>
                    <a:pt x="158912" y="14953"/>
                    <a:pt x="159064" y="14953"/>
                  </a:cubicBezTo>
                  <a:cubicBezTo>
                    <a:pt x="159192" y="14953"/>
                    <a:pt x="159327" y="14964"/>
                    <a:pt x="159458" y="14964"/>
                  </a:cubicBezTo>
                  <a:cubicBezTo>
                    <a:pt x="159792" y="14964"/>
                    <a:pt x="160100" y="14892"/>
                    <a:pt x="160183" y="14382"/>
                  </a:cubicBezTo>
                  <a:cubicBezTo>
                    <a:pt x="160304" y="13501"/>
                    <a:pt x="159475" y="13310"/>
                    <a:pt x="158887" y="12965"/>
                  </a:cubicBezTo>
                  <a:cubicBezTo>
                    <a:pt x="158662" y="12827"/>
                    <a:pt x="158334" y="12550"/>
                    <a:pt x="158351" y="12395"/>
                  </a:cubicBezTo>
                  <a:cubicBezTo>
                    <a:pt x="158404" y="12154"/>
                    <a:pt x="158582" y="12097"/>
                    <a:pt x="158776" y="12097"/>
                  </a:cubicBezTo>
                  <a:cubicBezTo>
                    <a:pt x="158903" y="12097"/>
                    <a:pt x="159037" y="12122"/>
                    <a:pt x="159146" y="12135"/>
                  </a:cubicBezTo>
                  <a:cubicBezTo>
                    <a:pt x="160460" y="12308"/>
                    <a:pt x="161652" y="12999"/>
                    <a:pt x="163017" y="12999"/>
                  </a:cubicBezTo>
                  <a:cubicBezTo>
                    <a:pt x="163570" y="12999"/>
                    <a:pt x="163795" y="12913"/>
                    <a:pt x="164002" y="12274"/>
                  </a:cubicBezTo>
                  <a:cubicBezTo>
                    <a:pt x="164745" y="10182"/>
                    <a:pt x="163311" y="10010"/>
                    <a:pt x="161998" y="9923"/>
                  </a:cubicBezTo>
                  <a:cubicBezTo>
                    <a:pt x="160218" y="9820"/>
                    <a:pt x="158438" y="9543"/>
                    <a:pt x="156710" y="9076"/>
                  </a:cubicBezTo>
                  <a:cubicBezTo>
                    <a:pt x="153313" y="8169"/>
                    <a:pt x="149984" y="6872"/>
                    <a:pt x="146431" y="6872"/>
                  </a:cubicBezTo>
                  <a:cubicBezTo>
                    <a:pt x="145249" y="6872"/>
                    <a:pt x="144041" y="7016"/>
                    <a:pt x="142798" y="7366"/>
                  </a:cubicBezTo>
                  <a:cubicBezTo>
                    <a:pt x="142441" y="7468"/>
                    <a:pt x="142044" y="7507"/>
                    <a:pt x="141624" y="7507"/>
                  </a:cubicBezTo>
                  <a:cubicBezTo>
                    <a:pt x="140475" y="7507"/>
                    <a:pt x="139148" y="7211"/>
                    <a:pt x="137959" y="7072"/>
                  </a:cubicBezTo>
                  <a:cubicBezTo>
                    <a:pt x="135760" y="6810"/>
                    <a:pt x="133765" y="5577"/>
                    <a:pt x="131513" y="5577"/>
                  </a:cubicBezTo>
                  <a:cubicBezTo>
                    <a:pt x="131235" y="5577"/>
                    <a:pt x="130953" y="5596"/>
                    <a:pt x="130666" y="5637"/>
                  </a:cubicBezTo>
                  <a:cubicBezTo>
                    <a:pt x="130197" y="5701"/>
                    <a:pt x="129713" y="5752"/>
                    <a:pt x="129231" y="5752"/>
                  </a:cubicBezTo>
                  <a:cubicBezTo>
                    <a:pt x="128525" y="5752"/>
                    <a:pt x="127823" y="5641"/>
                    <a:pt x="127175" y="5292"/>
                  </a:cubicBezTo>
                  <a:cubicBezTo>
                    <a:pt x="124583" y="3857"/>
                    <a:pt x="121352" y="4808"/>
                    <a:pt x="118811" y="3097"/>
                  </a:cubicBezTo>
                  <a:cubicBezTo>
                    <a:pt x="118623" y="2965"/>
                    <a:pt x="118385" y="2894"/>
                    <a:pt x="118144" y="2894"/>
                  </a:cubicBezTo>
                  <a:cubicBezTo>
                    <a:pt x="117786" y="2894"/>
                    <a:pt x="117421" y="3050"/>
                    <a:pt x="117204" y="3391"/>
                  </a:cubicBezTo>
                  <a:cubicBezTo>
                    <a:pt x="116737" y="4117"/>
                    <a:pt x="117601" y="4134"/>
                    <a:pt x="117930" y="4462"/>
                  </a:cubicBezTo>
                  <a:cubicBezTo>
                    <a:pt x="118103" y="4670"/>
                    <a:pt x="118154" y="4946"/>
                    <a:pt x="118068" y="5188"/>
                  </a:cubicBezTo>
                  <a:cubicBezTo>
                    <a:pt x="117958" y="5398"/>
                    <a:pt x="116241" y="5510"/>
                    <a:pt x="114740" y="5510"/>
                  </a:cubicBezTo>
                  <a:cubicBezTo>
                    <a:pt x="113645" y="5510"/>
                    <a:pt x="112664" y="5450"/>
                    <a:pt x="112503" y="5326"/>
                  </a:cubicBezTo>
                  <a:cubicBezTo>
                    <a:pt x="111242" y="4410"/>
                    <a:pt x="109825" y="3719"/>
                    <a:pt x="108321" y="3287"/>
                  </a:cubicBezTo>
                  <a:cubicBezTo>
                    <a:pt x="108108" y="3224"/>
                    <a:pt x="107902" y="3198"/>
                    <a:pt x="107703" y="3198"/>
                  </a:cubicBezTo>
                  <a:cubicBezTo>
                    <a:pt x="106742" y="3198"/>
                    <a:pt x="105934" y="3807"/>
                    <a:pt x="105084" y="3807"/>
                  </a:cubicBezTo>
                  <a:cubicBezTo>
                    <a:pt x="105000" y="3807"/>
                    <a:pt x="104915" y="3801"/>
                    <a:pt x="104830" y="3788"/>
                  </a:cubicBezTo>
                  <a:cubicBezTo>
                    <a:pt x="102083" y="3391"/>
                    <a:pt x="99266" y="3909"/>
                    <a:pt x="96760" y="1559"/>
                  </a:cubicBezTo>
                  <a:cubicBezTo>
                    <a:pt x="95295" y="185"/>
                    <a:pt x="93272" y="50"/>
                    <a:pt x="91223" y="50"/>
                  </a:cubicBezTo>
                  <a:cubicBezTo>
                    <a:pt x="90718" y="50"/>
                    <a:pt x="90212" y="58"/>
                    <a:pt x="89713" y="58"/>
                  </a:cubicBezTo>
                  <a:cubicBezTo>
                    <a:pt x="89152" y="58"/>
                    <a:pt x="88600" y="48"/>
                    <a:pt x="88067" y="4"/>
                  </a:cubicBezTo>
                  <a:cubicBezTo>
                    <a:pt x="88037" y="2"/>
                    <a:pt x="88007" y="1"/>
                    <a:pt x="87976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" name="Google Shape;10924;p80">
              <a:extLst>
                <a:ext uri="{FF2B5EF4-FFF2-40B4-BE49-F238E27FC236}">
                  <a16:creationId xmlns:a16="http://schemas.microsoft.com/office/drawing/2014/main" id="{94477B92-972D-8CDF-1628-36E32D763F0A}"/>
                </a:ext>
              </a:extLst>
            </p:cNvPr>
            <p:cNvSpPr/>
            <p:nvPr/>
          </p:nvSpPr>
          <p:spPr>
            <a:xfrm>
              <a:off x="5913800" y="3523050"/>
              <a:ext cx="1109075" cy="813875"/>
            </a:xfrm>
            <a:custGeom>
              <a:avLst/>
              <a:gdLst/>
              <a:ahLst/>
              <a:cxnLst/>
              <a:rect l="l" t="t" r="r" b="b"/>
              <a:pathLst>
                <a:path w="44363" h="32555" extrusionOk="0">
                  <a:moveTo>
                    <a:pt x="28245" y="1"/>
                  </a:moveTo>
                  <a:cubicBezTo>
                    <a:pt x="27747" y="1"/>
                    <a:pt x="27602" y="373"/>
                    <a:pt x="27634" y="804"/>
                  </a:cubicBezTo>
                  <a:cubicBezTo>
                    <a:pt x="27737" y="2117"/>
                    <a:pt x="27979" y="3482"/>
                    <a:pt x="27996" y="4778"/>
                  </a:cubicBezTo>
                  <a:cubicBezTo>
                    <a:pt x="28014" y="5660"/>
                    <a:pt x="28567" y="7094"/>
                    <a:pt x="27634" y="7267"/>
                  </a:cubicBezTo>
                  <a:cubicBezTo>
                    <a:pt x="27521" y="7286"/>
                    <a:pt x="27406" y="7295"/>
                    <a:pt x="27290" y="7295"/>
                  </a:cubicBezTo>
                  <a:cubicBezTo>
                    <a:pt x="25431" y="7295"/>
                    <a:pt x="23230" y="4918"/>
                    <a:pt x="23555" y="3275"/>
                  </a:cubicBezTo>
                  <a:cubicBezTo>
                    <a:pt x="23754" y="2264"/>
                    <a:pt x="23333" y="1317"/>
                    <a:pt x="22034" y="1317"/>
                  </a:cubicBezTo>
                  <a:cubicBezTo>
                    <a:pt x="21978" y="1317"/>
                    <a:pt x="21920" y="1318"/>
                    <a:pt x="21862" y="1322"/>
                  </a:cubicBezTo>
                  <a:cubicBezTo>
                    <a:pt x="21814" y="1325"/>
                    <a:pt x="21765" y="1327"/>
                    <a:pt x="21716" y="1327"/>
                  </a:cubicBezTo>
                  <a:cubicBezTo>
                    <a:pt x="20777" y="1327"/>
                    <a:pt x="19668" y="752"/>
                    <a:pt x="18692" y="752"/>
                  </a:cubicBezTo>
                  <a:cubicBezTo>
                    <a:pt x="18107" y="752"/>
                    <a:pt x="17570" y="958"/>
                    <a:pt x="17144" y="1616"/>
                  </a:cubicBezTo>
                  <a:cubicBezTo>
                    <a:pt x="16642" y="2376"/>
                    <a:pt x="15295" y="2826"/>
                    <a:pt x="15191" y="4035"/>
                  </a:cubicBezTo>
                  <a:cubicBezTo>
                    <a:pt x="15162" y="4430"/>
                    <a:pt x="15144" y="4616"/>
                    <a:pt x="15002" y="4616"/>
                  </a:cubicBezTo>
                  <a:cubicBezTo>
                    <a:pt x="14889" y="4616"/>
                    <a:pt x="14698" y="4499"/>
                    <a:pt x="14361" y="4277"/>
                  </a:cubicBezTo>
                  <a:cubicBezTo>
                    <a:pt x="13724" y="3844"/>
                    <a:pt x="13113" y="3612"/>
                    <a:pt x="12606" y="3612"/>
                  </a:cubicBezTo>
                  <a:cubicBezTo>
                    <a:pt x="12042" y="3612"/>
                    <a:pt x="11607" y="3900"/>
                    <a:pt x="11406" y="4519"/>
                  </a:cubicBezTo>
                  <a:cubicBezTo>
                    <a:pt x="10784" y="6334"/>
                    <a:pt x="8710" y="7215"/>
                    <a:pt x="8624" y="9392"/>
                  </a:cubicBezTo>
                  <a:cubicBezTo>
                    <a:pt x="8607" y="10153"/>
                    <a:pt x="7933" y="10619"/>
                    <a:pt x="7086" y="10879"/>
                  </a:cubicBezTo>
                  <a:cubicBezTo>
                    <a:pt x="5669" y="11311"/>
                    <a:pt x="4355" y="11864"/>
                    <a:pt x="3007" y="12382"/>
                  </a:cubicBezTo>
                  <a:cubicBezTo>
                    <a:pt x="1003" y="13160"/>
                    <a:pt x="0" y="16910"/>
                    <a:pt x="1538" y="19018"/>
                  </a:cubicBezTo>
                  <a:cubicBezTo>
                    <a:pt x="2835" y="20798"/>
                    <a:pt x="3128" y="22595"/>
                    <a:pt x="3992" y="24375"/>
                  </a:cubicBezTo>
                  <a:cubicBezTo>
                    <a:pt x="4494" y="25360"/>
                    <a:pt x="4424" y="26276"/>
                    <a:pt x="3750" y="26950"/>
                  </a:cubicBezTo>
                  <a:cubicBezTo>
                    <a:pt x="3353" y="27348"/>
                    <a:pt x="3509" y="27797"/>
                    <a:pt x="4148" y="28298"/>
                  </a:cubicBezTo>
                  <a:cubicBezTo>
                    <a:pt x="5020" y="28962"/>
                    <a:pt x="5824" y="29302"/>
                    <a:pt x="6549" y="29302"/>
                  </a:cubicBezTo>
                  <a:cubicBezTo>
                    <a:pt x="7089" y="29302"/>
                    <a:pt x="7586" y="29114"/>
                    <a:pt x="8036" y="28730"/>
                  </a:cubicBezTo>
                  <a:cubicBezTo>
                    <a:pt x="8740" y="28095"/>
                    <a:pt x="9643" y="27747"/>
                    <a:pt x="10576" y="27747"/>
                  </a:cubicBezTo>
                  <a:cubicBezTo>
                    <a:pt x="10811" y="27747"/>
                    <a:pt x="11049" y="27769"/>
                    <a:pt x="11285" y="27814"/>
                  </a:cubicBezTo>
                  <a:cubicBezTo>
                    <a:pt x="11420" y="27836"/>
                    <a:pt x="11551" y="27846"/>
                    <a:pt x="11676" y="27846"/>
                  </a:cubicBezTo>
                  <a:cubicBezTo>
                    <a:pt x="12065" y="27846"/>
                    <a:pt x="12402" y="27743"/>
                    <a:pt x="12650" y="27521"/>
                  </a:cubicBezTo>
                  <a:cubicBezTo>
                    <a:pt x="14551" y="25793"/>
                    <a:pt x="17368" y="25343"/>
                    <a:pt x="20047" y="24790"/>
                  </a:cubicBezTo>
                  <a:cubicBezTo>
                    <a:pt x="20247" y="24746"/>
                    <a:pt x="20464" y="24721"/>
                    <a:pt x="20691" y="24721"/>
                  </a:cubicBezTo>
                  <a:cubicBezTo>
                    <a:pt x="21623" y="24721"/>
                    <a:pt x="22712" y="25150"/>
                    <a:pt x="23365" y="26484"/>
                  </a:cubicBezTo>
                  <a:cubicBezTo>
                    <a:pt x="23667" y="27105"/>
                    <a:pt x="23855" y="28198"/>
                    <a:pt x="25083" y="28198"/>
                  </a:cubicBezTo>
                  <a:cubicBezTo>
                    <a:pt x="25120" y="28198"/>
                    <a:pt x="25158" y="28197"/>
                    <a:pt x="25197" y="28195"/>
                  </a:cubicBezTo>
                  <a:cubicBezTo>
                    <a:pt x="25345" y="28183"/>
                    <a:pt x="25455" y="28022"/>
                    <a:pt x="25593" y="28022"/>
                  </a:cubicBezTo>
                  <a:cubicBezTo>
                    <a:pt x="25664" y="28022"/>
                    <a:pt x="25742" y="28065"/>
                    <a:pt x="25836" y="28195"/>
                  </a:cubicBezTo>
                  <a:cubicBezTo>
                    <a:pt x="25923" y="28298"/>
                    <a:pt x="25767" y="28592"/>
                    <a:pt x="25612" y="28713"/>
                  </a:cubicBezTo>
                  <a:cubicBezTo>
                    <a:pt x="25318" y="28938"/>
                    <a:pt x="24903" y="29128"/>
                    <a:pt x="25283" y="29646"/>
                  </a:cubicBezTo>
                  <a:cubicBezTo>
                    <a:pt x="25508" y="29871"/>
                    <a:pt x="25802" y="30026"/>
                    <a:pt x="26113" y="30078"/>
                  </a:cubicBezTo>
                  <a:cubicBezTo>
                    <a:pt x="26172" y="30086"/>
                    <a:pt x="26229" y="30090"/>
                    <a:pt x="26283" y="30090"/>
                  </a:cubicBezTo>
                  <a:cubicBezTo>
                    <a:pt x="26710" y="30090"/>
                    <a:pt x="27006" y="29856"/>
                    <a:pt x="27098" y="29473"/>
                  </a:cubicBezTo>
                  <a:cubicBezTo>
                    <a:pt x="27115" y="29335"/>
                    <a:pt x="27098" y="29197"/>
                    <a:pt x="27029" y="29076"/>
                  </a:cubicBezTo>
                  <a:cubicBezTo>
                    <a:pt x="26976" y="28903"/>
                    <a:pt x="26992" y="28848"/>
                    <a:pt x="27041" y="28848"/>
                  </a:cubicBezTo>
                  <a:cubicBezTo>
                    <a:pt x="27105" y="28848"/>
                    <a:pt x="27225" y="28941"/>
                    <a:pt x="27322" y="28990"/>
                  </a:cubicBezTo>
                  <a:cubicBezTo>
                    <a:pt x="27824" y="29266"/>
                    <a:pt x="28463" y="29473"/>
                    <a:pt x="28169" y="30113"/>
                  </a:cubicBezTo>
                  <a:cubicBezTo>
                    <a:pt x="27945" y="30597"/>
                    <a:pt x="28117" y="31029"/>
                    <a:pt x="28809" y="31461"/>
                  </a:cubicBezTo>
                  <a:cubicBezTo>
                    <a:pt x="30199" y="32318"/>
                    <a:pt x="31628" y="32554"/>
                    <a:pt x="32898" y="32554"/>
                  </a:cubicBezTo>
                  <a:cubicBezTo>
                    <a:pt x="33522" y="32554"/>
                    <a:pt x="34108" y="32497"/>
                    <a:pt x="34633" y="32429"/>
                  </a:cubicBezTo>
                  <a:cubicBezTo>
                    <a:pt x="36672" y="32135"/>
                    <a:pt x="39299" y="31824"/>
                    <a:pt x="39299" y="29145"/>
                  </a:cubicBezTo>
                  <a:cubicBezTo>
                    <a:pt x="39299" y="28938"/>
                    <a:pt x="39541" y="28799"/>
                    <a:pt x="39592" y="28575"/>
                  </a:cubicBezTo>
                  <a:cubicBezTo>
                    <a:pt x="40024" y="26968"/>
                    <a:pt x="41804" y="26363"/>
                    <a:pt x="42496" y="24998"/>
                  </a:cubicBezTo>
                  <a:cubicBezTo>
                    <a:pt x="44224" y="21559"/>
                    <a:pt x="44362" y="17722"/>
                    <a:pt x="40232" y="13661"/>
                  </a:cubicBezTo>
                  <a:cubicBezTo>
                    <a:pt x="38953" y="12399"/>
                    <a:pt x="38037" y="10671"/>
                    <a:pt x="36309" y="9859"/>
                  </a:cubicBezTo>
                  <a:cubicBezTo>
                    <a:pt x="34494" y="9012"/>
                    <a:pt x="34080" y="7716"/>
                    <a:pt x="33509" y="6472"/>
                  </a:cubicBezTo>
                  <a:cubicBezTo>
                    <a:pt x="33388" y="5608"/>
                    <a:pt x="33008" y="4761"/>
                    <a:pt x="32213" y="4346"/>
                  </a:cubicBezTo>
                  <a:cubicBezTo>
                    <a:pt x="30658" y="3465"/>
                    <a:pt x="30278" y="2100"/>
                    <a:pt x="29414" y="942"/>
                  </a:cubicBezTo>
                  <a:cubicBezTo>
                    <a:pt x="29120" y="544"/>
                    <a:pt x="28947" y="78"/>
                    <a:pt x="28377" y="9"/>
                  </a:cubicBezTo>
                  <a:cubicBezTo>
                    <a:pt x="28330" y="3"/>
                    <a:pt x="28287" y="1"/>
                    <a:pt x="28245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" name="Google Shape;10925;p80">
              <a:extLst>
                <a:ext uri="{FF2B5EF4-FFF2-40B4-BE49-F238E27FC236}">
                  <a16:creationId xmlns:a16="http://schemas.microsoft.com/office/drawing/2014/main" id="{69370E3D-B4DD-A6AF-5B51-69A3609B2534}"/>
                </a:ext>
              </a:extLst>
            </p:cNvPr>
            <p:cNvSpPr/>
            <p:nvPr/>
          </p:nvSpPr>
          <p:spPr>
            <a:xfrm>
              <a:off x="6442175" y="3238700"/>
              <a:ext cx="571625" cy="311800"/>
            </a:xfrm>
            <a:custGeom>
              <a:avLst/>
              <a:gdLst/>
              <a:ahLst/>
              <a:cxnLst/>
              <a:rect l="l" t="t" r="r" b="b"/>
              <a:pathLst>
                <a:path w="22865" h="12472" extrusionOk="0">
                  <a:moveTo>
                    <a:pt x="3070" y="1"/>
                  </a:moveTo>
                  <a:cubicBezTo>
                    <a:pt x="2939" y="1"/>
                    <a:pt x="2792" y="15"/>
                    <a:pt x="2627" y="46"/>
                  </a:cubicBezTo>
                  <a:cubicBezTo>
                    <a:pt x="1833" y="202"/>
                    <a:pt x="830" y="29"/>
                    <a:pt x="415" y="927"/>
                  </a:cubicBezTo>
                  <a:cubicBezTo>
                    <a:pt x="1" y="1826"/>
                    <a:pt x="934" y="1861"/>
                    <a:pt x="1400" y="2189"/>
                  </a:cubicBezTo>
                  <a:cubicBezTo>
                    <a:pt x="1504" y="2258"/>
                    <a:pt x="1366" y="2569"/>
                    <a:pt x="1435" y="2742"/>
                  </a:cubicBezTo>
                  <a:cubicBezTo>
                    <a:pt x="1757" y="3623"/>
                    <a:pt x="1963" y="4886"/>
                    <a:pt x="3062" y="4886"/>
                  </a:cubicBezTo>
                  <a:cubicBezTo>
                    <a:pt x="3084" y="4886"/>
                    <a:pt x="3106" y="4886"/>
                    <a:pt x="3129" y="4885"/>
                  </a:cubicBezTo>
                  <a:cubicBezTo>
                    <a:pt x="3207" y="4880"/>
                    <a:pt x="3284" y="4878"/>
                    <a:pt x="3360" y="4878"/>
                  </a:cubicBezTo>
                  <a:cubicBezTo>
                    <a:pt x="4698" y="4878"/>
                    <a:pt x="5731" y="5570"/>
                    <a:pt x="6810" y="6077"/>
                  </a:cubicBezTo>
                  <a:cubicBezTo>
                    <a:pt x="7328" y="6319"/>
                    <a:pt x="8019" y="7322"/>
                    <a:pt x="7207" y="8203"/>
                  </a:cubicBezTo>
                  <a:cubicBezTo>
                    <a:pt x="6913" y="8531"/>
                    <a:pt x="6948" y="8911"/>
                    <a:pt x="7121" y="9292"/>
                  </a:cubicBezTo>
                  <a:cubicBezTo>
                    <a:pt x="7274" y="9613"/>
                    <a:pt x="7597" y="9810"/>
                    <a:pt x="7934" y="9810"/>
                  </a:cubicBezTo>
                  <a:cubicBezTo>
                    <a:pt x="8014" y="9810"/>
                    <a:pt x="8095" y="9799"/>
                    <a:pt x="8175" y="9775"/>
                  </a:cubicBezTo>
                  <a:cubicBezTo>
                    <a:pt x="8275" y="9755"/>
                    <a:pt x="8368" y="9745"/>
                    <a:pt x="8457" y="9745"/>
                  </a:cubicBezTo>
                  <a:cubicBezTo>
                    <a:pt x="8811" y="9745"/>
                    <a:pt x="9087" y="9900"/>
                    <a:pt x="9419" y="10121"/>
                  </a:cubicBezTo>
                  <a:cubicBezTo>
                    <a:pt x="10079" y="10569"/>
                    <a:pt x="10930" y="10787"/>
                    <a:pt x="11688" y="10787"/>
                  </a:cubicBezTo>
                  <a:cubicBezTo>
                    <a:pt x="12538" y="10787"/>
                    <a:pt x="13270" y="10513"/>
                    <a:pt x="13480" y="9983"/>
                  </a:cubicBezTo>
                  <a:cubicBezTo>
                    <a:pt x="13648" y="9563"/>
                    <a:pt x="13555" y="9014"/>
                    <a:pt x="14230" y="9014"/>
                  </a:cubicBezTo>
                  <a:cubicBezTo>
                    <a:pt x="14250" y="9014"/>
                    <a:pt x="14271" y="9014"/>
                    <a:pt x="14293" y="9015"/>
                  </a:cubicBezTo>
                  <a:cubicBezTo>
                    <a:pt x="15036" y="9050"/>
                    <a:pt x="15381" y="9516"/>
                    <a:pt x="15450" y="10138"/>
                  </a:cubicBezTo>
                  <a:cubicBezTo>
                    <a:pt x="15640" y="11486"/>
                    <a:pt x="16522" y="11953"/>
                    <a:pt x="17697" y="11988"/>
                  </a:cubicBezTo>
                  <a:cubicBezTo>
                    <a:pt x="18224" y="11988"/>
                    <a:pt x="18870" y="12472"/>
                    <a:pt x="19366" y="12472"/>
                  </a:cubicBezTo>
                  <a:cubicBezTo>
                    <a:pt x="19602" y="12472"/>
                    <a:pt x="19804" y="12362"/>
                    <a:pt x="19944" y="12039"/>
                  </a:cubicBezTo>
                  <a:cubicBezTo>
                    <a:pt x="20289" y="11210"/>
                    <a:pt x="19287" y="10398"/>
                    <a:pt x="18596" y="9758"/>
                  </a:cubicBezTo>
                  <a:cubicBezTo>
                    <a:pt x="18164" y="9361"/>
                    <a:pt x="17420" y="8825"/>
                    <a:pt x="17749" y="8272"/>
                  </a:cubicBezTo>
                  <a:cubicBezTo>
                    <a:pt x="17984" y="7884"/>
                    <a:pt x="18253" y="7197"/>
                    <a:pt x="18937" y="7197"/>
                  </a:cubicBezTo>
                  <a:cubicBezTo>
                    <a:pt x="19107" y="7197"/>
                    <a:pt x="19302" y="7239"/>
                    <a:pt x="19529" y="7339"/>
                  </a:cubicBezTo>
                  <a:cubicBezTo>
                    <a:pt x="19732" y="7429"/>
                    <a:pt x="19935" y="7468"/>
                    <a:pt x="20135" y="7468"/>
                  </a:cubicBezTo>
                  <a:cubicBezTo>
                    <a:pt x="20854" y="7468"/>
                    <a:pt x="21544" y="6970"/>
                    <a:pt x="22138" y="6578"/>
                  </a:cubicBezTo>
                  <a:cubicBezTo>
                    <a:pt x="22795" y="6146"/>
                    <a:pt x="22864" y="5248"/>
                    <a:pt x="22311" y="4643"/>
                  </a:cubicBezTo>
                  <a:cubicBezTo>
                    <a:pt x="22115" y="4425"/>
                    <a:pt x="21948" y="4340"/>
                    <a:pt x="21799" y="4340"/>
                  </a:cubicBezTo>
                  <a:cubicBezTo>
                    <a:pt x="21465" y="4340"/>
                    <a:pt x="21227" y="4774"/>
                    <a:pt x="20963" y="5110"/>
                  </a:cubicBezTo>
                  <a:cubicBezTo>
                    <a:pt x="20756" y="5334"/>
                    <a:pt x="20479" y="5472"/>
                    <a:pt x="20168" y="5507"/>
                  </a:cubicBezTo>
                  <a:cubicBezTo>
                    <a:pt x="20112" y="5512"/>
                    <a:pt x="20051" y="5514"/>
                    <a:pt x="19986" y="5514"/>
                  </a:cubicBezTo>
                  <a:cubicBezTo>
                    <a:pt x="18639" y="5514"/>
                    <a:pt x="15548" y="4518"/>
                    <a:pt x="14344" y="3727"/>
                  </a:cubicBezTo>
                  <a:cubicBezTo>
                    <a:pt x="13999" y="3485"/>
                    <a:pt x="13636" y="3295"/>
                    <a:pt x="13238" y="3139"/>
                  </a:cubicBezTo>
                  <a:cubicBezTo>
                    <a:pt x="11925" y="2690"/>
                    <a:pt x="10473" y="2465"/>
                    <a:pt x="9298" y="1774"/>
                  </a:cubicBezTo>
                  <a:cubicBezTo>
                    <a:pt x="8770" y="1458"/>
                    <a:pt x="8301" y="1322"/>
                    <a:pt x="7877" y="1322"/>
                  </a:cubicBezTo>
                  <a:cubicBezTo>
                    <a:pt x="7093" y="1322"/>
                    <a:pt x="6459" y="1787"/>
                    <a:pt x="5876" y="2448"/>
                  </a:cubicBezTo>
                  <a:cubicBezTo>
                    <a:pt x="5497" y="2886"/>
                    <a:pt x="5240" y="3062"/>
                    <a:pt x="5050" y="3062"/>
                  </a:cubicBezTo>
                  <a:cubicBezTo>
                    <a:pt x="4739" y="3062"/>
                    <a:pt x="4614" y="2586"/>
                    <a:pt x="4442" y="2016"/>
                  </a:cubicBezTo>
                  <a:cubicBezTo>
                    <a:pt x="4193" y="1191"/>
                    <a:pt x="4266" y="1"/>
                    <a:pt x="3070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10926;p80">
              <a:extLst>
                <a:ext uri="{FF2B5EF4-FFF2-40B4-BE49-F238E27FC236}">
                  <a16:creationId xmlns:a16="http://schemas.microsoft.com/office/drawing/2014/main" id="{CFA88A82-35DE-CCC9-CCCF-8E74EABCF035}"/>
                </a:ext>
              </a:extLst>
            </p:cNvPr>
            <p:cNvSpPr/>
            <p:nvPr/>
          </p:nvSpPr>
          <p:spPr>
            <a:xfrm>
              <a:off x="5898675" y="3029225"/>
              <a:ext cx="282150" cy="318450"/>
            </a:xfrm>
            <a:custGeom>
              <a:avLst/>
              <a:gdLst/>
              <a:ahLst/>
              <a:cxnLst/>
              <a:rect l="l" t="t" r="r" b="b"/>
              <a:pathLst>
                <a:path w="11286" h="12738" extrusionOk="0">
                  <a:moveTo>
                    <a:pt x="8163" y="0"/>
                  </a:moveTo>
                  <a:cubicBezTo>
                    <a:pt x="7646" y="0"/>
                    <a:pt x="7307" y="634"/>
                    <a:pt x="7121" y="1115"/>
                  </a:cubicBezTo>
                  <a:cubicBezTo>
                    <a:pt x="6498" y="2618"/>
                    <a:pt x="5081" y="3362"/>
                    <a:pt x="4027" y="4450"/>
                  </a:cubicBezTo>
                  <a:cubicBezTo>
                    <a:pt x="3562" y="4916"/>
                    <a:pt x="2753" y="5709"/>
                    <a:pt x="2170" y="5709"/>
                  </a:cubicBezTo>
                  <a:cubicBezTo>
                    <a:pt x="2125" y="5709"/>
                    <a:pt x="2082" y="5704"/>
                    <a:pt x="2040" y="5695"/>
                  </a:cubicBezTo>
                  <a:cubicBezTo>
                    <a:pt x="1767" y="5631"/>
                    <a:pt x="1536" y="5602"/>
                    <a:pt x="1339" y="5602"/>
                  </a:cubicBezTo>
                  <a:cubicBezTo>
                    <a:pt x="150" y="5602"/>
                    <a:pt x="215" y="6659"/>
                    <a:pt x="52" y="7475"/>
                  </a:cubicBezTo>
                  <a:cubicBezTo>
                    <a:pt x="1" y="9410"/>
                    <a:pt x="1625" y="11518"/>
                    <a:pt x="3267" y="12123"/>
                  </a:cubicBezTo>
                  <a:cubicBezTo>
                    <a:pt x="3638" y="12262"/>
                    <a:pt x="4019" y="12277"/>
                    <a:pt x="4389" y="12277"/>
                  </a:cubicBezTo>
                  <a:cubicBezTo>
                    <a:pt x="4488" y="12277"/>
                    <a:pt x="4586" y="12276"/>
                    <a:pt x="4683" y="12276"/>
                  </a:cubicBezTo>
                  <a:cubicBezTo>
                    <a:pt x="5034" y="12276"/>
                    <a:pt x="5369" y="12290"/>
                    <a:pt x="5669" y="12417"/>
                  </a:cubicBezTo>
                  <a:cubicBezTo>
                    <a:pt x="6156" y="12630"/>
                    <a:pt x="6559" y="12738"/>
                    <a:pt x="6895" y="12738"/>
                  </a:cubicBezTo>
                  <a:cubicBezTo>
                    <a:pt x="7678" y="12738"/>
                    <a:pt x="8093" y="12148"/>
                    <a:pt x="8348" y="10914"/>
                  </a:cubicBezTo>
                  <a:cubicBezTo>
                    <a:pt x="8572" y="9773"/>
                    <a:pt x="9073" y="8235"/>
                    <a:pt x="9937" y="7786"/>
                  </a:cubicBezTo>
                  <a:cubicBezTo>
                    <a:pt x="11268" y="7094"/>
                    <a:pt x="10577" y="6697"/>
                    <a:pt x="10231" y="6023"/>
                  </a:cubicBezTo>
                  <a:cubicBezTo>
                    <a:pt x="9782" y="5124"/>
                    <a:pt x="8797" y="4278"/>
                    <a:pt x="10058" y="3189"/>
                  </a:cubicBezTo>
                  <a:cubicBezTo>
                    <a:pt x="10404" y="2895"/>
                    <a:pt x="11285" y="2618"/>
                    <a:pt x="10853" y="1945"/>
                  </a:cubicBezTo>
                  <a:cubicBezTo>
                    <a:pt x="10266" y="1063"/>
                    <a:pt x="9402" y="286"/>
                    <a:pt x="8348" y="26"/>
                  </a:cubicBezTo>
                  <a:cubicBezTo>
                    <a:pt x="8284" y="9"/>
                    <a:pt x="8222" y="0"/>
                    <a:pt x="8163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10927;p80">
              <a:extLst>
                <a:ext uri="{FF2B5EF4-FFF2-40B4-BE49-F238E27FC236}">
                  <a16:creationId xmlns:a16="http://schemas.microsoft.com/office/drawing/2014/main" id="{098DEC72-AFE8-5ADE-DE77-E012859D8573}"/>
                </a:ext>
              </a:extLst>
            </p:cNvPr>
            <p:cNvSpPr/>
            <p:nvPr/>
          </p:nvSpPr>
          <p:spPr>
            <a:xfrm>
              <a:off x="5544400" y="3065225"/>
              <a:ext cx="541800" cy="430700"/>
            </a:xfrm>
            <a:custGeom>
              <a:avLst/>
              <a:gdLst/>
              <a:ahLst/>
              <a:cxnLst/>
              <a:rect l="l" t="t" r="r" b="b"/>
              <a:pathLst>
                <a:path w="21672" h="17228" extrusionOk="0">
                  <a:moveTo>
                    <a:pt x="7484" y="4583"/>
                  </a:moveTo>
                  <a:lnTo>
                    <a:pt x="7484" y="4583"/>
                  </a:lnTo>
                  <a:cubicBezTo>
                    <a:pt x="7486" y="4586"/>
                    <a:pt x="7488" y="4589"/>
                    <a:pt x="7491" y="4592"/>
                  </a:cubicBezTo>
                  <a:lnTo>
                    <a:pt x="7491" y="4592"/>
                  </a:lnTo>
                  <a:cubicBezTo>
                    <a:pt x="7494" y="4595"/>
                    <a:pt x="7498" y="4597"/>
                    <a:pt x="7501" y="4600"/>
                  </a:cubicBezTo>
                  <a:lnTo>
                    <a:pt x="7484" y="4583"/>
                  </a:lnTo>
                  <a:close/>
                  <a:moveTo>
                    <a:pt x="1210" y="0"/>
                  </a:moveTo>
                  <a:cubicBezTo>
                    <a:pt x="910" y="0"/>
                    <a:pt x="646" y="84"/>
                    <a:pt x="415" y="314"/>
                  </a:cubicBezTo>
                  <a:cubicBezTo>
                    <a:pt x="1" y="712"/>
                    <a:pt x="260" y="1127"/>
                    <a:pt x="571" y="1403"/>
                  </a:cubicBezTo>
                  <a:cubicBezTo>
                    <a:pt x="1833" y="2561"/>
                    <a:pt x="2939" y="3874"/>
                    <a:pt x="3872" y="5309"/>
                  </a:cubicBezTo>
                  <a:cubicBezTo>
                    <a:pt x="5894" y="8264"/>
                    <a:pt x="6948" y="12014"/>
                    <a:pt x="10663" y="13552"/>
                  </a:cubicBezTo>
                  <a:cubicBezTo>
                    <a:pt x="10715" y="13587"/>
                    <a:pt x="10733" y="13656"/>
                    <a:pt x="10733" y="13725"/>
                  </a:cubicBezTo>
                  <a:cubicBezTo>
                    <a:pt x="10007" y="15522"/>
                    <a:pt x="11579" y="15401"/>
                    <a:pt x="12478" y="15660"/>
                  </a:cubicBezTo>
                  <a:cubicBezTo>
                    <a:pt x="14932" y="16334"/>
                    <a:pt x="17420" y="16801"/>
                    <a:pt x="19961" y="17043"/>
                  </a:cubicBezTo>
                  <a:cubicBezTo>
                    <a:pt x="20276" y="17079"/>
                    <a:pt x="20618" y="17227"/>
                    <a:pt x="20904" y="17227"/>
                  </a:cubicBezTo>
                  <a:cubicBezTo>
                    <a:pt x="21167" y="17227"/>
                    <a:pt x="21382" y="17101"/>
                    <a:pt x="21482" y="16645"/>
                  </a:cubicBezTo>
                  <a:cubicBezTo>
                    <a:pt x="21672" y="15816"/>
                    <a:pt x="20842" y="15626"/>
                    <a:pt x="20306" y="15280"/>
                  </a:cubicBezTo>
                  <a:cubicBezTo>
                    <a:pt x="18129" y="13932"/>
                    <a:pt x="15502" y="14347"/>
                    <a:pt x="13204" y="13448"/>
                  </a:cubicBezTo>
                  <a:cubicBezTo>
                    <a:pt x="13103" y="13410"/>
                    <a:pt x="12986" y="13400"/>
                    <a:pt x="12863" y="13400"/>
                  </a:cubicBezTo>
                  <a:cubicBezTo>
                    <a:pt x="12726" y="13400"/>
                    <a:pt x="12582" y="13412"/>
                    <a:pt x="12448" y="13412"/>
                  </a:cubicBezTo>
                  <a:cubicBezTo>
                    <a:pt x="12162" y="13412"/>
                    <a:pt x="11919" y="13355"/>
                    <a:pt x="11873" y="12999"/>
                  </a:cubicBezTo>
                  <a:cubicBezTo>
                    <a:pt x="11769" y="12221"/>
                    <a:pt x="11614" y="11288"/>
                    <a:pt x="12409" y="10666"/>
                  </a:cubicBezTo>
                  <a:cubicBezTo>
                    <a:pt x="12979" y="10199"/>
                    <a:pt x="12806" y="9836"/>
                    <a:pt x="12478" y="9249"/>
                  </a:cubicBezTo>
                  <a:cubicBezTo>
                    <a:pt x="11908" y="8195"/>
                    <a:pt x="10352" y="8558"/>
                    <a:pt x="10076" y="7849"/>
                  </a:cubicBezTo>
                  <a:cubicBezTo>
                    <a:pt x="9542" y="6419"/>
                    <a:pt x="8354" y="5659"/>
                    <a:pt x="7491" y="4592"/>
                  </a:cubicBezTo>
                  <a:lnTo>
                    <a:pt x="7491" y="4592"/>
                  </a:lnTo>
                  <a:cubicBezTo>
                    <a:pt x="6993" y="4179"/>
                    <a:pt x="6512" y="3733"/>
                    <a:pt x="5980" y="3339"/>
                  </a:cubicBezTo>
                  <a:cubicBezTo>
                    <a:pt x="4563" y="2285"/>
                    <a:pt x="3682" y="522"/>
                    <a:pt x="1763" y="72"/>
                  </a:cubicBezTo>
                  <a:cubicBezTo>
                    <a:pt x="1567" y="28"/>
                    <a:pt x="1383" y="0"/>
                    <a:pt x="1210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0928;p80">
              <a:extLst>
                <a:ext uri="{FF2B5EF4-FFF2-40B4-BE49-F238E27FC236}">
                  <a16:creationId xmlns:a16="http://schemas.microsoft.com/office/drawing/2014/main" id="{2A9A8726-B3E7-D272-A011-29F18FA442F7}"/>
                </a:ext>
              </a:extLst>
            </p:cNvPr>
            <p:cNvSpPr/>
            <p:nvPr/>
          </p:nvSpPr>
          <p:spPr>
            <a:xfrm>
              <a:off x="4388700" y="3530600"/>
              <a:ext cx="227275" cy="395425"/>
            </a:xfrm>
            <a:custGeom>
              <a:avLst/>
              <a:gdLst/>
              <a:ahLst/>
              <a:cxnLst/>
              <a:rect l="l" t="t" r="r" b="b"/>
              <a:pathLst>
                <a:path w="9091" h="15817" extrusionOk="0">
                  <a:moveTo>
                    <a:pt x="7622" y="0"/>
                  </a:moveTo>
                  <a:cubicBezTo>
                    <a:pt x="7155" y="0"/>
                    <a:pt x="6965" y="363"/>
                    <a:pt x="6740" y="761"/>
                  </a:cubicBezTo>
                  <a:cubicBezTo>
                    <a:pt x="5963" y="2212"/>
                    <a:pt x="5323" y="3802"/>
                    <a:pt x="3405" y="4200"/>
                  </a:cubicBezTo>
                  <a:cubicBezTo>
                    <a:pt x="2645" y="4338"/>
                    <a:pt x="2247" y="4891"/>
                    <a:pt x="2109" y="5738"/>
                  </a:cubicBezTo>
                  <a:cubicBezTo>
                    <a:pt x="1781" y="7587"/>
                    <a:pt x="1971" y="9471"/>
                    <a:pt x="917" y="11285"/>
                  </a:cubicBezTo>
                  <a:cubicBezTo>
                    <a:pt x="1" y="12910"/>
                    <a:pt x="1660" y="15813"/>
                    <a:pt x="3077" y="15813"/>
                  </a:cubicBezTo>
                  <a:cubicBezTo>
                    <a:pt x="3125" y="15815"/>
                    <a:pt x="3172" y="15816"/>
                    <a:pt x="3219" y="15816"/>
                  </a:cubicBezTo>
                  <a:cubicBezTo>
                    <a:pt x="4640" y="15816"/>
                    <a:pt x="5279" y="14808"/>
                    <a:pt x="5496" y="13670"/>
                  </a:cubicBezTo>
                  <a:cubicBezTo>
                    <a:pt x="6049" y="11095"/>
                    <a:pt x="7034" y="8676"/>
                    <a:pt x="8002" y="6256"/>
                  </a:cubicBezTo>
                  <a:cubicBezTo>
                    <a:pt x="8745" y="4373"/>
                    <a:pt x="9091" y="2645"/>
                    <a:pt x="8192" y="778"/>
                  </a:cubicBezTo>
                  <a:cubicBezTo>
                    <a:pt x="8054" y="467"/>
                    <a:pt x="8106" y="18"/>
                    <a:pt x="7622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10929;p80">
              <a:extLst>
                <a:ext uri="{FF2B5EF4-FFF2-40B4-BE49-F238E27FC236}">
                  <a16:creationId xmlns:a16="http://schemas.microsoft.com/office/drawing/2014/main" id="{EC59E8E1-17F8-DDFB-F02B-BCE03B728BA0}"/>
                </a:ext>
              </a:extLst>
            </p:cNvPr>
            <p:cNvSpPr/>
            <p:nvPr/>
          </p:nvSpPr>
          <p:spPr>
            <a:xfrm>
              <a:off x="6438300" y="1893850"/>
              <a:ext cx="267450" cy="418275"/>
            </a:xfrm>
            <a:custGeom>
              <a:avLst/>
              <a:gdLst/>
              <a:ahLst/>
              <a:cxnLst/>
              <a:rect l="l" t="t" r="r" b="b"/>
              <a:pathLst>
                <a:path w="10698" h="16731" extrusionOk="0">
                  <a:moveTo>
                    <a:pt x="4909" y="1"/>
                  </a:moveTo>
                  <a:cubicBezTo>
                    <a:pt x="4667" y="1"/>
                    <a:pt x="4504" y="61"/>
                    <a:pt x="4562" y="216"/>
                  </a:cubicBezTo>
                  <a:cubicBezTo>
                    <a:pt x="5064" y="1633"/>
                    <a:pt x="3992" y="3465"/>
                    <a:pt x="5444" y="4502"/>
                  </a:cubicBezTo>
                  <a:cubicBezTo>
                    <a:pt x="6654" y="5366"/>
                    <a:pt x="6515" y="6627"/>
                    <a:pt x="6913" y="7647"/>
                  </a:cubicBezTo>
                  <a:cubicBezTo>
                    <a:pt x="6804" y="8207"/>
                    <a:pt x="6835" y="9062"/>
                    <a:pt x="6426" y="9062"/>
                  </a:cubicBezTo>
                  <a:cubicBezTo>
                    <a:pt x="6380" y="9062"/>
                    <a:pt x="6330" y="9052"/>
                    <a:pt x="6273" y="9029"/>
                  </a:cubicBezTo>
                  <a:cubicBezTo>
                    <a:pt x="6019" y="8928"/>
                    <a:pt x="5817" y="8884"/>
                    <a:pt x="5657" y="8884"/>
                  </a:cubicBezTo>
                  <a:cubicBezTo>
                    <a:pt x="5131" y="8884"/>
                    <a:pt x="5047" y="9360"/>
                    <a:pt x="4995" y="9876"/>
                  </a:cubicBezTo>
                  <a:cubicBezTo>
                    <a:pt x="4925" y="10533"/>
                    <a:pt x="4614" y="10757"/>
                    <a:pt x="4044" y="10896"/>
                  </a:cubicBezTo>
                  <a:cubicBezTo>
                    <a:pt x="726" y="11673"/>
                    <a:pt x="0" y="13229"/>
                    <a:pt x="1659" y="16028"/>
                  </a:cubicBezTo>
                  <a:cubicBezTo>
                    <a:pt x="1834" y="16314"/>
                    <a:pt x="1935" y="16730"/>
                    <a:pt x="2351" y="16730"/>
                  </a:cubicBezTo>
                  <a:cubicBezTo>
                    <a:pt x="2389" y="16730"/>
                    <a:pt x="2429" y="16727"/>
                    <a:pt x="2471" y="16720"/>
                  </a:cubicBezTo>
                  <a:cubicBezTo>
                    <a:pt x="3007" y="16633"/>
                    <a:pt x="3197" y="16236"/>
                    <a:pt x="3301" y="15752"/>
                  </a:cubicBezTo>
                  <a:cubicBezTo>
                    <a:pt x="3405" y="15251"/>
                    <a:pt x="3301" y="14784"/>
                    <a:pt x="4009" y="14542"/>
                  </a:cubicBezTo>
                  <a:cubicBezTo>
                    <a:pt x="5651" y="13955"/>
                    <a:pt x="7241" y="13194"/>
                    <a:pt x="8866" y="12555"/>
                  </a:cubicBezTo>
                  <a:cubicBezTo>
                    <a:pt x="9298" y="12399"/>
                    <a:pt x="9643" y="12261"/>
                    <a:pt x="9799" y="11829"/>
                  </a:cubicBezTo>
                  <a:cubicBezTo>
                    <a:pt x="10300" y="10308"/>
                    <a:pt x="8866" y="5746"/>
                    <a:pt x="7604" y="4709"/>
                  </a:cubicBezTo>
                  <a:cubicBezTo>
                    <a:pt x="7397" y="4536"/>
                    <a:pt x="6809" y="4571"/>
                    <a:pt x="7016" y="4139"/>
                  </a:cubicBezTo>
                  <a:cubicBezTo>
                    <a:pt x="7082" y="4008"/>
                    <a:pt x="7166" y="3963"/>
                    <a:pt x="7262" y="3963"/>
                  </a:cubicBezTo>
                  <a:cubicBezTo>
                    <a:pt x="7468" y="3963"/>
                    <a:pt x="7725" y="4173"/>
                    <a:pt x="7950" y="4173"/>
                  </a:cubicBezTo>
                  <a:cubicBezTo>
                    <a:pt x="7979" y="4174"/>
                    <a:pt x="8009" y="4175"/>
                    <a:pt x="8039" y="4175"/>
                  </a:cubicBezTo>
                  <a:cubicBezTo>
                    <a:pt x="9008" y="4175"/>
                    <a:pt x="9913" y="3634"/>
                    <a:pt x="10265" y="2946"/>
                  </a:cubicBezTo>
                  <a:cubicBezTo>
                    <a:pt x="10697" y="2117"/>
                    <a:pt x="9695" y="1667"/>
                    <a:pt x="8987" y="1581"/>
                  </a:cubicBezTo>
                  <a:cubicBezTo>
                    <a:pt x="7811" y="1443"/>
                    <a:pt x="6930" y="786"/>
                    <a:pt x="5962" y="250"/>
                  </a:cubicBezTo>
                  <a:cubicBezTo>
                    <a:pt x="5704" y="111"/>
                    <a:pt x="5235" y="1"/>
                    <a:pt x="4909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0930;p80">
              <a:extLst>
                <a:ext uri="{FF2B5EF4-FFF2-40B4-BE49-F238E27FC236}">
                  <a16:creationId xmlns:a16="http://schemas.microsoft.com/office/drawing/2014/main" id="{0D2ED3DE-41BF-B0E4-B4C5-D052A70E699D}"/>
                </a:ext>
              </a:extLst>
            </p:cNvPr>
            <p:cNvSpPr/>
            <p:nvPr/>
          </p:nvSpPr>
          <p:spPr>
            <a:xfrm>
              <a:off x="6901875" y="4220725"/>
              <a:ext cx="468775" cy="354550"/>
            </a:xfrm>
            <a:custGeom>
              <a:avLst/>
              <a:gdLst/>
              <a:ahLst/>
              <a:cxnLst/>
              <a:rect l="l" t="t" r="r" b="b"/>
              <a:pathLst>
                <a:path w="18751" h="14182" extrusionOk="0">
                  <a:moveTo>
                    <a:pt x="15666" y="0"/>
                  </a:moveTo>
                  <a:cubicBezTo>
                    <a:pt x="15588" y="0"/>
                    <a:pt x="15504" y="9"/>
                    <a:pt x="15415" y="28"/>
                  </a:cubicBezTo>
                  <a:cubicBezTo>
                    <a:pt x="14690" y="184"/>
                    <a:pt x="14759" y="772"/>
                    <a:pt x="14897" y="1290"/>
                  </a:cubicBezTo>
                  <a:cubicBezTo>
                    <a:pt x="15294" y="2845"/>
                    <a:pt x="14880" y="4038"/>
                    <a:pt x="13463" y="4850"/>
                  </a:cubicBezTo>
                  <a:cubicBezTo>
                    <a:pt x="13013" y="5109"/>
                    <a:pt x="12823" y="5472"/>
                    <a:pt x="13065" y="5991"/>
                  </a:cubicBezTo>
                  <a:cubicBezTo>
                    <a:pt x="13324" y="6578"/>
                    <a:pt x="12823" y="6803"/>
                    <a:pt x="12512" y="7097"/>
                  </a:cubicBezTo>
                  <a:cubicBezTo>
                    <a:pt x="12410" y="7191"/>
                    <a:pt x="12303" y="7233"/>
                    <a:pt x="12200" y="7233"/>
                  </a:cubicBezTo>
                  <a:cubicBezTo>
                    <a:pt x="12041" y="7233"/>
                    <a:pt x="11891" y="7133"/>
                    <a:pt x="11786" y="6976"/>
                  </a:cubicBezTo>
                  <a:cubicBezTo>
                    <a:pt x="11531" y="6610"/>
                    <a:pt x="11284" y="6477"/>
                    <a:pt x="11039" y="6477"/>
                  </a:cubicBezTo>
                  <a:cubicBezTo>
                    <a:pt x="10705" y="6477"/>
                    <a:pt x="10373" y="6726"/>
                    <a:pt x="10024" y="6976"/>
                  </a:cubicBezTo>
                  <a:cubicBezTo>
                    <a:pt x="8797" y="7891"/>
                    <a:pt x="7811" y="9188"/>
                    <a:pt x="6308" y="9637"/>
                  </a:cubicBezTo>
                  <a:cubicBezTo>
                    <a:pt x="4303" y="10242"/>
                    <a:pt x="2696" y="11572"/>
                    <a:pt x="812" y="12385"/>
                  </a:cubicBezTo>
                  <a:cubicBezTo>
                    <a:pt x="242" y="12627"/>
                    <a:pt x="0" y="13214"/>
                    <a:pt x="692" y="13577"/>
                  </a:cubicBezTo>
                  <a:cubicBezTo>
                    <a:pt x="1262" y="13888"/>
                    <a:pt x="1936" y="13992"/>
                    <a:pt x="2610" y="14182"/>
                  </a:cubicBezTo>
                  <a:cubicBezTo>
                    <a:pt x="3819" y="13854"/>
                    <a:pt x="4943" y="13249"/>
                    <a:pt x="5893" y="12436"/>
                  </a:cubicBezTo>
                  <a:cubicBezTo>
                    <a:pt x="7829" y="10743"/>
                    <a:pt x="10144" y="9447"/>
                    <a:pt x="12357" y="8496"/>
                  </a:cubicBezTo>
                  <a:cubicBezTo>
                    <a:pt x="14396" y="7615"/>
                    <a:pt x="15847" y="6042"/>
                    <a:pt x="17817" y="5213"/>
                  </a:cubicBezTo>
                  <a:cubicBezTo>
                    <a:pt x="18301" y="4988"/>
                    <a:pt x="18751" y="4452"/>
                    <a:pt x="18612" y="3848"/>
                  </a:cubicBezTo>
                  <a:cubicBezTo>
                    <a:pt x="18539" y="3538"/>
                    <a:pt x="18402" y="3442"/>
                    <a:pt x="18239" y="3442"/>
                  </a:cubicBezTo>
                  <a:cubicBezTo>
                    <a:pt x="18019" y="3442"/>
                    <a:pt x="17752" y="3615"/>
                    <a:pt x="17524" y="3675"/>
                  </a:cubicBezTo>
                  <a:cubicBezTo>
                    <a:pt x="17487" y="3682"/>
                    <a:pt x="17451" y="3686"/>
                    <a:pt x="17417" y="3686"/>
                  </a:cubicBezTo>
                  <a:cubicBezTo>
                    <a:pt x="17207" y="3686"/>
                    <a:pt x="17050" y="3554"/>
                    <a:pt x="17109" y="3346"/>
                  </a:cubicBezTo>
                  <a:cubicBezTo>
                    <a:pt x="17385" y="2431"/>
                    <a:pt x="16625" y="1791"/>
                    <a:pt x="16556" y="962"/>
                  </a:cubicBezTo>
                  <a:cubicBezTo>
                    <a:pt x="16526" y="461"/>
                    <a:pt x="16229" y="0"/>
                    <a:pt x="15666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0931;p80">
              <a:extLst>
                <a:ext uri="{FF2B5EF4-FFF2-40B4-BE49-F238E27FC236}">
                  <a16:creationId xmlns:a16="http://schemas.microsoft.com/office/drawing/2014/main" id="{5C8B89E3-1BA7-0679-A701-608B3B98671D}"/>
                </a:ext>
              </a:extLst>
            </p:cNvPr>
            <p:cNvSpPr/>
            <p:nvPr/>
          </p:nvSpPr>
          <p:spPr>
            <a:xfrm>
              <a:off x="6306100" y="2654825"/>
              <a:ext cx="232875" cy="385425"/>
            </a:xfrm>
            <a:custGeom>
              <a:avLst/>
              <a:gdLst/>
              <a:ahLst/>
              <a:cxnLst/>
              <a:rect l="l" t="t" r="r" b="b"/>
              <a:pathLst>
                <a:path w="9315" h="15417" extrusionOk="0">
                  <a:moveTo>
                    <a:pt x="6907" y="9941"/>
                  </a:moveTo>
                  <a:cubicBezTo>
                    <a:pt x="6738" y="10523"/>
                    <a:pt x="6645" y="11167"/>
                    <a:pt x="5910" y="11304"/>
                  </a:cubicBezTo>
                  <a:cubicBezTo>
                    <a:pt x="5905" y="11305"/>
                    <a:pt x="5899" y="11305"/>
                    <a:pt x="5892" y="11305"/>
                  </a:cubicBezTo>
                  <a:cubicBezTo>
                    <a:pt x="5767" y="11305"/>
                    <a:pt x="5547" y="11146"/>
                    <a:pt x="5547" y="11097"/>
                  </a:cubicBezTo>
                  <a:cubicBezTo>
                    <a:pt x="5616" y="10270"/>
                    <a:pt x="6304" y="10147"/>
                    <a:pt x="6907" y="9941"/>
                  </a:cubicBezTo>
                  <a:close/>
                  <a:moveTo>
                    <a:pt x="2345" y="1"/>
                  </a:moveTo>
                  <a:cubicBezTo>
                    <a:pt x="2049" y="1"/>
                    <a:pt x="1708" y="93"/>
                    <a:pt x="1419" y="93"/>
                  </a:cubicBezTo>
                  <a:cubicBezTo>
                    <a:pt x="1383" y="93"/>
                    <a:pt x="1348" y="92"/>
                    <a:pt x="1313" y="88"/>
                  </a:cubicBezTo>
                  <a:cubicBezTo>
                    <a:pt x="1306" y="88"/>
                    <a:pt x="1299" y="88"/>
                    <a:pt x="1292" y="88"/>
                  </a:cubicBezTo>
                  <a:cubicBezTo>
                    <a:pt x="885" y="88"/>
                    <a:pt x="504" y="561"/>
                    <a:pt x="639" y="883"/>
                  </a:cubicBezTo>
                  <a:cubicBezTo>
                    <a:pt x="1244" y="2283"/>
                    <a:pt x="0" y="3977"/>
                    <a:pt x="1348" y="5273"/>
                  </a:cubicBezTo>
                  <a:cubicBezTo>
                    <a:pt x="1538" y="5446"/>
                    <a:pt x="1383" y="5964"/>
                    <a:pt x="1538" y="6241"/>
                  </a:cubicBezTo>
                  <a:cubicBezTo>
                    <a:pt x="1851" y="6738"/>
                    <a:pt x="1941" y="7889"/>
                    <a:pt x="2501" y="7889"/>
                  </a:cubicBezTo>
                  <a:cubicBezTo>
                    <a:pt x="2623" y="7889"/>
                    <a:pt x="2766" y="7836"/>
                    <a:pt x="2938" y="7710"/>
                  </a:cubicBezTo>
                  <a:cubicBezTo>
                    <a:pt x="3345" y="7411"/>
                    <a:pt x="3664" y="7306"/>
                    <a:pt x="3951" y="7306"/>
                  </a:cubicBezTo>
                  <a:cubicBezTo>
                    <a:pt x="4345" y="7306"/>
                    <a:pt x="4678" y="7505"/>
                    <a:pt x="5098" y="7675"/>
                  </a:cubicBezTo>
                  <a:cubicBezTo>
                    <a:pt x="5375" y="7796"/>
                    <a:pt x="5651" y="7848"/>
                    <a:pt x="5668" y="8176"/>
                  </a:cubicBezTo>
                  <a:cubicBezTo>
                    <a:pt x="5668" y="8297"/>
                    <a:pt x="5547" y="8401"/>
                    <a:pt x="5478" y="8504"/>
                  </a:cubicBezTo>
                  <a:cubicBezTo>
                    <a:pt x="5288" y="8384"/>
                    <a:pt x="5098" y="8263"/>
                    <a:pt x="4908" y="8107"/>
                  </a:cubicBezTo>
                  <a:cubicBezTo>
                    <a:pt x="4670" y="7869"/>
                    <a:pt x="4349" y="7740"/>
                    <a:pt x="4020" y="7740"/>
                  </a:cubicBezTo>
                  <a:cubicBezTo>
                    <a:pt x="3895" y="7740"/>
                    <a:pt x="3770" y="7758"/>
                    <a:pt x="3646" y="7796"/>
                  </a:cubicBezTo>
                  <a:cubicBezTo>
                    <a:pt x="3059" y="7951"/>
                    <a:pt x="3284" y="8470"/>
                    <a:pt x="3249" y="8850"/>
                  </a:cubicBezTo>
                  <a:cubicBezTo>
                    <a:pt x="3180" y="10008"/>
                    <a:pt x="4701" y="11270"/>
                    <a:pt x="4580" y="11408"/>
                  </a:cubicBezTo>
                  <a:cubicBezTo>
                    <a:pt x="3042" y="13170"/>
                    <a:pt x="4251" y="13205"/>
                    <a:pt x="5599" y="13758"/>
                  </a:cubicBezTo>
                  <a:cubicBezTo>
                    <a:pt x="6014" y="13948"/>
                    <a:pt x="6429" y="15244"/>
                    <a:pt x="7379" y="15400"/>
                  </a:cubicBezTo>
                  <a:cubicBezTo>
                    <a:pt x="7454" y="15411"/>
                    <a:pt x="7523" y="15417"/>
                    <a:pt x="7586" y="15417"/>
                  </a:cubicBezTo>
                  <a:cubicBezTo>
                    <a:pt x="8462" y="15417"/>
                    <a:pt x="8316" y="14362"/>
                    <a:pt x="8606" y="13879"/>
                  </a:cubicBezTo>
                  <a:cubicBezTo>
                    <a:pt x="9315" y="12687"/>
                    <a:pt x="8554" y="11529"/>
                    <a:pt x="8105" y="10423"/>
                  </a:cubicBezTo>
                  <a:cubicBezTo>
                    <a:pt x="7967" y="10058"/>
                    <a:pt x="7709" y="9812"/>
                    <a:pt x="7353" y="9812"/>
                  </a:cubicBezTo>
                  <a:cubicBezTo>
                    <a:pt x="7222" y="9812"/>
                    <a:pt x="7078" y="9845"/>
                    <a:pt x="6922" y="9917"/>
                  </a:cubicBezTo>
                  <a:lnTo>
                    <a:pt x="6922" y="9917"/>
                  </a:lnTo>
                  <a:cubicBezTo>
                    <a:pt x="7290" y="9072"/>
                    <a:pt x="8114" y="7913"/>
                    <a:pt x="7103" y="7433"/>
                  </a:cubicBezTo>
                  <a:cubicBezTo>
                    <a:pt x="5789" y="6828"/>
                    <a:pt x="5530" y="5048"/>
                    <a:pt x="3854" y="4927"/>
                  </a:cubicBezTo>
                  <a:cubicBezTo>
                    <a:pt x="3335" y="4893"/>
                    <a:pt x="2886" y="4167"/>
                    <a:pt x="3318" y="3424"/>
                  </a:cubicBezTo>
                  <a:cubicBezTo>
                    <a:pt x="3975" y="2318"/>
                    <a:pt x="3353" y="1298"/>
                    <a:pt x="2955" y="348"/>
                  </a:cubicBezTo>
                  <a:cubicBezTo>
                    <a:pt x="2833" y="73"/>
                    <a:pt x="2607" y="1"/>
                    <a:pt x="2345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0932;p80">
              <a:extLst>
                <a:ext uri="{FF2B5EF4-FFF2-40B4-BE49-F238E27FC236}">
                  <a16:creationId xmlns:a16="http://schemas.microsoft.com/office/drawing/2014/main" id="{3206C835-3DEC-492A-45E7-DAE19CDDE89C}"/>
                </a:ext>
              </a:extLst>
            </p:cNvPr>
            <p:cNvSpPr/>
            <p:nvPr/>
          </p:nvSpPr>
          <p:spPr>
            <a:xfrm>
              <a:off x="6139750" y="3178550"/>
              <a:ext cx="185375" cy="227425"/>
            </a:xfrm>
            <a:custGeom>
              <a:avLst/>
              <a:gdLst/>
              <a:ahLst/>
              <a:cxnLst/>
              <a:rect l="l" t="t" r="r" b="b"/>
              <a:pathLst>
                <a:path w="7415" h="9097" extrusionOk="0">
                  <a:moveTo>
                    <a:pt x="6576" y="0"/>
                  </a:moveTo>
                  <a:cubicBezTo>
                    <a:pt x="6440" y="0"/>
                    <a:pt x="6314" y="46"/>
                    <a:pt x="6222" y="154"/>
                  </a:cubicBezTo>
                  <a:cubicBezTo>
                    <a:pt x="5928" y="483"/>
                    <a:pt x="5611" y="592"/>
                    <a:pt x="5290" y="592"/>
                  </a:cubicBezTo>
                  <a:cubicBezTo>
                    <a:pt x="4988" y="592"/>
                    <a:pt x="4683" y="496"/>
                    <a:pt x="4390" y="396"/>
                  </a:cubicBezTo>
                  <a:cubicBezTo>
                    <a:pt x="3964" y="242"/>
                    <a:pt x="3597" y="173"/>
                    <a:pt x="3279" y="173"/>
                  </a:cubicBezTo>
                  <a:cubicBezTo>
                    <a:pt x="1986" y="173"/>
                    <a:pt x="1492" y="1318"/>
                    <a:pt x="1020" y="2608"/>
                  </a:cubicBezTo>
                  <a:cubicBezTo>
                    <a:pt x="364" y="4353"/>
                    <a:pt x="1" y="6064"/>
                    <a:pt x="796" y="7360"/>
                  </a:cubicBezTo>
                  <a:cubicBezTo>
                    <a:pt x="847" y="8362"/>
                    <a:pt x="761" y="8984"/>
                    <a:pt x="1470" y="9088"/>
                  </a:cubicBezTo>
                  <a:cubicBezTo>
                    <a:pt x="1519" y="9094"/>
                    <a:pt x="1568" y="9097"/>
                    <a:pt x="1614" y="9097"/>
                  </a:cubicBezTo>
                  <a:cubicBezTo>
                    <a:pt x="2117" y="9097"/>
                    <a:pt x="2435" y="8762"/>
                    <a:pt x="2593" y="8224"/>
                  </a:cubicBezTo>
                  <a:cubicBezTo>
                    <a:pt x="2634" y="8075"/>
                    <a:pt x="2578" y="7743"/>
                    <a:pt x="2746" y="7743"/>
                  </a:cubicBezTo>
                  <a:cubicBezTo>
                    <a:pt x="2792" y="7743"/>
                    <a:pt x="2854" y="7768"/>
                    <a:pt x="2938" y="7827"/>
                  </a:cubicBezTo>
                  <a:cubicBezTo>
                    <a:pt x="3173" y="7995"/>
                    <a:pt x="3380" y="8062"/>
                    <a:pt x="3567" y="8062"/>
                  </a:cubicBezTo>
                  <a:cubicBezTo>
                    <a:pt x="4013" y="8062"/>
                    <a:pt x="4340" y="7677"/>
                    <a:pt x="4632" y="7360"/>
                  </a:cubicBezTo>
                  <a:cubicBezTo>
                    <a:pt x="5116" y="6842"/>
                    <a:pt x="4563" y="6358"/>
                    <a:pt x="4373" y="5839"/>
                  </a:cubicBezTo>
                  <a:cubicBezTo>
                    <a:pt x="4183" y="5321"/>
                    <a:pt x="3491" y="4750"/>
                    <a:pt x="4442" y="4249"/>
                  </a:cubicBezTo>
                  <a:cubicBezTo>
                    <a:pt x="4943" y="3990"/>
                    <a:pt x="5790" y="3852"/>
                    <a:pt x="5427" y="3057"/>
                  </a:cubicBezTo>
                  <a:cubicBezTo>
                    <a:pt x="5274" y="2713"/>
                    <a:pt x="5030" y="2616"/>
                    <a:pt x="4752" y="2616"/>
                  </a:cubicBezTo>
                  <a:cubicBezTo>
                    <a:pt x="4400" y="2616"/>
                    <a:pt x="3994" y="2771"/>
                    <a:pt x="3647" y="2780"/>
                  </a:cubicBezTo>
                  <a:cubicBezTo>
                    <a:pt x="3388" y="2815"/>
                    <a:pt x="3129" y="2850"/>
                    <a:pt x="2887" y="2919"/>
                  </a:cubicBezTo>
                  <a:cubicBezTo>
                    <a:pt x="2887" y="2746"/>
                    <a:pt x="2800" y="2487"/>
                    <a:pt x="2887" y="2435"/>
                  </a:cubicBezTo>
                  <a:cubicBezTo>
                    <a:pt x="3111" y="2262"/>
                    <a:pt x="3405" y="2037"/>
                    <a:pt x="3664" y="2037"/>
                  </a:cubicBezTo>
                  <a:cubicBezTo>
                    <a:pt x="4321" y="2055"/>
                    <a:pt x="4995" y="2262"/>
                    <a:pt x="5634" y="2262"/>
                  </a:cubicBezTo>
                  <a:cubicBezTo>
                    <a:pt x="6481" y="2262"/>
                    <a:pt x="6861" y="1553"/>
                    <a:pt x="7242" y="931"/>
                  </a:cubicBezTo>
                  <a:cubicBezTo>
                    <a:pt x="7414" y="689"/>
                    <a:pt x="7328" y="344"/>
                    <a:pt x="7086" y="188"/>
                  </a:cubicBezTo>
                  <a:cubicBezTo>
                    <a:pt x="6932" y="73"/>
                    <a:pt x="6746" y="0"/>
                    <a:pt x="6576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10933;p80">
              <a:extLst>
                <a:ext uri="{FF2B5EF4-FFF2-40B4-BE49-F238E27FC236}">
                  <a16:creationId xmlns:a16="http://schemas.microsoft.com/office/drawing/2014/main" id="{4B720369-D21B-16E1-EE03-EB8B391EED5F}"/>
                </a:ext>
              </a:extLst>
            </p:cNvPr>
            <p:cNvSpPr/>
            <p:nvPr/>
          </p:nvSpPr>
          <p:spPr>
            <a:xfrm>
              <a:off x="4320000" y="1079225"/>
              <a:ext cx="260125" cy="163000"/>
            </a:xfrm>
            <a:custGeom>
              <a:avLst/>
              <a:gdLst/>
              <a:ahLst/>
              <a:cxnLst/>
              <a:rect l="l" t="t" r="r" b="b"/>
              <a:pathLst>
                <a:path w="10405" h="6520" extrusionOk="0">
                  <a:moveTo>
                    <a:pt x="8970" y="1"/>
                  </a:moveTo>
                  <a:cubicBezTo>
                    <a:pt x="6620" y="778"/>
                    <a:pt x="3786" y="294"/>
                    <a:pt x="1764" y="2576"/>
                  </a:cubicBezTo>
                  <a:cubicBezTo>
                    <a:pt x="502" y="3993"/>
                    <a:pt x="1" y="5410"/>
                    <a:pt x="1038" y="5876"/>
                  </a:cubicBezTo>
                  <a:cubicBezTo>
                    <a:pt x="2057" y="6274"/>
                    <a:pt x="3146" y="6499"/>
                    <a:pt x="4252" y="6516"/>
                  </a:cubicBezTo>
                  <a:cubicBezTo>
                    <a:pt x="4303" y="6518"/>
                    <a:pt x="4355" y="6520"/>
                    <a:pt x="4406" y="6520"/>
                  </a:cubicBezTo>
                  <a:cubicBezTo>
                    <a:pt x="4717" y="6520"/>
                    <a:pt x="5012" y="6455"/>
                    <a:pt x="5116" y="6084"/>
                  </a:cubicBezTo>
                  <a:cubicBezTo>
                    <a:pt x="5237" y="5652"/>
                    <a:pt x="4892" y="5479"/>
                    <a:pt x="4563" y="5323"/>
                  </a:cubicBezTo>
                  <a:cubicBezTo>
                    <a:pt x="3094" y="4598"/>
                    <a:pt x="3630" y="3924"/>
                    <a:pt x="4598" y="3198"/>
                  </a:cubicBezTo>
                  <a:cubicBezTo>
                    <a:pt x="5980" y="2144"/>
                    <a:pt x="7726" y="2126"/>
                    <a:pt x="9264" y="1487"/>
                  </a:cubicBezTo>
                  <a:cubicBezTo>
                    <a:pt x="9696" y="1331"/>
                    <a:pt x="10404" y="1556"/>
                    <a:pt x="10352" y="796"/>
                  </a:cubicBezTo>
                  <a:cubicBezTo>
                    <a:pt x="10301" y="35"/>
                    <a:pt x="9627" y="70"/>
                    <a:pt x="8970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0934;p80">
              <a:extLst>
                <a:ext uri="{FF2B5EF4-FFF2-40B4-BE49-F238E27FC236}">
                  <a16:creationId xmlns:a16="http://schemas.microsoft.com/office/drawing/2014/main" id="{61194E40-F656-7D20-1272-E5D0DCC1C5AB}"/>
                </a:ext>
              </a:extLst>
            </p:cNvPr>
            <p:cNvSpPr/>
            <p:nvPr/>
          </p:nvSpPr>
          <p:spPr>
            <a:xfrm>
              <a:off x="3605850" y="1017225"/>
              <a:ext cx="246275" cy="88775"/>
            </a:xfrm>
            <a:custGeom>
              <a:avLst/>
              <a:gdLst/>
              <a:ahLst/>
              <a:cxnLst/>
              <a:rect l="l" t="t" r="r" b="b"/>
              <a:pathLst>
                <a:path w="9851" h="3551" extrusionOk="0">
                  <a:moveTo>
                    <a:pt x="3896" y="1"/>
                  </a:moveTo>
                  <a:cubicBezTo>
                    <a:pt x="2951" y="1"/>
                    <a:pt x="1998" y="113"/>
                    <a:pt x="1055" y="130"/>
                  </a:cubicBezTo>
                  <a:cubicBezTo>
                    <a:pt x="674" y="130"/>
                    <a:pt x="260" y="217"/>
                    <a:pt x="121" y="649"/>
                  </a:cubicBezTo>
                  <a:cubicBezTo>
                    <a:pt x="0" y="1046"/>
                    <a:pt x="173" y="1461"/>
                    <a:pt x="536" y="1651"/>
                  </a:cubicBezTo>
                  <a:cubicBezTo>
                    <a:pt x="1487" y="2256"/>
                    <a:pt x="2489" y="2792"/>
                    <a:pt x="3474" y="3345"/>
                  </a:cubicBezTo>
                  <a:cubicBezTo>
                    <a:pt x="3715" y="3472"/>
                    <a:pt x="3939" y="3551"/>
                    <a:pt x="4149" y="3551"/>
                  </a:cubicBezTo>
                  <a:cubicBezTo>
                    <a:pt x="4450" y="3551"/>
                    <a:pt x="4723" y="3389"/>
                    <a:pt x="4978" y="2982"/>
                  </a:cubicBezTo>
                  <a:cubicBezTo>
                    <a:pt x="5203" y="2650"/>
                    <a:pt x="5511" y="2104"/>
                    <a:pt x="5931" y="2104"/>
                  </a:cubicBezTo>
                  <a:cubicBezTo>
                    <a:pt x="6058" y="2104"/>
                    <a:pt x="6195" y="2153"/>
                    <a:pt x="6343" y="2273"/>
                  </a:cubicBezTo>
                  <a:cubicBezTo>
                    <a:pt x="6982" y="2809"/>
                    <a:pt x="7673" y="2826"/>
                    <a:pt x="8365" y="2895"/>
                  </a:cubicBezTo>
                  <a:cubicBezTo>
                    <a:pt x="8588" y="2920"/>
                    <a:pt x="8869" y="3004"/>
                    <a:pt x="9118" y="3004"/>
                  </a:cubicBezTo>
                  <a:cubicBezTo>
                    <a:pt x="9390" y="3004"/>
                    <a:pt x="9623" y="2904"/>
                    <a:pt x="9695" y="2515"/>
                  </a:cubicBezTo>
                  <a:cubicBezTo>
                    <a:pt x="9851" y="1789"/>
                    <a:pt x="9142" y="1668"/>
                    <a:pt x="8641" y="1478"/>
                  </a:cubicBezTo>
                  <a:lnTo>
                    <a:pt x="6585" y="493"/>
                  </a:lnTo>
                  <a:cubicBezTo>
                    <a:pt x="5704" y="104"/>
                    <a:pt x="4803" y="1"/>
                    <a:pt x="3896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0935;p80">
              <a:extLst>
                <a:ext uri="{FF2B5EF4-FFF2-40B4-BE49-F238E27FC236}">
                  <a16:creationId xmlns:a16="http://schemas.microsoft.com/office/drawing/2014/main" id="{C8ABA32A-CEFF-02D4-D39B-EAD6A86125F9}"/>
                </a:ext>
              </a:extLst>
            </p:cNvPr>
            <p:cNvSpPr/>
            <p:nvPr/>
          </p:nvSpPr>
          <p:spPr>
            <a:xfrm>
              <a:off x="3161275" y="1612775"/>
              <a:ext cx="115825" cy="115825"/>
            </a:xfrm>
            <a:custGeom>
              <a:avLst/>
              <a:gdLst/>
              <a:ahLst/>
              <a:cxnLst/>
              <a:rect l="l" t="t" r="r" b="b"/>
              <a:pathLst>
                <a:path w="4633" h="4633" extrusionOk="0">
                  <a:moveTo>
                    <a:pt x="2966" y="1"/>
                  </a:moveTo>
                  <a:cubicBezTo>
                    <a:pt x="2951" y="1"/>
                    <a:pt x="2936" y="1"/>
                    <a:pt x="2921" y="1"/>
                  </a:cubicBezTo>
                  <a:cubicBezTo>
                    <a:pt x="1729" y="36"/>
                    <a:pt x="1" y="2421"/>
                    <a:pt x="139" y="3803"/>
                  </a:cubicBezTo>
                  <a:cubicBezTo>
                    <a:pt x="139" y="4252"/>
                    <a:pt x="502" y="4615"/>
                    <a:pt x="951" y="4633"/>
                  </a:cubicBezTo>
                  <a:cubicBezTo>
                    <a:pt x="2956" y="4581"/>
                    <a:pt x="4632" y="3026"/>
                    <a:pt x="4529" y="1297"/>
                  </a:cubicBezTo>
                  <a:cubicBezTo>
                    <a:pt x="4478" y="482"/>
                    <a:pt x="3809" y="1"/>
                    <a:pt x="2966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10936;p80">
              <a:extLst>
                <a:ext uri="{FF2B5EF4-FFF2-40B4-BE49-F238E27FC236}">
                  <a16:creationId xmlns:a16="http://schemas.microsoft.com/office/drawing/2014/main" id="{A5F7554B-448D-4524-C94E-3A5839C23C65}"/>
                </a:ext>
              </a:extLst>
            </p:cNvPr>
            <p:cNvSpPr/>
            <p:nvPr/>
          </p:nvSpPr>
          <p:spPr>
            <a:xfrm>
              <a:off x="6082850" y="3458350"/>
              <a:ext cx="215350" cy="82375"/>
            </a:xfrm>
            <a:custGeom>
              <a:avLst/>
              <a:gdLst/>
              <a:ahLst/>
              <a:cxnLst/>
              <a:rect l="l" t="t" r="r" b="b"/>
              <a:pathLst>
                <a:path w="8614" h="3295" extrusionOk="0">
                  <a:moveTo>
                    <a:pt x="8412" y="834"/>
                  </a:moveTo>
                  <a:lnTo>
                    <a:pt x="8412" y="834"/>
                  </a:lnTo>
                  <a:cubicBezTo>
                    <a:pt x="8408" y="835"/>
                    <a:pt x="8404" y="836"/>
                    <a:pt x="8401" y="837"/>
                  </a:cubicBezTo>
                  <a:lnTo>
                    <a:pt x="8401" y="837"/>
                  </a:lnTo>
                  <a:cubicBezTo>
                    <a:pt x="8399" y="842"/>
                    <a:pt x="8396" y="846"/>
                    <a:pt x="8394" y="851"/>
                  </a:cubicBezTo>
                  <a:lnTo>
                    <a:pt x="8412" y="834"/>
                  </a:lnTo>
                  <a:close/>
                  <a:moveTo>
                    <a:pt x="6441" y="1"/>
                  </a:moveTo>
                  <a:cubicBezTo>
                    <a:pt x="5426" y="1"/>
                    <a:pt x="4424" y="103"/>
                    <a:pt x="3504" y="557"/>
                  </a:cubicBezTo>
                  <a:cubicBezTo>
                    <a:pt x="3268" y="683"/>
                    <a:pt x="3156" y="756"/>
                    <a:pt x="3064" y="756"/>
                  </a:cubicBezTo>
                  <a:cubicBezTo>
                    <a:pt x="2968" y="756"/>
                    <a:pt x="2895" y="675"/>
                    <a:pt x="2726" y="488"/>
                  </a:cubicBezTo>
                  <a:cubicBezTo>
                    <a:pt x="2440" y="160"/>
                    <a:pt x="2158" y="41"/>
                    <a:pt x="1882" y="41"/>
                  </a:cubicBezTo>
                  <a:cubicBezTo>
                    <a:pt x="1373" y="41"/>
                    <a:pt x="881" y="443"/>
                    <a:pt x="410" y="678"/>
                  </a:cubicBezTo>
                  <a:cubicBezTo>
                    <a:pt x="0" y="866"/>
                    <a:pt x="164" y="1612"/>
                    <a:pt x="452" y="1612"/>
                  </a:cubicBezTo>
                  <a:cubicBezTo>
                    <a:pt x="455" y="1612"/>
                    <a:pt x="459" y="1612"/>
                    <a:pt x="462" y="1612"/>
                  </a:cubicBezTo>
                  <a:cubicBezTo>
                    <a:pt x="518" y="1607"/>
                    <a:pt x="572" y="1605"/>
                    <a:pt x="625" y="1605"/>
                  </a:cubicBezTo>
                  <a:cubicBezTo>
                    <a:pt x="1895" y="1605"/>
                    <a:pt x="2508" y="2753"/>
                    <a:pt x="3504" y="3184"/>
                  </a:cubicBezTo>
                  <a:cubicBezTo>
                    <a:pt x="3665" y="3259"/>
                    <a:pt x="3818" y="3295"/>
                    <a:pt x="3955" y="3295"/>
                  </a:cubicBezTo>
                  <a:cubicBezTo>
                    <a:pt x="4389" y="3295"/>
                    <a:pt x="4667" y="2934"/>
                    <a:pt x="4575" y="2303"/>
                  </a:cubicBezTo>
                  <a:cubicBezTo>
                    <a:pt x="4523" y="1905"/>
                    <a:pt x="4541" y="1784"/>
                    <a:pt x="4973" y="1698"/>
                  </a:cubicBezTo>
                  <a:cubicBezTo>
                    <a:pt x="6127" y="1457"/>
                    <a:pt x="7264" y="1130"/>
                    <a:pt x="8401" y="837"/>
                  </a:cubicBezTo>
                  <a:lnTo>
                    <a:pt x="8401" y="837"/>
                  </a:lnTo>
                  <a:cubicBezTo>
                    <a:pt x="8535" y="525"/>
                    <a:pt x="8613" y="56"/>
                    <a:pt x="8256" y="56"/>
                  </a:cubicBezTo>
                  <a:cubicBezTo>
                    <a:pt x="7656" y="37"/>
                    <a:pt x="7046" y="1"/>
                    <a:pt x="6441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10937;p80">
              <a:extLst>
                <a:ext uri="{FF2B5EF4-FFF2-40B4-BE49-F238E27FC236}">
                  <a16:creationId xmlns:a16="http://schemas.microsoft.com/office/drawing/2014/main" id="{7CFD490E-FD47-6594-09D6-2672D4EE4A80}"/>
                </a:ext>
              </a:extLst>
            </p:cNvPr>
            <p:cNvSpPr/>
            <p:nvPr/>
          </p:nvSpPr>
          <p:spPr>
            <a:xfrm>
              <a:off x="5726825" y="1103850"/>
              <a:ext cx="262175" cy="54825"/>
            </a:xfrm>
            <a:custGeom>
              <a:avLst/>
              <a:gdLst/>
              <a:ahLst/>
              <a:cxnLst/>
              <a:rect l="l" t="t" r="r" b="b"/>
              <a:pathLst>
                <a:path w="10487" h="2193" extrusionOk="0">
                  <a:moveTo>
                    <a:pt x="2675" y="1"/>
                  </a:moveTo>
                  <a:cubicBezTo>
                    <a:pt x="2260" y="122"/>
                    <a:pt x="1984" y="208"/>
                    <a:pt x="1707" y="260"/>
                  </a:cubicBezTo>
                  <a:cubicBezTo>
                    <a:pt x="1625" y="276"/>
                    <a:pt x="1533" y="281"/>
                    <a:pt x="1436" y="281"/>
                  </a:cubicBezTo>
                  <a:cubicBezTo>
                    <a:pt x="1238" y="281"/>
                    <a:pt x="1018" y="259"/>
                    <a:pt x="814" y="259"/>
                  </a:cubicBezTo>
                  <a:cubicBezTo>
                    <a:pt x="370" y="259"/>
                    <a:pt x="1" y="367"/>
                    <a:pt x="83" y="1055"/>
                  </a:cubicBezTo>
                  <a:cubicBezTo>
                    <a:pt x="160" y="1671"/>
                    <a:pt x="629" y="1783"/>
                    <a:pt x="1147" y="1783"/>
                  </a:cubicBezTo>
                  <a:cubicBezTo>
                    <a:pt x="1443" y="1783"/>
                    <a:pt x="1754" y="1746"/>
                    <a:pt x="2018" y="1746"/>
                  </a:cubicBezTo>
                  <a:cubicBezTo>
                    <a:pt x="3176" y="1729"/>
                    <a:pt x="4334" y="1625"/>
                    <a:pt x="5488" y="1625"/>
                  </a:cubicBezTo>
                  <a:cubicBezTo>
                    <a:pt x="6641" y="1625"/>
                    <a:pt x="7790" y="1729"/>
                    <a:pt x="8931" y="2126"/>
                  </a:cubicBezTo>
                  <a:cubicBezTo>
                    <a:pt x="9064" y="2171"/>
                    <a:pt x="9201" y="2192"/>
                    <a:pt x="9336" y="2192"/>
                  </a:cubicBezTo>
                  <a:cubicBezTo>
                    <a:pt x="9780" y="2192"/>
                    <a:pt x="10194" y="1955"/>
                    <a:pt x="10314" y="1504"/>
                  </a:cubicBezTo>
                  <a:cubicBezTo>
                    <a:pt x="10486" y="813"/>
                    <a:pt x="9761" y="744"/>
                    <a:pt x="9294" y="606"/>
                  </a:cubicBezTo>
                  <a:cubicBezTo>
                    <a:pt x="8746" y="426"/>
                    <a:pt x="8189" y="370"/>
                    <a:pt x="7630" y="370"/>
                  </a:cubicBezTo>
                  <a:cubicBezTo>
                    <a:pt x="6715" y="370"/>
                    <a:pt x="5795" y="519"/>
                    <a:pt x="4900" y="519"/>
                  </a:cubicBezTo>
                  <a:cubicBezTo>
                    <a:pt x="4133" y="519"/>
                    <a:pt x="3384" y="409"/>
                    <a:pt x="2675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10938;p80">
              <a:extLst>
                <a:ext uri="{FF2B5EF4-FFF2-40B4-BE49-F238E27FC236}">
                  <a16:creationId xmlns:a16="http://schemas.microsoft.com/office/drawing/2014/main" id="{139482FF-8A99-CE27-1AD3-CEF5101E657B}"/>
                </a:ext>
              </a:extLst>
            </p:cNvPr>
            <p:cNvSpPr/>
            <p:nvPr/>
          </p:nvSpPr>
          <p:spPr>
            <a:xfrm>
              <a:off x="6497925" y="4391525"/>
              <a:ext cx="125725" cy="97375"/>
            </a:xfrm>
            <a:custGeom>
              <a:avLst/>
              <a:gdLst/>
              <a:ahLst/>
              <a:cxnLst/>
              <a:rect l="l" t="t" r="r" b="b"/>
              <a:pathLst>
                <a:path w="5029" h="3895" extrusionOk="0">
                  <a:moveTo>
                    <a:pt x="4062" y="0"/>
                  </a:moveTo>
                  <a:cubicBezTo>
                    <a:pt x="3557" y="0"/>
                    <a:pt x="2937" y="491"/>
                    <a:pt x="2445" y="491"/>
                  </a:cubicBezTo>
                  <a:cubicBezTo>
                    <a:pt x="2234" y="491"/>
                    <a:pt x="2046" y="401"/>
                    <a:pt x="1901" y="144"/>
                  </a:cubicBezTo>
                  <a:cubicBezTo>
                    <a:pt x="0" y="403"/>
                    <a:pt x="570" y="1975"/>
                    <a:pt x="225" y="2960"/>
                  </a:cubicBezTo>
                  <a:cubicBezTo>
                    <a:pt x="38" y="3485"/>
                    <a:pt x="566" y="3894"/>
                    <a:pt x="1172" y="3894"/>
                  </a:cubicBezTo>
                  <a:cubicBezTo>
                    <a:pt x="1185" y="3894"/>
                    <a:pt x="1197" y="3894"/>
                    <a:pt x="1210" y="3894"/>
                  </a:cubicBezTo>
                  <a:cubicBezTo>
                    <a:pt x="2298" y="3876"/>
                    <a:pt x="5029" y="1630"/>
                    <a:pt x="4804" y="783"/>
                  </a:cubicBezTo>
                  <a:cubicBezTo>
                    <a:pt x="4638" y="185"/>
                    <a:pt x="4372" y="0"/>
                    <a:pt x="4062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10939;p80">
              <a:extLst>
                <a:ext uri="{FF2B5EF4-FFF2-40B4-BE49-F238E27FC236}">
                  <a16:creationId xmlns:a16="http://schemas.microsoft.com/office/drawing/2014/main" id="{6F7173D9-9B33-9779-05D2-425B745AFF91}"/>
                </a:ext>
              </a:extLst>
            </p:cNvPr>
            <p:cNvSpPr/>
            <p:nvPr/>
          </p:nvSpPr>
          <p:spPr>
            <a:xfrm>
              <a:off x="5334875" y="2906300"/>
              <a:ext cx="82100" cy="128050"/>
            </a:xfrm>
            <a:custGeom>
              <a:avLst/>
              <a:gdLst/>
              <a:ahLst/>
              <a:cxnLst/>
              <a:rect l="l" t="t" r="r" b="b"/>
              <a:pathLst>
                <a:path w="3284" h="5122" extrusionOk="0">
                  <a:moveTo>
                    <a:pt x="519" y="1"/>
                  </a:moveTo>
                  <a:lnTo>
                    <a:pt x="380" y="139"/>
                  </a:lnTo>
                  <a:cubicBezTo>
                    <a:pt x="104" y="1452"/>
                    <a:pt x="0" y="2766"/>
                    <a:pt x="380" y="4062"/>
                  </a:cubicBezTo>
                  <a:cubicBezTo>
                    <a:pt x="534" y="4660"/>
                    <a:pt x="796" y="5122"/>
                    <a:pt x="1420" y="5122"/>
                  </a:cubicBezTo>
                  <a:cubicBezTo>
                    <a:pt x="1500" y="5122"/>
                    <a:pt x="1585" y="5114"/>
                    <a:pt x="1676" y="5099"/>
                  </a:cubicBezTo>
                  <a:cubicBezTo>
                    <a:pt x="2471" y="4978"/>
                    <a:pt x="3284" y="4408"/>
                    <a:pt x="3111" y="3734"/>
                  </a:cubicBezTo>
                  <a:cubicBezTo>
                    <a:pt x="2748" y="2213"/>
                    <a:pt x="2108" y="744"/>
                    <a:pt x="519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10940;p80">
              <a:extLst>
                <a:ext uri="{FF2B5EF4-FFF2-40B4-BE49-F238E27FC236}">
                  <a16:creationId xmlns:a16="http://schemas.microsoft.com/office/drawing/2014/main" id="{7119E4B2-D9C6-18E9-AA1D-39017AEDEA65}"/>
                </a:ext>
              </a:extLst>
            </p:cNvPr>
            <p:cNvSpPr/>
            <p:nvPr/>
          </p:nvSpPr>
          <p:spPr>
            <a:xfrm>
              <a:off x="4869125" y="997550"/>
              <a:ext cx="160750" cy="66150"/>
            </a:xfrm>
            <a:custGeom>
              <a:avLst/>
              <a:gdLst/>
              <a:ahLst/>
              <a:cxnLst/>
              <a:rect l="l" t="t" r="r" b="b"/>
              <a:pathLst>
                <a:path w="6430" h="2646" extrusionOk="0">
                  <a:moveTo>
                    <a:pt x="1040" y="1"/>
                  </a:moveTo>
                  <a:cubicBezTo>
                    <a:pt x="589" y="1"/>
                    <a:pt x="239" y="358"/>
                    <a:pt x="104" y="814"/>
                  </a:cubicBezTo>
                  <a:cubicBezTo>
                    <a:pt x="1" y="1108"/>
                    <a:pt x="191" y="1419"/>
                    <a:pt x="502" y="1470"/>
                  </a:cubicBezTo>
                  <a:cubicBezTo>
                    <a:pt x="1971" y="1885"/>
                    <a:pt x="3440" y="2283"/>
                    <a:pt x="4736" y="2646"/>
                  </a:cubicBezTo>
                  <a:cubicBezTo>
                    <a:pt x="5427" y="2611"/>
                    <a:pt x="5928" y="2611"/>
                    <a:pt x="6239" y="2127"/>
                  </a:cubicBezTo>
                  <a:cubicBezTo>
                    <a:pt x="6429" y="1851"/>
                    <a:pt x="6308" y="1470"/>
                    <a:pt x="6066" y="1419"/>
                  </a:cubicBezTo>
                  <a:cubicBezTo>
                    <a:pt x="4373" y="1021"/>
                    <a:pt x="2852" y="36"/>
                    <a:pt x="1072" y="2"/>
                  </a:cubicBezTo>
                  <a:cubicBezTo>
                    <a:pt x="1061" y="1"/>
                    <a:pt x="1051" y="1"/>
                    <a:pt x="1040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0941;p80">
              <a:extLst>
                <a:ext uri="{FF2B5EF4-FFF2-40B4-BE49-F238E27FC236}">
                  <a16:creationId xmlns:a16="http://schemas.microsoft.com/office/drawing/2014/main" id="{D5A18DEB-5A0E-5848-A82E-984412D1EBF7}"/>
                </a:ext>
              </a:extLst>
            </p:cNvPr>
            <p:cNvSpPr/>
            <p:nvPr/>
          </p:nvSpPr>
          <p:spPr>
            <a:xfrm>
              <a:off x="3763550" y="998475"/>
              <a:ext cx="117975" cy="55725"/>
            </a:xfrm>
            <a:custGeom>
              <a:avLst/>
              <a:gdLst/>
              <a:ahLst/>
              <a:cxnLst/>
              <a:rect l="l" t="t" r="r" b="b"/>
              <a:pathLst>
                <a:path w="4719" h="2229" extrusionOk="0">
                  <a:moveTo>
                    <a:pt x="747" y="0"/>
                  </a:moveTo>
                  <a:cubicBezTo>
                    <a:pt x="407" y="0"/>
                    <a:pt x="65" y="161"/>
                    <a:pt x="18" y="690"/>
                  </a:cubicBezTo>
                  <a:cubicBezTo>
                    <a:pt x="0" y="863"/>
                    <a:pt x="190" y="1053"/>
                    <a:pt x="277" y="1243"/>
                  </a:cubicBezTo>
                  <a:lnTo>
                    <a:pt x="2333" y="2228"/>
                  </a:lnTo>
                  <a:cubicBezTo>
                    <a:pt x="2437" y="2220"/>
                    <a:pt x="2541" y="2220"/>
                    <a:pt x="2644" y="2220"/>
                  </a:cubicBezTo>
                  <a:cubicBezTo>
                    <a:pt x="2748" y="2220"/>
                    <a:pt x="2852" y="2220"/>
                    <a:pt x="2955" y="2211"/>
                  </a:cubicBezTo>
                  <a:cubicBezTo>
                    <a:pt x="3647" y="2142"/>
                    <a:pt x="4718" y="2090"/>
                    <a:pt x="4511" y="1261"/>
                  </a:cubicBezTo>
                  <a:cubicBezTo>
                    <a:pt x="4255" y="308"/>
                    <a:pt x="3582" y="187"/>
                    <a:pt x="2842" y="187"/>
                  </a:cubicBezTo>
                  <a:cubicBezTo>
                    <a:pt x="2589" y="187"/>
                    <a:pt x="2328" y="201"/>
                    <a:pt x="2074" y="201"/>
                  </a:cubicBezTo>
                  <a:cubicBezTo>
                    <a:pt x="1762" y="201"/>
                    <a:pt x="1460" y="180"/>
                    <a:pt x="1193" y="85"/>
                  </a:cubicBezTo>
                  <a:cubicBezTo>
                    <a:pt x="1066" y="36"/>
                    <a:pt x="907" y="0"/>
                    <a:pt x="747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0942;p80">
              <a:extLst>
                <a:ext uri="{FF2B5EF4-FFF2-40B4-BE49-F238E27FC236}">
                  <a16:creationId xmlns:a16="http://schemas.microsoft.com/office/drawing/2014/main" id="{990918EB-91EE-6738-B394-62E79CABF832}"/>
                </a:ext>
              </a:extLst>
            </p:cNvPr>
            <p:cNvSpPr/>
            <p:nvPr/>
          </p:nvSpPr>
          <p:spPr>
            <a:xfrm>
              <a:off x="6244750" y="3463175"/>
              <a:ext cx="127900" cy="76650"/>
            </a:xfrm>
            <a:custGeom>
              <a:avLst/>
              <a:gdLst/>
              <a:ahLst/>
              <a:cxnLst/>
              <a:rect l="l" t="t" r="r" b="b"/>
              <a:pathLst>
                <a:path w="5116" h="3066" extrusionOk="0">
                  <a:moveTo>
                    <a:pt x="4184" y="1"/>
                  </a:moveTo>
                  <a:cubicBezTo>
                    <a:pt x="4093" y="1"/>
                    <a:pt x="4000" y="13"/>
                    <a:pt x="3906" y="36"/>
                  </a:cubicBezTo>
                  <a:cubicBezTo>
                    <a:pt x="3232" y="209"/>
                    <a:pt x="2575" y="416"/>
                    <a:pt x="1918" y="641"/>
                  </a:cubicBezTo>
                  <a:lnTo>
                    <a:pt x="1936" y="641"/>
                  </a:lnTo>
                  <a:cubicBezTo>
                    <a:pt x="1659" y="848"/>
                    <a:pt x="1383" y="1038"/>
                    <a:pt x="1089" y="1194"/>
                  </a:cubicBezTo>
                  <a:cubicBezTo>
                    <a:pt x="432" y="1505"/>
                    <a:pt x="0" y="2093"/>
                    <a:pt x="311" y="2680"/>
                  </a:cubicBezTo>
                  <a:cubicBezTo>
                    <a:pt x="460" y="2964"/>
                    <a:pt x="650" y="3065"/>
                    <a:pt x="856" y="3065"/>
                  </a:cubicBezTo>
                  <a:cubicBezTo>
                    <a:pt x="1178" y="3065"/>
                    <a:pt x="1537" y="2818"/>
                    <a:pt x="1832" y="2628"/>
                  </a:cubicBezTo>
                  <a:cubicBezTo>
                    <a:pt x="2558" y="2093"/>
                    <a:pt x="3370" y="1695"/>
                    <a:pt x="4234" y="1436"/>
                  </a:cubicBezTo>
                  <a:cubicBezTo>
                    <a:pt x="4631" y="1332"/>
                    <a:pt x="5115" y="1108"/>
                    <a:pt x="4994" y="606"/>
                  </a:cubicBezTo>
                  <a:cubicBezTo>
                    <a:pt x="4883" y="203"/>
                    <a:pt x="4559" y="1"/>
                    <a:pt x="4184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0943;p80">
              <a:extLst>
                <a:ext uri="{FF2B5EF4-FFF2-40B4-BE49-F238E27FC236}">
                  <a16:creationId xmlns:a16="http://schemas.microsoft.com/office/drawing/2014/main" id="{56F8F556-7BD2-FE4A-0F6E-1F473D1D0A9D}"/>
                </a:ext>
              </a:extLst>
            </p:cNvPr>
            <p:cNvSpPr/>
            <p:nvPr/>
          </p:nvSpPr>
          <p:spPr>
            <a:xfrm>
              <a:off x="6286725" y="2464325"/>
              <a:ext cx="67775" cy="93850"/>
            </a:xfrm>
            <a:custGeom>
              <a:avLst/>
              <a:gdLst/>
              <a:ahLst/>
              <a:cxnLst/>
              <a:rect l="l" t="t" r="r" b="b"/>
              <a:pathLst>
                <a:path w="2711" h="3754" extrusionOk="0">
                  <a:moveTo>
                    <a:pt x="1532" y="0"/>
                  </a:moveTo>
                  <a:cubicBezTo>
                    <a:pt x="1516" y="0"/>
                    <a:pt x="1500" y="0"/>
                    <a:pt x="1484" y="1"/>
                  </a:cubicBezTo>
                  <a:cubicBezTo>
                    <a:pt x="187" y="53"/>
                    <a:pt x="239" y="1332"/>
                    <a:pt x="101" y="2265"/>
                  </a:cubicBezTo>
                  <a:cubicBezTo>
                    <a:pt x="1" y="3066"/>
                    <a:pt x="465" y="3754"/>
                    <a:pt x="1243" y="3754"/>
                  </a:cubicBezTo>
                  <a:cubicBezTo>
                    <a:pt x="1271" y="3754"/>
                    <a:pt x="1299" y="3753"/>
                    <a:pt x="1328" y="3751"/>
                  </a:cubicBezTo>
                  <a:cubicBezTo>
                    <a:pt x="2711" y="3682"/>
                    <a:pt x="1967" y="2403"/>
                    <a:pt x="2313" y="1815"/>
                  </a:cubicBezTo>
                  <a:cubicBezTo>
                    <a:pt x="2228" y="1050"/>
                    <a:pt x="2528" y="0"/>
                    <a:pt x="1532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0944;p80">
              <a:extLst>
                <a:ext uri="{FF2B5EF4-FFF2-40B4-BE49-F238E27FC236}">
                  <a16:creationId xmlns:a16="http://schemas.microsoft.com/office/drawing/2014/main" id="{4320E926-542B-4351-587F-33A85C8FCF05}"/>
                </a:ext>
              </a:extLst>
            </p:cNvPr>
            <p:cNvSpPr/>
            <p:nvPr/>
          </p:nvSpPr>
          <p:spPr>
            <a:xfrm>
              <a:off x="6279300" y="2861375"/>
              <a:ext cx="75625" cy="97275"/>
            </a:xfrm>
            <a:custGeom>
              <a:avLst/>
              <a:gdLst/>
              <a:ahLst/>
              <a:cxnLst/>
              <a:rect l="l" t="t" r="r" b="b"/>
              <a:pathLst>
                <a:path w="3025" h="3891" extrusionOk="0">
                  <a:moveTo>
                    <a:pt x="2403" y="1"/>
                  </a:moveTo>
                  <a:cubicBezTo>
                    <a:pt x="2178" y="1"/>
                    <a:pt x="1971" y="104"/>
                    <a:pt x="1850" y="277"/>
                  </a:cubicBezTo>
                  <a:cubicBezTo>
                    <a:pt x="1504" y="1193"/>
                    <a:pt x="882" y="1884"/>
                    <a:pt x="277" y="2610"/>
                  </a:cubicBezTo>
                  <a:cubicBezTo>
                    <a:pt x="35" y="2869"/>
                    <a:pt x="1" y="3284"/>
                    <a:pt x="208" y="3578"/>
                  </a:cubicBezTo>
                  <a:cubicBezTo>
                    <a:pt x="326" y="3766"/>
                    <a:pt x="507" y="3890"/>
                    <a:pt x="682" y="3890"/>
                  </a:cubicBezTo>
                  <a:cubicBezTo>
                    <a:pt x="764" y="3890"/>
                    <a:pt x="845" y="3863"/>
                    <a:pt x="916" y="3802"/>
                  </a:cubicBezTo>
                  <a:cubicBezTo>
                    <a:pt x="1815" y="3128"/>
                    <a:pt x="2731" y="2420"/>
                    <a:pt x="3025" y="1452"/>
                  </a:cubicBezTo>
                  <a:cubicBezTo>
                    <a:pt x="2973" y="744"/>
                    <a:pt x="2921" y="225"/>
                    <a:pt x="2403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0945;p80">
              <a:extLst>
                <a:ext uri="{FF2B5EF4-FFF2-40B4-BE49-F238E27FC236}">
                  <a16:creationId xmlns:a16="http://schemas.microsoft.com/office/drawing/2014/main" id="{32F9FECA-DF57-994E-49FF-7B3983B6F867}"/>
                </a:ext>
              </a:extLst>
            </p:cNvPr>
            <p:cNvSpPr/>
            <p:nvPr/>
          </p:nvSpPr>
          <p:spPr>
            <a:xfrm>
              <a:off x="4145025" y="994975"/>
              <a:ext cx="111500" cy="47325"/>
            </a:xfrm>
            <a:custGeom>
              <a:avLst/>
              <a:gdLst/>
              <a:ahLst/>
              <a:cxnLst/>
              <a:rect l="l" t="t" r="r" b="b"/>
              <a:pathLst>
                <a:path w="4460" h="1893" extrusionOk="0">
                  <a:moveTo>
                    <a:pt x="1539" y="105"/>
                  </a:moveTo>
                  <a:cubicBezTo>
                    <a:pt x="969" y="243"/>
                    <a:pt x="139" y="1"/>
                    <a:pt x="70" y="744"/>
                  </a:cubicBezTo>
                  <a:cubicBezTo>
                    <a:pt x="1" y="1418"/>
                    <a:pt x="813" y="1418"/>
                    <a:pt x="1332" y="1556"/>
                  </a:cubicBezTo>
                  <a:cubicBezTo>
                    <a:pt x="1764" y="1677"/>
                    <a:pt x="2213" y="1764"/>
                    <a:pt x="2645" y="1815"/>
                  </a:cubicBezTo>
                  <a:cubicBezTo>
                    <a:pt x="2898" y="1847"/>
                    <a:pt x="3179" y="1893"/>
                    <a:pt x="3440" y="1893"/>
                  </a:cubicBezTo>
                  <a:cubicBezTo>
                    <a:pt x="3890" y="1893"/>
                    <a:pt x="4279" y="1756"/>
                    <a:pt x="4356" y="1176"/>
                  </a:cubicBezTo>
                  <a:cubicBezTo>
                    <a:pt x="4459" y="346"/>
                    <a:pt x="3561" y="416"/>
                    <a:pt x="2956" y="329"/>
                  </a:cubicBezTo>
                  <a:lnTo>
                    <a:pt x="1539" y="105"/>
                  </a:ln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0946;p80">
              <a:extLst>
                <a:ext uri="{FF2B5EF4-FFF2-40B4-BE49-F238E27FC236}">
                  <a16:creationId xmlns:a16="http://schemas.microsoft.com/office/drawing/2014/main" id="{962EE9B8-9E56-4DB3-3337-D084EE30D2E5}"/>
                </a:ext>
              </a:extLst>
            </p:cNvPr>
            <p:cNvSpPr/>
            <p:nvPr/>
          </p:nvSpPr>
          <p:spPr>
            <a:xfrm>
              <a:off x="7213625" y="3803350"/>
              <a:ext cx="74075" cy="80050"/>
            </a:xfrm>
            <a:custGeom>
              <a:avLst/>
              <a:gdLst/>
              <a:ahLst/>
              <a:cxnLst/>
              <a:rect l="l" t="t" r="r" b="b"/>
              <a:pathLst>
                <a:path w="2963" h="3202" extrusionOk="0">
                  <a:moveTo>
                    <a:pt x="573" y="1"/>
                  </a:moveTo>
                  <a:cubicBezTo>
                    <a:pt x="233" y="1"/>
                    <a:pt x="0" y="333"/>
                    <a:pt x="59" y="704"/>
                  </a:cubicBezTo>
                  <a:cubicBezTo>
                    <a:pt x="284" y="1965"/>
                    <a:pt x="1096" y="2777"/>
                    <a:pt x="2289" y="3175"/>
                  </a:cubicBezTo>
                  <a:cubicBezTo>
                    <a:pt x="2343" y="3193"/>
                    <a:pt x="2395" y="3202"/>
                    <a:pt x="2445" y="3202"/>
                  </a:cubicBezTo>
                  <a:cubicBezTo>
                    <a:pt x="2729" y="3202"/>
                    <a:pt x="2933" y="2914"/>
                    <a:pt x="2963" y="2414"/>
                  </a:cubicBezTo>
                  <a:cubicBezTo>
                    <a:pt x="2341" y="1619"/>
                    <a:pt x="1960" y="427"/>
                    <a:pt x="751" y="30"/>
                  </a:cubicBezTo>
                  <a:cubicBezTo>
                    <a:pt x="689" y="10"/>
                    <a:pt x="630" y="1"/>
                    <a:pt x="573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0947;p80">
              <a:extLst>
                <a:ext uri="{FF2B5EF4-FFF2-40B4-BE49-F238E27FC236}">
                  <a16:creationId xmlns:a16="http://schemas.microsoft.com/office/drawing/2014/main" id="{371B378E-EA16-C2E4-D333-B54C6F496312}"/>
                </a:ext>
              </a:extLst>
            </p:cNvPr>
            <p:cNvSpPr/>
            <p:nvPr/>
          </p:nvSpPr>
          <p:spPr>
            <a:xfrm>
              <a:off x="6542025" y="3118350"/>
              <a:ext cx="66075" cy="79800"/>
            </a:xfrm>
            <a:custGeom>
              <a:avLst/>
              <a:gdLst/>
              <a:ahLst/>
              <a:cxnLst/>
              <a:rect l="l" t="t" r="r" b="b"/>
              <a:pathLst>
                <a:path w="2643" h="3192" extrusionOk="0">
                  <a:moveTo>
                    <a:pt x="1295" y="1"/>
                  </a:moveTo>
                  <a:cubicBezTo>
                    <a:pt x="1273" y="1"/>
                    <a:pt x="1250" y="2"/>
                    <a:pt x="1226" y="4"/>
                  </a:cubicBezTo>
                  <a:cubicBezTo>
                    <a:pt x="275" y="108"/>
                    <a:pt x="51" y="954"/>
                    <a:pt x="33" y="1732"/>
                  </a:cubicBezTo>
                  <a:cubicBezTo>
                    <a:pt x="1" y="2354"/>
                    <a:pt x="200" y="3192"/>
                    <a:pt x="910" y="3192"/>
                  </a:cubicBezTo>
                  <a:cubicBezTo>
                    <a:pt x="950" y="3192"/>
                    <a:pt x="992" y="3189"/>
                    <a:pt x="1036" y="3184"/>
                  </a:cubicBezTo>
                  <a:cubicBezTo>
                    <a:pt x="2643" y="2959"/>
                    <a:pt x="1640" y="1767"/>
                    <a:pt x="1640" y="1110"/>
                  </a:cubicBezTo>
                  <a:cubicBezTo>
                    <a:pt x="1740" y="547"/>
                    <a:pt x="1792" y="1"/>
                    <a:pt x="1295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0948;p80">
              <a:extLst>
                <a:ext uri="{FF2B5EF4-FFF2-40B4-BE49-F238E27FC236}">
                  <a16:creationId xmlns:a16="http://schemas.microsoft.com/office/drawing/2014/main" id="{43F11724-C1AD-7A7B-B2DB-14791E0E0B37}"/>
                </a:ext>
              </a:extLst>
            </p:cNvPr>
            <p:cNvSpPr/>
            <p:nvPr/>
          </p:nvSpPr>
          <p:spPr>
            <a:xfrm>
              <a:off x="4278100" y="987200"/>
              <a:ext cx="87225" cy="50150"/>
            </a:xfrm>
            <a:custGeom>
              <a:avLst/>
              <a:gdLst/>
              <a:ahLst/>
              <a:cxnLst/>
              <a:rect l="l" t="t" r="r" b="b"/>
              <a:pathLst>
                <a:path w="3489" h="2006" extrusionOk="0">
                  <a:moveTo>
                    <a:pt x="2519" y="46"/>
                  </a:moveTo>
                  <a:cubicBezTo>
                    <a:pt x="2407" y="46"/>
                    <a:pt x="2296" y="60"/>
                    <a:pt x="2195" y="87"/>
                  </a:cubicBezTo>
                  <a:cubicBezTo>
                    <a:pt x="1435" y="312"/>
                    <a:pt x="191" y="1"/>
                    <a:pt x="87" y="1107"/>
                  </a:cubicBezTo>
                  <a:cubicBezTo>
                    <a:pt x="1" y="1798"/>
                    <a:pt x="986" y="1746"/>
                    <a:pt x="1642" y="1781"/>
                  </a:cubicBezTo>
                  <a:cubicBezTo>
                    <a:pt x="2299" y="1556"/>
                    <a:pt x="3422" y="2005"/>
                    <a:pt x="3474" y="813"/>
                  </a:cubicBezTo>
                  <a:cubicBezTo>
                    <a:pt x="3488" y="284"/>
                    <a:pt x="2986" y="46"/>
                    <a:pt x="2519" y="46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0949;p80">
              <a:extLst>
                <a:ext uri="{FF2B5EF4-FFF2-40B4-BE49-F238E27FC236}">
                  <a16:creationId xmlns:a16="http://schemas.microsoft.com/office/drawing/2014/main" id="{7C316813-DA8E-E1BF-E2E8-BE60D2C010F5}"/>
                </a:ext>
              </a:extLst>
            </p:cNvPr>
            <p:cNvSpPr/>
            <p:nvPr/>
          </p:nvSpPr>
          <p:spPr>
            <a:xfrm>
              <a:off x="6595650" y="1204100"/>
              <a:ext cx="81075" cy="41800"/>
            </a:xfrm>
            <a:custGeom>
              <a:avLst/>
              <a:gdLst/>
              <a:ahLst/>
              <a:cxnLst/>
              <a:rect l="l" t="t" r="r" b="b"/>
              <a:pathLst>
                <a:path w="3243" h="1672" extrusionOk="0">
                  <a:moveTo>
                    <a:pt x="1466" y="121"/>
                  </a:moveTo>
                  <a:cubicBezTo>
                    <a:pt x="1366" y="163"/>
                    <a:pt x="1241" y="173"/>
                    <a:pt x="1106" y="173"/>
                  </a:cubicBezTo>
                  <a:cubicBezTo>
                    <a:pt x="987" y="173"/>
                    <a:pt x="861" y="165"/>
                    <a:pt x="738" y="165"/>
                  </a:cubicBezTo>
                  <a:cubicBezTo>
                    <a:pt x="371" y="165"/>
                    <a:pt x="34" y="234"/>
                    <a:pt x="14" y="778"/>
                  </a:cubicBezTo>
                  <a:cubicBezTo>
                    <a:pt x="0" y="1593"/>
                    <a:pt x="628" y="1660"/>
                    <a:pt x="1232" y="1660"/>
                  </a:cubicBezTo>
                  <a:cubicBezTo>
                    <a:pt x="1352" y="1660"/>
                    <a:pt x="1472" y="1658"/>
                    <a:pt x="1585" y="1658"/>
                  </a:cubicBezTo>
                  <a:cubicBezTo>
                    <a:pt x="1627" y="1658"/>
                    <a:pt x="1668" y="1658"/>
                    <a:pt x="1708" y="1659"/>
                  </a:cubicBezTo>
                  <a:cubicBezTo>
                    <a:pt x="1826" y="1666"/>
                    <a:pt x="1954" y="1672"/>
                    <a:pt x="2085" y="1672"/>
                  </a:cubicBezTo>
                  <a:cubicBezTo>
                    <a:pt x="2644" y="1672"/>
                    <a:pt x="3242" y="1563"/>
                    <a:pt x="3228" y="933"/>
                  </a:cubicBezTo>
                  <a:cubicBezTo>
                    <a:pt x="3194" y="0"/>
                    <a:pt x="2209" y="207"/>
                    <a:pt x="1466" y="12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0950;p80">
              <a:extLst>
                <a:ext uri="{FF2B5EF4-FFF2-40B4-BE49-F238E27FC236}">
                  <a16:creationId xmlns:a16="http://schemas.microsoft.com/office/drawing/2014/main" id="{95547AFF-D22E-D486-5A03-698885EDB0C2}"/>
                </a:ext>
              </a:extLst>
            </p:cNvPr>
            <p:cNvSpPr/>
            <p:nvPr/>
          </p:nvSpPr>
          <p:spPr>
            <a:xfrm>
              <a:off x="5040350" y="1034625"/>
              <a:ext cx="81550" cy="46975"/>
            </a:xfrm>
            <a:custGeom>
              <a:avLst/>
              <a:gdLst/>
              <a:ahLst/>
              <a:cxnLst/>
              <a:rect l="l" t="t" r="r" b="b"/>
              <a:pathLst>
                <a:path w="3262" h="1879" extrusionOk="0">
                  <a:moveTo>
                    <a:pt x="1625" y="1"/>
                  </a:moveTo>
                  <a:cubicBezTo>
                    <a:pt x="803" y="1"/>
                    <a:pt x="279" y="461"/>
                    <a:pt x="99" y="1249"/>
                  </a:cubicBezTo>
                  <a:cubicBezTo>
                    <a:pt x="0" y="1616"/>
                    <a:pt x="339" y="1879"/>
                    <a:pt x="645" y="1879"/>
                  </a:cubicBezTo>
                  <a:cubicBezTo>
                    <a:pt x="714" y="1879"/>
                    <a:pt x="781" y="1865"/>
                    <a:pt x="842" y="1837"/>
                  </a:cubicBezTo>
                  <a:cubicBezTo>
                    <a:pt x="1620" y="1474"/>
                    <a:pt x="2829" y="1750"/>
                    <a:pt x="3106" y="800"/>
                  </a:cubicBezTo>
                  <a:cubicBezTo>
                    <a:pt x="3261" y="229"/>
                    <a:pt x="2363" y="22"/>
                    <a:pt x="1758" y="5"/>
                  </a:cubicBezTo>
                  <a:cubicBezTo>
                    <a:pt x="1713" y="2"/>
                    <a:pt x="1668" y="1"/>
                    <a:pt x="1625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0951;p80">
              <a:extLst>
                <a:ext uri="{FF2B5EF4-FFF2-40B4-BE49-F238E27FC236}">
                  <a16:creationId xmlns:a16="http://schemas.microsoft.com/office/drawing/2014/main" id="{2CE0F4E3-7437-2F8A-C28C-159EDB61852E}"/>
                </a:ext>
              </a:extLst>
            </p:cNvPr>
            <p:cNvSpPr/>
            <p:nvPr/>
          </p:nvSpPr>
          <p:spPr>
            <a:xfrm>
              <a:off x="6380950" y="3302475"/>
              <a:ext cx="77800" cy="40225"/>
            </a:xfrm>
            <a:custGeom>
              <a:avLst/>
              <a:gdLst/>
              <a:ahLst/>
              <a:cxnLst/>
              <a:rect l="l" t="t" r="r" b="b"/>
              <a:pathLst>
                <a:path w="3112" h="1609" extrusionOk="0">
                  <a:moveTo>
                    <a:pt x="843" y="80"/>
                  </a:moveTo>
                  <a:cubicBezTo>
                    <a:pt x="352" y="80"/>
                    <a:pt x="1" y="466"/>
                    <a:pt x="65" y="882"/>
                  </a:cubicBezTo>
                  <a:cubicBezTo>
                    <a:pt x="161" y="1545"/>
                    <a:pt x="602" y="1578"/>
                    <a:pt x="1054" y="1578"/>
                  </a:cubicBezTo>
                  <a:cubicBezTo>
                    <a:pt x="1103" y="1578"/>
                    <a:pt x="1152" y="1577"/>
                    <a:pt x="1201" y="1577"/>
                  </a:cubicBezTo>
                  <a:cubicBezTo>
                    <a:pt x="1347" y="1577"/>
                    <a:pt x="1491" y="1581"/>
                    <a:pt x="1620" y="1608"/>
                  </a:cubicBezTo>
                  <a:cubicBezTo>
                    <a:pt x="1746" y="1549"/>
                    <a:pt x="1903" y="1535"/>
                    <a:pt x="2065" y="1535"/>
                  </a:cubicBezTo>
                  <a:cubicBezTo>
                    <a:pt x="2212" y="1535"/>
                    <a:pt x="2363" y="1547"/>
                    <a:pt x="2502" y="1547"/>
                  </a:cubicBezTo>
                  <a:cubicBezTo>
                    <a:pt x="2845" y="1547"/>
                    <a:pt x="3112" y="1478"/>
                    <a:pt x="3037" y="1003"/>
                  </a:cubicBezTo>
                  <a:cubicBezTo>
                    <a:pt x="2882" y="1"/>
                    <a:pt x="1741" y="191"/>
                    <a:pt x="963" y="87"/>
                  </a:cubicBezTo>
                  <a:cubicBezTo>
                    <a:pt x="923" y="82"/>
                    <a:pt x="882" y="80"/>
                    <a:pt x="843" y="8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10952;p80">
              <a:extLst>
                <a:ext uri="{FF2B5EF4-FFF2-40B4-BE49-F238E27FC236}">
                  <a16:creationId xmlns:a16="http://schemas.microsoft.com/office/drawing/2014/main" id="{33419BCB-AF5C-8AC0-DBE3-823D3D904C00}"/>
                </a:ext>
              </a:extLst>
            </p:cNvPr>
            <p:cNvSpPr/>
            <p:nvPr/>
          </p:nvSpPr>
          <p:spPr>
            <a:xfrm>
              <a:off x="4384825" y="996700"/>
              <a:ext cx="62025" cy="39775"/>
            </a:xfrm>
            <a:custGeom>
              <a:avLst/>
              <a:gdLst/>
              <a:ahLst/>
              <a:cxnLst/>
              <a:rect l="l" t="t" r="r" b="b"/>
              <a:pathLst>
                <a:path w="2481" h="1591" extrusionOk="0">
                  <a:moveTo>
                    <a:pt x="1811" y="155"/>
                  </a:moveTo>
                  <a:cubicBezTo>
                    <a:pt x="1713" y="155"/>
                    <a:pt x="1613" y="168"/>
                    <a:pt x="1521" y="191"/>
                  </a:cubicBezTo>
                  <a:cubicBezTo>
                    <a:pt x="985" y="312"/>
                    <a:pt x="121" y="1"/>
                    <a:pt x="52" y="917"/>
                  </a:cubicBezTo>
                  <a:cubicBezTo>
                    <a:pt x="0" y="1487"/>
                    <a:pt x="536" y="1574"/>
                    <a:pt x="1054" y="1591"/>
                  </a:cubicBezTo>
                  <a:cubicBezTo>
                    <a:pt x="1573" y="1418"/>
                    <a:pt x="2385" y="1556"/>
                    <a:pt x="2454" y="727"/>
                  </a:cubicBezTo>
                  <a:cubicBezTo>
                    <a:pt x="2481" y="311"/>
                    <a:pt x="2153" y="155"/>
                    <a:pt x="1811" y="155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0953;p80">
              <a:extLst>
                <a:ext uri="{FF2B5EF4-FFF2-40B4-BE49-F238E27FC236}">
                  <a16:creationId xmlns:a16="http://schemas.microsoft.com/office/drawing/2014/main" id="{076A13DE-EC8C-77FC-FE24-17F8A81F0340}"/>
                </a:ext>
              </a:extLst>
            </p:cNvPr>
            <p:cNvSpPr/>
            <p:nvPr/>
          </p:nvSpPr>
          <p:spPr>
            <a:xfrm>
              <a:off x="2100625" y="1004500"/>
              <a:ext cx="520200" cy="95050"/>
            </a:xfrm>
            <a:custGeom>
              <a:avLst/>
              <a:gdLst/>
              <a:ahLst/>
              <a:cxnLst/>
              <a:rect l="l" t="t" r="r" b="b"/>
              <a:pathLst>
                <a:path w="20808" h="3802" extrusionOk="0">
                  <a:moveTo>
                    <a:pt x="20756" y="0"/>
                  </a:moveTo>
                  <a:lnTo>
                    <a:pt x="20738" y="17"/>
                  </a:lnTo>
                  <a:lnTo>
                    <a:pt x="20773" y="17"/>
                  </a:lnTo>
                  <a:lnTo>
                    <a:pt x="20808" y="0"/>
                  </a:lnTo>
                  <a:close/>
                  <a:moveTo>
                    <a:pt x="1" y="3785"/>
                  </a:moveTo>
                  <a:lnTo>
                    <a:pt x="1" y="3802"/>
                  </a:lnTo>
                  <a:lnTo>
                    <a:pt x="18" y="3802"/>
                  </a:lnTo>
                  <a:lnTo>
                    <a:pt x="18" y="3785"/>
                  </a:ln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10954;p80">
              <a:extLst>
                <a:ext uri="{FF2B5EF4-FFF2-40B4-BE49-F238E27FC236}">
                  <a16:creationId xmlns:a16="http://schemas.microsoft.com/office/drawing/2014/main" id="{B0C0C50B-CB99-D4D3-D4CE-8D7893F0963E}"/>
                </a:ext>
              </a:extLst>
            </p:cNvPr>
            <p:cNvSpPr/>
            <p:nvPr/>
          </p:nvSpPr>
          <p:spPr>
            <a:xfrm>
              <a:off x="233350" y="949250"/>
              <a:ext cx="3232550" cy="3802300"/>
            </a:xfrm>
            <a:custGeom>
              <a:avLst/>
              <a:gdLst/>
              <a:ahLst/>
              <a:cxnLst/>
              <a:rect l="l" t="t" r="r" b="b"/>
              <a:pathLst>
                <a:path w="129302" h="152092" extrusionOk="0">
                  <a:moveTo>
                    <a:pt x="97270" y="1644"/>
                  </a:moveTo>
                  <a:cubicBezTo>
                    <a:pt x="97347" y="1644"/>
                    <a:pt x="97424" y="1648"/>
                    <a:pt x="97503" y="1657"/>
                  </a:cubicBezTo>
                  <a:cubicBezTo>
                    <a:pt x="97555" y="1674"/>
                    <a:pt x="97607" y="1692"/>
                    <a:pt x="97642" y="1709"/>
                  </a:cubicBezTo>
                  <a:lnTo>
                    <a:pt x="95601" y="2170"/>
                  </a:lnTo>
                  <a:lnTo>
                    <a:pt x="95601" y="2170"/>
                  </a:lnTo>
                  <a:cubicBezTo>
                    <a:pt x="96129" y="1917"/>
                    <a:pt x="96661" y="1644"/>
                    <a:pt x="97270" y="1644"/>
                  </a:cubicBezTo>
                  <a:close/>
                  <a:moveTo>
                    <a:pt x="95473" y="2210"/>
                  </a:moveTo>
                  <a:lnTo>
                    <a:pt x="95447" y="2227"/>
                  </a:lnTo>
                  <a:lnTo>
                    <a:pt x="95429" y="2227"/>
                  </a:lnTo>
                  <a:lnTo>
                    <a:pt x="95464" y="2210"/>
                  </a:lnTo>
                  <a:close/>
                  <a:moveTo>
                    <a:pt x="68358" y="8951"/>
                  </a:moveTo>
                  <a:cubicBezTo>
                    <a:pt x="68553" y="8951"/>
                    <a:pt x="68761" y="9049"/>
                    <a:pt x="68989" y="9313"/>
                  </a:cubicBezTo>
                  <a:cubicBezTo>
                    <a:pt x="69208" y="9280"/>
                    <a:pt x="69420" y="9268"/>
                    <a:pt x="69634" y="9268"/>
                  </a:cubicBezTo>
                  <a:cubicBezTo>
                    <a:pt x="69758" y="9268"/>
                    <a:pt x="69882" y="9272"/>
                    <a:pt x="70008" y="9278"/>
                  </a:cubicBezTo>
                  <a:cubicBezTo>
                    <a:pt x="70061" y="9286"/>
                    <a:pt x="70117" y="9289"/>
                    <a:pt x="70177" y="9289"/>
                  </a:cubicBezTo>
                  <a:cubicBezTo>
                    <a:pt x="70522" y="9289"/>
                    <a:pt x="70965" y="9176"/>
                    <a:pt x="71318" y="9176"/>
                  </a:cubicBezTo>
                  <a:cubicBezTo>
                    <a:pt x="71841" y="9176"/>
                    <a:pt x="72167" y="9425"/>
                    <a:pt x="71685" y="10661"/>
                  </a:cubicBezTo>
                  <a:cubicBezTo>
                    <a:pt x="71581" y="10937"/>
                    <a:pt x="71823" y="11265"/>
                    <a:pt x="72151" y="11386"/>
                  </a:cubicBezTo>
                  <a:cubicBezTo>
                    <a:pt x="72428" y="11438"/>
                    <a:pt x="72722" y="11490"/>
                    <a:pt x="72998" y="11507"/>
                  </a:cubicBezTo>
                  <a:cubicBezTo>
                    <a:pt x="72652" y="11922"/>
                    <a:pt x="72359" y="12406"/>
                    <a:pt x="71927" y="12717"/>
                  </a:cubicBezTo>
                  <a:cubicBezTo>
                    <a:pt x="71831" y="12786"/>
                    <a:pt x="71741" y="12813"/>
                    <a:pt x="71654" y="12813"/>
                  </a:cubicBezTo>
                  <a:cubicBezTo>
                    <a:pt x="71349" y="12813"/>
                    <a:pt x="71090" y="12473"/>
                    <a:pt x="70821" y="12406"/>
                  </a:cubicBezTo>
                  <a:cubicBezTo>
                    <a:pt x="69127" y="11939"/>
                    <a:pt x="69334" y="10488"/>
                    <a:pt x="68989" y="9313"/>
                  </a:cubicBezTo>
                  <a:lnTo>
                    <a:pt x="67330" y="9520"/>
                  </a:lnTo>
                  <a:cubicBezTo>
                    <a:pt x="67668" y="9295"/>
                    <a:pt x="67992" y="8951"/>
                    <a:pt x="68358" y="8951"/>
                  </a:cubicBezTo>
                  <a:close/>
                  <a:moveTo>
                    <a:pt x="51546" y="12467"/>
                  </a:moveTo>
                  <a:cubicBezTo>
                    <a:pt x="51593" y="12467"/>
                    <a:pt x="51647" y="12470"/>
                    <a:pt x="51707" y="12475"/>
                  </a:cubicBezTo>
                  <a:cubicBezTo>
                    <a:pt x="51897" y="12648"/>
                    <a:pt x="52157" y="12890"/>
                    <a:pt x="52433" y="13115"/>
                  </a:cubicBezTo>
                  <a:cubicBezTo>
                    <a:pt x="52260" y="13270"/>
                    <a:pt x="52053" y="13374"/>
                    <a:pt x="51845" y="13460"/>
                  </a:cubicBezTo>
                  <a:cubicBezTo>
                    <a:pt x="51802" y="13467"/>
                    <a:pt x="51764" y="13470"/>
                    <a:pt x="51729" y="13470"/>
                  </a:cubicBezTo>
                  <a:cubicBezTo>
                    <a:pt x="51300" y="13470"/>
                    <a:pt x="51439" y="13007"/>
                    <a:pt x="51327" y="12752"/>
                  </a:cubicBezTo>
                  <a:cubicBezTo>
                    <a:pt x="51225" y="12548"/>
                    <a:pt x="51295" y="12467"/>
                    <a:pt x="51546" y="12467"/>
                  </a:cubicBezTo>
                  <a:close/>
                  <a:moveTo>
                    <a:pt x="55481" y="12549"/>
                  </a:moveTo>
                  <a:cubicBezTo>
                    <a:pt x="55526" y="12549"/>
                    <a:pt x="55570" y="12553"/>
                    <a:pt x="55613" y="12562"/>
                  </a:cubicBezTo>
                  <a:lnTo>
                    <a:pt x="54576" y="13789"/>
                  </a:lnTo>
                  <a:lnTo>
                    <a:pt x="53954" y="13184"/>
                  </a:lnTo>
                  <a:cubicBezTo>
                    <a:pt x="54420" y="12976"/>
                    <a:pt x="54870" y="12752"/>
                    <a:pt x="55336" y="12562"/>
                  </a:cubicBezTo>
                  <a:cubicBezTo>
                    <a:pt x="55388" y="12553"/>
                    <a:pt x="55436" y="12549"/>
                    <a:pt x="55481" y="12549"/>
                  </a:cubicBezTo>
                  <a:close/>
                  <a:moveTo>
                    <a:pt x="116966" y="0"/>
                  </a:moveTo>
                  <a:cubicBezTo>
                    <a:pt x="112339" y="0"/>
                    <a:pt x="107712" y="747"/>
                    <a:pt x="103085" y="1035"/>
                  </a:cubicBezTo>
                  <a:cubicBezTo>
                    <a:pt x="101910" y="1104"/>
                    <a:pt x="100735" y="983"/>
                    <a:pt x="99542" y="1260"/>
                  </a:cubicBezTo>
                  <a:cubicBezTo>
                    <a:pt x="99533" y="1262"/>
                    <a:pt x="99523" y="1263"/>
                    <a:pt x="99512" y="1263"/>
                  </a:cubicBezTo>
                  <a:cubicBezTo>
                    <a:pt x="99194" y="1263"/>
                    <a:pt x="98389" y="307"/>
                    <a:pt x="97503" y="240"/>
                  </a:cubicBezTo>
                  <a:cubicBezTo>
                    <a:pt x="96554" y="172"/>
                    <a:pt x="95607" y="143"/>
                    <a:pt x="94661" y="143"/>
                  </a:cubicBezTo>
                  <a:cubicBezTo>
                    <a:pt x="91541" y="143"/>
                    <a:pt x="88432" y="459"/>
                    <a:pt x="85303" y="724"/>
                  </a:cubicBezTo>
                  <a:cubicBezTo>
                    <a:pt x="83379" y="875"/>
                    <a:pt x="81549" y="1637"/>
                    <a:pt x="79578" y="1637"/>
                  </a:cubicBezTo>
                  <a:cubicBezTo>
                    <a:pt x="79300" y="1637"/>
                    <a:pt x="79020" y="1622"/>
                    <a:pt x="78736" y="1588"/>
                  </a:cubicBezTo>
                  <a:cubicBezTo>
                    <a:pt x="78573" y="1568"/>
                    <a:pt x="78403" y="1557"/>
                    <a:pt x="78229" y="1557"/>
                  </a:cubicBezTo>
                  <a:cubicBezTo>
                    <a:pt x="77349" y="1557"/>
                    <a:pt x="76386" y="1840"/>
                    <a:pt x="75953" y="2677"/>
                  </a:cubicBezTo>
                  <a:cubicBezTo>
                    <a:pt x="75538" y="3489"/>
                    <a:pt x="76333" y="4163"/>
                    <a:pt x="76956" y="4750"/>
                  </a:cubicBezTo>
                  <a:cubicBezTo>
                    <a:pt x="77215" y="4992"/>
                    <a:pt x="77232" y="5511"/>
                    <a:pt x="77370" y="5891"/>
                  </a:cubicBezTo>
                  <a:cubicBezTo>
                    <a:pt x="77348" y="5890"/>
                    <a:pt x="77325" y="5889"/>
                    <a:pt x="77301" y="5889"/>
                  </a:cubicBezTo>
                  <a:cubicBezTo>
                    <a:pt x="77154" y="5889"/>
                    <a:pt x="76988" y="5912"/>
                    <a:pt x="76844" y="5912"/>
                  </a:cubicBezTo>
                  <a:cubicBezTo>
                    <a:pt x="76726" y="5912"/>
                    <a:pt x="76623" y="5896"/>
                    <a:pt x="76558" y="5839"/>
                  </a:cubicBezTo>
                  <a:cubicBezTo>
                    <a:pt x="76285" y="5586"/>
                    <a:pt x="76034" y="5489"/>
                    <a:pt x="75796" y="5489"/>
                  </a:cubicBezTo>
                  <a:cubicBezTo>
                    <a:pt x="75417" y="5489"/>
                    <a:pt x="75070" y="5733"/>
                    <a:pt x="74709" y="5977"/>
                  </a:cubicBezTo>
                  <a:lnTo>
                    <a:pt x="74709" y="5995"/>
                  </a:lnTo>
                  <a:lnTo>
                    <a:pt x="74692" y="5995"/>
                  </a:lnTo>
                  <a:cubicBezTo>
                    <a:pt x="74415" y="6358"/>
                    <a:pt x="73707" y="6479"/>
                    <a:pt x="73897" y="7066"/>
                  </a:cubicBezTo>
                  <a:cubicBezTo>
                    <a:pt x="74104" y="7654"/>
                    <a:pt x="74761" y="7671"/>
                    <a:pt x="75331" y="7723"/>
                  </a:cubicBezTo>
                  <a:lnTo>
                    <a:pt x="75625" y="7723"/>
                  </a:lnTo>
                  <a:lnTo>
                    <a:pt x="77146" y="7982"/>
                  </a:lnTo>
                  <a:cubicBezTo>
                    <a:pt x="76904" y="8068"/>
                    <a:pt x="76662" y="8120"/>
                    <a:pt x="76403" y="8120"/>
                  </a:cubicBezTo>
                  <a:cubicBezTo>
                    <a:pt x="76178" y="8103"/>
                    <a:pt x="75970" y="7930"/>
                    <a:pt x="75729" y="7861"/>
                  </a:cubicBezTo>
                  <a:cubicBezTo>
                    <a:pt x="75594" y="7823"/>
                    <a:pt x="75464" y="7807"/>
                    <a:pt x="75337" y="7807"/>
                  </a:cubicBezTo>
                  <a:cubicBezTo>
                    <a:pt x="74777" y="7807"/>
                    <a:pt x="74273" y="8116"/>
                    <a:pt x="73724" y="8172"/>
                  </a:cubicBezTo>
                  <a:cubicBezTo>
                    <a:pt x="73717" y="8173"/>
                    <a:pt x="73710" y="8174"/>
                    <a:pt x="73702" y="8174"/>
                  </a:cubicBezTo>
                  <a:cubicBezTo>
                    <a:pt x="73450" y="8174"/>
                    <a:pt x="72913" y="7613"/>
                    <a:pt x="72946" y="7394"/>
                  </a:cubicBezTo>
                  <a:cubicBezTo>
                    <a:pt x="73102" y="6479"/>
                    <a:pt x="73810" y="6098"/>
                    <a:pt x="74674" y="5995"/>
                  </a:cubicBezTo>
                  <a:lnTo>
                    <a:pt x="74674" y="5977"/>
                  </a:lnTo>
                  <a:cubicBezTo>
                    <a:pt x="74726" y="5545"/>
                    <a:pt x="74830" y="5113"/>
                    <a:pt x="74951" y="4681"/>
                  </a:cubicBezTo>
                  <a:cubicBezTo>
                    <a:pt x="75072" y="4370"/>
                    <a:pt x="75435" y="4076"/>
                    <a:pt x="75124" y="3748"/>
                  </a:cubicBezTo>
                  <a:cubicBezTo>
                    <a:pt x="74832" y="3467"/>
                    <a:pt x="74483" y="3396"/>
                    <a:pt x="74119" y="3396"/>
                  </a:cubicBezTo>
                  <a:cubicBezTo>
                    <a:pt x="73856" y="3396"/>
                    <a:pt x="73587" y="3433"/>
                    <a:pt x="73326" y="3454"/>
                  </a:cubicBezTo>
                  <a:cubicBezTo>
                    <a:pt x="72946" y="3506"/>
                    <a:pt x="72756" y="3748"/>
                    <a:pt x="72704" y="4180"/>
                  </a:cubicBezTo>
                  <a:cubicBezTo>
                    <a:pt x="72601" y="5252"/>
                    <a:pt x="72134" y="6098"/>
                    <a:pt x="70959" y="6340"/>
                  </a:cubicBezTo>
                  <a:cubicBezTo>
                    <a:pt x="70855" y="6427"/>
                    <a:pt x="70769" y="6513"/>
                    <a:pt x="70665" y="6617"/>
                  </a:cubicBezTo>
                  <a:cubicBezTo>
                    <a:pt x="70786" y="6859"/>
                    <a:pt x="70924" y="7083"/>
                    <a:pt x="71097" y="7291"/>
                  </a:cubicBezTo>
                  <a:cubicBezTo>
                    <a:pt x="71304" y="7412"/>
                    <a:pt x="71546" y="7515"/>
                    <a:pt x="71788" y="7567"/>
                  </a:cubicBezTo>
                  <a:cubicBezTo>
                    <a:pt x="71650" y="7550"/>
                    <a:pt x="71512" y="7541"/>
                    <a:pt x="71374" y="7541"/>
                  </a:cubicBezTo>
                  <a:cubicBezTo>
                    <a:pt x="71235" y="7541"/>
                    <a:pt x="71097" y="7550"/>
                    <a:pt x="70959" y="7567"/>
                  </a:cubicBezTo>
                  <a:cubicBezTo>
                    <a:pt x="70569" y="7671"/>
                    <a:pt x="70173" y="7708"/>
                    <a:pt x="69775" y="7708"/>
                  </a:cubicBezTo>
                  <a:cubicBezTo>
                    <a:pt x="68812" y="7708"/>
                    <a:pt x="67832" y="7494"/>
                    <a:pt x="66868" y="7494"/>
                  </a:cubicBezTo>
                  <a:cubicBezTo>
                    <a:pt x="66108" y="7494"/>
                    <a:pt x="65357" y="7627"/>
                    <a:pt x="64634" y="8103"/>
                  </a:cubicBezTo>
                  <a:cubicBezTo>
                    <a:pt x="64271" y="8345"/>
                    <a:pt x="63580" y="8379"/>
                    <a:pt x="63666" y="8863"/>
                  </a:cubicBezTo>
                  <a:cubicBezTo>
                    <a:pt x="63752" y="9382"/>
                    <a:pt x="64167" y="9900"/>
                    <a:pt x="64547" y="10315"/>
                  </a:cubicBezTo>
                  <a:cubicBezTo>
                    <a:pt x="64666" y="10447"/>
                    <a:pt x="64798" y="10498"/>
                    <a:pt x="64939" y="10498"/>
                  </a:cubicBezTo>
                  <a:cubicBezTo>
                    <a:pt x="65148" y="10498"/>
                    <a:pt x="65375" y="10387"/>
                    <a:pt x="65602" y="10263"/>
                  </a:cubicBezTo>
                  <a:cubicBezTo>
                    <a:pt x="66124" y="9977"/>
                    <a:pt x="66711" y="9789"/>
                    <a:pt x="67269" y="9556"/>
                  </a:cubicBezTo>
                  <a:lnTo>
                    <a:pt x="67269" y="9556"/>
                  </a:lnTo>
                  <a:cubicBezTo>
                    <a:pt x="66173" y="11022"/>
                    <a:pt x="64072" y="10911"/>
                    <a:pt x="62975" y="11974"/>
                  </a:cubicBezTo>
                  <a:cubicBezTo>
                    <a:pt x="62086" y="12850"/>
                    <a:pt x="61268" y="13162"/>
                    <a:pt x="60357" y="13162"/>
                  </a:cubicBezTo>
                  <a:cubicBezTo>
                    <a:pt x="59993" y="13162"/>
                    <a:pt x="59613" y="13112"/>
                    <a:pt x="59207" y="13028"/>
                  </a:cubicBezTo>
                  <a:cubicBezTo>
                    <a:pt x="58430" y="12873"/>
                    <a:pt x="57687" y="12510"/>
                    <a:pt x="56926" y="12233"/>
                  </a:cubicBezTo>
                  <a:cubicBezTo>
                    <a:pt x="57173" y="12050"/>
                    <a:pt x="57402" y="11981"/>
                    <a:pt x="57619" y="11981"/>
                  </a:cubicBezTo>
                  <a:cubicBezTo>
                    <a:pt x="58162" y="11981"/>
                    <a:pt x="58632" y="12416"/>
                    <a:pt x="59138" y="12613"/>
                  </a:cubicBezTo>
                  <a:cubicBezTo>
                    <a:pt x="59332" y="12687"/>
                    <a:pt x="59512" y="12718"/>
                    <a:pt x="59680" y="12718"/>
                  </a:cubicBezTo>
                  <a:cubicBezTo>
                    <a:pt x="60502" y="12718"/>
                    <a:pt x="61062" y="11967"/>
                    <a:pt x="61765" y="11680"/>
                  </a:cubicBezTo>
                  <a:cubicBezTo>
                    <a:pt x="62404" y="11421"/>
                    <a:pt x="61903" y="10851"/>
                    <a:pt x="61661" y="10384"/>
                  </a:cubicBezTo>
                  <a:cubicBezTo>
                    <a:pt x="61454" y="9987"/>
                    <a:pt x="61921" y="9745"/>
                    <a:pt x="62249" y="9537"/>
                  </a:cubicBezTo>
                  <a:cubicBezTo>
                    <a:pt x="62664" y="9295"/>
                    <a:pt x="63441" y="9226"/>
                    <a:pt x="63182" y="8518"/>
                  </a:cubicBezTo>
                  <a:cubicBezTo>
                    <a:pt x="63018" y="8098"/>
                    <a:pt x="62703" y="8030"/>
                    <a:pt x="62354" y="8030"/>
                  </a:cubicBezTo>
                  <a:cubicBezTo>
                    <a:pt x="62187" y="8030"/>
                    <a:pt x="62013" y="8045"/>
                    <a:pt x="61845" y="8045"/>
                  </a:cubicBezTo>
                  <a:cubicBezTo>
                    <a:pt x="61771" y="8045"/>
                    <a:pt x="61698" y="8042"/>
                    <a:pt x="61627" y="8034"/>
                  </a:cubicBezTo>
                  <a:cubicBezTo>
                    <a:pt x="61564" y="8027"/>
                    <a:pt x="61502" y="8024"/>
                    <a:pt x="61440" y="8024"/>
                  </a:cubicBezTo>
                  <a:cubicBezTo>
                    <a:pt x="60620" y="8024"/>
                    <a:pt x="59973" y="8583"/>
                    <a:pt x="59080" y="8583"/>
                  </a:cubicBezTo>
                  <a:cubicBezTo>
                    <a:pt x="59004" y="8583"/>
                    <a:pt x="58925" y="8579"/>
                    <a:pt x="58844" y="8570"/>
                  </a:cubicBezTo>
                  <a:cubicBezTo>
                    <a:pt x="57410" y="8414"/>
                    <a:pt x="56391" y="7671"/>
                    <a:pt x="55181" y="7187"/>
                  </a:cubicBezTo>
                  <a:cubicBezTo>
                    <a:pt x="54440" y="6892"/>
                    <a:pt x="53723" y="6767"/>
                    <a:pt x="53025" y="6767"/>
                  </a:cubicBezTo>
                  <a:cubicBezTo>
                    <a:pt x="51022" y="6767"/>
                    <a:pt x="49177" y="7799"/>
                    <a:pt x="47370" y="8812"/>
                  </a:cubicBezTo>
                  <a:cubicBezTo>
                    <a:pt x="46903" y="9071"/>
                    <a:pt x="46765" y="9434"/>
                    <a:pt x="46972" y="9969"/>
                  </a:cubicBezTo>
                  <a:cubicBezTo>
                    <a:pt x="47155" y="10426"/>
                    <a:pt x="47351" y="10748"/>
                    <a:pt x="47819" y="10748"/>
                  </a:cubicBezTo>
                  <a:cubicBezTo>
                    <a:pt x="47883" y="10748"/>
                    <a:pt x="47952" y="10742"/>
                    <a:pt x="48026" y="10730"/>
                  </a:cubicBezTo>
                  <a:lnTo>
                    <a:pt x="50498" y="10280"/>
                  </a:lnTo>
                  <a:cubicBezTo>
                    <a:pt x="50618" y="10263"/>
                    <a:pt x="50739" y="10229"/>
                    <a:pt x="50878" y="10194"/>
                  </a:cubicBezTo>
                  <a:lnTo>
                    <a:pt x="50878" y="10194"/>
                  </a:lnTo>
                  <a:cubicBezTo>
                    <a:pt x="50878" y="10298"/>
                    <a:pt x="50860" y="10401"/>
                    <a:pt x="50860" y="10505"/>
                  </a:cubicBezTo>
                  <a:cubicBezTo>
                    <a:pt x="50614" y="11663"/>
                    <a:pt x="50148" y="12321"/>
                    <a:pt x="49280" y="12321"/>
                  </a:cubicBezTo>
                  <a:cubicBezTo>
                    <a:pt x="48931" y="12321"/>
                    <a:pt x="48517" y="12214"/>
                    <a:pt x="48026" y="11991"/>
                  </a:cubicBezTo>
                  <a:cubicBezTo>
                    <a:pt x="46374" y="11254"/>
                    <a:pt x="44693" y="10979"/>
                    <a:pt x="42955" y="10979"/>
                  </a:cubicBezTo>
                  <a:cubicBezTo>
                    <a:pt x="42002" y="10979"/>
                    <a:pt x="41033" y="11062"/>
                    <a:pt x="40042" y="11196"/>
                  </a:cubicBezTo>
                  <a:cubicBezTo>
                    <a:pt x="38536" y="11404"/>
                    <a:pt x="37062" y="12285"/>
                    <a:pt x="35569" y="12285"/>
                  </a:cubicBezTo>
                  <a:cubicBezTo>
                    <a:pt x="35195" y="12285"/>
                    <a:pt x="34820" y="12230"/>
                    <a:pt x="34443" y="12095"/>
                  </a:cubicBezTo>
                  <a:cubicBezTo>
                    <a:pt x="32698" y="11490"/>
                    <a:pt x="30900" y="11110"/>
                    <a:pt x="29068" y="10920"/>
                  </a:cubicBezTo>
                  <a:cubicBezTo>
                    <a:pt x="27080" y="10698"/>
                    <a:pt x="25171" y="10202"/>
                    <a:pt x="23146" y="10202"/>
                  </a:cubicBezTo>
                  <a:cubicBezTo>
                    <a:pt x="22337" y="10202"/>
                    <a:pt x="21510" y="10281"/>
                    <a:pt x="20652" y="10488"/>
                  </a:cubicBezTo>
                  <a:cubicBezTo>
                    <a:pt x="18383" y="11055"/>
                    <a:pt x="16215" y="12269"/>
                    <a:pt x="13793" y="12269"/>
                  </a:cubicBezTo>
                  <a:cubicBezTo>
                    <a:pt x="13559" y="12269"/>
                    <a:pt x="13322" y="12258"/>
                    <a:pt x="13083" y="12233"/>
                  </a:cubicBezTo>
                  <a:cubicBezTo>
                    <a:pt x="13049" y="12230"/>
                    <a:pt x="13015" y="12229"/>
                    <a:pt x="12982" y="12229"/>
                  </a:cubicBezTo>
                  <a:cubicBezTo>
                    <a:pt x="12473" y="12229"/>
                    <a:pt x="12176" y="12605"/>
                    <a:pt x="12323" y="13287"/>
                  </a:cubicBezTo>
                  <a:cubicBezTo>
                    <a:pt x="12498" y="14071"/>
                    <a:pt x="12325" y="14707"/>
                    <a:pt x="11687" y="14707"/>
                  </a:cubicBezTo>
                  <a:cubicBezTo>
                    <a:pt x="11510" y="14707"/>
                    <a:pt x="11296" y="14658"/>
                    <a:pt x="11044" y="14549"/>
                  </a:cubicBezTo>
                  <a:cubicBezTo>
                    <a:pt x="10655" y="14378"/>
                    <a:pt x="10292" y="14308"/>
                    <a:pt x="9947" y="14308"/>
                  </a:cubicBezTo>
                  <a:cubicBezTo>
                    <a:pt x="9034" y="14308"/>
                    <a:pt x="8242" y="14801"/>
                    <a:pt x="7415" y="15240"/>
                  </a:cubicBezTo>
                  <a:cubicBezTo>
                    <a:pt x="6965" y="15482"/>
                    <a:pt x="6672" y="15914"/>
                    <a:pt x="6879" y="16467"/>
                  </a:cubicBezTo>
                  <a:cubicBezTo>
                    <a:pt x="7027" y="16886"/>
                    <a:pt x="7334" y="16988"/>
                    <a:pt x="7700" y="16988"/>
                  </a:cubicBezTo>
                  <a:cubicBezTo>
                    <a:pt x="7802" y="16988"/>
                    <a:pt x="7910" y="16980"/>
                    <a:pt x="8020" y="16968"/>
                  </a:cubicBezTo>
                  <a:cubicBezTo>
                    <a:pt x="8305" y="16929"/>
                    <a:pt x="8590" y="16910"/>
                    <a:pt x="8875" y="16910"/>
                  </a:cubicBezTo>
                  <a:cubicBezTo>
                    <a:pt x="8970" y="16910"/>
                    <a:pt x="9065" y="16912"/>
                    <a:pt x="9160" y="16917"/>
                  </a:cubicBezTo>
                  <a:cubicBezTo>
                    <a:pt x="9186" y="16919"/>
                    <a:pt x="9214" y="16920"/>
                    <a:pt x="9242" y="16920"/>
                  </a:cubicBezTo>
                  <a:cubicBezTo>
                    <a:pt x="9458" y="16920"/>
                    <a:pt x="9735" y="16862"/>
                    <a:pt x="9947" y="16862"/>
                  </a:cubicBezTo>
                  <a:cubicBezTo>
                    <a:pt x="10131" y="16862"/>
                    <a:pt x="10266" y="16906"/>
                    <a:pt x="10266" y="17072"/>
                  </a:cubicBezTo>
                  <a:cubicBezTo>
                    <a:pt x="10266" y="17498"/>
                    <a:pt x="9728" y="17637"/>
                    <a:pt x="9291" y="17637"/>
                  </a:cubicBezTo>
                  <a:cubicBezTo>
                    <a:pt x="9214" y="17637"/>
                    <a:pt x="9141" y="17633"/>
                    <a:pt x="9074" y="17625"/>
                  </a:cubicBezTo>
                  <a:cubicBezTo>
                    <a:pt x="8873" y="17604"/>
                    <a:pt x="8677" y="17594"/>
                    <a:pt x="8484" y="17594"/>
                  </a:cubicBezTo>
                  <a:cubicBezTo>
                    <a:pt x="6314" y="17594"/>
                    <a:pt x="4587" y="18859"/>
                    <a:pt x="2714" y="19716"/>
                  </a:cubicBezTo>
                  <a:cubicBezTo>
                    <a:pt x="1193" y="20407"/>
                    <a:pt x="2351" y="21548"/>
                    <a:pt x="2282" y="22429"/>
                  </a:cubicBezTo>
                  <a:cubicBezTo>
                    <a:pt x="2264" y="22814"/>
                    <a:pt x="2455" y="22907"/>
                    <a:pt x="2706" y="22907"/>
                  </a:cubicBezTo>
                  <a:cubicBezTo>
                    <a:pt x="2939" y="22907"/>
                    <a:pt x="3223" y="22827"/>
                    <a:pt x="3440" y="22827"/>
                  </a:cubicBezTo>
                  <a:cubicBezTo>
                    <a:pt x="3665" y="22827"/>
                    <a:pt x="3872" y="22982"/>
                    <a:pt x="4079" y="23069"/>
                  </a:cubicBezTo>
                  <a:cubicBezTo>
                    <a:pt x="3924" y="23242"/>
                    <a:pt x="3751" y="23380"/>
                    <a:pt x="3544" y="23501"/>
                  </a:cubicBezTo>
                  <a:cubicBezTo>
                    <a:pt x="2610" y="23881"/>
                    <a:pt x="1643" y="24192"/>
                    <a:pt x="709" y="24589"/>
                  </a:cubicBezTo>
                  <a:cubicBezTo>
                    <a:pt x="329" y="24745"/>
                    <a:pt x="1" y="25142"/>
                    <a:pt x="226" y="25609"/>
                  </a:cubicBezTo>
                  <a:cubicBezTo>
                    <a:pt x="325" y="25816"/>
                    <a:pt x="462" y="25880"/>
                    <a:pt x="615" y="25880"/>
                  </a:cubicBezTo>
                  <a:cubicBezTo>
                    <a:pt x="807" y="25880"/>
                    <a:pt x="1026" y="25778"/>
                    <a:pt x="1228" y="25730"/>
                  </a:cubicBezTo>
                  <a:cubicBezTo>
                    <a:pt x="2248" y="25454"/>
                    <a:pt x="3354" y="25350"/>
                    <a:pt x="4252" y="24866"/>
                  </a:cubicBezTo>
                  <a:cubicBezTo>
                    <a:pt x="4601" y="24679"/>
                    <a:pt x="4965" y="24620"/>
                    <a:pt x="5336" y="24620"/>
                  </a:cubicBezTo>
                  <a:cubicBezTo>
                    <a:pt x="5952" y="24620"/>
                    <a:pt x="6585" y="24782"/>
                    <a:pt x="7191" y="24782"/>
                  </a:cubicBezTo>
                  <a:cubicBezTo>
                    <a:pt x="7702" y="24782"/>
                    <a:pt x="8195" y="24667"/>
                    <a:pt x="8642" y="24244"/>
                  </a:cubicBezTo>
                  <a:cubicBezTo>
                    <a:pt x="9143" y="23760"/>
                    <a:pt x="9627" y="23276"/>
                    <a:pt x="10128" y="22809"/>
                  </a:cubicBezTo>
                  <a:cubicBezTo>
                    <a:pt x="10518" y="22438"/>
                    <a:pt x="10935" y="22335"/>
                    <a:pt x="11366" y="22335"/>
                  </a:cubicBezTo>
                  <a:cubicBezTo>
                    <a:pt x="11904" y="22335"/>
                    <a:pt x="12465" y="22495"/>
                    <a:pt x="13026" y="22495"/>
                  </a:cubicBezTo>
                  <a:cubicBezTo>
                    <a:pt x="13270" y="22495"/>
                    <a:pt x="13515" y="22465"/>
                    <a:pt x="13757" y="22377"/>
                  </a:cubicBezTo>
                  <a:cubicBezTo>
                    <a:pt x="14876" y="21972"/>
                    <a:pt x="15968" y="21278"/>
                    <a:pt x="17215" y="21278"/>
                  </a:cubicBezTo>
                  <a:cubicBezTo>
                    <a:pt x="17721" y="21278"/>
                    <a:pt x="18252" y="21392"/>
                    <a:pt x="18820" y="21686"/>
                  </a:cubicBezTo>
                  <a:cubicBezTo>
                    <a:pt x="20272" y="22429"/>
                    <a:pt x="22242" y="22343"/>
                    <a:pt x="21966" y="24780"/>
                  </a:cubicBezTo>
                  <a:cubicBezTo>
                    <a:pt x="21914" y="25212"/>
                    <a:pt x="22104" y="25868"/>
                    <a:pt x="22415" y="26127"/>
                  </a:cubicBezTo>
                  <a:cubicBezTo>
                    <a:pt x="23746" y="27251"/>
                    <a:pt x="23659" y="29411"/>
                    <a:pt x="23210" y="29981"/>
                  </a:cubicBezTo>
                  <a:cubicBezTo>
                    <a:pt x="22052" y="31485"/>
                    <a:pt x="22484" y="32573"/>
                    <a:pt x="22985" y="33973"/>
                  </a:cubicBezTo>
                  <a:cubicBezTo>
                    <a:pt x="23124" y="34405"/>
                    <a:pt x="22795" y="35045"/>
                    <a:pt x="22553" y="35529"/>
                  </a:cubicBezTo>
                  <a:cubicBezTo>
                    <a:pt x="21447" y="37844"/>
                    <a:pt x="19356" y="39469"/>
                    <a:pt x="18233" y="41802"/>
                  </a:cubicBezTo>
                  <a:cubicBezTo>
                    <a:pt x="17455" y="43409"/>
                    <a:pt x="17058" y="48783"/>
                    <a:pt x="18354" y="49734"/>
                  </a:cubicBezTo>
                  <a:cubicBezTo>
                    <a:pt x="20220" y="51116"/>
                    <a:pt x="19927" y="52862"/>
                    <a:pt x="20238" y="54659"/>
                  </a:cubicBezTo>
                  <a:cubicBezTo>
                    <a:pt x="20428" y="55748"/>
                    <a:pt x="20410" y="57528"/>
                    <a:pt x="20687" y="57752"/>
                  </a:cubicBezTo>
                  <a:cubicBezTo>
                    <a:pt x="22380" y="59083"/>
                    <a:pt x="22242" y="61364"/>
                    <a:pt x="23625" y="62764"/>
                  </a:cubicBezTo>
                  <a:cubicBezTo>
                    <a:pt x="23915" y="63066"/>
                    <a:pt x="24197" y="63258"/>
                    <a:pt x="24508" y="63258"/>
                  </a:cubicBezTo>
                  <a:cubicBezTo>
                    <a:pt x="24660" y="63258"/>
                    <a:pt x="24820" y="63212"/>
                    <a:pt x="24990" y="63110"/>
                  </a:cubicBezTo>
                  <a:cubicBezTo>
                    <a:pt x="25508" y="62816"/>
                    <a:pt x="25526" y="62246"/>
                    <a:pt x="25197" y="61831"/>
                  </a:cubicBezTo>
                  <a:cubicBezTo>
                    <a:pt x="23607" y="59671"/>
                    <a:pt x="23746" y="56888"/>
                    <a:pt x="22536" y="54590"/>
                  </a:cubicBezTo>
                  <a:cubicBezTo>
                    <a:pt x="22415" y="54348"/>
                    <a:pt x="22605" y="53933"/>
                    <a:pt x="22692" y="53605"/>
                  </a:cubicBezTo>
                  <a:cubicBezTo>
                    <a:pt x="22704" y="53568"/>
                    <a:pt x="22878" y="53539"/>
                    <a:pt x="22981" y="53539"/>
                  </a:cubicBezTo>
                  <a:cubicBezTo>
                    <a:pt x="23021" y="53539"/>
                    <a:pt x="23050" y="53543"/>
                    <a:pt x="23054" y="53553"/>
                  </a:cubicBezTo>
                  <a:cubicBezTo>
                    <a:pt x="23175" y="53812"/>
                    <a:pt x="23366" y="54106"/>
                    <a:pt x="23366" y="54400"/>
                  </a:cubicBezTo>
                  <a:cubicBezTo>
                    <a:pt x="23383" y="56819"/>
                    <a:pt x="24973" y="58617"/>
                    <a:pt x="26027" y="60569"/>
                  </a:cubicBezTo>
                  <a:cubicBezTo>
                    <a:pt x="26977" y="62297"/>
                    <a:pt x="28654" y="63663"/>
                    <a:pt x="27720" y="65978"/>
                  </a:cubicBezTo>
                  <a:cubicBezTo>
                    <a:pt x="27530" y="66445"/>
                    <a:pt x="27928" y="66791"/>
                    <a:pt x="28273" y="67136"/>
                  </a:cubicBezTo>
                  <a:cubicBezTo>
                    <a:pt x="29138" y="68000"/>
                    <a:pt x="30226" y="68536"/>
                    <a:pt x="31246" y="69193"/>
                  </a:cubicBezTo>
                  <a:cubicBezTo>
                    <a:pt x="32910" y="70222"/>
                    <a:pt x="34447" y="71516"/>
                    <a:pt x="36422" y="71516"/>
                  </a:cubicBezTo>
                  <a:cubicBezTo>
                    <a:pt x="36867" y="71516"/>
                    <a:pt x="37334" y="71451"/>
                    <a:pt x="37830" y="71301"/>
                  </a:cubicBezTo>
                  <a:cubicBezTo>
                    <a:pt x="37930" y="71272"/>
                    <a:pt x="38022" y="71258"/>
                    <a:pt x="38107" y="71258"/>
                  </a:cubicBezTo>
                  <a:cubicBezTo>
                    <a:pt x="38527" y="71258"/>
                    <a:pt x="38793" y="71582"/>
                    <a:pt x="39023" y="71941"/>
                  </a:cubicBezTo>
                  <a:cubicBezTo>
                    <a:pt x="39748" y="73098"/>
                    <a:pt x="40768" y="73721"/>
                    <a:pt x="42116" y="74032"/>
                  </a:cubicBezTo>
                  <a:cubicBezTo>
                    <a:pt x="43585" y="74360"/>
                    <a:pt x="45296" y="74775"/>
                    <a:pt x="45745" y="76399"/>
                  </a:cubicBezTo>
                  <a:cubicBezTo>
                    <a:pt x="46194" y="78110"/>
                    <a:pt x="47439" y="79112"/>
                    <a:pt x="48648" y="79907"/>
                  </a:cubicBezTo>
                  <a:cubicBezTo>
                    <a:pt x="49237" y="80296"/>
                    <a:pt x="50039" y="81326"/>
                    <a:pt x="50895" y="81326"/>
                  </a:cubicBezTo>
                  <a:cubicBezTo>
                    <a:pt x="51372" y="81326"/>
                    <a:pt x="51865" y="81007"/>
                    <a:pt x="52347" y="80080"/>
                  </a:cubicBezTo>
                  <a:cubicBezTo>
                    <a:pt x="52462" y="79850"/>
                    <a:pt x="52631" y="79714"/>
                    <a:pt x="52813" y="79714"/>
                  </a:cubicBezTo>
                  <a:cubicBezTo>
                    <a:pt x="53013" y="79714"/>
                    <a:pt x="53228" y="79880"/>
                    <a:pt x="53401" y="80270"/>
                  </a:cubicBezTo>
                  <a:cubicBezTo>
                    <a:pt x="54593" y="83156"/>
                    <a:pt x="53919" y="85697"/>
                    <a:pt x="51621" y="87943"/>
                  </a:cubicBezTo>
                  <a:cubicBezTo>
                    <a:pt x="50498" y="89049"/>
                    <a:pt x="49806" y="90604"/>
                    <a:pt x="50774" y="92194"/>
                  </a:cubicBezTo>
                  <a:cubicBezTo>
                    <a:pt x="51085" y="92730"/>
                    <a:pt x="51068" y="92886"/>
                    <a:pt x="50688" y="93283"/>
                  </a:cubicBezTo>
                  <a:cubicBezTo>
                    <a:pt x="49685" y="94337"/>
                    <a:pt x="49703" y="95875"/>
                    <a:pt x="50567" y="96636"/>
                  </a:cubicBezTo>
                  <a:cubicBezTo>
                    <a:pt x="52208" y="98087"/>
                    <a:pt x="52986" y="99971"/>
                    <a:pt x="53971" y="101803"/>
                  </a:cubicBezTo>
                  <a:cubicBezTo>
                    <a:pt x="55440" y="104516"/>
                    <a:pt x="56771" y="107281"/>
                    <a:pt x="59933" y="108629"/>
                  </a:cubicBezTo>
                  <a:cubicBezTo>
                    <a:pt x="61661" y="109372"/>
                    <a:pt x="62629" y="111014"/>
                    <a:pt x="62664" y="113122"/>
                  </a:cubicBezTo>
                  <a:cubicBezTo>
                    <a:pt x="62716" y="116319"/>
                    <a:pt x="62871" y="119516"/>
                    <a:pt x="63096" y="122713"/>
                  </a:cubicBezTo>
                  <a:cubicBezTo>
                    <a:pt x="63251" y="125115"/>
                    <a:pt x="64426" y="127431"/>
                    <a:pt x="63631" y="129920"/>
                  </a:cubicBezTo>
                  <a:cubicBezTo>
                    <a:pt x="63303" y="130922"/>
                    <a:pt x="63459" y="131907"/>
                    <a:pt x="63839" y="132875"/>
                  </a:cubicBezTo>
                  <a:cubicBezTo>
                    <a:pt x="64323" y="134067"/>
                    <a:pt x="64461" y="135363"/>
                    <a:pt x="64288" y="136642"/>
                  </a:cubicBezTo>
                  <a:cubicBezTo>
                    <a:pt x="64184" y="137593"/>
                    <a:pt x="64582" y="138664"/>
                    <a:pt x="65653" y="139148"/>
                  </a:cubicBezTo>
                  <a:cubicBezTo>
                    <a:pt x="65680" y="139159"/>
                    <a:pt x="65711" y="139163"/>
                    <a:pt x="65743" y="139163"/>
                  </a:cubicBezTo>
                  <a:cubicBezTo>
                    <a:pt x="65886" y="139163"/>
                    <a:pt x="66069" y="139076"/>
                    <a:pt x="66205" y="139076"/>
                  </a:cubicBezTo>
                  <a:cubicBezTo>
                    <a:pt x="66332" y="139076"/>
                    <a:pt x="66419" y="139151"/>
                    <a:pt x="66397" y="139442"/>
                  </a:cubicBezTo>
                  <a:cubicBezTo>
                    <a:pt x="66362" y="139995"/>
                    <a:pt x="67071" y="140565"/>
                    <a:pt x="66293" y="141135"/>
                  </a:cubicBezTo>
                  <a:cubicBezTo>
                    <a:pt x="65895" y="141412"/>
                    <a:pt x="65360" y="142259"/>
                    <a:pt x="65774" y="142414"/>
                  </a:cubicBezTo>
                  <a:cubicBezTo>
                    <a:pt x="66898" y="142846"/>
                    <a:pt x="66500" y="143797"/>
                    <a:pt x="66777" y="144488"/>
                  </a:cubicBezTo>
                  <a:cubicBezTo>
                    <a:pt x="67468" y="146164"/>
                    <a:pt x="68505" y="147668"/>
                    <a:pt x="69801" y="148929"/>
                  </a:cubicBezTo>
                  <a:cubicBezTo>
                    <a:pt x="71823" y="150906"/>
                    <a:pt x="74091" y="152091"/>
                    <a:pt x="76808" y="152091"/>
                  </a:cubicBezTo>
                  <a:cubicBezTo>
                    <a:pt x="77226" y="152091"/>
                    <a:pt x="77656" y="152063"/>
                    <a:pt x="78096" y="152005"/>
                  </a:cubicBezTo>
                  <a:cubicBezTo>
                    <a:pt x="78355" y="151953"/>
                    <a:pt x="78580" y="151781"/>
                    <a:pt x="78718" y="151556"/>
                  </a:cubicBezTo>
                  <a:cubicBezTo>
                    <a:pt x="78874" y="151262"/>
                    <a:pt x="78615" y="151038"/>
                    <a:pt x="78355" y="150882"/>
                  </a:cubicBezTo>
                  <a:cubicBezTo>
                    <a:pt x="77595" y="150415"/>
                    <a:pt x="76835" y="149914"/>
                    <a:pt x="76040" y="149482"/>
                  </a:cubicBezTo>
                  <a:cubicBezTo>
                    <a:pt x="73914" y="148342"/>
                    <a:pt x="73551" y="146648"/>
                    <a:pt x="74899" y="144695"/>
                  </a:cubicBezTo>
                  <a:cubicBezTo>
                    <a:pt x="75608" y="143658"/>
                    <a:pt x="75694" y="142570"/>
                    <a:pt x="74173" y="142017"/>
                  </a:cubicBezTo>
                  <a:cubicBezTo>
                    <a:pt x="73707" y="141861"/>
                    <a:pt x="72929" y="141550"/>
                    <a:pt x="73551" y="140997"/>
                  </a:cubicBezTo>
                  <a:cubicBezTo>
                    <a:pt x="74260" y="140340"/>
                    <a:pt x="74260" y="139597"/>
                    <a:pt x="74415" y="138837"/>
                  </a:cubicBezTo>
                  <a:cubicBezTo>
                    <a:pt x="74605" y="137783"/>
                    <a:pt x="73534" y="136193"/>
                    <a:pt x="75677" y="135985"/>
                  </a:cubicBezTo>
                  <a:cubicBezTo>
                    <a:pt x="75746" y="135985"/>
                    <a:pt x="75850" y="135588"/>
                    <a:pt x="75798" y="135432"/>
                  </a:cubicBezTo>
                  <a:cubicBezTo>
                    <a:pt x="75444" y="134260"/>
                    <a:pt x="75867" y="133923"/>
                    <a:pt x="76900" y="133923"/>
                  </a:cubicBezTo>
                  <a:cubicBezTo>
                    <a:pt x="76978" y="133923"/>
                    <a:pt x="77060" y="133925"/>
                    <a:pt x="77146" y="133929"/>
                  </a:cubicBezTo>
                  <a:cubicBezTo>
                    <a:pt x="77188" y="133931"/>
                    <a:pt x="77231" y="133932"/>
                    <a:pt x="77272" y="133932"/>
                  </a:cubicBezTo>
                  <a:cubicBezTo>
                    <a:pt x="78202" y="133932"/>
                    <a:pt x="78980" y="133388"/>
                    <a:pt x="79427" y="132512"/>
                  </a:cubicBezTo>
                  <a:cubicBezTo>
                    <a:pt x="79859" y="131648"/>
                    <a:pt x="79738" y="130836"/>
                    <a:pt x="79047" y="130110"/>
                  </a:cubicBezTo>
                  <a:cubicBezTo>
                    <a:pt x="78857" y="129902"/>
                    <a:pt x="78822" y="129557"/>
                    <a:pt x="78701" y="129280"/>
                  </a:cubicBezTo>
                  <a:lnTo>
                    <a:pt x="78701" y="129280"/>
                  </a:lnTo>
                  <a:cubicBezTo>
                    <a:pt x="78977" y="129298"/>
                    <a:pt x="79237" y="129332"/>
                    <a:pt x="79513" y="129384"/>
                  </a:cubicBezTo>
                  <a:cubicBezTo>
                    <a:pt x="79669" y="129427"/>
                    <a:pt x="79830" y="129448"/>
                    <a:pt x="79991" y="129448"/>
                  </a:cubicBezTo>
                  <a:cubicBezTo>
                    <a:pt x="80347" y="129448"/>
                    <a:pt x="80702" y="129344"/>
                    <a:pt x="80999" y="129142"/>
                  </a:cubicBezTo>
                  <a:cubicBezTo>
                    <a:pt x="82900" y="128001"/>
                    <a:pt x="83350" y="125841"/>
                    <a:pt x="84473" y="124148"/>
                  </a:cubicBezTo>
                  <a:cubicBezTo>
                    <a:pt x="85216" y="123024"/>
                    <a:pt x="86149" y="121815"/>
                    <a:pt x="85544" y="120225"/>
                  </a:cubicBezTo>
                  <a:cubicBezTo>
                    <a:pt x="85026" y="118808"/>
                    <a:pt x="85959" y="118186"/>
                    <a:pt x="86927" y="117356"/>
                  </a:cubicBezTo>
                  <a:cubicBezTo>
                    <a:pt x="88258" y="116233"/>
                    <a:pt x="90314" y="116371"/>
                    <a:pt x="91230" y="115213"/>
                  </a:cubicBezTo>
                  <a:cubicBezTo>
                    <a:pt x="93096" y="112846"/>
                    <a:pt x="93788" y="109908"/>
                    <a:pt x="93874" y="106866"/>
                  </a:cubicBezTo>
                  <a:cubicBezTo>
                    <a:pt x="93909" y="105743"/>
                    <a:pt x="93563" y="104637"/>
                    <a:pt x="94635" y="103635"/>
                  </a:cubicBezTo>
                  <a:cubicBezTo>
                    <a:pt x="95637" y="102650"/>
                    <a:pt x="96432" y="101492"/>
                    <a:pt x="97002" y="100213"/>
                  </a:cubicBezTo>
                  <a:cubicBezTo>
                    <a:pt x="98350" y="97189"/>
                    <a:pt x="97555" y="95668"/>
                    <a:pt x="93770" y="93404"/>
                  </a:cubicBezTo>
                  <a:cubicBezTo>
                    <a:pt x="92864" y="92866"/>
                    <a:pt x="92012" y="92178"/>
                    <a:pt x="90923" y="92178"/>
                  </a:cubicBezTo>
                  <a:cubicBezTo>
                    <a:pt x="90787" y="92178"/>
                    <a:pt x="90648" y="92189"/>
                    <a:pt x="90504" y="92212"/>
                  </a:cubicBezTo>
                  <a:cubicBezTo>
                    <a:pt x="90375" y="92232"/>
                    <a:pt x="90250" y="92241"/>
                    <a:pt x="90128" y="92241"/>
                  </a:cubicBezTo>
                  <a:cubicBezTo>
                    <a:pt x="89316" y="92241"/>
                    <a:pt x="88640" y="91827"/>
                    <a:pt x="87964" y="91451"/>
                  </a:cubicBezTo>
                  <a:cubicBezTo>
                    <a:pt x="86720" y="90760"/>
                    <a:pt x="85423" y="90190"/>
                    <a:pt x="84076" y="89740"/>
                  </a:cubicBezTo>
                  <a:cubicBezTo>
                    <a:pt x="83419" y="89533"/>
                    <a:pt x="82365" y="89412"/>
                    <a:pt x="82226" y="88306"/>
                  </a:cubicBezTo>
                  <a:cubicBezTo>
                    <a:pt x="81898" y="85511"/>
                    <a:pt x="80349" y="82231"/>
                    <a:pt x="77208" y="82231"/>
                  </a:cubicBezTo>
                  <a:cubicBezTo>
                    <a:pt x="77047" y="82231"/>
                    <a:pt x="76883" y="82240"/>
                    <a:pt x="76714" y="82258"/>
                  </a:cubicBezTo>
                  <a:cubicBezTo>
                    <a:pt x="76610" y="82274"/>
                    <a:pt x="76507" y="82282"/>
                    <a:pt x="76405" y="82282"/>
                  </a:cubicBezTo>
                  <a:cubicBezTo>
                    <a:pt x="75873" y="82282"/>
                    <a:pt x="75365" y="82061"/>
                    <a:pt x="75003" y="81670"/>
                  </a:cubicBezTo>
                  <a:cubicBezTo>
                    <a:pt x="73810" y="80478"/>
                    <a:pt x="72722" y="79147"/>
                    <a:pt x="71356" y="78179"/>
                  </a:cubicBezTo>
                  <a:cubicBezTo>
                    <a:pt x="70652" y="77672"/>
                    <a:pt x="69937" y="76844"/>
                    <a:pt x="68958" y="76844"/>
                  </a:cubicBezTo>
                  <a:cubicBezTo>
                    <a:pt x="68735" y="76844"/>
                    <a:pt x="68499" y="76887"/>
                    <a:pt x="68246" y="76987"/>
                  </a:cubicBezTo>
                  <a:cubicBezTo>
                    <a:pt x="68013" y="77081"/>
                    <a:pt x="67785" y="77113"/>
                    <a:pt x="67562" y="77113"/>
                  </a:cubicBezTo>
                  <a:cubicBezTo>
                    <a:pt x="67089" y="77113"/>
                    <a:pt x="66635" y="76969"/>
                    <a:pt x="66189" y="76969"/>
                  </a:cubicBezTo>
                  <a:cubicBezTo>
                    <a:pt x="64783" y="76969"/>
                    <a:pt x="63941" y="75706"/>
                    <a:pt x="62605" y="75706"/>
                  </a:cubicBezTo>
                  <a:cubicBezTo>
                    <a:pt x="62579" y="75706"/>
                    <a:pt x="62552" y="75707"/>
                    <a:pt x="62525" y="75708"/>
                  </a:cubicBezTo>
                  <a:cubicBezTo>
                    <a:pt x="62280" y="75708"/>
                    <a:pt x="61828" y="76012"/>
                    <a:pt x="61511" y="76012"/>
                  </a:cubicBezTo>
                  <a:cubicBezTo>
                    <a:pt x="61248" y="76012"/>
                    <a:pt x="61077" y="75802"/>
                    <a:pt x="61195" y="75034"/>
                  </a:cubicBezTo>
                  <a:cubicBezTo>
                    <a:pt x="61232" y="74788"/>
                    <a:pt x="60883" y="74612"/>
                    <a:pt x="60617" y="74612"/>
                  </a:cubicBezTo>
                  <a:cubicBezTo>
                    <a:pt x="60509" y="74612"/>
                    <a:pt x="60415" y="74641"/>
                    <a:pt x="60365" y="74706"/>
                  </a:cubicBezTo>
                  <a:cubicBezTo>
                    <a:pt x="59225" y="76088"/>
                    <a:pt x="57099" y="76071"/>
                    <a:pt x="56166" y="77747"/>
                  </a:cubicBezTo>
                  <a:cubicBezTo>
                    <a:pt x="55842" y="78325"/>
                    <a:pt x="55457" y="78771"/>
                    <a:pt x="54917" y="78771"/>
                  </a:cubicBezTo>
                  <a:cubicBezTo>
                    <a:pt x="54649" y="78771"/>
                    <a:pt x="54343" y="78661"/>
                    <a:pt x="53988" y="78404"/>
                  </a:cubicBezTo>
                  <a:cubicBezTo>
                    <a:pt x="53637" y="78125"/>
                    <a:pt x="53206" y="77982"/>
                    <a:pt x="52772" y="77982"/>
                  </a:cubicBezTo>
                  <a:cubicBezTo>
                    <a:pt x="52480" y="77982"/>
                    <a:pt x="52186" y="78047"/>
                    <a:pt x="51915" y="78179"/>
                  </a:cubicBezTo>
                  <a:cubicBezTo>
                    <a:pt x="51373" y="78410"/>
                    <a:pt x="50918" y="78527"/>
                    <a:pt x="50541" y="78527"/>
                  </a:cubicBezTo>
                  <a:cubicBezTo>
                    <a:pt x="49618" y="78527"/>
                    <a:pt x="49166" y="77825"/>
                    <a:pt x="49080" y="76365"/>
                  </a:cubicBezTo>
                  <a:cubicBezTo>
                    <a:pt x="49046" y="75397"/>
                    <a:pt x="49184" y="74446"/>
                    <a:pt x="49478" y="73530"/>
                  </a:cubicBezTo>
                  <a:cubicBezTo>
                    <a:pt x="50012" y="71861"/>
                    <a:pt x="49095" y="70692"/>
                    <a:pt x="47366" y="70692"/>
                  </a:cubicBezTo>
                  <a:cubicBezTo>
                    <a:pt x="47305" y="70692"/>
                    <a:pt x="47243" y="70693"/>
                    <a:pt x="47179" y="70696"/>
                  </a:cubicBezTo>
                  <a:cubicBezTo>
                    <a:pt x="46730" y="70714"/>
                    <a:pt x="46281" y="70765"/>
                    <a:pt x="45814" y="70783"/>
                  </a:cubicBezTo>
                  <a:cubicBezTo>
                    <a:pt x="45755" y="70784"/>
                    <a:pt x="45699" y="70786"/>
                    <a:pt x="45645" y="70786"/>
                  </a:cubicBezTo>
                  <a:cubicBezTo>
                    <a:pt x="45148" y="70786"/>
                    <a:pt x="44886" y="70683"/>
                    <a:pt x="45088" y="69919"/>
                  </a:cubicBezTo>
                  <a:cubicBezTo>
                    <a:pt x="45469" y="68484"/>
                    <a:pt x="46143" y="67240"/>
                    <a:pt x="46886" y="65996"/>
                  </a:cubicBezTo>
                  <a:cubicBezTo>
                    <a:pt x="47214" y="65443"/>
                    <a:pt x="47231" y="64993"/>
                    <a:pt x="46747" y="64613"/>
                  </a:cubicBezTo>
                  <a:cubicBezTo>
                    <a:pt x="46406" y="64334"/>
                    <a:pt x="45929" y="64209"/>
                    <a:pt x="45417" y="64209"/>
                  </a:cubicBezTo>
                  <a:cubicBezTo>
                    <a:pt x="44221" y="64209"/>
                    <a:pt x="42833" y="64889"/>
                    <a:pt x="42531" y="65857"/>
                  </a:cubicBezTo>
                  <a:cubicBezTo>
                    <a:pt x="42161" y="67044"/>
                    <a:pt x="40793" y="67929"/>
                    <a:pt x="39553" y="67929"/>
                  </a:cubicBezTo>
                  <a:cubicBezTo>
                    <a:pt x="39113" y="67929"/>
                    <a:pt x="38689" y="67817"/>
                    <a:pt x="38331" y="67568"/>
                  </a:cubicBezTo>
                  <a:cubicBezTo>
                    <a:pt x="36966" y="66601"/>
                    <a:pt x="35998" y="64872"/>
                    <a:pt x="36517" y="63455"/>
                  </a:cubicBezTo>
                  <a:cubicBezTo>
                    <a:pt x="37571" y="60569"/>
                    <a:pt x="37986" y="56802"/>
                    <a:pt x="41822" y="56093"/>
                  </a:cubicBezTo>
                  <a:cubicBezTo>
                    <a:pt x="44259" y="55627"/>
                    <a:pt x="46696" y="55299"/>
                    <a:pt x="49167" y="55126"/>
                  </a:cubicBezTo>
                  <a:cubicBezTo>
                    <a:pt x="49252" y="55120"/>
                    <a:pt x="49338" y="55117"/>
                    <a:pt x="49425" y="55117"/>
                  </a:cubicBezTo>
                  <a:cubicBezTo>
                    <a:pt x="50819" y="55117"/>
                    <a:pt x="52364" y="55920"/>
                    <a:pt x="51811" y="58133"/>
                  </a:cubicBezTo>
                  <a:cubicBezTo>
                    <a:pt x="51707" y="58582"/>
                    <a:pt x="52087" y="59204"/>
                    <a:pt x="52329" y="59688"/>
                  </a:cubicBezTo>
                  <a:cubicBezTo>
                    <a:pt x="52602" y="60250"/>
                    <a:pt x="52992" y="60846"/>
                    <a:pt x="53666" y="60846"/>
                  </a:cubicBezTo>
                  <a:cubicBezTo>
                    <a:pt x="53675" y="60846"/>
                    <a:pt x="53685" y="60846"/>
                    <a:pt x="53695" y="60846"/>
                  </a:cubicBezTo>
                  <a:cubicBezTo>
                    <a:pt x="54455" y="60811"/>
                    <a:pt x="54628" y="60085"/>
                    <a:pt x="54852" y="59498"/>
                  </a:cubicBezTo>
                  <a:cubicBezTo>
                    <a:pt x="55146" y="58703"/>
                    <a:pt x="55146" y="57822"/>
                    <a:pt x="54887" y="57027"/>
                  </a:cubicBezTo>
                  <a:cubicBezTo>
                    <a:pt x="54127" y="54642"/>
                    <a:pt x="54922" y="53017"/>
                    <a:pt x="57116" y="51894"/>
                  </a:cubicBezTo>
                  <a:cubicBezTo>
                    <a:pt x="58291" y="51307"/>
                    <a:pt x="59328" y="50442"/>
                    <a:pt x="60469" y="49786"/>
                  </a:cubicBezTo>
                  <a:cubicBezTo>
                    <a:pt x="62128" y="48818"/>
                    <a:pt x="61575" y="46641"/>
                    <a:pt x="63096" y="45448"/>
                  </a:cubicBezTo>
                  <a:cubicBezTo>
                    <a:pt x="64720" y="44169"/>
                    <a:pt x="65757" y="42113"/>
                    <a:pt x="68194" y="42061"/>
                  </a:cubicBezTo>
                  <a:cubicBezTo>
                    <a:pt x="68574" y="42044"/>
                    <a:pt x="69006" y="41888"/>
                    <a:pt x="69075" y="41456"/>
                  </a:cubicBezTo>
                  <a:cubicBezTo>
                    <a:pt x="69369" y="39711"/>
                    <a:pt x="70924" y="39417"/>
                    <a:pt x="72151" y="38760"/>
                  </a:cubicBezTo>
                  <a:cubicBezTo>
                    <a:pt x="72321" y="38667"/>
                    <a:pt x="72565" y="38512"/>
                    <a:pt x="72753" y="38512"/>
                  </a:cubicBezTo>
                  <a:cubicBezTo>
                    <a:pt x="72950" y="38512"/>
                    <a:pt x="73086" y="38680"/>
                    <a:pt x="73015" y="39261"/>
                  </a:cubicBezTo>
                  <a:cubicBezTo>
                    <a:pt x="72956" y="39796"/>
                    <a:pt x="73330" y="40078"/>
                    <a:pt x="73743" y="40078"/>
                  </a:cubicBezTo>
                  <a:cubicBezTo>
                    <a:pt x="73931" y="40078"/>
                    <a:pt x="74127" y="40020"/>
                    <a:pt x="74294" y="39901"/>
                  </a:cubicBezTo>
                  <a:cubicBezTo>
                    <a:pt x="75746" y="38898"/>
                    <a:pt x="77457" y="38501"/>
                    <a:pt x="78995" y="37723"/>
                  </a:cubicBezTo>
                  <a:cubicBezTo>
                    <a:pt x="79738" y="37326"/>
                    <a:pt x="80291" y="36773"/>
                    <a:pt x="79790" y="35995"/>
                  </a:cubicBezTo>
                  <a:cubicBezTo>
                    <a:pt x="79597" y="35708"/>
                    <a:pt x="79414" y="35603"/>
                    <a:pt x="79239" y="35603"/>
                  </a:cubicBezTo>
                  <a:cubicBezTo>
                    <a:pt x="78865" y="35603"/>
                    <a:pt x="78524" y="36083"/>
                    <a:pt x="78183" y="36306"/>
                  </a:cubicBezTo>
                  <a:cubicBezTo>
                    <a:pt x="77820" y="36545"/>
                    <a:pt x="77447" y="36741"/>
                    <a:pt x="77083" y="36741"/>
                  </a:cubicBezTo>
                  <a:cubicBezTo>
                    <a:pt x="76789" y="36741"/>
                    <a:pt x="76501" y="36612"/>
                    <a:pt x="76230" y="36272"/>
                  </a:cubicBezTo>
                  <a:cubicBezTo>
                    <a:pt x="75677" y="35563"/>
                    <a:pt x="76126" y="35148"/>
                    <a:pt x="76731" y="34751"/>
                  </a:cubicBezTo>
                  <a:cubicBezTo>
                    <a:pt x="77318" y="34371"/>
                    <a:pt x="77284" y="33818"/>
                    <a:pt x="77025" y="33196"/>
                  </a:cubicBezTo>
                  <a:cubicBezTo>
                    <a:pt x="76921" y="32919"/>
                    <a:pt x="76161" y="33023"/>
                    <a:pt x="76593" y="32643"/>
                  </a:cubicBezTo>
                  <a:cubicBezTo>
                    <a:pt x="76708" y="32536"/>
                    <a:pt x="76805" y="32492"/>
                    <a:pt x="76888" y="32492"/>
                  </a:cubicBezTo>
                  <a:cubicBezTo>
                    <a:pt x="77143" y="32492"/>
                    <a:pt x="77279" y="32892"/>
                    <a:pt x="77474" y="33126"/>
                  </a:cubicBezTo>
                  <a:cubicBezTo>
                    <a:pt x="77830" y="33563"/>
                    <a:pt x="78559" y="33892"/>
                    <a:pt x="79019" y="33892"/>
                  </a:cubicBezTo>
                  <a:cubicBezTo>
                    <a:pt x="79251" y="33892"/>
                    <a:pt x="79415" y="33808"/>
                    <a:pt x="79427" y="33610"/>
                  </a:cubicBezTo>
                  <a:cubicBezTo>
                    <a:pt x="79485" y="32639"/>
                    <a:pt x="79866" y="32465"/>
                    <a:pt x="80317" y="32465"/>
                  </a:cubicBezTo>
                  <a:cubicBezTo>
                    <a:pt x="80569" y="32465"/>
                    <a:pt x="80843" y="32519"/>
                    <a:pt x="81095" y="32519"/>
                  </a:cubicBezTo>
                  <a:cubicBezTo>
                    <a:pt x="81194" y="32519"/>
                    <a:pt x="81290" y="32511"/>
                    <a:pt x="81380" y="32487"/>
                  </a:cubicBezTo>
                  <a:cubicBezTo>
                    <a:pt x="81894" y="32340"/>
                    <a:pt x="82271" y="31830"/>
                    <a:pt x="82830" y="31830"/>
                  </a:cubicBezTo>
                  <a:cubicBezTo>
                    <a:pt x="82928" y="31830"/>
                    <a:pt x="83031" y="31846"/>
                    <a:pt x="83142" y="31882"/>
                  </a:cubicBezTo>
                  <a:cubicBezTo>
                    <a:pt x="82658" y="32470"/>
                    <a:pt x="82192" y="33075"/>
                    <a:pt x="81708" y="33679"/>
                  </a:cubicBezTo>
                  <a:cubicBezTo>
                    <a:pt x="81604" y="33766"/>
                    <a:pt x="81483" y="33835"/>
                    <a:pt x="81362" y="33904"/>
                  </a:cubicBezTo>
                  <a:cubicBezTo>
                    <a:pt x="81034" y="34129"/>
                    <a:pt x="80775" y="34423"/>
                    <a:pt x="80878" y="34872"/>
                  </a:cubicBezTo>
                  <a:cubicBezTo>
                    <a:pt x="80999" y="35304"/>
                    <a:pt x="81380" y="35252"/>
                    <a:pt x="81673" y="35425"/>
                  </a:cubicBezTo>
                  <a:cubicBezTo>
                    <a:pt x="81973" y="35596"/>
                    <a:pt x="82292" y="35648"/>
                    <a:pt x="82615" y="35648"/>
                  </a:cubicBezTo>
                  <a:cubicBezTo>
                    <a:pt x="83130" y="35648"/>
                    <a:pt x="83658" y="35514"/>
                    <a:pt x="84141" y="35514"/>
                  </a:cubicBezTo>
                  <a:cubicBezTo>
                    <a:pt x="84489" y="35514"/>
                    <a:pt x="84814" y="35584"/>
                    <a:pt x="85095" y="35822"/>
                  </a:cubicBezTo>
                  <a:cubicBezTo>
                    <a:pt x="85535" y="36187"/>
                    <a:pt x="85875" y="36332"/>
                    <a:pt x="86134" y="36332"/>
                  </a:cubicBezTo>
                  <a:cubicBezTo>
                    <a:pt x="86710" y="36332"/>
                    <a:pt x="86887" y="35618"/>
                    <a:pt x="86875" y="35010"/>
                  </a:cubicBezTo>
                  <a:cubicBezTo>
                    <a:pt x="86858" y="34215"/>
                    <a:pt x="87601" y="32729"/>
                    <a:pt x="85665" y="32625"/>
                  </a:cubicBezTo>
                  <a:cubicBezTo>
                    <a:pt x="84991" y="32591"/>
                    <a:pt x="85130" y="31986"/>
                    <a:pt x="85596" y="31485"/>
                  </a:cubicBezTo>
                  <a:cubicBezTo>
                    <a:pt x="87186" y="29791"/>
                    <a:pt x="86650" y="27527"/>
                    <a:pt x="84508" y="26767"/>
                  </a:cubicBezTo>
                  <a:cubicBezTo>
                    <a:pt x="84006" y="26594"/>
                    <a:pt x="83557" y="26214"/>
                    <a:pt x="83661" y="25834"/>
                  </a:cubicBezTo>
                  <a:cubicBezTo>
                    <a:pt x="83972" y="24503"/>
                    <a:pt x="83039" y="23432"/>
                    <a:pt x="83090" y="22170"/>
                  </a:cubicBezTo>
                  <a:cubicBezTo>
                    <a:pt x="83108" y="21773"/>
                    <a:pt x="83073" y="21375"/>
                    <a:pt x="82624" y="21220"/>
                  </a:cubicBezTo>
                  <a:cubicBezTo>
                    <a:pt x="82529" y="21188"/>
                    <a:pt x="82437" y="21174"/>
                    <a:pt x="82348" y="21174"/>
                  </a:cubicBezTo>
                  <a:cubicBezTo>
                    <a:pt x="82049" y="21174"/>
                    <a:pt x="81787" y="21339"/>
                    <a:pt x="81587" y="21565"/>
                  </a:cubicBezTo>
                  <a:cubicBezTo>
                    <a:pt x="81086" y="22135"/>
                    <a:pt x="80464" y="22602"/>
                    <a:pt x="79755" y="22913"/>
                  </a:cubicBezTo>
                  <a:cubicBezTo>
                    <a:pt x="79583" y="22995"/>
                    <a:pt x="79411" y="23071"/>
                    <a:pt x="79247" y="23071"/>
                  </a:cubicBezTo>
                  <a:cubicBezTo>
                    <a:pt x="79097" y="23071"/>
                    <a:pt x="78954" y="23008"/>
                    <a:pt x="78822" y="22827"/>
                  </a:cubicBezTo>
                  <a:cubicBezTo>
                    <a:pt x="78563" y="22498"/>
                    <a:pt x="78753" y="22274"/>
                    <a:pt x="78960" y="22015"/>
                  </a:cubicBezTo>
                  <a:cubicBezTo>
                    <a:pt x="79496" y="21254"/>
                    <a:pt x="79254" y="20736"/>
                    <a:pt x="78459" y="20338"/>
                  </a:cubicBezTo>
                  <a:cubicBezTo>
                    <a:pt x="78131" y="20165"/>
                    <a:pt x="77837" y="19941"/>
                    <a:pt x="77578" y="19664"/>
                  </a:cubicBezTo>
                  <a:cubicBezTo>
                    <a:pt x="77168" y="19146"/>
                    <a:pt x="76356" y="18913"/>
                    <a:pt x="75491" y="18913"/>
                  </a:cubicBezTo>
                  <a:cubicBezTo>
                    <a:pt x="74278" y="18913"/>
                    <a:pt x="72961" y="19371"/>
                    <a:pt x="72497" y="20148"/>
                  </a:cubicBezTo>
                  <a:cubicBezTo>
                    <a:pt x="72065" y="20874"/>
                    <a:pt x="71788" y="21824"/>
                    <a:pt x="70803" y="22170"/>
                  </a:cubicBezTo>
                  <a:cubicBezTo>
                    <a:pt x="70354" y="22326"/>
                    <a:pt x="70043" y="22792"/>
                    <a:pt x="70337" y="23276"/>
                  </a:cubicBezTo>
                  <a:cubicBezTo>
                    <a:pt x="71356" y="25004"/>
                    <a:pt x="70043" y="25488"/>
                    <a:pt x="68902" y="26024"/>
                  </a:cubicBezTo>
                  <a:cubicBezTo>
                    <a:pt x="67693" y="26577"/>
                    <a:pt x="66241" y="26801"/>
                    <a:pt x="66345" y="28685"/>
                  </a:cubicBezTo>
                  <a:cubicBezTo>
                    <a:pt x="66379" y="29117"/>
                    <a:pt x="65895" y="29601"/>
                    <a:pt x="65584" y="30016"/>
                  </a:cubicBezTo>
                  <a:cubicBezTo>
                    <a:pt x="65442" y="30197"/>
                    <a:pt x="65232" y="30465"/>
                    <a:pt x="64983" y="30465"/>
                  </a:cubicBezTo>
                  <a:cubicBezTo>
                    <a:pt x="64899" y="30465"/>
                    <a:pt x="64811" y="30435"/>
                    <a:pt x="64720" y="30361"/>
                  </a:cubicBezTo>
                  <a:cubicBezTo>
                    <a:pt x="64409" y="30120"/>
                    <a:pt x="64288" y="29705"/>
                    <a:pt x="64409" y="29342"/>
                  </a:cubicBezTo>
                  <a:cubicBezTo>
                    <a:pt x="64893" y="27596"/>
                    <a:pt x="65083" y="25989"/>
                    <a:pt x="62508" y="25903"/>
                  </a:cubicBezTo>
                  <a:cubicBezTo>
                    <a:pt x="62249" y="25903"/>
                    <a:pt x="61938" y="25644"/>
                    <a:pt x="61748" y="25436"/>
                  </a:cubicBezTo>
                  <a:cubicBezTo>
                    <a:pt x="61084" y="24759"/>
                    <a:pt x="60400" y="24243"/>
                    <a:pt x="59552" y="24243"/>
                  </a:cubicBezTo>
                  <a:cubicBezTo>
                    <a:pt x="59252" y="24243"/>
                    <a:pt x="58932" y="24307"/>
                    <a:pt x="58585" y="24451"/>
                  </a:cubicBezTo>
                  <a:cubicBezTo>
                    <a:pt x="58566" y="24457"/>
                    <a:pt x="58545" y="24459"/>
                    <a:pt x="58523" y="24459"/>
                  </a:cubicBezTo>
                  <a:cubicBezTo>
                    <a:pt x="58409" y="24459"/>
                    <a:pt x="58269" y="24394"/>
                    <a:pt x="58153" y="24365"/>
                  </a:cubicBezTo>
                  <a:cubicBezTo>
                    <a:pt x="58758" y="23501"/>
                    <a:pt x="57687" y="22429"/>
                    <a:pt x="58827" y="21462"/>
                  </a:cubicBezTo>
                  <a:cubicBezTo>
                    <a:pt x="61800" y="18990"/>
                    <a:pt x="65757" y="18558"/>
                    <a:pt x="68781" y="16294"/>
                  </a:cubicBezTo>
                  <a:lnTo>
                    <a:pt x="69455" y="15828"/>
                  </a:lnTo>
                  <a:cubicBezTo>
                    <a:pt x="70337" y="15586"/>
                    <a:pt x="71218" y="15206"/>
                    <a:pt x="72117" y="15119"/>
                  </a:cubicBezTo>
                  <a:cubicBezTo>
                    <a:pt x="74346" y="14912"/>
                    <a:pt x="75331" y="13910"/>
                    <a:pt x="75262" y="11767"/>
                  </a:cubicBezTo>
                  <a:cubicBezTo>
                    <a:pt x="75262" y="11596"/>
                    <a:pt x="75299" y="11543"/>
                    <a:pt x="75353" y="11543"/>
                  </a:cubicBezTo>
                  <a:cubicBezTo>
                    <a:pt x="75441" y="11543"/>
                    <a:pt x="75574" y="11687"/>
                    <a:pt x="75659" y="11698"/>
                  </a:cubicBezTo>
                  <a:cubicBezTo>
                    <a:pt x="76835" y="11749"/>
                    <a:pt x="77733" y="12683"/>
                    <a:pt x="78943" y="12752"/>
                  </a:cubicBezTo>
                  <a:cubicBezTo>
                    <a:pt x="79461" y="12769"/>
                    <a:pt x="79945" y="13391"/>
                    <a:pt x="80412" y="13789"/>
                  </a:cubicBezTo>
                  <a:cubicBezTo>
                    <a:pt x="80395" y="13944"/>
                    <a:pt x="80325" y="14082"/>
                    <a:pt x="80204" y="14203"/>
                  </a:cubicBezTo>
                  <a:cubicBezTo>
                    <a:pt x="79099" y="14649"/>
                    <a:pt x="78211" y="15599"/>
                    <a:pt x="76924" y="15599"/>
                  </a:cubicBezTo>
                  <a:cubicBezTo>
                    <a:pt x="76763" y="15599"/>
                    <a:pt x="76595" y="15584"/>
                    <a:pt x="76420" y="15551"/>
                  </a:cubicBezTo>
                  <a:cubicBezTo>
                    <a:pt x="76325" y="15534"/>
                    <a:pt x="76229" y="15525"/>
                    <a:pt x="76135" y="15525"/>
                  </a:cubicBezTo>
                  <a:cubicBezTo>
                    <a:pt x="75478" y="15525"/>
                    <a:pt x="74895" y="15947"/>
                    <a:pt x="74985" y="16778"/>
                  </a:cubicBezTo>
                  <a:cubicBezTo>
                    <a:pt x="75041" y="17437"/>
                    <a:pt x="75422" y="17620"/>
                    <a:pt x="75866" y="17620"/>
                  </a:cubicBezTo>
                  <a:cubicBezTo>
                    <a:pt x="76109" y="17620"/>
                    <a:pt x="76372" y="17565"/>
                    <a:pt x="76610" y="17504"/>
                  </a:cubicBezTo>
                  <a:cubicBezTo>
                    <a:pt x="76822" y="17451"/>
                    <a:pt x="77015" y="17425"/>
                    <a:pt x="77193" y="17425"/>
                  </a:cubicBezTo>
                  <a:cubicBezTo>
                    <a:pt x="77828" y="17425"/>
                    <a:pt x="78286" y="17750"/>
                    <a:pt x="78839" y="18316"/>
                  </a:cubicBezTo>
                  <a:cubicBezTo>
                    <a:pt x="79617" y="19094"/>
                    <a:pt x="80723" y="19612"/>
                    <a:pt x="81794" y="19993"/>
                  </a:cubicBezTo>
                  <a:cubicBezTo>
                    <a:pt x="81906" y="20034"/>
                    <a:pt x="82005" y="20053"/>
                    <a:pt x="82094" y="20053"/>
                  </a:cubicBezTo>
                  <a:cubicBezTo>
                    <a:pt x="82595" y="20053"/>
                    <a:pt x="82747" y="19445"/>
                    <a:pt x="82762" y="18887"/>
                  </a:cubicBezTo>
                  <a:cubicBezTo>
                    <a:pt x="82805" y="18878"/>
                    <a:pt x="82849" y="18874"/>
                    <a:pt x="82892" y="18874"/>
                  </a:cubicBezTo>
                  <a:cubicBezTo>
                    <a:pt x="82935" y="18874"/>
                    <a:pt x="82978" y="18878"/>
                    <a:pt x="83021" y="18887"/>
                  </a:cubicBezTo>
                  <a:cubicBezTo>
                    <a:pt x="83375" y="18985"/>
                    <a:pt x="83662" y="19030"/>
                    <a:pt x="83892" y="19030"/>
                  </a:cubicBezTo>
                  <a:cubicBezTo>
                    <a:pt x="85038" y="19030"/>
                    <a:pt x="84816" y="17932"/>
                    <a:pt x="84629" y="16882"/>
                  </a:cubicBezTo>
                  <a:cubicBezTo>
                    <a:pt x="84577" y="16588"/>
                    <a:pt x="84404" y="16122"/>
                    <a:pt x="84525" y="16018"/>
                  </a:cubicBezTo>
                  <a:cubicBezTo>
                    <a:pt x="84606" y="15948"/>
                    <a:pt x="84680" y="15920"/>
                    <a:pt x="84749" y="15920"/>
                  </a:cubicBezTo>
                  <a:cubicBezTo>
                    <a:pt x="84985" y="15920"/>
                    <a:pt x="85161" y="16252"/>
                    <a:pt x="85389" y="16346"/>
                  </a:cubicBezTo>
                  <a:cubicBezTo>
                    <a:pt x="85637" y="16436"/>
                    <a:pt x="85876" y="16474"/>
                    <a:pt x="86110" y="16474"/>
                  </a:cubicBezTo>
                  <a:cubicBezTo>
                    <a:pt x="86771" y="16474"/>
                    <a:pt x="87381" y="16174"/>
                    <a:pt x="87981" y="15931"/>
                  </a:cubicBezTo>
                  <a:cubicBezTo>
                    <a:pt x="88344" y="15793"/>
                    <a:pt x="88500" y="15275"/>
                    <a:pt x="88258" y="15033"/>
                  </a:cubicBezTo>
                  <a:cubicBezTo>
                    <a:pt x="87065" y="13754"/>
                    <a:pt x="85976" y="12406"/>
                    <a:pt x="84819" y="11110"/>
                  </a:cubicBezTo>
                  <a:cubicBezTo>
                    <a:pt x="84162" y="10350"/>
                    <a:pt x="83160" y="9779"/>
                    <a:pt x="82537" y="8915"/>
                  </a:cubicBezTo>
                  <a:cubicBezTo>
                    <a:pt x="82209" y="8379"/>
                    <a:pt x="81639" y="8034"/>
                    <a:pt x="81017" y="7999"/>
                  </a:cubicBezTo>
                  <a:cubicBezTo>
                    <a:pt x="80983" y="7995"/>
                    <a:pt x="80950" y="7994"/>
                    <a:pt x="80916" y="7994"/>
                  </a:cubicBezTo>
                  <a:cubicBezTo>
                    <a:pt x="80688" y="7994"/>
                    <a:pt x="80453" y="8074"/>
                    <a:pt x="80228" y="8074"/>
                  </a:cubicBezTo>
                  <a:cubicBezTo>
                    <a:pt x="80056" y="8074"/>
                    <a:pt x="79890" y="8027"/>
                    <a:pt x="79738" y="7861"/>
                  </a:cubicBezTo>
                  <a:cubicBezTo>
                    <a:pt x="80170" y="7757"/>
                    <a:pt x="80602" y="7654"/>
                    <a:pt x="81017" y="7585"/>
                  </a:cubicBezTo>
                  <a:cubicBezTo>
                    <a:pt x="81518" y="7481"/>
                    <a:pt x="82192" y="7567"/>
                    <a:pt x="82226" y="6859"/>
                  </a:cubicBezTo>
                  <a:cubicBezTo>
                    <a:pt x="82278" y="6202"/>
                    <a:pt x="81673" y="6167"/>
                    <a:pt x="81207" y="6046"/>
                  </a:cubicBezTo>
                  <a:cubicBezTo>
                    <a:pt x="81086" y="6012"/>
                    <a:pt x="80948" y="5960"/>
                    <a:pt x="80844" y="5891"/>
                  </a:cubicBezTo>
                  <a:cubicBezTo>
                    <a:pt x="80958" y="5878"/>
                    <a:pt x="81101" y="5837"/>
                    <a:pt x="81223" y="5837"/>
                  </a:cubicBezTo>
                  <a:cubicBezTo>
                    <a:pt x="81267" y="5837"/>
                    <a:pt x="81309" y="5843"/>
                    <a:pt x="81345" y="5856"/>
                  </a:cubicBezTo>
                  <a:cubicBezTo>
                    <a:pt x="81816" y="6065"/>
                    <a:pt x="82272" y="6151"/>
                    <a:pt x="82714" y="6151"/>
                  </a:cubicBezTo>
                  <a:cubicBezTo>
                    <a:pt x="83993" y="6151"/>
                    <a:pt x="85157" y="5437"/>
                    <a:pt x="86236" y="4923"/>
                  </a:cubicBezTo>
                  <a:cubicBezTo>
                    <a:pt x="89182" y="3528"/>
                    <a:pt x="92334" y="3094"/>
                    <a:pt x="95401" y="2235"/>
                  </a:cubicBezTo>
                  <a:lnTo>
                    <a:pt x="95401" y="2235"/>
                  </a:lnTo>
                  <a:cubicBezTo>
                    <a:pt x="93986" y="3267"/>
                    <a:pt x="92263" y="3834"/>
                    <a:pt x="90504" y="3834"/>
                  </a:cubicBezTo>
                  <a:cubicBezTo>
                    <a:pt x="90401" y="3834"/>
                    <a:pt x="90295" y="3831"/>
                    <a:pt x="90191" y="3831"/>
                  </a:cubicBezTo>
                  <a:cubicBezTo>
                    <a:pt x="89827" y="3831"/>
                    <a:pt x="89479" y="3873"/>
                    <a:pt x="89277" y="4249"/>
                  </a:cubicBezTo>
                  <a:cubicBezTo>
                    <a:pt x="89018" y="4802"/>
                    <a:pt x="89467" y="5113"/>
                    <a:pt x="89744" y="5528"/>
                  </a:cubicBezTo>
                  <a:cubicBezTo>
                    <a:pt x="90251" y="6307"/>
                    <a:pt x="90887" y="6586"/>
                    <a:pt x="91608" y="6586"/>
                  </a:cubicBezTo>
                  <a:cubicBezTo>
                    <a:pt x="91943" y="6586"/>
                    <a:pt x="92297" y="6525"/>
                    <a:pt x="92664" y="6427"/>
                  </a:cubicBezTo>
                  <a:cubicBezTo>
                    <a:pt x="93037" y="6322"/>
                    <a:pt x="93404" y="6272"/>
                    <a:pt x="93755" y="6272"/>
                  </a:cubicBezTo>
                  <a:cubicBezTo>
                    <a:pt x="95314" y="6272"/>
                    <a:pt x="96561" y="7243"/>
                    <a:pt x="96518" y="8639"/>
                  </a:cubicBezTo>
                  <a:cubicBezTo>
                    <a:pt x="96501" y="9123"/>
                    <a:pt x="96000" y="9710"/>
                    <a:pt x="96155" y="10073"/>
                  </a:cubicBezTo>
                  <a:cubicBezTo>
                    <a:pt x="96656" y="11300"/>
                    <a:pt x="95758" y="12302"/>
                    <a:pt x="95378" y="13045"/>
                  </a:cubicBezTo>
                  <a:cubicBezTo>
                    <a:pt x="94393" y="15016"/>
                    <a:pt x="93649" y="16709"/>
                    <a:pt x="95412" y="18541"/>
                  </a:cubicBezTo>
                  <a:cubicBezTo>
                    <a:pt x="95602" y="18714"/>
                    <a:pt x="95723" y="18938"/>
                    <a:pt x="95758" y="19180"/>
                  </a:cubicBezTo>
                  <a:cubicBezTo>
                    <a:pt x="95810" y="21358"/>
                    <a:pt x="97901" y="20788"/>
                    <a:pt x="99007" y="21479"/>
                  </a:cubicBezTo>
                  <a:cubicBezTo>
                    <a:pt x="99192" y="21597"/>
                    <a:pt x="99367" y="21648"/>
                    <a:pt x="99531" y="21648"/>
                  </a:cubicBezTo>
                  <a:cubicBezTo>
                    <a:pt x="100207" y="21648"/>
                    <a:pt x="100708" y="20784"/>
                    <a:pt x="101098" y="20200"/>
                  </a:cubicBezTo>
                  <a:cubicBezTo>
                    <a:pt x="102256" y="18472"/>
                    <a:pt x="104088" y="17055"/>
                    <a:pt x="105729" y="16536"/>
                  </a:cubicBezTo>
                  <a:cubicBezTo>
                    <a:pt x="109220" y="15396"/>
                    <a:pt x="112486" y="13547"/>
                    <a:pt x="116254" y="13115"/>
                  </a:cubicBezTo>
                  <a:cubicBezTo>
                    <a:pt x="117965" y="12907"/>
                    <a:pt x="119935" y="12320"/>
                    <a:pt x="120021" y="9883"/>
                  </a:cubicBezTo>
                  <a:cubicBezTo>
                    <a:pt x="120021" y="9693"/>
                    <a:pt x="120349" y="9485"/>
                    <a:pt x="120557" y="9330"/>
                  </a:cubicBezTo>
                  <a:cubicBezTo>
                    <a:pt x="121663" y="8552"/>
                    <a:pt x="123132" y="8034"/>
                    <a:pt x="122631" y="6202"/>
                  </a:cubicBezTo>
                  <a:cubicBezTo>
                    <a:pt x="122594" y="6055"/>
                    <a:pt x="122626" y="6020"/>
                    <a:pt x="122682" y="6020"/>
                  </a:cubicBezTo>
                  <a:cubicBezTo>
                    <a:pt x="122731" y="6020"/>
                    <a:pt x="122799" y="6046"/>
                    <a:pt x="122855" y="6046"/>
                  </a:cubicBezTo>
                  <a:cubicBezTo>
                    <a:pt x="122928" y="6051"/>
                    <a:pt x="122998" y="6053"/>
                    <a:pt x="123064" y="6053"/>
                  </a:cubicBezTo>
                  <a:cubicBezTo>
                    <a:pt x="124269" y="6053"/>
                    <a:pt x="124381" y="5321"/>
                    <a:pt x="123840" y="4387"/>
                  </a:cubicBezTo>
                  <a:cubicBezTo>
                    <a:pt x="123581" y="3921"/>
                    <a:pt x="123875" y="3955"/>
                    <a:pt x="124048" y="3817"/>
                  </a:cubicBezTo>
                  <a:cubicBezTo>
                    <a:pt x="125240" y="2867"/>
                    <a:pt x="126640" y="2728"/>
                    <a:pt x="128092" y="2659"/>
                  </a:cubicBezTo>
                  <a:cubicBezTo>
                    <a:pt x="128575" y="2625"/>
                    <a:pt x="129180" y="2521"/>
                    <a:pt x="129249" y="1934"/>
                  </a:cubicBezTo>
                  <a:cubicBezTo>
                    <a:pt x="129301" y="1363"/>
                    <a:pt x="128714" y="1242"/>
                    <a:pt x="128299" y="1190"/>
                  </a:cubicBezTo>
                  <a:cubicBezTo>
                    <a:pt x="125707" y="948"/>
                    <a:pt x="123132" y="430"/>
                    <a:pt x="120557" y="171"/>
                  </a:cubicBezTo>
                  <a:cubicBezTo>
                    <a:pt x="119360" y="50"/>
                    <a:pt x="118163" y="0"/>
                    <a:pt x="116966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10955;p80">
              <a:extLst>
                <a:ext uri="{FF2B5EF4-FFF2-40B4-BE49-F238E27FC236}">
                  <a16:creationId xmlns:a16="http://schemas.microsoft.com/office/drawing/2014/main" id="{D2223D3F-77D9-2F57-B668-F9A23DCA42AB}"/>
                </a:ext>
              </a:extLst>
            </p:cNvPr>
            <p:cNvSpPr/>
            <p:nvPr/>
          </p:nvSpPr>
          <p:spPr>
            <a:xfrm>
              <a:off x="1581325" y="1051125"/>
              <a:ext cx="283000" cy="91675"/>
            </a:xfrm>
            <a:custGeom>
              <a:avLst/>
              <a:gdLst/>
              <a:ahLst/>
              <a:cxnLst/>
              <a:rect l="l" t="t" r="r" b="b"/>
              <a:pathLst>
                <a:path w="11320" h="3667" extrusionOk="0">
                  <a:moveTo>
                    <a:pt x="6214" y="0"/>
                  </a:moveTo>
                  <a:cubicBezTo>
                    <a:pt x="5926" y="0"/>
                    <a:pt x="5584" y="48"/>
                    <a:pt x="5219" y="71"/>
                  </a:cubicBezTo>
                  <a:cubicBezTo>
                    <a:pt x="5082" y="56"/>
                    <a:pt x="4943" y="49"/>
                    <a:pt x="4804" y="49"/>
                  </a:cubicBezTo>
                  <a:cubicBezTo>
                    <a:pt x="3493" y="49"/>
                    <a:pt x="2115" y="667"/>
                    <a:pt x="709" y="1073"/>
                  </a:cubicBezTo>
                  <a:cubicBezTo>
                    <a:pt x="432" y="1177"/>
                    <a:pt x="208" y="1401"/>
                    <a:pt x="69" y="1678"/>
                  </a:cubicBezTo>
                  <a:cubicBezTo>
                    <a:pt x="0" y="1781"/>
                    <a:pt x="242" y="2213"/>
                    <a:pt x="363" y="2231"/>
                  </a:cubicBezTo>
                  <a:cubicBezTo>
                    <a:pt x="2163" y="2438"/>
                    <a:pt x="3786" y="3667"/>
                    <a:pt x="5640" y="3667"/>
                  </a:cubicBezTo>
                  <a:cubicBezTo>
                    <a:pt x="6100" y="3667"/>
                    <a:pt x="6574" y="3591"/>
                    <a:pt x="7068" y="3406"/>
                  </a:cubicBezTo>
                  <a:cubicBezTo>
                    <a:pt x="7396" y="3281"/>
                    <a:pt x="7767" y="3236"/>
                    <a:pt x="8142" y="3236"/>
                  </a:cubicBezTo>
                  <a:cubicBezTo>
                    <a:pt x="8439" y="3236"/>
                    <a:pt x="8738" y="3264"/>
                    <a:pt x="9021" y="3302"/>
                  </a:cubicBezTo>
                  <a:cubicBezTo>
                    <a:pt x="9277" y="3340"/>
                    <a:pt x="9523" y="3370"/>
                    <a:pt x="9759" y="3370"/>
                  </a:cubicBezTo>
                  <a:cubicBezTo>
                    <a:pt x="10271" y="3370"/>
                    <a:pt x="10728" y="3229"/>
                    <a:pt x="11095" y="2732"/>
                  </a:cubicBezTo>
                  <a:cubicBezTo>
                    <a:pt x="11320" y="2473"/>
                    <a:pt x="11268" y="2075"/>
                    <a:pt x="10991" y="1885"/>
                  </a:cubicBezTo>
                  <a:cubicBezTo>
                    <a:pt x="10479" y="1524"/>
                    <a:pt x="10006" y="1077"/>
                    <a:pt x="9430" y="1077"/>
                  </a:cubicBezTo>
                  <a:cubicBezTo>
                    <a:pt x="9151" y="1077"/>
                    <a:pt x="8847" y="1182"/>
                    <a:pt x="8503" y="1453"/>
                  </a:cubicBezTo>
                  <a:cubicBezTo>
                    <a:pt x="8280" y="1626"/>
                    <a:pt x="7919" y="1737"/>
                    <a:pt x="7612" y="1737"/>
                  </a:cubicBezTo>
                  <a:cubicBezTo>
                    <a:pt x="7277" y="1737"/>
                    <a:pt x="7006" y="1605"/>
                    <a:pt x="7051" y="1280"/>
                  </a:cubicBezTo>
                  <a:cubicBezTo>
                    <a:pt x="7179" y="207"/>
                    <a:pt x="6812" y="0"/>
                    <a:pt x="6214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10956;p80">
              <a:extLst>
                <a:ext uri="{FF2B5EF4-FFF2-40B4-BE49-F238E27FC236}">
                  <a16:creationId xmlns:a16="http://schemas.microsoft.com/office/drawing/2014/main" id="{A59083EC-C382-2FB0-189D-07C979292230}"/>
                </a:ext>
              </a:extLst>
            </p:cNvPr>
            <p:cNvSpPr/>
            <p:nvPr/>
          </p:nvSpPr>
          <p:spPr>
            <a:xfrm>
              <a:off x="3144425" y="1319375"/>
              <a:ext cx="213450" cy="95575"/>
            </a:xfrm>
            <a:custGeom>
              <a:avLst/>
              <a:gdLst/>
              <a:ahLst/>
              <a:cxnLst/>
              <a:rect l="l" t="t" r="r" b="b"/>
              <a:pathLst>
                <a:path w="8538" h="3823" extrusionOk="0">
                  <a:moveTo>
                    <a:pt x="6155" y="1"/>
                  </a:moveTo>
                  <a:cubicBezTo>
                    <a:pt x="6054" y="1"/>
                    <a:pt x="5950" y="7"/>
                    <a:pt x="5842" y="20"/>
                  </a:cubicBezTo>
                  <a:cubicBezTo>
                    <a:pt x="4846" y="139"/>
                    <a:pt x="3874" y="469"/>
                    <a:pt x="2859" y="469"/>
                  </a:cubicBezTo>
                  <a:cubicBezTo>
                    <a:pt x="2396" y="469"/>
                    <a:pt x="1923" y="400"/>
                    <a:pt x="1435" y="211"/>
                  </a:cubicBezTo>
                  <a:cubicBezTo>
                    <a:pt x="1292" y="150"/>
                    <a:pt x="1133" y="113"/>
                    <a:pt x="974" y="113"/>
                  </a:cubicBezTo>
                  <a:cubicBezTo>
                    <a:pt x="501" y="113"/>
                    <a:pt x="35" y="441"/>
                    <a:pt x="35" y="1438"/>
                  </a:cubicBezTo>
                  <a:cubicBezTo>
                    <a:pt x="1" y="3771"/>
                    <a:pt x="1573" y="3580"/>
                    <a:pt x="3025" y="3822"/>
                  </a:cubicBezTo>
                  <a:cubicBezTo>
                    <a:pt x="4338" y="3753"/>
                    <a:pt x="5617" y="3408"/>
                    <a:pt x="6792" y="2837"/>
                  </a:cubicBezTo>
                  <a:cubicBezTo>
                    <a:pt x="7415" y="2526"/>
                    <a:pt x="8538" y="2474"/>
                    <a:pt x="8192" y="1541"/>
                  </a:cubicBezTo>
                  <a:cubicBezTo>
                    <a:pt x="7892" y="720"/>
                    <a:pt x="7218" y="1"/>
                    <a:pt x="6155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10957;p80">
              <a:extLst>
                <a:ext uri="{FF2B5EF4-FFF2-40B4-BE49-F238E27FC236}">
                  <a16:creationId xmlns:a16="http://schemas.microsoft.com/office/drawing/2014/main" id="{85BCBA91-284C-44DB-396C-FFCAD727AAED}"/>
                </a:ext>
              </a:extLst>
            </p:cNvPr>
            <p:cNvSpPr/>
            <p:nvPr/>
          </p:nvSpPr>
          <p:spPr>
            <a:xfrm>
              <a:off x="1453000" y="2509000"/>
              <a:ext cx="263575" cy="113100"/>
            </a:xfrm>
            <a:custGeom>
              <a:avLst/>
              <a:gdLst/>
              <a:ahLst/>
              <a:cxnLst/>
              <a:rect l="l" t="t" r="r" b="b"/>
              <a:pathLst>
                <a:path w="10543" h="4524" extrusionOk="0">
                  <a:moveTo>
                    <a:pt x="3451" y="1"/>
                  </a:moveTo>
                  <a:cubicBezTo>
                    <a:pt x="2445" y="1"/>
                    <a:pt x="1486" y="228"/>
                    <a:pt x="761" y="702"/>
                  </a:cubicBezTo>
                  <a:cubicBezTo>
                    <a:pt x="398" y="927"/>
                    <a:pt x="1" y="1186"/>
                    <a:pt x="243" y="1687"/>
                  </a:cubicBezTo>
                  <a:cubicBezTo>
                    <a:pt x="390" y="1972"/>
                    <a:pt x="609" y="2083"/>
                    <a:pt x="855" y="2083"/>
                  </a:cubicBezTo>
                  <a:cubicBezTo>
                    <a:pt x="1012" y="2083"/>
                    <a:pt x="1180" y="2038"/>
                    <a:pt x="1349" y="1964"/>
                  </a:cubicBezTo>
                  <a:cubicBezTo>
                    <a:pt x="1677" y="1828"/>
                    <a:pt x="1990" y="1776"/>
                    <a:pt x="2298" y="1776"/>
                  </a:cubicBezTo>
                  <a:cubicBezTo>
                    <a:pt x="2932" y="1776"/>
                    <a:pt x="3543" y="1997"/>
                    <a:pt x="4217" y="2171"/>
                  </a:cubicBezTo>
                  <a:cubicBezTo>
                    <a:pt x="5708" y="2540"/>
                    <a:pt x="6405" y="4523"/>
                    <a:pt x="7868" y="4523"/>
                  </a:cubicBezTo>
                  <a:cubicBezTo>
                    <a:pt x="8118" y="4523"/>
                    <a:pt x="8391" y="4465"/>
                    <a:pt x="8693" y="4332"/>
                  </a:cubicBezTo>
                  <a:cubicBezTo>
                    <a:pt x="8824" y="4337"/>
                    <a:pt x="8947" y="4340"/>
                    <a:pt x="9062" y="4340"/>
                  </a:cubicBezTo>
                  <a:cubicBezTo>
                    <a:pt x="10032" y="4340"/>
                    <a:pt x="10475" y="4144"/>
                    <a:pt x="10491" y="3727"/>
                  </a:cubicBezTo>
                  <a:cubicBezTo>
                    <a:pt x="10542" y="2897"/>
                    <a:pt x="9817" y="2724"/>
                    <a:pt x="9264" y="2517"/>
                  </a:cubicBezTo>
                  <a:cubicBezTo>
                    <a:pt x="8711" y="2292"/>
                    <a:pt x="8209" y="1964"/>
                    <a:pt x="7777" y="1567"/>
                  </a:cubicBezTo>
                  <a:cubicBezTo>
                    <a:pt x="6685" y="547"/>
                    <a:pt x="5011" y="1"/>
                    <a:pt x="3451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10958;p80">
              <a:extLst>
                <a:ext uri="{FF2B5EF4-FFF2-40B4-BE49-F238E27FC236}">
                  <a16:creationId xmlns:a16="http://schemas.microsoft.com/office/drawing/2014/main" id="{8B8A6C94-8C25-128C-5AF3-F01C8E3E50F5}"/>
                </a:ext>
              </a:extLst>
            </p:cNvPr>
            <p:cNvSpPr/>
            <p:nvPr/>
          </p:nvSpPr>
          <p:spPr>
            <a:xfrm>
              <a:off x="1880725" y="1020350"/>
              <a:ext cx="162025" cy="112025"/>
            </a:xfrm>
            <a:custGeom>
              <a:avLst/>
              <a:gdLst/>
              <a:ahLst/>
              <a:cxnLst/>
              <a:rect l="l" t="t" r="r" b="b"/>
              <a:pathLst>
                <a:path w="6481" h="4481" extrusionOk="0">
                  <a:moveTo>
                    <a:pt x="4294" y="0"/>
                  </a:moveTo>
                  <a:cubicBezTo>
                    <a:pt x="4062" y="0"/>
                    <a:pt x="3818" y="44"/>
                    <a:pt x="3560" y="144"/>
                  </a:cubicBezTo>
                  <a:cubicBezTo>
                    <a:pt x="3094" y="317"/>
                    <a:pt x="2593" y="541"/>
                    <a:pt x="2886" y="1198"/>
                  </a:cubicBezTo>
                  <a:cubicBezTo>
                    <a:pt x="3042" y="1509"/>
                    <a:pt x="3232" y="1820"/>
                    <a:pt x="3457" y="2114"/>
                  </a:cubicBezTo>
                  <a:cubicBezTo>
                    <a:pt x="3147" y="2260"/>
                    <a:pt x="2851" y="2348"/>
                    <a:pt x="2545" y="2348"/>
                  </a:cubicBezTo>
                  <a:cubicBezTo>
                    <a:pt x="2270" y="2348"/>
                    <a:pt x="1987" y="2277"/>
                    <a:pt x="1677" y="2114"/>
                  </a:cubicBezTo>
                  <a:cubicBezTo>
                    <a:pt x="1531" y="2037"/>
                    <a:pt x="1393" y="2002"/>
                    <a:pt x="1262" y="2002"/>
                  </a:cubicBezTo>
                  <a:cubicBezTo>
                    <a:pt x="867" y="2002"/>
                    <a:pt x="545" y="2320"/>
                    <a:pt x="311" y="2736"/>
                  </a:cubicBezTo>
                  <a:cubicBezTo>
                    <a:pt x="0" y="3289"/>
                    <a:pt x="467" y="3479"/>
                    <a:pt x="813" y="3807"/>
                  </a:cubicBezTo>
                  <a:cubicBezTo>
                    <a:pt x="1327" y="4309"/>
                    <a:pt x="1837" y="4480"/>
                    <a:pt x="2344" y="4480"/>
                  </a:cubicBezTo>
                  <a:cubicBezTo>
                    <a:pt x="3164" y="4480"/>
                    <a:pt x="3976" y="4032"/>
                    <a:pt x="4787" y="3807"/>
                  </a:cubicBezTo>
                  <a:lnTo>
                    <a:pt x="5081" y="3514"/>
                  </a:lnTo>
                  <a:cubicBezTo>
                    <a:pt x="5237" y="2788"/>
                    <a:pt x="5098" y="1924"/>
                    <a:pt x="6204" y="1734"/>
                  </a:cubicBezTo>
                  <a:cubicBezTo>
                    <a:pt x="6464" y="1699"/>
                    <a:pt x="6481" y="1129"/>
                    <a:pt x="6222" y="921"/>
                  </a:cubicBezTo>
                  <a:cubicBezTo>
                    <a:pt x="5644" y="436"/>
                    <a:pt x="5027" y="0"/>
                    <a:pt x="4294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10959;p80">
              <a:extLst>
                <a:ext uri="{FF2B5EF4-FFF2-40B4-BE49-F238E27FC236}">
                  <a16:creationId xmlns:a16="http://schemas.microsoft.com/office/drawing/2014/main" id="{988B2959-42C6-848D-A0F5-83F1BE353B5C}"/>
                </a:ext>
              </a:extLst>
            </p:cNvPr>
            <p:cNvSpPr/>
            <p:nvPr/>
          </p:nvSpPr>
          <p:spPr>
            <a:xfrm>
              <a:off x="1688900" y="2603450"/>
              <a:ext cx="165050" cy="73950"/>
            </a:xfrm>
            <a:custGeom>
              <a:avLst/>
              <a:gdLst/>
              <a:ahLst/>
              <a:cxnLst/>
              <a:rect l="l" t="t" r="r" b="b"/>
              <a:pathLst>
                <a:path w="6602" h="2958" extrusionOk="0">
                  <a:moveTo>
                    <a:pt x="2842" y="0"/>
                  </a:moveTo>
                  <a:cubicBezTo>
                    <a:pt x="2588" y="0"/>
                    <a:pt x="2332" y="28"/>
                    <a:pt x="2074" y="87"/>
                  </a:cubicBezTo>
                  <a:cubicBezTo>
                    <a:pt x="1452" y="225"/>
                    <a:pt x="1055" y="1331"/>
                    <a:pt x="225" y="1694"/>
                  </a:cubicBezTo>
                  <a:cubicBezTo>
                    <a:pt x="0" y="1798"/>
                    <a:pt x="277" y="2247"/>
                    <a:pt x="536" y="2454"/>
                  </a:cubicBezTo>
                  <a:cubicBezTo>
                    <a:pt x="957" y="2789"/>
                    <a:pt x="2162" y="2958"/>
                    <a:pt x="3373" y="2958"/>
                  </a:cubicBezTo>
                  <a:cubicBezTo>
                    <a:pt x="4599" y="2958"/>
                    <a:pt x="5830" y="2785"/>
                    <a:pt x="6256" y="2437"/>
                  </a:cubicBezTo>
                  <a:cubicBezTo>
                    <a:pt x="6395" y="2282"/>
                    <a:pt x="6515" y="2109"/>
                    <a:pt x="6602" y="1919"/>
                  </a:cubicBezTo>
                  <a:cubicBezTo>
                    <a:pt x="6481" y="1711"/>
                    <a:pt x="6429" y="1469"/>
                    <a:pt x="6291" y="1366"/>
                  </a:cubicBezTo>
                  <a:cubicBezTo>
                    <a:pt x="5231" y="636"/>
                    <a:pt x="4065" y="0"/>
                    <a:pt x="2842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10960;p80">
              <a:extLst>
                <a:ext uri="{FF2B5EF4-FFF2-40B4-BE49-F238E27FC236}">
                  <a16:creationId xmlns:a16="http://schemas.microsoft.com/office/drawing/2014/main" id="{0E66E3B9-0566-576B-9086-0E21D524BDAC}"/>
                </a:ext>
              </a:extLst>
            </p:cNvPr>
            <p:cNvSpPr/>
            <p:nvPr/>
          </p:nvSpPr>
          <p:spPr>
            <a:xfrm>
              <a:off x="1922200" y="1344925"/>
              <a:ext cx="129625" cy="64525"/>
            </a:xfrm>
            <a:custGeom>
              <a:avLst/>
              <a:gdLst/>
              <a:ahLst/>
              <a:cxnLst/>
              <a:rect l="l" t="t" r="r" b="b"/>
              <a:pathLst>
                <a:path w="5185" h="2581" extrusionOk="0">
                  <a:moveTo>
                    <a:pt x="1901" y="1"/>
                  </a:moveTo>
                  <a:lnTo>
                    <a:pt x="1227" y="467"/>
                  </a:lnTo>
                  <a:cubicBezTo>
                    <a:pt x="934" y="1020"/>
                    <a:pt x="0" y="1383"/>
                    <a:pt x="415" y="2144"/>
                  </a:cubicBezTo>
                  <a:cubicBezTo>
                    <a:pt x="602" y="2475"/>
                    <a:pt x="838" y="2581"/>
                    <a:pt x="1096" y="2581"/>
                  </a:cubicBezTo>
                  <a:cubicBezTo>
                    <a:pt x="1482" y="2581"/>
                    <a:pt x="1915" y="2344"/>
                    <a:pt x="2299" y="2282"/>
                  </a:cubicBezTo>
                  <a:cubicBezTo>
                    <a:pt x="2552" y="2236"/>
                    <a:pt x="2806" y="2213"/>
                    <a:pt x="3064" y="2213"/>
                  </a:cubicBezTo>
                  <a:cubicBezTo>
                    <a:pt x="3194" y="2213"/>
                    <a:pt x="3324" y="2219"/>
                    <a:pt x="3457" y="2230"/>
                  </a:cubicBezTo>
                  <a:cubicBezTo>
                    <a:pt x="3730" y="2245"/>
                    <a:pt x="4039" y="2324"/>
                    <a:pt x="4314" y="2324"/>
                  </a:cubicBezTo>
                  <a:cubicBezTo>
                    <a:pt x="4665" y="2324"/>
                    <a:pt x="4959" y="2195"/>
                    <a:pt x="5047" y="1643"/>
                  </a:cubicBezTo>
                  <a:cubicBezTo>
                    <a:pt x="5185" y="744"/>
                    <a:pt x="4563" y="277"/>
                    <a:pt x="3768" y="122"/>
                  </a:cubicBezTo>
                  <a:cubicBezTo>
                    <a:pt x="3146" y="35"/>
                    <a:pt x="2523" y="1"/>
                    <a:pt x="1901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10961;p80">
              <a:extLst>
                <a:ext uri="{FF2B5EF4-FFF2-40B4-BE49-F238E27FC236}">
                  <a16:creationId xmlns:a16="http://schemas.microsoft.com/office/drawing/2014/main" id="{F7C9B0D5-6F12-D8C1-3DA0-6456D3DD6AE9}"/>
                </a:ext>
              </a:extLst>
            </p:cNvPr>
            <p:cNvSpPr/>
            <p:nvPr/>
          </p:nvSpPr>
          <p:spPr>
            <a:xfrm>
              <a:off x="1787825" y="1030550"/>
              <a:ext cx="94250" cy="44825"/>
            </a:xfrm>
            <a:custGeom>
              <a:avLst/>
              <a:gdLst/>
              <a:ahLst/>
              <a:cxnLst/>
              <a:rect l="l" t="t" r="r" b="b"/>
              <a:pathLst>
                <a:path w="3770" h="1793" extrusionOk="0">
                  <a:moveTo>
                    <a:pt x="2929" y="0"/>
                  </a:moveTo>
                  <a:cubicBezTo>
                    <a:pt x="2800" y="0"/>
                    <a:pt x="2676" y="17"/>
                    <a:pt x="2576" y="47"/>
                  </a:cubicBezTo>
                  <a:cubicBezTo>
                    <a:pt x="2412" y="93"/>
                    <a:pt x="2229" y="105"/>
                    <a:pt x="2039" y="105"/>
                  </a:cubicBezTo>
                  <a:cubicBezTo>
                    <a:pt x="1817" y="105"/>
                    <a:pt x="1584" y="88"/>
                    <a:pt x="1360" y="88"/>
                  </a:cubicBezTo>
                  <a:cubicBezTo>
                    <a:pt x="763" y="88"/>
                    <a:pt x="227" y="208"/>
                    <a:pt x="105" y="1084"/>
                  </a:cubicBezTo>
                  <a:cubicBezTo>
                    <a:pt x="1" y="1792"/>
                    <a:pt x="865" y="1688"/>
                    <a:pt x="1504" y="1740"/>
                  </a:cubicBezTo>
                  <a:cubicBezTo>
                    <a:pt x="2265" y="1568"/>
                    <a:pt x="3405" y="1792"/>
                    <a:pt x="3665" y="652"/>
                  </a:cubicBezTo>
                  <a:cubicBezTo>
                    <a:pt x="3769" y="167"/>
                    <a:pt x="3329" y="0"/>
                    <a:pt x="2929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10962;p80">
              <a:extLst>
                <a:ext uri="{FF2B5EF4-FFF2-40B4-BE49-F238E27FC236}">
                  <a16:creationId xmlns:a16="http://schemas.microsoft.com/office/drawing/2014/main" id="{BB02BF22-D12C-3FAF-1889-0484DD6CC676}"/>
                </a:ext>
              </a:extLst>
            </p:cNvPr>
            <p:cNvSpPr/>
            <p:nvPr/>
          </p:nvSpPr>
          <p:spPr>
            <a:xfrm>
              <a:off x="1870350" y="2639275"/>
              <a:ext cx="59225" cy="44325"/>
            </a:xfrm>
            <a:custGeom>
              <a:avLst/>
              <a:gdLst/>
              <a:ahLst/>
              <a:cxnLst/>
              <a:rect l="l" t="t" r="r" b="b"/>
              <a:pathLst>
                <a:path w="2369" h="1773" extrusionOk="0">
                  <a:moveTo>
                    <a:pt x="922" y="1"/>
                  </a:moveTo>
                  <a:cubicBezTo>
                    <a:pt x="435" y="1"/>
                    <a:pt x="1" y="156"/>
                    <a:pt x="1" y="762"/>
                  </a:cubicBezTo>
                  <a:cubicBezTo>
                    <a:pt x="1" y="1414"/>
                    <a:pt x="337" y="1773"/>
                    <a:pt x="982" y="1773"/>
                  </a:cubicBezTo>
                  <a:cubicBezTo>
                    <a:pt x="1038" y="1773"/>
                    <a:pt x="1097" y="1770"/>
                    <a:pt x="1158" y="1765"/>
                  </a:cubicBezTo>
                  <a:cubicBezTo>
                    <a:pt x="1711" y="1730"/>
                    <a:pt x="2368" y="1678"/>
                    <a:pt x="2299" y="901"/>
                  </a:cubicBezTo>
                  <a:cubicBezTo>
                    <a:pt x="2264" y="175"/>
                    <a:pt x="1642" y="2"/>
                    <a:pt x="1003" y="2"/>
                  </a:cubicBezTo>
                  <a:cubicBezTo>
                    <a:pt x="976" y="1"/>
                    <a:pt x="949" y="1"/>
                    <a:pt x="922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10963;p80">
              <a:extLst>
                <a:ext uri="{FF2B5EF4-FFF2-40B4-BE49-F238E27FC236}">
                  <a16:creationId xmlns:a16="http://schemas.microsoft.com/office/drawing/2014/main" id="{F14ACCF7-2A58-2EA4-A8B0-ABA297756DFC}"/>
                </a:ext>
              </a:extLst>
            </p:cNvPr>
            <p:cNvSpPr/>
            <p:nvPr/>
          </p:nvSpPr>
          <p:spPr>
            <a:xfrm>
              <a:off x="2264800" y="4630125"/>
              <a:ext cx="62675" cy="39225"/>
            </a:xfrm>
            <a:custGeom>
              <a:avLst/>
              <a:gdLst/>
              <a:ahLst/>
              <a:cxnLst/>
              <a:rect l="l" t="t" r="r" b="b"/>
              <a:pathLst>
                <a:path w="2507" h="1569" extrusionOk="0">
                  <a:moveTo>
                    <a:pt x="1176" y="52"/>
                  </a:moveTo>
                  <a:cubicBezTo>
                    <a:pt x="675" y="87"/>
                    <a:pt x="1" y="1"/>
                    <a:pt x="1" y="813"/>
                  </a:cubicBezTo>
                  <a:cubicBezTo>
                    <a:pt x="1" y="1241"/>
                    <a:pt x="341" y="1568"/>
                    <a:pt x="742" y="1568"/>
                  </a:cubicBezTo>
                  <a:cubicBezTo>
                    <a:pt x="811" y="1568"/>
                    <a:pt x="881" y="1559"/>
                    <a:pt x="951" y="1539"/>
                  </a:cubicBezTo>
                  <a:cubicBezTo>
                    <a:pt x="1077" y="1515"/>
                    <a:pt x="1221" y="1513"/>
                    <a:pt x="1369" y="1513"/>
                  </a:cubicBezTo>
                  <a:cubicBezTo>
                    <a:pt x="1403" y="1513"/>
                    <a:pt x="1437" y="1513"/>
                    <a:pt x="1471" y="1513"/>
                  </a:cubicBezTo>
                  <a:cubicBezTo>
                    <a:pt x="1947" y="1513"/>
                    <a:pt x="2434" y="1491"/>
                    <a:pt x="2472" y="830"/>
                  </a:cubicBezTo>
                  <a:cubicBezTo>
                    <a:pt x="2506" y="52"/>
                    <a:pt x="1781" y="87"/>
                    <a:pt x="1176" y="52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10964;p80">
              <a:extLst>
                <a:ext uri="{FF2B5EF4-FFF2-40B4-BE49-F238E27FC236}">
                  <a16:creationId xmlns:a16="http://schemas.microsoft.com/office/drawing/2014/main" id="{A7E6681A-9857-3D90-8E10-554D92BF64D7}"/>
                </a:ext>
              </a:extLst>
            </p:cNvPr>
            <p:cNvSpPr/>
            <p:nvPr/>
          </p:nvSpPr>
          <p:spPr>
            <a:xfrm>
              <a:off x="1604225" y="2645350"/>
              <a:ext cx="56175" cy="38275"/>
            </a:xfrm>
            <a:custGeom>
              <a:avLst/>
              <a:gdLst/>
              <a:ahLst/>
              <a:cxnLst/>
              <a:rect l="l" t="t" r="r" b="b"/>
              <a:pathLst>
                <a:path w="2247" h="1531" extrusionOk="0">
                  <a:moveTo>
                    <a:pt x="1003" y="1"/>
                  </a:moveTo>
                  <a:cubicBezTo>
                    <a:pt x="536" y="35"/>
                    <a:pt x="0" y="1"/>
                    <a:pt x="17" y="554"/>
                  </a:cubicBezTo>
                  <a:cubicBezTo>
                    <a:pt x="17" y="1297"/>
                    <a:pt x="640" y="1452"/>
                    <a:pt x="1262" y="1522"/>
                  </a:cubicBezTo>
                  <a:cubicBezTo>
                    <a:pt x="1319" y="1528"/>
                    <a:pt x="1377" y="1531"/>
                    <a:pt x="1434" y="1531"/>
                  </a:cubicBezTo>
                  <a:cubicBezTo>
                    <a:pt x="1857" y="1531"/>
                    <a:pt x="2247" y="1352"/>
                    <a:pt x="2247" y="865"/>
                  </a:cubicBezTo>
                  <a:cubicBezTo>
                    <a:pt x="2247" y="18"/>
                    <a:pt x="1504" y="139"/>
                    <a:pt x="1003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10965;p80">
              <a:extLst>
                <a:ext uri="{FF2B5EF4-FFF2-40B4-BE49-F238E27FC236}">
                  <a16:creationId xmlns:a16="http://schemas.microsoft.com/office/drawing/2014/main" id="{C27308C9-859A-9823-7831-23D21463B998}"/>
                </a:ext>
              </a:extLst>
            </p:cNvPr>
            <p:cNvSpPr/>
            <p:nvPr/>
          </p:nvSpPr>
          <p:spPr>
            <a:xfrm>
              <a:off x="7045475" y="3384250"/>
              <a:ext cx="47375" cy="53550"/>
            </a:xfrm>
            <a:custGeom>
              <a:avLst/>
              <a:gdLst/>
              <a:ahLst/>
              <a:cxnLst/>
              <a:rect l="l" t="t" r="r" b="b"/>
              <a:pathLst>
                <a:path w="1895" h="2142" extrusionOk="0">
                  <a:moveTo>
                    <a:pt x="416" y="1"/>
                  </a:moveTo>
                  <a:cubicBezTo>
                    <a:pt x="93" y="1"/>
                    <a:pt x="0" y="338"/>
                    <a:pt x="63" y="618"/>
                  </a:cubicBezTo>
                  <a:cubicBezTo>
                    <a:pt x="201" y="1292"/>
                    <a:pt x="339" y="2035"/>
                    <a:pt x="1203" y="2139"/>
                  </a:cubicBezTo>
                  <a:cubicBezTo>
                    <a:pt x="1224" y="2141"/>
                    <a:pt x="1245" y="2142"/>
                    <a:pt x="1265" y="2142"/>
                  </a:cubicBezTo>
                  <a:cubicBezTo>
                    <a:pt x="1645" y="2142"/>
                    <a:pt x="1895" y="1835"/>
                    <a:pt x="1895" y="1327"/>
                  </a:cubicBezTo>
                  <a:cubicBezTo>
                    <a:pt x="1670" y="705"/>
                    <a:pt x="1273" y="169"/>
                    <a:pt x="529" y="13"/>
                  </a:cubicBezTo>
                  <a:cubicBezTo>
                    <a:pt x="489" y="5"/>
                    <a:pt x="451" y="1"/>
                    <a:pt x="416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10966;p80">
              <a:extLst>
                <a:ext uri="{FF2B5EF4-FFF2-40B4-BE49-F238E27FC236}">
                  <a16:creationId xmlns:a16="http://schemas.microsoft.com/office/drawing/2014/main" id="{47DF8ED7-B365-C586-5BB9-E35988C75132}"/>
                </a:ext>
              </a:extLst>
            </p:cNvPr>
            <p:cNvSpPr/>
            <p:nvPr/>
          </p:nvSpPr>
          <p:spPr>
            <a:xfrm>
              <a:off x="4291500" y="1250400"/>
              <a:ext cx="54900" cy="37900"/>
            </a:xfrm>
            <a:custGeom>
              <a:avLst/>
              <a:gdLst/>
              <a:ahLst/>
              <a:cxnLst/>
              <a:rect l="l" t="t" r="r" b="b"/>
              <a:pathLst>
                <a:path w="2196" h="1516" extrusionOk="0">
                  <a:moveTo>
                    <a:pt x="1013" y="0"/>
                  </a:moveTo>
                  <a:cubicBezTo>
                    <a:pt x="676" y="0"/>
                    <a:pt x="369" y="181"/>
                    <a:pt x="190" y="464"/>
                  </a:cubicBezTo>
                  <a:cubicBezTo>
                    <a:pt x="0" y="706"/>
                    <a:pt x="35" y="1034"/>
                    <a:pt x="259" y="1224"/>
                  </a:cubicBezTo>
                  <a:cubicBezTo>
                    <a:pt x="466" y="1444"/>
                    <a:pt x="678" y="1515"/>
                    <a:pt x="892" y="1515"/>
                  </a:cubicBezTo>
                  <a:cubicBezTo>
                    <a:pt x="1233" y="1515"/>
                    <a:pt x="1579" y="1336"/>
                    <a:pt x="1919" y="1293"/>
                  </a:cubicBezTo>
                  <a:cubicBezTo>
                    <a:pt x="2195" y="567"/>
                    <a:pt x="1901" y="153"/>
                    <a:pt x="1175" y="14"/>
                  </a:cubicBezTo>
                  <a:cubicBezTo>
                    <a:pt x="1121" y="5"/>
                    <a:pt x="1066" y="0"/>
                    <a:pt x="1013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10967;p80">
              <a:extLst>
                <a:ext uri="{FF2B5EF4-FFF2-40B4-BE49-F238E27FC236}">
                  <a16:creationId xmlns:a16="http://schemas.microsoft.com/office/drawing/2014/main" id="{6DD4E907-351E-987E-49A2-9EF84BE9B602}"/>
                </a:ext>
              </a:extLst>
            </p:cNvPr>
            <p:cNvSpPr/>
            <p:nvPr/>
          </p:nvSpPr>
          <p:spPr>
            <a:xfrm>
              <a:off x="6323375" y="3314875"/>
              <a:ext cx="50125" cy="37325"/>
            </a:xfrm>
            <a:custGeom>
              <a:avLst/>
              <a:gdLst/>
              <a:ahLst/>
              <a:cxnLst/>
              <a:rect l="l" t="t" r="r" b="b"/>
              <a:pathLst>
                <a:path w="2005" h="1493" extrusionOk="0">
                  <a:moveTo>
                    <a:pt x="754" y="1"/>
                  </a:moveTo>
                  <a:cubicBezTo>
                    <a:pt x="409" y="1"/>
                    <a:pt x="93" y="129"/>
                    <a:pt x="52" y="542"/>
                  </a:cubicBezTo>
                  <a:cubicBezTo>
                    <a:pt x="0" y="1198"/>
                    <a:pt x="536" y="1371"/>
                    <a:pt x="1106" y="1492"/>
                  </a:cubicBezTo>
                  <a:cubicBezTo>
                    <a:pt x="1504" y="1475"/>
                    <a:pt x="1988" y="1440"/>
                    <a:pt x="1988" y="905"/>
                  </a:cubicBezTo>
                  <a:cubicBezTo>
                    <a:pt x="2005" y="317"/>
                    <a:pt x="1504" y="110"/>
                    <a:pt x="1020" y="23"/>
                  </a:cubicBezTo>
                  <a:cubicBezTo>
                    <a:pt x="932" y="9"/>
                    <a:pt x="842" y="1"/>
                    <a:pt x="754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10968;p80">
              <a:extLst>
                <a:ext uri="{FF2B5EF4-FFF2-40B4-BE49-F238E27FC236}">
                  <a16:creationId xmlns:a16="http://schemas.microsoft.com/office/drawing/2014/main" id="{9AF92B9A-C248-939B-CEBC-5A2BD8DD50E9}"/>
                </a:ext>
              </a:extLst>
            </p:cNvPr>
            <p:cNvSpPr/>
            <p:nvPr/>
          </p:nvSpPr>
          <p:spPr>
            <a:xfrm>
              <a:off x="6680225" y="1890750"/>
              <a:ext cx="46075" cy="42200"/>
            </a:xfrm>
            <a:custGeom>
              <a:avLst/>
              <a:gdLst/>
              <a:ahLst/>
              <a:cxnLst/>
              <a:rect l="l" t="t" r="r" b="b"/>
              <a:pathLst>
                <a:path w="1843" h="1688" extrusionOk="0">
                  <a:moveTo>
                    <a:pt x="1376" y="1"/>
                  </a:moveTo>
                  <a:cubicBezTo>
                    <a:pt x="1345" y="1"/>
                    <a:pt x="1312" y="4"/>
                    <a:pt x="1280" y="11"/>
                  </a:cubicBezTo>
                  <a:cubicBezTo>
                    <a:pt x="675" y="29"/>
                    <a:pt x="156" y="478"/>
                    <a:pt x="70" y="1083"/>
                  </a:cubicBezTo>
                  <a:cubicBezTo>
                    <a:pt x="1" y="1446"/>
                    <a:pt x="208" y="1670"/>
                    <a:pt x="675" y="1688"/>
                  </a:cubicBezTo>
                  <a:cubicBezTo>
                    <a:pt x="1193" y="1480"/>
                    <a:pt x="1643" y="1135"/>
                    <a:pt x="1781" y="513"/>
                  </a:cubicBezTo>
                  <a:cubicBezTo>
                    <a:pt x="1843" y="250"/>
                    <a:pt x="1642" y="1"/>
                    <a:pt x="1376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10969;p80">
              <a:extLst>
                <a:ext uri="{FF2B5EF4-FFF2-40B4-BE49-F238E27FC236}">
                  <a16:creationId xmlns:a16="http://schemas.microsoft.com/office/drawing/2014/main" id="{B38262C8-A326-CF45-92F2-D3E2D0F3BF1A}"/>
                </a:ext>
              </a:extLst>
            </p:cNvPr>
            <p:cNvSpPr/>
            <p:nvPr/>
          </p:nvSpPr>
          <p:spPr>
            <a:xfrm>
              <a:off x="3550975" y="1955400"/>
              <a:ext cx="53600" cy="126175"/>
            </a:xfrm>
            <a:custGeom>
              <a:avLst/>
              <a:gdLst/>
              <a:ahLst/>
              <a:cxnLst/>
              <a:rect l="l" t="t" r="r" b="b"/>
              <a:pathLst>
                <a:path w="2144" h="5047" extrusionOk="0">
                  <a:moveTo>
                    <a:pt x="1297" y="0"/>
                  </a:moveTo>
                  <a:cubicBezTo>
                    <a:pt x="778" y="0"/>
                    <a:pt x="260" y="363"/>
                    <a:pt x="364" y="795"/>
                  </a:cubicBezTo>
                  <a:cubicBezTo>
                    <a:pt x="640" y="1850"/>
                    <a:pt x="122" y="2731"/>
                    <a:pt x="1" y="3491"/>
                  </a:cubicBezTo>
                  <a:cubicBezTo>
                    <a:pt x="70" y="4338"/>
                    <a:pt x="1" y="5047"/>
                    <a:pt x="951" y="5047"/>
                  </a:cubicBezTo>
                  <a:cubicBezTo>
                    <a:pt x="1781" y="5047"/>
                    <a:pt x="1971" y="4476"/>
                    <a:pt x="2040" y="3785"/>
                  </a:cubicBezTo>
                  <a:cubicBezTo>
                    <a:pt x="2144" y="2748"/>
                    <a:pt x="1642" y="1746"/>
                    <a:pt x="1936" y="692"/>
                  </a:cubicBezTo>
                  <a:cubicBezTo>
                    <a:pt x="2023" y="381"/>
                    <a:pt x="1712" y="0"/>
                    <a:pt x="1297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10970;p80">
              <a:extLst>
                <a:ext uri="{FF2B5EF4-FFF2-40B4-BE49-F238E27FC236}">
                  <a16:creationId xmlns:a16="http://schemas.microsoft.com/office/drawing/2014/main" id="{ED65FAFB-E7BE-CCC1-FCB9-7BD5E2624BBD}"/>
                </a:ext>
              </a:extLst>
            </p:cNvPr>
            <p:cNvSpPr/>
            <p:nvPr/>
          </p:nvSpPr>
          <p:spPr>
            <a:xfrm>
              <a:off x="3910000" y="2161475"/>
              <a:ext cx="93775" cy="45400"/>
            </a:xfrm>
            <a:custGeom>
              <a:avLst/>
              <a:gdLst/>
              <a:ahLst/>
              <a:cxnLst/>
              <a:rect l="l" t="t" r="r" b="b"/>
              <a:pathLst>
                <a:path w="3751" h="1816" extrusionOk="0">
                  <a:moveTo>
                    <a:pt x="1383" y="1"/>
                  </a:moveTo>
                  <a:cubicBezTo>
                    <a:pt x="778" y="87"/>
                    <a:pt x="1" y="18"/>
                    <a:pt x="122" y="640"/>
                  </a:cubicBezTo>
                  <a:cubicBezTo>
                    <a:pt x="329" y="1625"/>
                    <a:pt x="1297" y="1815"/>
                    <a:pt x="2195" y="1815"/>
                  </a:cubicBezTo>
                  <a:cubicBezTo>
                    <a:pt x="2835" y="1815"/>
                    <a:pt x="3751" y="1712"/>
                    <a:pt x="3613" y="951"/>
                  </a:cubicBezTo>
                  <a:cubicBezTo>
                    <a:pt x="3466" y="240"/>
                    <a:pt x="2970" y="188"/>
                    <a:pt x="2455" y="188"/>
                  </a:cubicBezTo>
                  <a:cubicBezTo>
                    <a:pt x="2366" y="188"/>
                    <a:pt x="2276" y="189"/>
                    <a:pt x="2187" y="189"/>
                  </a:cubicBezTo>
                  <a:cubicBezTo>
                    <a:pt x="1880" y="189"/>
                    <a:pt x="1588" y="170"/>
                    <a:pt x="1383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10971;p80">
              <a:extLst>
                <a:ext uri="{FF2B5EF4-FFF2-40B4-BE49-F238E27FC236}">
                  <a16:creationId xmlns:a16="http://schemas.microsoft.com/office/drawing/2014/main" id="{766560C8-9C22-FD5A-A136-507A9E6605F7}"/>
                </a:ext>
              </a:extLst>
            </p:cNvPr>
            <p:cNvSpPr/>
            <p:nvPr/>
          </p:nvSpPr>
          <p:spPr>
            <a:xfrm>
              <a:off x="4125600" y="2173875"/>
              <a:ext cx="50575" cy="37600"/>
            </a:xfrm>
            <a:custGeom>
              <a:avLst/>
              <a:gdLst/>
              <a:ahLst/>
              <a:cxnLst/>
              <a:rect l="l" t="t" r="r" b="b"/>
              <a:pathLst>
                <a:path w="2023" h="1504" extrusionOk="0">
                  <a:moveTo>
                    <a:pt x="1294" y="1"/>
                  </a:moveTo>
                  <a:cubicBezTo>
                    <a:pt x="1249" y="1"/>
                    <a:pt x="1204" y="3"/>
                    <a:pt x="1158" y="6"/>
                  </a:cubicBezTo>
                  <a:cubicBezTo>
                    <a:pt x="691" y="144"/>
                    <a:pt x="0" y="109"/>
                    <a:pt x="17" y="904"/>
                  </a:cubicBezTo>
                  <a:cubicBezTo>
                    <a:pt x="17" y="1352"/>
                    <a:pt x="364" y="1503"/>
                    <a:pt x="748" y="1503"/>
                  </a:cubicBezTo>
                  <a:cubicBezTo>
                    <a:pt x="809" y="1503"/>
                    <a:pt x="872" y="1499"/>
                    <a:pt x="933" y="1492"/>
                  </a:cubicBezTo>
                  <a:cubicBezTo>
                    <a:pt x="1486" y="1440"/>
                    <a:pt x="2022" y="1233"/>
                    <a:pt x="2022" y="593"/>
                  </a:cubicBezTo>
                  <a:cubicBezTo>
                    <a:pt x="2022" y="156"/>
                    <a:pt x="1711" y="1"/>
                    <a:pt x="1294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10972;p80">
              <a:extLst>
                <a:ext uri="{FF2B5EF4-FFF2-40B4-BE49-F238E27FC236}">
                  <a16:creationId xmlns:a16="http://schemas.microsoft.com/office/drawing/2014/main" id="{DB1B97A5-6355-4D1B-2410-537795FDBC36}"/>
                </a:ext>
              </a:extLst>
            </p:cNvPr>
            <p:cNvSpPr/>
            <p:nvPr/>
          </p:nvSpPr>
          <p:spPr>
            <a:xfrm>
              <a:off x="3415775" y="2038325"/>
              <a:ext cx="44925" cy="38175"/>
            </a:xfrm>
            <a:custGeom>
              <a:avLst/>
              <a:gdLst/>
              <a:ahLst/>
              <a:cxnLst/>
              <a:rect l="l" t="t" r="r" b="b"/>
              <a:pathLst>
                <a:path w="1797" h="1527" extrusionOk="0">
                  <a:moveTo>
                    <a:pt x="812" y="0"/>
                  </a:moveTo>
                  <a:cubicBezTo>
                    <a:pt x="383" y="0"/>
                    <a:pt x="1" y="211"/>
                    <a:pt x="34" y="710"/>
                  </a:cubicBezTo>
                  <a:cubicBezTo>
                    <a:pt x="34" y="1164"/>
                    <a:pt x="400" y="1527"/>
                    <a:pt x="845" y="1527"/>
                  </a:cubicBezTo>
                  <a:cubicBezTo>
                    <a:pt x="874" y="1527"/>
                    <a:pt x="903" y="1525"/>
                    <a:pt x="933" y="1522"/>
                  </a:cubicBezTo>
                  <a:cubicBezTo>
                    <a:pt x="1382" y="1522"/>
                    <a:pt x="1745" y="1315"/>
                    <a:pt x="1797" y="796"/>
                  </a:cubicBezTo>
                  <a:cubicBezTo>
                    <a:pt x="1745" y="226"/>
                    <a:pt x="1330" y="19"/>
                    <a:pt x="864" y="1"/>
                  </a:cubicBezTo>
                  <a:cubicBezTo>
                    <a:pt x="847" y="1"/>
                    <a:pt x="829" y="0"/>
                    <a:pt x="812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0" name="Google Shape;10989;p80">
            <a:extLst>
              <a:ext uri="{FF2B5EF4-FFF2-40B4-BE49-F238E27FC236}">
                <a16:creationId xmlns:a16="http://schemas.microsoft.com/office/drawing/2014/main" id="{72A63880-26EA-5B28-9495-6715C5732663}"/>
              </a:ext>
            </a:extLst>
          </p:cNvPr>
          <p:cNvGrpSpPr/>
          <p:nvPr/>
        </p:nvGrpSpPr>
        <p:grpSpPr>
          <a:xfrm>
            <a:off x="1090185" y="1550645"/>
            <a:ext cx="476329" cy="635899"/>
            <a:chOff x="8304647" y="3738687"/>
            <a:chExt cx="230283" cy="320956"/>
          </a:xfrm>
        </p:grpSpPr>
        <p:sp>
          <p:nvSpPr>
            <p:cNvPr id="61" name="Google Shape;10990;p80">
              <a:extLst>
                <a:ext uri="{FF2B5EF4-FFF2-40B4-BE49-F238E27FC236}">
                  <a16:creationId xmlns:a16="http://schemas.microsoft.com/office/drawing/2014/main" id="{E6ED035B-E0C1-5AC8-6E1B-34F189BBC062}"/>
                </a:ext>
              </a:extLst>
            </p:cNvPr>
            <p:cNvSpPr/>
            <p:nvPr/>
          </p:nvSpPr>
          <p:spPr>
            <a:xfrm>
              <a:off x="8335725" y="3738687"/>
              <a:ext cx="12248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solidFill>
              <a:srgbClr val="E1E7E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10991;p80">
              <a:extLst>
                <a:ext uri="{FF2B5EF4-FFF2-40B4-BE49-F238E27FC236}">
                  <a16:creationId xmlns:a16="http://schemas.microsoft.com/office/drawing/2014/main" id="{CD654A78-CA41-059C-BAC7-0DDE94EAB9B2}"/>
                </a:ext>
              </a:extLst>
            </p:cNvPr>
            <p:cNvSpPr/>
            <p:nvPr/>
          </p:nvSpPr>
          <p:spPr>
            <a:xfrm>
              <a:off x="8343151" y="3750444"/>
              <a:ext cx="191779" cy="86151"/>
            </a:xfrm>
            <a:custGeom>
              <a:avLst/>
              <a:gdLst/>
              <a:ahLst/>
              <a:cxnLst/>
              <a:rect l="l" t="t" r="r" b="b"/>
              <a:pathLst>
                <a:path w="21092" h="9475" extrusionOk="0">
                  <a:moveTo>
                    <a:pt x="1" y="0"/>
                  </a:moveTo>
                  <a:lnTo>
                    <a:pt x="432" y="9475"/>
                  </a:lnTo>
                  <a:lnTo>
                    <a:pt x="21092" y="9475"/>
                  </a:lnTo>
                  <a:lnTo>
                    <a:pt x="17648" y="4524"/>
                  </a:lnTo>
                  <a:lnTo>
                    <a:pt x="21092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10992;p80">
              <a:extLst>
                <a:ext uri="{FF2B5EF4-FFF2-40B4-BE49-F238E27FC236}">
                  <a16:creationId xmlns:a16="http://schemas.microsoft.com/office/drawing/2014/main" id="{C92E8DEA-8CE2-3E8C-B415-6145D8BBEA77}"/>
                </a:ext>
              </a:extLst>
            </p:cNvPr>
            <p:cNvSpPr/>
            <p:nvPr/>
          </p:nvSpPr>
          <p:spPr>
            <a:xfrm>
              <a:off x="8304647" y="4044004"/>
              <a:ext cx="76341" cy="15639"/>
            </a:xfrm>
            <a:custGeom>
              <a:avLst/>
              <a:gdLst/>
              <a:ahLst/>
              <a:cxnLst/>
              <a:rect l="l" t="t" r="r" b="b"/>
              <a:pathLst>
                <a:path w="8396" h="1720" extrusionOk="0">
                  <a:moveTo>
                    <a:pt x="4200" y="0"/>
                  </a:moveTo>
                  <a:cubicBezTo>
                    <a:pt x="1881" y="0"/>
                    <a:pt x="1" y="382"/>
                    <a:pt x="1" y="862"/>
                  </a:cubicBezTo>
                  <a:cubicBezTo>
                    <a:pt x="1" y="1338"/>
                    <a:pt x="1881" y="1720"/>
                    <a:pt x="4200" y="1720"/>
                  </a:cubicBezTo>
                  <a:cubicBezTo>
                    <a:pt x="6516" y="1720"/>
                    <a:pt x="8395" y="1338"/>
                    <a:pt x="8395" y="862"/>
                  </a:cubicBezTo>
                  <a:cubicBezTo>
                    <a:pt x="8395" y="382"/>
                    <a:pt x="6516" y="0"/>
                    <a:pt x="4200" y="0"/>
                  </a:cubicBezTo>
                  <a:close/>
                </a:path>
              </a:pathLst>
            </a:custGeom>
            <a:solidFill>
              <a:srgbClr val="E1E7E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376" name="Google Shape;7;p1">
            <a:extLst>
              <a:ext uri="{FF2B5EF4-FFF2-40B4-BE49-F238E27FC236}">
                <a16:creationId xmlns:a16="http://schemas.microsoft.com/office/drawing/2014/main" id="{9FC8DC51-CADC-5827-D1CD-ED0D13F810A9}"/>
              </a:ext>
            </a:extLst>
          </p:cNvPr>
          <p:cNvSpPr txBox="1"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76250" y="1120775"/>
            <a:ext cx="4140200" cy="3179763"/>
          </a:xfrm>
          <a:prstGeom prst="roundRect">
            <a:avLst>
              <a:gd name="adj" fmla="val 5642"/>
            </a:avLst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●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○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■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●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○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■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●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○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400"/>
              <a:buFont typeface="Roboto"/>
              <a:buChar char="■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IN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495">
          <a:extLst>
            <a:ext uri="{FF2B5EF4-FFF2-40B4-BE49-F238E27FC236}">
              <a16:creationId xmlns:a16="http://schemas.microsoft.com/office/drawing/2014/main" id="{49E064BB-0EA9-8FBA-A58F-2FADEC8D4B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7D49799-9937-0F54-8DCA-0446D205F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D49799-9937-0F54-8DCA-0446D205F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graph of a graph showing the amount of food in the market&#10;&#10;AI-generated content may be incorrect.">
            <a:extLst>
              <a:ext uri="{FF2B5EF4-FFF2-40B4-BE49-F238E27FC236}">
                <a16:creationId xmlns:a16="http://schemas.microsoft.com/office/drawing/2014/main" id="{23E842BA-0619-E054-FE14-31B5050AEB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4789" y="138825"/>
            <a:ext cx="6893288" cy="4865850"/>
          </a:xfrm>
          <a:prstGeom prst="round2DiagRect">
            <a:avLst>
              <a:gd name="adj1" fmla="val 11674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495129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60pKl8RkaDHHrb3dyd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8Cd_L0VeZmQdXqJ36Bd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orld Day for the Reduction of CO2 Emissions by Slidesgo">
  <a:themeElements>
    <a:clrScheme name="Simple Light">
      <a:dk1>
        <a:srgbClr val="FFFFFF"/>
      </a:dk1>
      <a:lt1>
        <a:srgbClr val="3D4C5B"/>
      </a:lt1>
      <a:dk2>
        <a:srgbClr val="00B449"/>
      </a:dk2>
      <a:lt2>
        <a:srgbClr val="8AC93D"/>
      </a:lt2>
      <a:accent1>
        <a:srgbClr val="A1E1FD"/>
      </a:accent1>
      <a:accent2>
        <a:srgbClr val="AAACB1"/>
      </a:accent2>
      <a:accent3>
        <a:srgbClr val="646464"/>
      </a:accent3>
      <a:accent4>
        <a:srgbClr val="9E5248"/>
      </a:accent4>
      <a:accent5>
        <a:srgbClr val="B3766E"/>
      </a:accent5>
      <a:accent6>
        <a:srgbClr val="FFD65D"/>
      </a:accent6>
      <a:hlink>
        <a:srgbClr val="FFFFFF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83</TotalTime>
  <Words>2154</Words>
  <Application>Microsoft Office PowerPoint</Application>
  <PresentationFormat>On-screen Show (16:9)</PresentationFormat>
  <Paragraphs>210</Paragraphs>
  <Slides>41</Slides>
  <Notes>4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52" baseType="lpstr">
      <vt:lpstr>Arial</vt:lpstr>
      <vt:lpstr>Paytone One</vt:lpstr>
      <vt:lpstr>Kumbh Sans</vt:lpstr>
      <vt:lpstr>PT Sans</vt:lpstr>
      <vt:lpstr>Kumbh Sans Light</vt:lpstr>
      <vt:lpstr>Nunito Light</vt:lpstr>
      <vt:lpstr>Bebas Neue</vt:lpstr>
      <vt:lpstr>Wingdings</vt:lpstr>
      <vt:lpstr>Roboto</vt:lpstr>
      <vt:lpstr>World Day for the Reduction of CO2 Emissions by Slidesgo</vt:lpstr>
      <vt:lpstr>think-cell Slide</vt:lpstr>
      <vt:lpstr>Methods and Policy Implications </vt:lpstr>
      <vt:lpstr>Social Cost of Carbon (SSC)</vt:lpstr>
      <vt:lpstr>Steps for calculating SSC</vt:lpstr>
      <vt:lpstr>Social Cost of Carbon (SSC)</vt:lpstr>
      <vt:lpstr>Impacts</vt:lpstr>
      <vt:lpstr>SCC with different discount rates</vt:lpstr>
      <vt:lpstr>SCC with different discount rates</vt:lpstr>
      <vt:lpstr>USA: A Case Stud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S $ 41/tCO2</vt:lpstr>
      <vt:lpstr>2009–2016: The Obama Administration</vt:lpstr>
      <vt:lpstr>US $ 1-7/tCO2</vt:lpstr>
      <vt:lpstr>2017–2020: The Trump Administration</vt:lpstr>
      <vt:lpstr>US $ 51/tCO2</vt:lpstr>
      <vt:lpstr>US $ 190/tCO2</vt:lpstr>
      <vt:lpstr>2021–2024: The Biden Administration</vt:lpstr>
      <vt:lpstr>2025–Present: The Trump Administration</vt:lpstr>
      <vt:lpstr>SCC as a Guide for Indian Policy &amp; Investment</vt:lpstr>
      <vt:lpstr>PowerPoint Presentation</vt:lpstr>
      <vt:lpstr>Indian Situation: Current Landscape</vt:lpstr>
      <vt:lpstr>PowerPoint Presentation</vt:lpstr>
      <vt:lpstr>PowerPoint Presentation</vt:lpstr>
      <vt:lpstr>PowerPoint Presentation</vt:lpstr>
      <vt:lpstr>US$80-130/tCO2</vt:lpstr>
      <vt:lpstr>US$2.9/tCO2</vt:lpstr>
      <vt:lpstr>Implementing SCC in India</vt:lpstr>
      <vt:lpstr>Limits : Using  SCC as a Guide</vt:lpstr>
      <vt:lpstr>Should SCC Analysis Replace Mitigation Cost Analysis?</vt:lpstr>
      <vt:lpstr>Mitigation Cost Analysis</vt:lpstr>
      <vt:lpstr>No, they are complementary, not interchangeable. </vt:lpstr>
      <vt:lpstr>Should SCC Analysis Replace Mitigation Cost Analysis?</vt:lpstr>
      <vt:lpstr>PowerPoint Presentation</vt:lpstr>
      <vt:lpstr>Reference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Hp</dc:creator>
  <cp:lastModifiedBy>Vishal Singh</cp:lastModifiedBy>
  <cp:revision>12</cp:revision>
  <dcterms:modified xsi:type="dcterms:W3CDTF">2025-09-09T06:54:14Z</dcterms:modified>
</cp:coreProperties>
</file>